
<file path=[Content_Types].xml><?xml version="1.0" encoding="utf-8"?>
<Types xmlns="http://schemas.openxmlformats.org/package/2006/content-types">
  <Default Extension="png" ContentType="image/png"/>
  <Default Extension="svg" ContentType="image/svg+xml"/>
  <Default Extension="jpeg" ContentType="image/jpeg"/>
  <Default Extension="emf" ContentType="image/x-emf"/>
  <Default Extension="rels" ContentType="application/vnd.openxmlformats-package.relationships+xml"/>
  <Default Extension="xml" ContentType="application/xml"/>
  <Default Extension="wdp" ContentType="image/vnd.ms-photo"/>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theme/theme2.xml" ContentType="application/vnd.openxmlformats-officedocument.theme+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theme/theme3.xml" ContentType="application/vnd.openxmlformats-officedocument.theme+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theme/theme4.xml" ContentType="application/vnd.openxmlformats-officedocument.theme+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theme/theme5.xml" ContentType="application/vnd.openxmlformats-officedocument.theme+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theme/theme6.xml" ContentType="application/vnd.openxmlformats-officedocument.theme+xml"/>
  <Override PartName="/ppt/theme/theme7.xml" ContentType="application/vnd.openxmlformats-officedocument.theme+xml"/>
  <Override PartName="/ppt/theme/theme8.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082" r:id="rId5"/>
    <p:sldMasterId id="2147484229" r:id="rId6"/>
    <p:sldMasterId id="2147484267" r:id="rId7"/>
    <p:sldMasterId id="2147484291" r:id="rId8"/>
    <p:sldMasterId id="2147484316" r:id="rId9"/>
    <p:sldMasterId id="2147484348" r:id="rId10"/>
  </p:sldMasterIdLst>
  <p:notesMasterIdLst>
    <p:notesMasterId r:id="rId71"/>
  </p:notesMasterIdLst>
  <p:handoutMasterIdLst>
    <p:handoutMasterId r:id="rId72"/>
  </p:handoutMasterIdLst>
  <p:sldIdLst>
    <p:sldId id="1339" r:id="rId11"/>
    <p:sldId id="1344" r:id="rId12"/>
    <p:sldId id="1340" r:id="rId13"/>
    <p:sldId id="1342" r:id="rId14"/>
    <p:sldId id="1343" r:id="rId15"/>
    <p:sldId id="1345" r:id="rId16"/>
    <p:sldId id="1366" r:id="rId17"/>
    <p:sldId id="1367" r:id="rId18"/>
    <p:sldId id="1368" r:id="rId19"/>
    <p:sldId id="1406" r:id="rId20"/>
    <p:sldId id="1408" r:id="rId21"/>
    <p:sldId id="1350" r:id="rId22"/>
    <p:sldId id="1425" r:id="rId23"/>
    <p:sldId id="1348" r:id="rId24"/>
    <p:sldId id="1349" r:id="rId25"/>
    <p:sldId id="1488" r:id="rId26"/>
    <p:sldId id="1478" r:id="rId27"/>
    <p:sldId id="1490" r:id="rId28"/>
    <p:sldId id="1492" r:id="rId29"/>
    <p:sldId id="1502" r:id="rId30"/>
    <p:sldId id="1493" r:id="rId31"/>
    <p:sldId id="1494" r:id="rId32"/>
    <p:sldId id="1495" r:id="rId33"/>
    <p:sldId id="1351" r:id="rId34"/>
    <p:sldId id="1353" r:id="rId35"/>
    <p:sldId id="1404" r:id="rId36"/>
    <p:sldId id="1397" r:id="rId37"/>
    <p:sldId id="1357" r:id="rId38"/>
    <p:sldId id="1356" r:id="rId39"/>
    <p:sldId id="1426" r:id="rId40"/>
    <p:sldId id="1358" r:id="rId41"/>
    <p:sldId id="1359" r:id="rId42"/>
    <p:sldId id="1480" r:id="rId43"/>
    <p:sldId id="1482" r:id="rId44"/>
    <p:sldId id="1486" r:id="rId45"/>
    <p:sldId id="1487" r:id="rId46"/>
    <p:sldId id="1369" r:id="rId47"/>
    <p:sldId id="1365" r:id="rId48"/>
    <p:sldId id="1398" r:id="rId49"/>
    <p:sldId id="1370" r:id="rId50"/>
    <p:sldId id="1405" r:id="rId51"/>
    <p:sldId id="1372" r:id="rId52"/>
    <p:sldId id="1375" r:id="rId53"/>
    <p:sldId id="1379" r:id="rId54"/>
    <p:sldId id="1380" r:id="rId55"/>
    <p:sldId id="1496" r:id="rId56"/>
    <p:sldId id="1497" r:id="rId57"/>
    <p:sldId id="1498" r:id="rId58"/>
    <p:sldId id="1470" r:id="rId59"/>
    <p:sldId id="1471" r:id="rId60"/>
    <p:sldId id="1472" r:id="rId61"/>
    <p:sldId id="1473" r:id="rId62"/>
    <p:sldId id="1412" r:id="rId63"/>
    <p:sldId id="1499" r:id="rId64"/>
    <p:sldId id="1500" r:id="rId65"/>
    <p:sldId id="1501" r:id="rId66"/>
    <p:sldId id="1411" r:id="rId67"/>
    <p:sldId id="1410" r:id="rId68"/>
    <p:sldId id="1424" r:id="rId69"/>
    <p:sldId id="1248" r:id="rId70"/>
  </p:sldIdLst>
  <p:sldSz cx="12436475" cy="6994525"/>
  <p:notesSz cx="6858000" cy="9144000"/>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Talk Plan" id="{0C8682EF-709C-4DD2-B11B-19E2D910C2A9}">
          <p14:sldIdLst>
            <p14:sldId id="1339"/>
            <p14:sldId id="1344"/>
          </p14:sldIdLst>
        </p14:section>
        <p14:section name="Scalability" id="{5CD47C7B-7832-4649-B83F-7D7B68CFDC4C}">
          <p14:sldIdLst>
            <p14:sldId id="1340"/>
            <p14:sldId id="1342"/>
          </p14:sldIdLst>
        </p14:section>
        <p14:section name="Architecting for Scale" id="{33321D67-DACD-48E4-96D4-C0ED9179C0C1}">
          <p14:sldIdLst>
            <p14:sldId id="1343"/>
            <p14:sldId id="1345"/>
            <p14:sldId id="1366"/>
            <p14:sldId id="1367"/>
            <p14:sldId id="1368"/>
            <p14:sldId id="1406"/>
            <p14:sldId id="1408"/>
            <p14:sldId id="1350"/>
          </p14:sldIdLst>
        </p14:section>
        <p14:section name="Scaling Compute" id="{C2A6605A-14F8-4093-A9C1-D1186FD48789}">
          <p14:sldIdLst>
            <p14:sldId id="1425"/>
            <p14:sldId id="1348"/>
            <p14:sldId id="1349"/>
            <p14:sldId id="1488"/>
            <p14:sldId id="1478"/>
            <p14:sldId id="1490"/>
            <p14:sldId id="1492"/>
            <p14:sldId id="1502"/>
            <p14:sldId id="1493"/>
            <p14:sldId id="1494"/>
            <p14:sldId id="1495"/>
          </p14:sldIdLst>
        </p14:section>
        <p14:section name="Scaling Database" id="{E25FE5FC-DB90-4B8D-B0E6-8000CADC7295}">
          <p14:sldIdLst>
            <p14:sldId id="1351"/>
            <p14:sldId id="1353"/>
            <p14:sldId id="1404"/>
            <p14:sldId id="1397"/>
            <p14:sldId id="1357"/>
            <p14:sldId id="1356"/>
            <p14:sldId id="1426"/>
            <p14:sldId id="1358"/>
            <p14:sldId id="1359"/>
            <p14:sldId id="1480"/>
            <p14:sldId id="1482"/>
            <p14:sldId id="1486"/>
            <p14:sldId id="1487"/>
          </p14:sldIdLst>
        </p14:section>
        <p14:section name="Caching" id="{51C49CEC-BEA1-4903-958C-9276965B7920}">
          <p14:sldIdLst>
            <p14:sldId id="1369"/>
            <p14:sldId id="1365"/>
            <p14:sldId id="1398"/>
            <p14:sldId id="1370"/>
            <p14:sldId id="1405"/>
            <p14:sldId id="1372"/>
          </p14:sldIdLst>
        </p14:section>
        <p14:section name="Scaling with Traffic Manager &amp; CDN" id="{AD60FB84-A865-4DD2-BAC1-57CC5E5BB7EB}">
          <p14:sldIdLst>
            <p14:sldId id="1375"/>
            <p14:sldId id="1379"/>
            <p14:sldId id="1380"/>
            <p14:sldId id="1496"/>
            <p14:sldId id="1497"/>
            <p14:sldId id="1498"/>
            <p14:sldId id="1470"/>
            <p14:sldId id="1471"/>
            <p14:sldId id="1472"/>
            <p14:sldId id="1473"/>
          </p14:sldIdLst>
        </p14:section>
        <p14:section name="Case Studies" id="{A05476E4-AC87-4AC9-ADB6-C66CE1D017E2}">
          <p14:sldIdLst>
            <p14:sldId id="1412"/>
            <p14:sldId id="1499"/>
            <p14:sldId id="1500"/>
            <p14:sldId id="1501"/>
            <p14:sldId id="1411"/>
            <p14:sldId id="1410"/>
            <p14:sldId id="1424"/>
            <p14:sldId id="1248"/>
          </p14:sldIdLst>
        </p14:section>
      </p14:sectionLst>
    </p:ex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Saku Uchikawa" initials="SU" lastIdx="11" clrIdx="0"/>
  <p:cmAuthor id="1" name="Mary Feil-Jacobs" initials="MFJ" lastIdx="43" clrIdx="1"/>
  <p:cmAuthor id="2" name="Monica Lueder" initials="ML" lastIdx="22" clrIdx="2">
    <p:extLst>
      <p:ext uri="{19B8F6BF-5375-455C-9EA6-DF929625EA0E}">
        <p15:presenceInfo xmlns:p15="http://schemas.microsoft.com/office/powerpoint/2012/main" userId="S-1-5-21-2127521184-1604012920-1887927527-2598260" providerId="AD"/>
      </p:ext>
    </p:extLst>
  </p:cmAuthor>
  <p:cmAuthor id="3" name="Mary Feil-Jacobs" initials="MF" lastIdx="22" clrIdx="3">
    <p:extLst>
      <p:ext uri="{19B8F6BF-5375-455C-9EA6-DF929625EA0E}">
        <p15:presenceInfo xmlns:p15="http://schemas.microsoft.com/office/powerpoint/2012/main" userId="S-1-5-21-2127521184-1604012920-1887927527-65006" providerId="AD"/>
      </p:ext>
    </p:extLst>
  </p:cmAuthor>
  <p:cmAuthor id="4" name="Adrián Hernandez Becerril" initials="AHB" lastIdx="5" clrIdx="4">
    <p:extLst>
      <p:ext uri="{19B8F6BF-5375-455C-9EA6-DF929625EA0E}">
        <p15:presenceInfo xmlns:p15="http://schemas.microsoft.com/office/powerpoint/2012/main" userId="S-1-5-21-124525095-708259637-1543119021-1183259" providerId="AD"/>
      </p:ext>
    </p:extLst>
  </p:cmAuthor>
  <p:cmAuthor id="5" name="Michal Morciniec" initials="MM" lastIdx="6" clrIdx="5">
    <p:extLst>
      <p:ext uri="{19B8F6BF-5375-455C-9EA6-DF929625EA0E}">
        <p15:presenceInfo xmlns:p15="http://schemas.microsoft.com/office/powerpoint/2012/main" userId="S-1-5-21-1721254763-462695806-1538882281-2567573" providerId="AD"/>
      </p:ext>
    </p:extLst>
  </p:cmAuthor>
  <p:cmAuthor id="6" name="Eumar Assis" initials="EA" lastIdx="9" clrIdx="6">
    <p:extLst>
      <p:ext uri="{19B8F6BF-5375-455C-9EA6-DF929625EA0E}">
        <p15:presenceInfo xmlns:p15="http://schemas.microsoft.com/office/powerpoint/2012/main" userId="S-1-5-21-124525095-708259637-1543119021-1495550"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2050"/>
    <a:srgbClr val="107C10"/>
    <a:srgbClr val="0078D7"/>
    <a:srgbClr val="00188F"/>
    <a:srgbClr val="008272"/>
    <a:srgbClr val="B4009E"/>
    <a:srgbClr val="00BCF2"/>
    <a:srgbClr val="525252"/>
    <a:srgbClr val="737373"/>
    <a:srgbClr val="E3008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8704" autoAdjust="0"/>
    <p:restoredTop sz="75074" autoAdjust="0"/>
  </p:normalViewPr>
  <p:slideViewPr>
    <p:cSldViewPr>
      <p:cViewPr varScale="1">
        <p:scale>
          <a:sx n="66" d="100"/>
          <a:sy n="66" d="100"/>
        </p:scale>
        <p:origin x="1266" y="72"/>
      </p:cViewPr>
      <p:guideLst/>
    </p:cSldViewPr>
  </p:slideViewPr>
  <p:outlineViewPr>
    <p:cViewPr>
      <p:scale>
        <a:sx n="33" d="100"/>
        <a:sy n="33" d="100"/>
      </p:scale>
      <p:origin x="0" y="0"/>
    </p:cViewPr>
  </p:outlineViewPr>
  <p:notesTextViewPr>
    <p:cViewPr>
      <p:scale>
        <a:sx n="100" d="100"/>
        <a:sy n="100" d="100"/>
      </p:scale>
      <p:origin x="0" y="0"/>
    </p:cViewPr>
  </p:notesTextViewPr>
  <p:sorterViewPr>
    <p:cViewPr varScale="1">
      <p:scale>
        <a:sx n="1" d="1"/>
        <a:sy n="1" d="1"/>
      </p:scale>
      <p:origin x="0" y="0"/>
    </p:cViewPr>
  </p:sorterViewPr>
  <p:notesViewPr>
    <p:cSldViewPr showGuides="1">
      <p:cViewPr varScale="1">
        <p:scale>
          <a:sx n="83" d="100"/>
          <a:sy n="83" d="100"/>
        </p:scale>
        <p:origin x="3852" y="96"/>
      </p:cViewPr>
      <p:guideLst>
        <p:guide orient="horz" pos="2880"/>
        <p:guide pos="2160"/>
      </p:guideLst>
    </p:cSldViewPr>
  </p:notesViewPr>
  <p:gridSpacing cx="91439" cy="91439"/>
</p:viewPr>
</file>

<file path=ppt/_rels/presentation.xml.rels><?xml version="1.0" encoding="UTF-8" standalone="yes"?>
<Relationships xmlns="http://schemas.openxmlformats.org/package/2006/relationships"><Relationship Id="rId13" Type="http://schemas.openxmlformats.org/officeDocument/2006/relationships/slide" Target="slides/slide3.xml"/><Relationship Id="rId18" Type="http://schemas.openxmlformats.org/officeDocument/2006/relationships/slide" Target="slides/slide8.xml"/><Relationship Id="rId26" Type="http://schemas.openxmlformats.org/officeDocument/2006/relationships/slide" Target="slides/slide16.xml"/><Relationship Id="rId39" Type="http://schemas.openxmlformats.org/officeDocument/2006/relationships/slide" Target="slides/slide29.xml"/><Relationship Id="rId21" Type="http://schemas.openxmlformats.org/officeDocument/2006/relationships/slide" Target="slides/slide11.xml"/><Relationship Id="rId34" Type="http://schemas.openxmlformats.org/officeDocument/2006/relationships/slide" Target="slides/slide24.xml"/><Relationship Id="rId42" Type="http://schemas.openxmlformats.org/officeDocument/2006/relationships/slide" Target="slides/slide32.xml"/><Relationship Id="rId47" Type="http://schemas.openxmlformats.org/officeDocument/2006/relationships/slide" Target="slides/slide37.xml"/><Relationship Id="rId50" Type="http://schemas.openxmlformats.org/officeDocument/2006/relationships/slide" Target="slides/slide40.xml"/><Relationship Id="rId55" Type="http://schemas.openxmlformats.org/officeDocument/2006/relationships/slide" Target="slides/slide45.xml"/><Relationship Id="rId63" Type="http://schemas.openxmlformats.org/officeDocument/2006/relationships/slide" Target="slides/slide53.xml"/><Relationship Id="rId68" Type="http://schemas.openxmlformats.org/officeDocument/2006/relationships/slide" Target="slides/slide58.xml"/><Relationship Id="rId76" Type="http://schemas.openxmlformats.org/officeDocument/2006/relationships/theme" Target="theme/theme1.xml"/><Relationship Id="rId7" Type="http://schemas.openxmlformats.org/officeDocument/2006/relationships/slideMaster" Target="slideMasters/slideMaster3.xml"/><Relationship Id="rId71" Type="http://schemas.openxmlformats.org/officeDocument/2006/relationships/notesMaster" Target="notesMasters/notesMaster1.xml"/><Relationship Id="rId2" Type="http://schemas.openxmlformats.org/officeDocument/2006/relationships/customXml" Target="../customXml/item2.xml"/><Relationship Id="rId16" Type="http://schemas.openxmlformats.org/officeDocument/2006/relationships/slide" Target="slides/slide6.xml"/><Relationship Id="rId29" Type="http://schemas.openxmlformats.org/officeDocument/2006/relationships/slide" Target="slides/slide19.xml"/><Relationship Id="rId11" Type="http://schemas.openxmlformats.org/officeDocument/2006/relationships/slide" Target="slides/slide1.xml"/><Relationship Id="rId24" Type="http://schemas.openxmlformats.org/officeDocument/2006/relationships/slide" Target="slides/slide14.xml"/><Relationship Id="rId32" Type="http://schemas.openxmlformats.org/officeDocument/2006/relationships/slide" Target="slides/slide22.xml"/><Relationship Id="rId37" Type="http://schemas.openxmlformats.org/officeDocument/2006/relationships/slide" Target="slides/slide27.xml"/><Relationship Id="rId40" Type="http://schemas.openxmlformats.org/officeDocument/2006/relationships/slide" Target="slides/slide30.xml"/><Relationship Id="rId45" Type="http://schemas.openxmlformats.org/officeDocument/2006/relationships/slide" Target="slides/slide35.xml"/><Relationship Id="rId53" Type="http://schemas.openxmlformats.org/officeDocument/2006/relationships/slide" Target="slides/slide43.xml"/><Relationship Id="rId58" Type="http://schemas.openxmlformats.org/officeDocument/2006/relationships/slide" Target="slides/slide48.xml"/><Relationship Id="rId66" Type="http://schemas.openxmlformats.org/officeDocument/2006/relationships/slide" Target="slides/slide56.xml"/><Relationship Id="rId74" Type="http://schemas.openxmlformats.org/officeDocument/2006/relationships/presProps" Target="presProps.xml"/><Relationship Id="rId5" Type="http://schemas.openxmlformats.org/officeDocument/2006/relationships/slideMaster" Target="slideMasters/slideMaster1.xml"/><Relationship Id="rId15" Type="http://schemas.openxmlformats.org/officeDocument/2006/relationships/slide" Target="slides/slide5.xml"/><Relationship Id="rId23" Type="http://schemas.openxmlformats.org/officeDocument/2006/relationships/slide" Target="slides/slide13.xml"/><Relationship Id="rId28" Type="http://schemas.openxmlformats.org/officeDocument/2006/relationships/slide" Target="slides/slide18.xml"/><Relationship Id="rId36" Type="http://schemas.openxmlformats.org/officeDocument/2006/relationships/slide" Target="slides/slide26.xml"/><Relationship Id="rId49" Type="http://schemas.openxmlformats.org/officeDocument/2006/relationships/slide" Target="slides/slide39.xml"/><Relationship Id="rId57" Type="http://schemas.openxmlformats.org/officeDocument/2006/relationships/slide" Target="slides/slide47.xml"/><Relationship Id="rId61" Type="http://schemas.openxmlformats.org/officeDocument/2006/relationships/slide" Target="slides/slide51.xml"/><Relationship Id="rId10" Type="http://schemas.openxmlformats.org/officeDocument/2006/relationships/slideMaster" Target="slideMasters/slideMaster6.xml"/><Relationship Id="rId19" Type="http://schemas.openxmlformats.org/officeDocument/2006/relationships/slide" Target="slides/slide9.xml"/><Relationship Id="rId31" Type="http://schemas.openxmlformats.org/officeDocument/2006/relationships/slide" Target="slides/slide21.xml"/><Relationship Id="rId44" Type="http://schemas.openxmlformats.org/officeDocument/2006/relationships/slide" Target="slides/slide34.xml"/><Relationship Id="rId52" Type="http://schemas.openxmlformats.org/officeDocument/2006/relationships/slide" Target="slides/slide42.xml"/><Relationship Id="rId60" Type="http://schemas.openxmlformats.org/officeDocument/2006/relationships/slide" Target="slides/slide50.xml"/><Relationship Id="rId65" Type="http://schemas.openxmlformats.org/officeDocument/2006/relationships/slide" Target="slides/slide55.xml"/><Relationship Id="rId73" Type="http://schemas.openxmlformats.org/officeDocument/2006/relationships/commentAuthors" Target="commentAuthors.xml"/><Relationship Id="rId78" Type="http://schemas.microsoft.com/office/2015/10/relationships/revisionInfo" Target="revisionInfo.xml"/><Relationship Id="rId4" Type="http://schemas.openxmlformats.org/officeDocument/2006/relationships/customXml" Target="../customXml/item4.xml"/><Relationship Id="rId9" Type="http://schemas.openxmlformats.org/officeDocument/2006/relationships/slideMaster" Target="slideMasters/slideMaster5.xml"/><Relationship Id="rId14" Type="http://schemas.openxmlformats.org/officeDocument/2006/relationships/slide" Target="slides/slide4.xml"/><Relationship Id="rId22" Type="http://schemas.openxmlformats.org/officeDocument/2006/relationships/slide" Target="slides/slide12.xml"/><Relationship Id="rId27" Type="http://schemas.openxmlformats.org/officeDocument/2006/relationships/slide" Target="slides/slide17.xml"/><Relationship Id="rId30" Type="http://schemas.openxmlformats.org/officeDocument/2006/relationships/slide" Target="slides/slide20.xml"/><Relationship Id="rId35" Type="http://schemas.openxmlformats.org/officeDocument/2006/relationships/slide" Target="slides/slide25.xml"/><Relationship Id="rId43" Type="http://schemas.openxmlformats.org/officeDocument/2006/relationships/slide" Target="slides/slide33.xml"/><Relationship Id="rId48" Type="http://schemas.openxmlformats.org/officeDocument/2006/relationships/slide" Target="slides/slide38.xml"/><Relationship Id="rId56" Type="http://schemas.openxmlformats.org/officeDocument/2006/relationships/slide" Target="slides/slide46.xml"/><Relationship Id="rId64" Type="http://schemas.openxmlformats.org/officeDocument/2006/relationships/slide" Target="slides/slide54.xml"/><Relationship Id="rId69" Type="http://schemas.openxmlformats.org/officeDocument/2006/relationships/slide" Target="slides/slide59.xml"/><Relationship Id="rId77" Type="http://schemas.openxmlformats.org/officeDocument/2006/relationships/tableStyles" Target="tableStyles.xml"/><Relationship Id="rId8" Type="http://schemas.openxmlformats.org/officeDocument/2006/relationships/slideMaster" Target="slideMasters/slideMaster4.xml"/><Relationship Id="rId51" Type="http://schemas.openxmlformats.org/officeDocument/2006/relationships/slide" Target="slides/slide41.xml"/><Relationship Id="rId72" Type="http://schemas.openxmlformats.org/officeDocument/2006/relationships/handoutMaster" Target="handoutMasters/handoutMaster1.xml"/><Relationship Id="rId3" Type="http://schemas.openxmlformats.org/officeDocument/2006/relationships/customXml" Target="../customXml/item3.xml"/><Relationship Id="rId12" Type="http://schemas.openxmlformats.org/officeDocument/2006/relationships/slide" Target="slides/slide2.xml"/><Relationship Id="rId17" Type="http://schemas.openxmlformats.org/officeDocument/2006/relationships/slide" Target="slides/slide7.xml"/><Relationship Id="rId25" Type="http://schemas.openxmlformats.org/officeDocument/2006/relationships/slide" Target="slides/slide15.xml"/><Relationship Id="rId33" Type="http://schemas.openxmlformats.org/officeDocument/2006/relationships/slide" Target="slides/slide23.xml"/><Relationship Id="rId38" Type="http://schemas.openxmlformats.org/officeDocument/2006/relationships/slide" Target="slides/slide28.xml"/><Relationship Id="rId46" Type="http://schemas.openxmlformats.org/officeDocument/2006/relationships/slide" Target="slides/slide36.xml"/><Relationship Id="rId59" Type="http://schemas.openxmlformats.org/officeDocument/2006/relationships/slide" Target="slides/slide49.xml"/><Relationship Id="rId67" Type="http://schemas.openxmlformats.org/officeDocument/2006/relationships/slide" Target="slides/slide57.xml"/><Relationship Id="rId20" Type="http://schemas.openxmlformats.org/officeDocument/2006/relationships/slide" Target="slides/slide10.xml"/><Relationship Id="rId41" Type="http://schemas.openxmlformats.org/officeDocument/2006/relationships/slide" Target="slides/slide31.xml"/><Relationship Id="rId54" Type="http://schemas.openxmlformats.org/officeDocument/2006/relationships/slide" Target="slides/slide44.xml"/><Relationship Id="rId62" Type="http://schemas.openxmlformats.org/officeDocument/2006/relationships/slide" Target="slides/slide52.xml"/><Relationship Id="rId70" Type="http://schemas.openxmlformats.org/officeDocument/2006/relationships/slide" Target="slides/slide60.xml"/><Relationship Id="rId75"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Master" Target="slideMasters/slideMaster2.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8.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574"/>
            <a:ext cx="2971800" cy="457200"/>
          </a:xfrm>
          <a:prstGeom prst="rect">
            <a:avLst/>
          </a:prstGeom>
        </p:spPr>
        <p:txBody>
          <a:bodyPr vert="horz" lIns="91440" tIns="45720" rIns="91440" bIns="45720" rtlCol="0"/>
          <a:lstStyle>
            <a:lvl1pPr algn="l">
              <a:defRPr sz="1200"/>
            </a:lvl1pPr>
          </a:lstStyle>
          <a:p>
            <a:endParaRPr lang="en-US" dirty="0">
              <a:latin typeface="Segoe UI" pitchFamily="34" charset="0"/>
            </a:endParaRP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8C8D045D-9A66-44E7-900A-FC6D0BD4E54A}" type="datetime8">
              <a:rPr lang="en-US" smtClean="0">
                <a:latin typeface="Segoe UI" pitchFamily="34" charset="0"/>
              </a:rPr>
              <a:t>11/9/2017 2:11 AM</a:t>
            </a:fld>
            <a:endParaRPr lang="en-US" dirty="0">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endParaRPr lang="en-US" dirty="0"/>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38EEC551-8CDA-4EB6-89BB-2A86C9F091C8}" type="datetime8">
              <a:rPr lang="en-US" smtClean="0"/>
              <a:t>11/9/2017 1:31 AM</a:t>
            </a:fld>
            <a:endParaRPr lang="en-US" dirty="0"/>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dirty="0"/>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32742" rtl="0" eaLnBrk="1" latinLnBrk="0" hangingPunct="1">
      <a:lnSpc>
        <a:spcPct val="90000"/>
      </a:lnSpc>
      <a:spcAft>
        <a:spcPts val="340"/>
      </a:spcAft>
      <a:defRPr sz="900" kern="1200">
        <a:solidFill>
          <a:schemeClr val="tx1"/>
        </a:solidFill>
        <a:latin typeface="Segoe UI Light" pitchFamily="34" charset="0"/>
        <a:ea typeface="+mn-ea"/>
        <a:cs typeface="+mn-cs"/>
      </a:defRPr>
    </a:lvl1pPr>
    <a:lvl2pPr marL="217262" indent="-107956"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2pPr>
    <a:lvl3pPr marL="334664"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3pPr>
    <a:lvl4pPr marL="492551" indent="-149789"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4pPr>
    <a:lvl5pPr marL="627496"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5pPr>
    <a:lvl6pPr marL="2331856" algn="l" defTabSz="932742" rtl="0" eaLnBrk="1" latinLnBrk="0" hangingPunct="1">
      <a:defRPr sz="1200" kern="1200">
        <a:solidFill>
          <a:schemeClr val="tx1"/>
        </a:solidFill>
        <a:latin typeface="+mn-lt"/>
        <a:ea typeface="+mn-ea"/>
        <a:cs typeface="+mn-cs"/>
      </a:defRPr>
    </a:lvl6pPr>
    <a:lvl7pPr marL="2798226" algn="l" defTabSz="932742" rtl="0" eaLnBrk="1" latinLnBrk="0" hangingPunct="1">
      <a:defRPr sz="1200" kern="1200">
        <a:solidFill>
          <a:schemeClr val="tx1"/>
        </a:solidFill>
        <a:latin typeface="+mn-lt"/>
        <a:ea typeface="+mn-ea"/>
        <a:cs typeface="+mn-cs"/>
      </a:defRPr>
    </a:lvl7pPr>
    <a:lvl8pPr marL="3264597" algn="l" defTabSz="932742" rtl="0" eaLnBrk="1" latinLnBrk="0" hangingPunct="1">
      <a:defRPr sz="1200" kern="1200">
        <a:solidFill>
          <a:schemeClr val="tx1"/>
        </a:solidFill>
        <a:latin typeface="+mn-lt"/>
        <a:ea typeface="+mn-ea"/>
        <a:cs typeface="+mn-cs"/>
      </a:defRPr>
    </a:lvl8pPr>
    <a:lvl9pPr marL="3730969" algn="l" defTabSz="9327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3" Type="http://schemas.openxmlformats.org/officeDocument/2006/relationships/hyperlink" Target="http://rickrainey.com/2013/12/15/auto-scaling-cloud-services-on-cpu-percentage-with-the-windows-azure-monitoring-services-management-library/" TargetMode="External"/><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3" Type="http://schemas.openxmlformats.org/officeDocument/2006/relationships/hyperlink" Target="https://azure.microsoft.com/services/service-fabric/" TargetMode="External"/><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3" Type="http://schemas.openxmlformats.org/officeDocument/2006/relationships/hyperlink" Target="https://docs.microsoft.com/en-us/azure/service-fabric/service-fabric-health-introduction" TargetMode="External"/><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3" Type="http://schemas.openxmlformats.org/officeDocument/2006/relationships/hyperlink" Target="https://docs.microsoft.com/en-us/azure/service-fabric/service-fabric-cluster-resource-manager-metrics" TargetMode="External"/><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3" Type="http://schemas.openxmlformats.org/officeDocument/2006/relationships/hyperlink" Target="https://en.wikipedia.org/wiki/Partition_(database)" TargetMode="External"/><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3" Type="http://schemas.openxmlformats.org/officeDocument/2006/relationships/hyperlink" Target="https://docs.microsoft.com/sql/database-engine/availability-groups/windows/overview-of-always-on-availability-groups-sql-server" TargetMode="External"/><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8" Type="http://schemas.openxmlformats.org/officeDocument/2006/relationships/hyperlink" Target="http://tinkerpop.apache.org/" TargetMode="External"/><Relationship Id="rId3" Type="http://schemas.openxmlformats.org/officeDocument/2006/relationships/hyperlink" Target="https://aka.ms/acdbsla" TargetMode="External"/><Relationship Id="rId7" Type="http://schemas.openxmlformats.org/officeDocument/2006/relationships/hyperlink" Target="https://docs.microsoft.com/en-us/azure/cosmos-db/graph-introduction" TargetMode="External"/><Relationship Id="rId2" Type="http://schemas.openxmlformats.org/officeDocument/2006/relationships/slide" Target="../slides/slide33.xml"/><Relationship Id="rId1" Type="http://schemas.openxmlformats.org/officeDocument/2006/relationships/notesMaster" Target="../notesMasters/notesMaster1.xml"/><Relationship Id="rId6" Type="http://schemas.openxmlformats.org/officeDocument/2006/relationships/hyperlink" Target="https://docs.microsoft.com/en-us/azure/cosmos-db/table-introduction" TargetMode="External"/><Relationship Id="rId5" Type="http://schemas.openxmlformats.org/officeDocument/2006/relationships/hyperlink" Target="https://docs.microsoft.com/en-us/azure/cosmos-db/mongodb-introduction" TargetMode="External"/><Relationship Id="rId4" Type="http://schemas.openxmlformats.org/officeDocument/2006/relationships/hyperlink" Target="https://docs.microsoft.com/en-us/azure/cosmos-db/documentdb-introduction" TargetMode="External"/><Relationship Id="rId9" Type="http://schemas.openxmlformats.org/officeDocument/2006/relationships/hyperlink" Target="https://docs.microsoft.com/en-us/azure/cosmos-db/consistency-levels" TargetMode="External"/></Relationships>
</file>

<file path=ppt/notesSlides/_rels/notesSlide34.xml.rels><?xml version="1.0" encoding="UTF-8" standalone="yes"?>
<Relationships xmlns="http://schemas.openxmlformats.org/package/2006/relationships"><Relationship Id="rId3" Type="http://schemas.openxmlformats.org/officeDocument/2006/relationships/hyperlink" Target="https://docs.microsoft.com/en-us/azure/cosmos-db/distribute-data-globally" TargetMode="External"/><Relationship Id="rId2" Type="http://schemas.openxmlformats.org/officeDocument/2006/relationships/slide" Target="../slides/slide34.xml"/><Relationship Id="rId1" Type="http://schemas.openxmlformats.org/officeDocument/2006/relationships/notesMaster" Target="../notesMasters/notesMaster1.xml"/><Relationship Id="rId5" Type="http://schemas.openxmlformats.org/officeDocument/2006/relationships/hyperlink" Target="https://docs.microsoft.com/en-us/azure/cosmos-db/tutorial-global-distribution-documentdb" TargetMode="External"/><Relationship Id="rId4" Type="http://schemas.openxmlformats.org/officeDocument/2006/relationships/hyperlink" Target="https://azure.microsoft.com/regions/" TargetMode="External"/></Relationships>
</file>

<file path=ppt/notesSlides/_rels/notesSlide35.xml.rels><?xml version="1.0" encoding="UTF-8" standalone="yes"?>
<Relationships xmlns="http://schemas.openxmlformats.org/package/2006/relationships"><Relationship Id="rId3" Type="http://schemas.openxmlformats.org/officeDocument/2006/relationships/hyperlink" Target="https://docs.microsoft.com/en-us/azure/cosmos-db/request-units" TargetMode="External"/><Relationship Id="rId2" Type="http://schemas.openxmlformats.org/officeDocument/2006/relationships/slide" Target="../slides/slide35.xml"/><Relationship Id="rId1" Type="http://schemas.openxmlformats.org/officeDocument/2006/relationships/notesMaster" Target="../notesMasters/notesMaster1.xml"/><Relationship Id="rId5" Type="http://schemas.openxmlformats.org/officeDocument/2006/relationships/hyperlink" Target="https://docs.microsoft.com/en-us/azure/cosmos-db/distribute-data-globally#UnlimitedRegionsPerAccount" TargetMode="External"/><Relationship Id="rId4" Type="http://schemas.openxmlformats.org/officeDocument/2006/relationships/hyperlink" Target="https://docs.microsoft.com/en-us/azure/cosmos-db/partition-data" TargetMode="External"/></Relationships>
</file>

<file path=ppt/notesSlides/_rels/notesSlide36.xml.rels><?xml version="1.0" encoding="UTF-8" standalone="yes"?>
<Relationships xmlns="http://schemas.openxmlformats.org/package/2006/relationships"><Relationship Id="rId3" Type="http://schemas.openxmlformats.org/officeDocument/2006/relationships/hyperlink" Target="https://www.documentdb.com/capacityplanner" TargetMode="External"/><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3" Type="http://schemas.openxmlformats.org/officeDocument/2006/relationships/hyperlink" Target="https://docs.microsoft.com/en-us/azure/traffic-manager/traffic-manager-monitoring" TargetMode="External"/><Relationship Id="rId2" Type="http://schemas.openxmlformats.org/officeDocument/2006/relationships/slide" Target="../slides/slide44.xml"/><Relationship Id="rId1" Type="http://schemas.openxmlformats.org/officeDocument/2006/relationships/notesMaster" Target="../notesMasters/notesMaster1.xml"/><Relationship Id="rId4" Type="http://schemas.openxmlformats.org/officeDocument/2006/relationships/hyperlink" Target="https://docs.microsoft.com/en-us/azure/traffic-manager/traffic-manager-routing-methods" TargetMode="Externa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3" Type="http://schemas.openxmlformats.org/officeDocument/2006/relationships/hyperlink" Target="https://customers.microsoft.com/Pages/CustomerStory.aspx?recid=20881" TargetMode="External"/><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3" Type="http://schemas.openxmlformats.org/officeDocument/2006/relationships/hyperlink" Target="https://customers.microsoft.com/en-us/story/next-games" TargetMode="External"/><Relationship Id="rId2" Type="http://schemas.openxmlformats.org/officeDocument/2006/relationships/slide" Target="../slides/slide54.xml"/><Relationship Id="rId1" Type="http://schemas.openxmlformats.org/officeDocument/2006/relationships/notesMaster" Target="../notesMasters/notesMaster1.xml"/><Relationship Id="rId4" Type="http://schemas.openxmlformats.org/officeDocument/2006/relationships/hyperlink" Target="https://aka.ms/hegoxv" TargetMode="Externa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3" Type="http://schemas.openxmlformats.org/officeDocument/2006/relationships/hyperlink" Target="https://customers.microsoft.com/doclink/real-madrid" TargetMode="External"/><Relationship Id="rId2" Type="http://schemas.openxmlformats.org/officeDocument/2006/relationships/slide" Target="../slides/slide56.xml"/><Relationship Id="rId1" Type="http://schemas.openxmlformats.org/officeDocument/2006/relationships/notesMaster" Target="../notesMasters/notesMaster1.xml"/><Relationship Id="rId4" Type="http://schemas.openxmlformats.org/officeDocument/2006/relationships/hyperlink" Target="https://aka.ms/Qvy945" TargetMode="Externa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3" Type="http://schemas.openxmlformats.org/officeDocument/2006/relationships/hyperlink" Target="https://docs.microsoft.com/en-us/azure/architecture/best-practices/background-jobs" TargetMode="External"/><Relationship Id="rId2" Type="http://schemas.openxmlformats.org/officeDocument/2006/relationships/slide" Target="../slides/slide6.xml"/><Relationship Id="rId1" Type="http://schemas.openxmlformats.org/officeDocument/2006/relationships/notesMaster" Target="../notesMasters/notesMaster1.xml"/><Relationship Id="rId5" Type="http://schemas.openxmlformats.org/officeDocument/2006/relationships/hyperlink" Target="https://docs.microsoft.com/en-us/azure/architecture/patterns/pipes-and-filters" TargetMode="External"/><Relationship Id="rId4" Type="http://schemas.openxmlformats.org/officeDocument/2006/relationships/hyperlink" Target="https://docs.microsoft.com/en-us/azure/architecture/best-practices/auto-scaling" TargetMode="Externa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38EEC551-8CDA-4EB6-89BB-2A86C9F091C8}" type="datetime8">
              <a:rPr lang="en-US" smtClean="0"/>
              <a:t>11/9/2017 1:31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a:t>
            </a:fld>
            <a:endParaRPr lang="en-US" dirty="0"/>
          </a:p>
        </p:txBody>
      </p:sp>
    </p:spTree>
    <p:extLst>
      <p:ext uri="{BB962C8B-B14F-4D97-AF65-F5344CB8AC3E}">
        <p14:creationId xmlns:p14="http://schemas.microsoft.com/office/powerpoint/2010/main" val="315850137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a:t>Another way to improve scalability and perceived performance of the system is to decouple background processing from the web server and implement is on a separate worker process. The worker process in Azure can be implemented as process on a Function App or as a </a:t>
            </a:r>
            <a:r>
              <a:rPr lang="en-US" baseline="0" dirty="0" err="1"/>
              <a:t>WebJob</a:t>
            </a:r>
            <a:r>
              <a:rPr lang="en-US" baseline="0" dirty="0"/>
              <a:t>.</a:t>
            </a:r>
          </a:p>
          <a:p>
            <a:endParaRPr lang="en-US" baseline="0" dirty="0"/>
          </a:p>
          <a:p>
            <a:r>
              <a:rPr lang="en-US" baseline="0" dirty="0"/>
              <a:t>The web server can then use Azure storage queues to communicate with the worker process asynchronously.</a:t>
            </a:r>
          </a:p>
          <a:p>
            <a:endParaRPr lang="en-US" baseline="0" dirty="0"/>
          </a:p>
          <a:p>
            <a:r>
              <a:rPr lang="en-US" baseline="0" dirty="0"/>
              <a:t>The use of queues has additional benefits such as load leveling discussed later on , essentially queues provide a buffer against the load from the web tier meaning that the worker can process the messages at a constant rate.</a:t>
            </a:r>
          </a:p>
          <a:p>
            <a:endParaRPr lang="en-US" baseline="0" dirty="0"/>
          </a:p>
          <a:p>
            <a:r>
              <a:rPr lang="en-US" sz="900" kern="1200" dirty="0">
                <a:solidFill>
                  <a:schemeClr val="tx1"/>
                </a:solidFill>
                <a:effectLst/>
                <a:latin typeface="Segoe UI Light" pitchFamily="34" charset="0"/>
                <a:ea typeface="+mn-ea"/>
                <a:cs typeface="+mn-cs"/>
              </a:rPr>
              <a:t>There is another session on batch and background processing if you want to learn more about it.</a:t>
            </a:r>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11/9/2017 2:17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0</a:t>
            </a:fld>
            <a:endParaRPr lang="en-US" dirty="0"/>
          </a:p>
        </p:txBody>
      </p:sp>
    </p:spTree>
    <p:extLst>
      <p:ext uri="{BB962C8B-B14F-4D97-AF65-F5344CB8AC3E}">
        <p14:creationId xmlns:p14="http://schemas.microsoft.com/office/powerpoint/2010/main" val="244552447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a:t>This type of architecture can use scaling in the web front end and the worker tier. In fact, you can scale them independently.</a:t>
            </a:r>
          </a:p>
          <a:p>
            <a:r>
              <a:rPr lang="en-US" baseline="0" dirty="0"/>
              <a:t>Multiple web front-ends and workers improves scalability. Also reliability is increased because even if the worker should fail another one is available to do it´s task.</a:t>
            </a:r>
          </a:p>
          <a:p>
            <a:endParaRPr lang="en-US" baseline="0" dirty="0"/>
          </a:p>
          <a:p>
            <a:r>
              <a:rPr lang="en-US" baseline="0" dirty="0"/>
              <a:t>However, for the scaling to work you need to design your application appropriately for example you should ensure that message produced by any web server can be processed by any worker. Remember, that if you implement </a:t>
            </a:r>
            <a:r>
              <a:rPr lang="en-US" baseline="0" dirty="0" err="1"/>
              <a:t>autoscaling</a:t>
            </a:r>
            <a:r>
              <a:rPr lang="en-US" baseline="0" dirty="0"/>
              <a:t> the number of webservers in the farm and the number of workers can go up as well as down.</a:t>
            </a:r>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11/9/2017 1:31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1</a:t>
            </a:fld>
            <a:endParaRPr lang="en-US" dirty="0"/>
          </a:p>
        </p:txBody>
      </p:sp>
    </p:spTree>
    <p:extLst>
      <p:ext uri="{BB962C8B-B14F-4D97-AF65-F5344CB8AC3E}">
        <p14:creationId xmlns:p14="http://schemas.microsoft.com/office/powerpoint/2010/main" val="388964504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11/9/2017 1:31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2</a:t>
            </a:fld>
            <a:endParaRPr lang="en-US" dirty="0"/>
          </a:p>
        </p:txBody>
      </p:sp>
    </p:spTree>
    <p:extLst>
      <p:ext uri="{BB962C8B-B14F-4D97-AF65-F5344CB8AC3E}">
        <p14:creationId xmlns:p14="http://schemas.microsoft.com/office/powerpoint/2010/main" val="360275205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11/9/2017 1:31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3</a:t>
            </a:fld>
            <a:endParaRPr lang="en-US" dirty="0"/>
          </a:p>
        </p:txBody>
      </p:sp>
    </p:spTree>
    <p:extLst>
      <p:ext uri="{BB962C8B-B14F-4D97-AF65-F5344CB8AC3E}">
        <p14:creationId xmlns:p14="http://schemas.microsoft.com/office/powerpoint/2010/main" val="352632386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urpose:</a:t>
            </a:r>
            <a:r>
              <a:rPr lang="en-US" baseline="0" dirty="0"/>
              <a:t> explain how CPU and Memory of web servers can be adjusted in PaaS Service , here Azure App Service– what are the limits?</a:t>
            </a:r>
            <a:endParaRPr lang="en-US" dirty="0"/>
          </a:p>
          <a:p>
            <a:endParaRPr lang="en-US" dirty="0"/>
          </a:p>
          <a:p>
            <a:r>
              <a:rPr lang="en-US" dirty="0"/>
              <a:t>Detail:</a:t>
            </a:r>
          </a:p>
          <a:p>
            <a:r>
              <a:rPr lang="en-US" dirty="0"/>
              <a:t>https://azure.microsoft.com/en-in/pricing/details/app-service/</a:t>
            </a:r>
          </a:p>
          <a:p>
            <a:endParaRPr lang="en-US" dirty="0"/>
          </a:p>
          <a:p>
            <a:r>
              <a:rPr lang="en-US" dirty="0"/>
              <a:t>There</a:t>
            </a:r>
            <a:r>
              <a:rPr lang="en-US" baseline="0" dirty="0"/>
              <a:t> are two compute scaling options available to applications hosted in Azure. </a:t>
            </a:r>
          </a:p>
          <a:p>
            <a:pPr marL="228600" indent="-228600">
              <a:buFont typeface="+mj-lt"/>
              <a:buAutoNum type="arabicPeriod"/>
            </a:pPr>
            <a:r>
              <a:rPr lang="en-US" baseline="0" dirty="0"/>
              <a:t>In vertical scaling you increase the machine size (RAM and # of cores).</a:t>
            </a:r>
          </a:p>
          <a:p>
            <a:pPr marL="228600" indent="-228600">
              <a:buFont typeface="+mj-lt"/>
              <a:buAutoNum type="arabicPeriod"/>
            </a:pPr>
            <a:r>
              <a:rPr lang="en-US" baseline="0" dirty="0"/>
              <a:t>When you scale out (horizontal scaling) or in, you are adding or removing servers in the web farm that have the same specification (size).</a:t>
            </a:r>
          </a:p>
          <a:p>
            <a:endParaRPr lang="en-US" baseline="0" dirty="0"/>
          </a:p>
          <a:p>
            <a:r>
              <a:rPr lang="en-US" baseline="0" dirty="0"/>
              <a:t>The Standard plan S3 and P3 Premium are limited to 4 core 7GB machines. </a:t>
            </a:r>
          </a:p>
          <a:p>
            <a:r>
              <a:rPr lang="en-US" baseline="0" dirty="0"/>
              <a:t>In the Application Service Environment (ASE) (which is a private hosting of Azure App service, rather than the multitenant Azure App service) the P4 Premium plan will allow up to 50 machines 8 core /14GB machines.</a:t>
            </a:r>
          </a:p>
          <a:p>
            <a:endParaRPr lang="en-US" baseline="0" dirty="0"/>
          </a:p>
          <a:p>
            <a:pPr marL="0" marR="0" lvl="0" indent="0" algn="l" defTabSz="932742" rtl="0" eaLnBrk="1" fontAlgn="auto" latinLnBrk="0" hangingPunct="1">
              <a:lnSpc>
                <a:spcPct val="90000"/>
              </a:lnSpc>
              <a:spcBef>
                <a:spcPts val="0"/>
              </a:spcBef>
              <a:spcAft>
                <a:spcPts val="340"/>
              </a:spcAft>
              <a:buClrTx/>
              <a:buSzTx/>
              <a:buFontTx/>
              <a:buNone/>
              <a:tabLst/>
              <a:defRPr/>
            </a:pPr>
            <a:r>
              <a:rPr lang="en-US" sz="900" b="0" i="0" kern="1200" dirty="0">
                <a:solidFill>
                  <a:schemeClr val="tx1"/>
                </a:solidFill>
                <a:effectLst/>
                <a:latin typeface="Segoe UI Light" pitchFamily="34" charset="0"/>
                <a:ea typeface="+mn-ea"/>
                <a:cs typeface="+mn-cs"/>
              </a:rPr>
              <a:t>Isolated Service Plan: Designed to run mission critical workloads, which are required to run in a virtual network. The Isolated plan allows customers to run their apps in a private, dedicated environment in an Azure datacenter using Dv2-series VMs with faster processors, SSD storage and double the memory-to-core ratio compared to Standard. The plan can scale to 100 instances with more available upon request. Its App Service Environment (ASE) V2 </a:t>
            </a:r>
          </a:p>
          <a:p>
            <a:endParaRPr lang="en-US" baseline="0" dirty="0"/>
          </a:p>
          <a:p>
            <a:r>
              <a:rPr lang="en-US" baseline="0" dirty="0"/>
              <a:t>If you need more processing power then consider Azure Virtual machine scale set as a service to host your compute.</a:t>
            </a:r>
          </a:p>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11/9/2017 1:31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4</a:t>
            </a:fld>
            <a:endParaRPr lang="en-US" dirty="0"/>
          </a:p>
        </p:txBody>
      </p:sp>
    </p:spTree>
    <p:extLst>
      <p:ext uri="{BB962C8B-B14F-4D97-AF65-F5344CB8AC3E}">
        <p14:creationId xmlns:p14="http://schemas.microsoft.com/office/powerpoint/2010/main" val="11182753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Tx/>
              <a:buNone/>
              <a:tabLst/>
              <a:defRPr/>
            </a:pPr>
            <a:r>
              <a:rPr lang="en-US" dirty="0"/>
              <a:t>Purpose:</a:t>
            </a:r>
            <a:r>
              <a:rPr lang="en-US" baseline="0" dirty="0"/>
              <a:t> auto-scaling feature for assigning compute resources dynamically</a:t>
            </a:r>
          </a:p>
          <a:p>
            <a:pPr marL="0" marR="0" indent="0" algn="l" defTabSz="932742" rtl="0" eaLnBrk="1" fontAlgn="auto" latinLnBrk="0" hangingPunct="1">
              <a:lnSpc>
                <a:spcPct val="90000"/>
              </a:lnSpc>
              <a:spcBef>
                <a:spcPts val="0"/>
              </a:spcBef>
              <a:spcAft>
                <a:spcPts val="340"/>
              </a:spcAft>
              <a:buClrTx/>
              <a:buSzTx/>
              <a:buFontTx/>
              <a:buNone/>
              <a:tabLst/>
              <a:defRPr/>
            </a:pPr>
            <a:r>
              <a:rPr lang="en-US" dirty="0"/>
              <a:t>https://azure.microsoft.com/en-us/documentation/articles/web-sites-scale/</a:t>
            </a:r>
          </a:p>
          <a:p>
            <a:pPr marL="0" marR="0" indent="0" algn="l" defTabSz="932742" rtl="0" eaLnBrk="1" fontAlgn="auto" latinLnBrk="0" hangingPunct="1">
              <a:lnSpc>
                <a:spcPct val="90000"/>
              </a:lnSpc>
              <a:spcBef>
                <a:spcPts val="0"/>
              </a:spcBef>
              <a:spcAft>
                <a:spcPts val="340"/>
              </a:spcAft>
              <a:buClrTx/>
              <a:buSzTx/>
              <a:buFontTx/>
              <a:buNone/>
              <a:tabLst/>
              <a:defRPr/>
            </a:pPr>
            <a:endParaRPr lang="en-US" dirty="0"/>
          </a:p>
          <a:p>
            <a:pPr marL="0" marR="0" indent="0" algn="l" defTabSz="932742" rtl="0" eaLnBrk="1" fontAlgn="auto" latinLnBrk="0" hangingPunct="1">
              <a:lnSpc>
                <a:spcPct val="90000"/>
              </a:lnSpc>
              <a:spcBef>
                <a:spcPts val="0"/>
              </a:spcBef>
              <a:spcAft>
                <a:spcPts val="340"/>
              </a:spcAft>
              <a:buClrTx/>
              <a:buSzTx/>
              <a:buFontTx/>
              <a:buNone/>
              <a:tabLst/>
              <a:defRPr/>
            </a:pPr>
            <a:r>
              <a:rPr lang="en-US" dirty="0"/>
              <a:t>Detail:</a:t>
            </a:r>
          </a:p>
          <a:p>
            <a:pPr marL="0" marR="0" indent="0" algn="l" defTabSz="932742" rtl="0" eaLnBrk="1" fontAlgn="auto" latinLnBrk="0" hangingPunct="1">
              <a:lnSpc>
                <a:spcPct val="90000"/>
              </a:lnSpc>
              <a:spcBef>
                <a:spcPts val="0"/>
              </a:spcBef>
              <a:spcAft>
                <a:spcPts val="340"/>
              </a:spcAft>
              <a:buClrTx/>
              <a:buSzTx/>
              <a:buFontTx/>
              <a:buNone/>
              <a:tabLst/>
              <a:defRPr/>
            </a:pPr>
            <a:r>
              <a:rPr lang="en-US" baseline="0" dirty="0"/>
              <a:t>In Auto-scaling can automatically increase the capacity of the farm based on the actual demand (usage) of the web application.</a:t>
            </a:r>
          </a:p>
          <a:p>
            <a:pPr marL="0" marR="0" indent="0" algn="l" defTabSz="932742" rtl="0" eaLnBrk="1" fontAlgn="auto" latinLnBrk="0" hangingPunct="1">
              <a:lnSpc>
                <a:spcPct val="90000"/>
              </a:lnSpc>
              <a:spcBef>
                <a:spcPts val="0"/>
              </a:spcBef>
              <a:spcAft>
                <a:spcPts val="340"/>
              </a:spcAft>
              <a:buClrTx/>
              <a:buSzTx/>
              <a:buFontTx/>
              <a:buNone/>
              <a:tabLst/>
              <a:defRPr/>
            </a:pPr>
            <a:endParaRPr lang="en-US" baseline="0" dirty="0"/>
          </a:p>
          <a:p>
            <a:pPr marL="0" marR="0" indent="0" algn="l" defTabSz="932742" rtl="0" eaLnBrk="1" fontAlgn="auto" latinLnBrk="0" hangingPunct="1">
              <a:lnSpc>
                <a:spcPct val="90000"/>
              </a:lnSpc>
              <a:spcBef>
                <a:spcPts val="0"/>
              </a:spcBef>
              <a:spcAft>
                <a:spcPts val="340"/>
              </a:spcAft>
              <a:buClrTx/>
              <a:buSzTx/>
              <a:buFontTx/>
              <a:buNone/>
              <a:tabLst/>
              <a:defRPr/>
            </a:pPr>
            <a:r>
              <a:rPr lang="en-US" baseline="0" dirty="0"/>
              <a:t>Auto-scaling is available in Standard, Premium &amp; Isolated plan. You can define the rules based on a number of metrics (HTTP queue length, CPU Percentage or memory utilization). </a:t>
            </a:r>
          </a:p>
          <a:p>
            <a:pPr marL="0" marR="0" indent="0" algn="l" defTabSz="932742" rtl="0" eaLnBrk="1" fontAlgn="auto" latinLnBrk="0" hangingPunct="1">
              <a:lnSpc>
                <a:spcPct val="90000"/>
              </a:lnSpc>
              <a:spcBef>
                <a:spcPts val="0"/>
              </a:spcBef>
              <a:spcAft>
                <a:spcPts val="340"/>
              </a:spcAft>
              <a:buClrTx/>
              <a:buSzTx/>
              <a:buFontTx/>
              <a:buNone/>
              <a:tabLst/>
              <a:defRPr/>
            </a:pPr>
            <a:r>
              <a:rPr lang="en-US" baseline="0" dirty="0"/>
              <a:t>In web farms with multiple machines an average is computed across all instances.</a:t>
            </a:r>
          </a:p>
          <a:p>
            <a:pPr marL="0" marR="0" indent="0" algn="l" defTabSz="932742" rtl="0" eaLnBrk="1" fontAlgn="auto" latinLnBrk="0" hangingPunct="1">
              <a:lnSpc>
                <a:spcPct val="90000"/>
              </a:lnSpc>
              <a:spcBef>
                <a:spcPts val="0"/>
              </a:spcBef>
              <a:spcAft>
                <a:spcPts val="340"/>
              </a:spcAft>
              <a:buClrTx/>
              <a:buSzTx/>
              <a:buFontTx/>
              <a:buNone/>
              <a:tabLst/>
              <a:defRPr/>
            </a:pPr>
            <a:r>
              <a:rPr lang="en-US" baseline="0" dirty="0"/>
              <a:t>Auto scaling rules based on schedule time let you assign different number of machines to your web farm on weekends, workdays or specific dates or time in a day.</a:t>
            </a:r>
          </a:p>
          <a:p>
            <a:pPr marL="0" marR="0" indent="0" algn="l" defTabSz="932742" rtl="0" eaLnBrk="1" fontAlgn="auto" latinLnBrk="0" hangingPunct="1">
              <a:lnSpc>
                <a:spcPct val="90000"/>
              </a:lnSpc>
              <a:spcBef>
                <a:spcPts val="0"/>
              </a:spcBef>
              <a:spcAft>
                <a:spcPts val="340"/>
              </a:spcAft>
              <a:buClrTx/>
              <a:buSzTx/>
              <a:buFontTx/>
              <a:buNone/>
              <a:tabLst/>
              <a:defRPr/>
            </a:pPr>
            <a:endParaRPr lang="en-US" baseline="0" dirty="0"/>
          </a:p>
          <a:p>
            <a:pPr marL="0" marR="0" indent="0" algn="l" defTabSz="932742" rtl="0" eaLnBrk="1" fontAlgn="auto" latinLnBrk="0" hangingPunct="1">
              <a:lnSpc>
                <a:spcPct val="90000"/>
              </a:lnSpc>
              <a:spcBef>
                <a:spcPts val="0"/>
              </a:spcBef>
              <a:spcAft>
                <a:spcPts val="340"/>
              </a:spcAft>
              <a:buClrTx/>
              <a:buSzTx/>
              <a:buFontTx/>
              <a:buNone/>
              <a:tabLst/>
              <a:defRPr/>
            </a:pPr>
            <a:r>
              <a:rPr lang="en-US" baseline="0" dirty="0"/>
              <a:t>https://github.com/mspnp/azure-guidance/blob/master/Auto-scaling.md</a:t>
            </a:r>
          </a:p>
          <a:p>
            <a:pPr marL="0" marR="0" indent="0" algn="l" defTabSz="932742" rtl="0" eaLnBrk="1" fontAlgn="auto" latinLnBrk="0" hangingPunct="1">
              <a:lnSpc>
                <a:spcPct val="90000"/>
              </a:lnSpc>
              <a:spcBef>
                <a:spcPts val="0"/>
              </a:spcBef>
              <a:spcAft>
                <a:spcPts val="340"/>
              </a:spcAft>
              <a:buClrTx/>
              <a:buSzTx/>
              <a:buFontTx/>
              <a:buNone/>
              <a:tabLst/>
              <a:defRPr/>
            </a:pPr>
            <a:r>
              <a:rPr lang="en-US" baseline="0" dirty="0"/>
              <a:t>To use auto-scaling you have to design the system for horizontal scalability. Because the auto-scaling rule can add or remove machines dynamically you should not assume that request will be routed to the same instance (machine) and you should not persist any state on the instance.</a:t>
            </a:r>
          </a:p>
          <a:p>
            <a:pPr marL="0" marR="0" indent="0" algn="l" defTabSz="932742" rtl="0" eaLnBrk="1" fontAlgn="auto" latinLnBrk="0" hangingPunct="1">
              <a:lnSpc>
                <a:spcPct val="90000"/>
              </a:lnSpc>
              <a:spcBef>
                <a:spcPts val="0"/>
              </a:spcBef>
              <a:spcAft>
                <a:spcPts val="340"/>
              </a:spcAft>
              <a:buClrTx/>
              <a:buSzTx/>
              <a:buFontTx/>
              <a:buNone/>
              <a:tabLst/>
              <a:defRPr/>
            </a:pPr>
            <a:r>
              <a:rPr lang="en-US" baseline="0" dirty="0"/>
              <a:t>If a queue is used than no assumptions should be made about the instance that wrote message to the queue.</a:t>
            </a:r>
          </a:p>
          <a:p>
            <a:pPr marL="0" marR="0" indent="0" algn="l" defTabSz="932742" rtl="0" eaLnBrk="1" fontAlgn="auto" latinLnBrk="0" hangingPunct="1">
              <a:lnSpc>
                <a:spcPct val="90000"/>
              </a:lnSpc>
              <a:spcBef>
                <a:spcPts val="0"/>
              </a:spcBef>
              <a:spcAft>
                <a:spcPts val="340"/>
              </a:spcAft>
              <a:buClrTx/>
              <a:buSzTx/>
              <a:buFontTx/>
              <a:buNone/>
              <a:tabLst/>
              <a:defRPr/>
            </a:pPr>
            <a:endParaRPr lang="en-US" baseline="0" dirty="0"/>
          </a:p>
          <a:p>
            <a:pPr marL="0" marR="0" indent="0" algn="l" defTabSz="932742" rtl="0" eaLnBrk="1" fontAlgn="auto" latinLnBrk="0" hangingPunct="1">
              <a:lnSpc>
                <a:spcPct val="90000"/>
              </a:lnSpc>
              <a:spcBef>
                <a:spcPts val="0"/>
              </a:spcBef>
              <a:spcAft>
                <a:spcPts val="340"/>
              </a:spcAft>
              <a:buClrTx/>
              <a:buSzTx/>
              <a:buFontTx/>
              <a:buNone/>
              <a:tabLst/>
              <a:defRPr/>
            </a:pPr>
            <a:r>
              <a:rPr lang="en-US" dirty="0" err="1"/>
              <a:t>Autoscaling</a:t>
            </a:r>
            <a:r>
              <a:rPr lang="en-US" dirty="0"/>
              <a:t> rules that use a detection mechanism based on a measured trigger attribute (such as CPU usage or queue length) use an aggregated value over time, rather than the instantaneous values, to trigger an </a:t>
            </a:r>
            <a:r>
              <a:rPr lang="en-US" dirty="0" err="1"/>
              <a:t>autoscaling</a:t>
            </a:r>
            <a:r>
              <a:rPr lang="en-US" dirty="0"/>
              <a:t> action. By default, the aggregate is an average of the values. This prevents the system from reacting too quickly, or causing rapid oscillation. It also allows time for new instances that are auto-started to settle into running mode, preventing additional </a:t>
            </a:r>
            <a:r>
              <a:rPr lang="en-US" dirty="0" err="1"/>
              <a:t>autoscaling</a:t>
            </a:r>
            <a:r>
              <a:rPr lang="en-US" dirty="0"/>
              <a:t> actions from occurring while the new instances are starting up. For Cloud Services and Virtual Machines, the default period for the aggregation is 45 minutes, so it can take up to this period of time for the metric to trigger </a:t>
            </a:r>
            <a:r>
              <a:rPr lang="en-US" dirty="0" err="1"/>
              <a:t>autoscaling</a:t>
            </a:r>
            <a:r>
              <a:rPr lang="en-US" dirty="0"/>
              <a:t> in response to spikes in demand. You can change the aggregation period by using the SDK, but be aware that periods of less than 25 minutes may cause unpredictable results (see </a:t>
            </a:r>
            <a:r>
              <a:rPr lang="en-US" dirty="0">
                <a:hlinkClick r:id="rId3"/>
              </a:rPr>
              <a:t>Auto Scaling Cloud Services on CPU Percentage with the Windows Azure Monitoring Services Management Library</a:t>
            </a:r>
            <a:r>
              <a:rPr lang="en-US" dirty="0"/>
              <a:t> for more information). For Azure Web Sites, the averaging period is much shorter, allowing new instances to be available in around five minutes after a change to the average trigger measure.</a:t>
            </a:r>
          </a:p>
          <a:p>
            <a:pPr marL="0" marR="0" indent="0" algn="l" defTabSz="932742" rtl="0" eaLnBrk="1" fontAlgn="auto" latinLnBrk="0" hangingPunct="1">
              <a:lnSpc>
                <a:spcPct val="90000"/>
              </a:lnSpc>
              <a:spcBef>
                <a:spcPts val="0"/>
              </a:spcBef>
              <a:spcAft>
                <a:spcPts val="340"/>
              </a:spcAft>
              <a:buClrTx/>
              <a:buSzTx/>
              <a:buFontTx/>
              <a:buNone/>
              <a:tabLst/>
              <a:defRPr/>
            </a:pPr>
            <a:endParaRPr lang="en-US" baseline="0" dirty="0"/>
          </a:p>
          <a:p>
            <a:pPr marL="0" marR="0" indent="0" algn="l" defTabSz="932742" rtl="0" eaLnBrk="1" fontAlgn="auto" latinLnBrk="0" hangingPunct="1">
              <a:lnSpc>
                <a:spcPct val="90000"/>
              </a:lnSpc>
              <a:spcBef>
                <a:spcPts val="0"/>
              </a:spcBef>
              <a:spcAft>
                <a:spcPts val="340"/>
              </a:spcAft>
              <a:buClrTx/>
              <a:buSzTx/>
              <a:buFontTx/>
              <a:buNone/>
              <a:tabLst/>
              <a:defRPr/>
            </a:pPr>
            <a:r>
              <a:rPr lang="en-US" baseline="0" dirty="0"/>
              <a:t>Competing Consumers Pattern is the relevant pattern here.</a:t>
            </a:r>
            <a:endParaRPr lang="en-US" dirty="0"/>
          </a:p>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11/9/2017 1:31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5</a:t>
            </a:fld>
            <a:endParaRPr lang="en-US" dirty="0"/>
          </a:p>
        </p:txBody>
      </p:sp>
    </p:spTree>
    <p:extLst>
      <p:ext uri="{BB962C8B-B14F-4D97-AF65-F5344CB8AC3E}">
        <p14:creationId xmlns:p14="http://schemas.microsoft.com/office/powerpoint/2010/main" val="266851039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US" dirty="0"/>
              <a:t>So,</a:t>
            </a:r>
            <a:r>
              <a:rPr lang="en-US" baseline="0" dirty="0"/>
              <a:t> VMs are great</a:t>
            </a:r>
            <a:r>
              <a:rPr lang="is-IS" baseline="0" dirty="0"/>
              <a:t>… but managing a lot of them individually can be hard. </a:t>
            </a:r>
            <a:r>
              <a:rPr lang="en-US" dirty="0"/>
              <a:t>That’s where VM scale</a:t>
            </a:r>
            <a:r>
              <a:rPr lang="en-US" baseline="0" dirty="0"/>
              <a:t> sets comes in..</a:t>
            </a:r>
          </a:p>
          <a:p>
            <a:pPr marL="171450" indent="-171450">
              <a:buFontTx/>
              <a:buChar char="-"/>
            </a:pPr>
            <a:r>
              <a:rPr lang="en-US" baseline="0" dirty="0"/>
              <a:t>The goal here is to enable management of like VMs as a group and make it easy to scale them in/out based on demand.</a:t>
            </a:r>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1800" b="0" i="0" u="none" strike="noStrike" kern="0" cap="none" spc="0" normalizeH="0" baseline="0" noProof="0">
                <a:ln>
                  <a:noFill/>
                </a:ln>
                <a:solidFill>
                  <a:sysClr val="windowText" lastClr="000000"/>
                </a:solidFill>
                <a:effectLst/>
                <a:uLnTx/>
                <a:uFillTx/>
                <a:latin typeface="Segoe UI" panose="020B0502040204020203" pitchFamily="34" charset="0"/>
                <a:ea typeface="MS PGothic" panose="020B0600070205080204" pitchFamily="34" charset="-128"/>
                <a:cs typeface="Segoe UI" panose="020B0502040204020203"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04B3C87-3D8D-4CFE-9DF8-ACB5F82F8CF7}" type="datetime8">
              <a:rPr kumimoji="0" lang="en-US" altLang="en-US" sz="1800" b="0" i="0" u="none" strike="noStrike" kern="0" cap="none" spc="0" normalizeH="0" baseline="0" noProof="0" smtClean="0">
                <a:ln>
                  <a:noFill/>
                </a:ln>
                <a:solidFill>
                  <a:sysClr val="windowText" lastClr="000000"/>
                </a:solidFill>
                <a:effectLst/>
                <a:uLnTx/>
                <a:uFillTx/>
                <a:latin typeface="Segoe UI" panose="020B0502040204020203" pitchFamily="34" charset="0"/>
                <a:ea typeface="MS PGothic" panose="020B0600070205080204" pitchFamily="34"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11/9/2017 1:31 AM</a:t>
            </a:fld>
            <a:endParaRPr kumimoji="0" lang="en-US" altLang="en-US" sz="1800" b="0" i="0" u="none" strike="noStrike" kern="0" cap="none" spc="0" normalizeH="0" baseline="0" noProof="0">
              <a:ln>
                <a:noFill/>
              </a:ln>
              <a:solidFill>
                <a:sysClr val="windowText" lastClr="000000"/>
              </a:solidFill>
              <a:effectLst/>
              <a:uLnTx/>
              <a:uFillTx/>
              <a:latin typeface="Segoe UI" panose="020B0502040204020203" pitchFamily="34" charset="0"/>
              <a:ea typeface="MS PGothic" panose="020B0600070205080204" pitchFamily="34" charset="-128"/>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72FC2E-5954-4E65-BEEE-BF75C4846817}" type="slidenum">
              <a:rPr kumimoji="0" lang="en-US" altLang="en-US" sz="1800" b="0" i="0" u="none" strike="noStrike" kern="0" cap="none" spc="0" normalizeH="0" baseline="0" noProof="0" smtClean="0">
                <a:ln>
                  <a:noFill/>
                </a:ln>
                <a:solidFill>
                  <a:sysClr val="windowText" lastClr="000000"/>
                </a:solidFill>
                <a:effectLst/>
                <a:uLnTx/>
                <a:uFillTx/>
                <a:latin typeface="Segoe UI" panose="020B0502040204020203" pitchFamily="34" charset="0"/>
                <a:ea typeface="MS PGothic" panose="020B0600070205080204" pitchFamily="34"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altLang="en-US" sz="1800" b="0" i="0" u="none" strike="noStrike" kern="0" cap="none" spc="0" normalizeH="0" baseline="0" noProof="0">
              <a:ln>
                <a:noFill/>
              </a:ln>
              <a:solidFill>
                <a:sysClr val="windowText" lastClr="000000"/>
              </a:solidFill>
              <a:effectLst/>
              <a:uLnTx/>
              <a:uFillTx/>
              <a:latin typeface="Segoe UI" panose="020B0502040204020203" pitchFamily="34" charset="0"/>
              <a:ea typeface="MS PGothic" panose="020B0600070205080204" pitchFamily="34" charset="-128"/>
              <a:cs typeface="+mn-cs"/>
            </a:endParaRPr>
          </a:p>
        </p:txBody>
      </p:sp>
    </p:spTree>
    <p:extLst>
      <p:ext uri="{BB962C8B-B14F-4D97-AF65-F5344CB8AC3E}">
        <p14:creationId xmlns:p14="http://schemas.microsoft.com/office/powerpoint/2010/main" val="216841636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b="0" i="0" kern="1200" dirty="0">
                <a:solidFill>
                  <a:schemeClr val="tx1"/>
                </a:solidFill>
                <a:effectLst/>
                <a:latin typeface="Segoe UI Light" pitchFamily="34" charset="0"/>
                <a:ea typeface="+mn-ea"/>
                <a:cs typeface="+mn-cs"/>
              </a:rPr>
              <a:t>A scale set supports up to 1,000 VMs. If you create and upload your own custom VM images, the limit is 300.</a:t>
            </a:r>
          </a:p>
          <a:p>
            <a:endParaRPr lang="en-US" sz="900" b="0" i="0" kern="1200" dirty="0">
              <a:solidFill>
                <a:schemeClr val="tx1"/>
              </a:solidFill>
              <a:effectLst/>
              <a:latin typeface="Segoe UI Light" pitchFamily="34" charset="0"/>
              <a:ea typeface="+mn-ea"/>
              <a:cs typeface="+mn-cs"/>
            </a:endParaRPr>
          </a:p>
          <a:p>
            <a:r>
              <a:rPr lang="en-US" sz="900" b="0" i="0" kern="1200" dirty="0">
                <a:solidFill>
                  <a:schemeClr val="tx1"/>
                </a:solidFill>
                <a:effectLst/>
                <a:latin typeface="Segoe UI Light" pitchFamily="34" charset="0"/>
                <a:ea typeface="+mn-ea"/>
                <a:cs typeface="+mn-cs"/>
              </a:rPr>
              <a:t>You can look at scale sets as an infrastructure that supports PaaS. PaaS solutions like </a:t>
            </a:r>
            <a:r>
              <a:rPr lang="en-US" sz="900" b="0" i="0" u="none" strike="noStrike" kern="1200" dirty="0">
                <a:solidFill>
                  <a:schemeClr val="tx1"/>
                </a:solidFill>
                <a:effectLst/>
                <a:latin typeface="Segoe UI Light" pitchFamily="34" charset="0"/>
                <a:ea typeface="+mn-ea"/>
                <a:cs typeface="+mn-cs"/>
                <a:hlinkClick r:id="rId3"/>
              </a:rPr>
              <a:t>Service Fabric</a:t>
            </a:r>
            <a:r>
              <a:rPr lang="en-US" sz="900" b="0" i="0" kern="1200" dirty="0">
                <a:solidFill>
                  <a:schemeClr val="tx1"/>
                </a:solidFill>
                <a:effectLst/>
                <a:latin typeface="Segoe UI Light" pitchFamily="34" charset="0"/>
                <a:ea typeface="+mn-ea"/>
                <a:cs typeface="+mn-cs"/>
              </a:rPr>
              <a:t> build on this infrastructure.</a:t>
            </a:r>
          </a:p>
          <a:p>
            <a:endParaRPr lang="en-US" sz="900" b="0" i="0" kern="1200" dirty="0">
              <a:solidFill>
                <a:schemeClr val="tx1"/>
              </a:solidFill>
              <a:effectLst/>
              <a:latin typeface="Segoe UI Light" pitchFamily="34" charset="0"/>
              <a:ea typeface="+mn-ea"/>
              <a:cs typeface="+mn-cs"/>
            </a:endParaRPr>
          </a:p>
          <a:p>
            <a:r>
              <a:rPr lang="en-US" sz="900" b="0" i="0" kern="1200" dirty="0">
                <a:solidFill>
                  <a:schemeClr val="tx1"/>
                </a:solidFill>
                <a:effectLst/>
                <a:latin typeface="Segoe UI Light" pitchFamily="34" charset="0"/>
                <a:ea typeface="+mn-ea"/>
                <a:cs typeface="+mn-cs"/>
              </a:rPr>
              <a:t>A scale set is an implicit availability set with 5 fault domains and 5 update domains. Scale sets of more than 100 VMs span multiple </a:t>
            </a:r>
            <a:r>
              <a:rPr lang="en-US" sz="900" b="0" i="1" kern="1200" dirty="0">
                <a:solidFill>
                  <a:schemeClr val="tx1"/>
                </a:solidFill>
                <a:effectLst/>
                <a:latin typeface="Segoe UI Light" pitchFamily="34" charset="0"/>
                <a:ea typeface="+mn-ea"/>
                <a:cs typeface="+mn-cs"/>
              </a:rPr>
              <a:t>placement groups</a:t>
            </a:r>
            <a:r>
              <a:rPr lang="en-US" sz="900" b="0" i="0" kern="1200" dirty="0">
                <a:solidFill>
                  <a:schemeClr val="tx1"/>
                </a:solidFill>
                <a:effectLst/>
                <a:latin typeface="Segoe UI Light" pitchFamily="34" charset="0"/>
                <a:ea typeface="+mn-ea"/>
                <a:cs typeface="+mn-cs"/>
              </a:rPr>
              <a:t>, which are equivalent to multiple availability sets. </a:t>
            </a:r>
          </a:p>
          <a:p>
            <a:endParaRPr lang="en-US" dirty="0"/>
          </a:p>
          <a:p>
            <a:r>
              <a:rPr lang="en-US" sz="900" b="0" i="0" kern="1200" dirty="0">
                <a:solidFill>
                  <a:schemeClr val="tx1"/>
                </a:solidFill>
                <a:effectLst/>
                <a:latin typeface="Segoe UI Light" pitchFamily="34" charset="0"/>
                <a:ea typeface="+mn-ea"/>
                <a:cs typeface="+mn-cs"/>
              </a:rPr>
              <a:t>To maintain consistent application performance, you can automatically increase or decrease the number of VM instances in your scale set. This </a:t>
            </a:r>
            <a:r>
              <a:rPr lang="en-US" sz="900" b="0" i="0" kern="1200" dirty="0" err="1">
                <a:solidFill>
                  <a:schemeClr val="tx1"/>
                </a:solidFill>
                <a:effectLst/>
                <a:latin typeface="Segoe UI Light" pitchFamily="34" charset="0"/>
                <a:ea typeface="+mn-ea"/>
                <a:cs typeface="+mn-cs"/>
              </a:rPr>
              <a:t>autoscale</a:t>
            </a:r>
            <a:r>
              <a:rPr lang="en-US" sz="900" b="0" i="0" kern="1200" dirty="0">
                <a:solidFill>
                  <a:schemeClr val="tx1"/>
                </a:solidFill>
                <a:effectLst/>
                <a:latin typeface="Segoe UI Light" pitchFamily="34" charset="0"/>
                <a:ea typeface="+mn-ea"/>
                <a:cs typeface="+mn-cs"/>
              </a:rPr>
              <a:t> ability reduces the management overhead to monitor and tune your scale set as customer demand changes over time.</a:t>
            </a:r>
          </a:p>
          <a:p>
            <a:endParaRPr lang="en-US" sz="900" b="0" i="0" kern="1200" dirty="0">
              <a:solidFill>
                <a:schemeClr val="tx1"/>
              </a:solidFill>
              <a:effectLst/>
              <a:latin typeface="Segoe UI Light" pitchFamily="34" charset="0"/>
              <a:ea typeface="+mn-ea"/>
              <a:cs typeface="+mn-cs"/>
            </a:endParaRPr>
          </a:p>
          <a:p>
            <a:endParaRPr lang="en-US" dirty="0"/>
          </a:p>
        </p:txBody>
      </p:sp>
      <p:sp>
        <p:nvSpPr>
          <p:cNvPr id="4" name="Header Placeholder 3"/>
          <p:cNvSpPr>
            <a:spLocks noGrp="1"/>
          </p:cNvSpPr>
          <p:nvPr>
            <p:ph type="hdr" sz="quarter" idx="10"/>
          </p:nvPr>
        </p:nvSpPr>
        <p:spPr/>
        <p:txBody>
          <a:bodyPr/>
          <a:lstStyle/>
          <a:p>
            <a:r>
              <a:rPr lang="en-US"/>
              <a:t>TechReady 23</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11/9/2017 1:31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7</a:t>
            </a:fld>
            <a:endParaRPr lang="en-US" dirty="0"/>
          </a:p>
        </p:txBody>
      </p:sp>
    </p:spTree>
    <p:extLst>
      <p:ext uri="{BB962C8B-B14F-4D97-AF65-F5344CB8AC3E}">
        <p14:creationId xmlns:p14="http://schemas.microsoft.com/office/powerpoint/2010/main" val="323739514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Tx/>
              <a:buNone/>
              <a:tabLst/>
              <a:defRPr/>
            </a:pPr>
            <a:r>
              <a:rPr lang="en-US" sz="900" dirty="0">
                <a:gradFill>
                  <a:gsLst>
                    <a:gs pos="1250">
                      <a:srgbClr val="505050"/>
                    </a:gs>
                    <a:gs pos="100000">
                      <a:srgbClr val="505050"/>
                    </a:gs>
                  </a:gsLst>
                  <a:lin ang="5400000" scaled="0"/>
                </a:gradFill>
              </a:rPr>
              <a:t>Metrics emitted by Azure Diagnostic Extension</a:t>
            </a:r>
          </a:p>
          <a:p>
            <a:pPr>
              <a:defRPr/>
            </a:pPr>
            <a:r>
              <a:rPr lang="en-US" dirty="0">
                <a:gradFill>
                  <a:gsLst>
                    <a:gs pos="1250">
                      <a:srgbClr val="505050"/>
                    </a:gs>
                    <a:gs pos="100000">
                      <a:srgbClr val="505050"/>
                    </a:gs>
                  </a:gsLst>
                  <a:lin ang="5400000" scaled="0"/>
                </a:gradFill>
              </a:rPr>
              <a:t>Triggers can be basic performance metrics, and also schedule based, queue length based.</a:t>
            </a:r>
          </a:p>
          <a:p>
            <a:pPr>
              <a:defRPr/>
            </a:pPr>
            <a:endParaRPr lang="en-US" dirty="0">
              <a:gradFill>
                <a:gsLst>
                  <a:gs pos="1250">
                    <a:srgbClr val="505050"/>
                  </a:gs>
                  <a:gs pos="100000">
                    <a:srgbClr val="505050"/>
                  </a:gs>
                </a:gsLst>
                <a:lin ang="5400000" scaled="0"/>
              </a:gradFill>
            </a:endParaRPr>
          </a:p>
          <a:p>
            <a:pPr>
              <a:defRPr/>
            </a:pPr>
            <a:r>
              <a:rPr lang="en-US" dirty="0"/>
              <a:t>https://docs.microsoft.com/en-us/azure/virtual-machine-scale-sets/virtual-machine-scale-sets-autoscale-portal</a:t>
            </a: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Build 2016</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9/2017 1:31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75699555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IN" dirty="0"/>
              <a:t>Service Fabric is Microsoft's container orchestrator deploying microservices across a cluster of machines.</a:t>
            </a:r>
          </a:p>
          <a:p>
            <a:pPr marL="171450" indent="-171450">
              <a:buFont typeface="Arial" panose="020B0604020202020204" pitchFamily="34" charset="0"/>
              <a:buChar char="•"/>
            </a:pPr>
            <a:endParaRPr lang="en-IN" dirty="0"/>
          </a:p>
          <a:p>
            <a:pPr marL="171450" indent="-171450">
              <a:buFont typeface="Arial" panose="020B0604020202020204" pitchFamily="34" charset="0"/>
              <a:buChar char="•"/>
            </a:pPr>
            <a:r>
              <a:rPr lang="en-IN" sz="1200" b="0" i="0" kern="1200" dirty="0">
                <a:solidFill>
                  <a:schemeClr val="tx1"/>
                </a:solidFill>
                <a:effectLst/>
                <a:latin typeface="+mn-lt"/>
                <a:ea typeface="+mn-ea"/>
                <a:cs typeface="+mn-cs"/>
              </a:rPr>
              <a:t>Service Fabric runs everywhere. You can create clusters for Service Fabric in many environments, including Azure or on premises, on Windows Server, or on Linux. You can even create clusters on other public clouds. In addition, the development environment in the SDK is </a:t>
            </a:r>
            <a:r>
              <a:rPr lang="en-IN" sz="1200" b="1" i="0" kern="1200" dirty="0">
                <a:solidFill>
                  <a:schemeClr val="tx1"/>
                </a:solidFill>
                <a:effectLst/>
                <a:latin typeface="+mn-lt"/>
                <a:ea typeface="+mn-ea"/>
                <a:cs typeface="+mn-cs"/>
              </a:rPr>
              <a:t>identical</a:t>
            </a:r>
            <a:r>
              <a:rPr lang="en-IN" sz="1200" b="0" i="0" kern="1200" dirty="0">
                <a:solidFill>
                  <a:schemeClr val="tx1"/>
                </a:solidFill>
                <a:effectLst/>
                <a:latin typeface="+mn-lt"/>
                <a:ea typeface="+mn-ea"/>
                <a:cs typeface="+mn-cs"/>
              </a:rPr>
              <a:t> to the production environment, with no emulators involved. In other words, what runs on your local development cluster deploys to the clusters in other environments.</a:t>
            </a:r>
          </a:p>
          <a:p>
            <a:pPr marL="171450" indent="-171450">
              <a:buFont typeface="Arial" panose="020B0604020202020204" pitchFamily="34" charset="0"/>
              <a:buChar char="•"/>
            </a:pPr>
            <a:endParaRPr lang="en-IN" sz="1200" b="0" i="0" kern="1200" dirty="0">
              <a:solidFill>
                <a:schemeClr val="tx1"/>
              </a:solidFill>
              <a:effectLst/>
              <a:latin typeface="+mn-lt"/>
              <a:ea typeface="+mn-ea"/>
              <a:cs typeface="+mn-cs"/>
            </a:endParaRPr>
          </a:p>
          <a:p>
            <a:pPr marL="171450" indent="-171450">
              <a:buFont typeface="Arial" panose="020B0604020202020204" pitchFamily="34" charset="0"/>
              <a:buChar char="•"/>
            </a:pPr>
            <a:r>
              <a:rPr lang="en-IN" sz="1200" b="0" i="0" kern="1200" dirty="0">
                <a:solidFill>
                  <a:schemeClr val="tx1"/>
                </a:solidFill>
                <a:effectLst/>
                <a:latin typeface="+mn-lt"/>
                <a:ea typeface="+mn-ea"/>
                <a:cs typeface="+mn-cs"/>
              </a:rPr>
              <a:t>Any OS, Any Cloud.</a:t>
            </a:r>
          </a:p>
          <a:p>
            <a:pPr marL="0" indent="0">
              <a:buFont typeface="Arial" panose="020B0604020202020204" pitchFamily="34" charset="0"/>
              <a:buNone/>
            </a:pPr>
            <a:endParaRPr lang="en-IN" sz="1200" b="0" i="0" kern="1200" dirty="0">
              <a:solidFill>
                <a:schemeClr val="tx1"/>
              </a:solidFill>
              <a:effectLst/>
              <a:latin typeface="+mn-lt"/>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IN" dirty="0"/>
              <a:t>Insurance/Financial App can deploy SF on-prem.</a:t>
            </a:r>
          </a:p>
          <a:p>
            <a:pPr marL="171450" indent="-171450">
              <a:buFont typeface="Arial" panose="020B0604020202020204" pitchFamily="34" charset="0"/>
              <a:buChar char="•"/>
            </a:pPr>
            <a:endParaRPr lang="en-IN" dirty="0"/>
          </a:p>
          <a:p>
            <a:endParaRPr lang="en-US" dirty="0"/>
          </a:p>
          <a:p>
            <a:r>
              <a:rPr lang="en-US" b="1" dirty="0"/>
              <a:t>Lifecycle Management </a:t>
            </a:r>
            <a:r>
              <a:rPr lang="en-US" dirty="0"/>
              <a:t>– </a:t>
            </a:r>
            <a:r>
              <a:rPr lang="en-IN" sz="1200" b="0" i="0" kern="1200" dirty="0">
                <a:solidFill>
                  <a:schemeClr val="tx1"/>
                </a:solidFill>
                <a:effectLst/>
                <a:latin typeface="+mn-lt"/>
                <a:ea typeface="+mn-ea"/>
                <a:cs typeface="+mn-cs"/>
              </a:rPr>
              <a:t>As with other platforms, an application on Service Fabric usually goes through the phases: design, development, testing, deployment, upgrade, maintenance, and removal. Service Fabric provides first-class support for the full application lifecycle of cloud applications, from development through deployment, daily management, and maintenance to eventual decommissioning.</a:t>
            </a:r>
          </a:p>
          <a:p>
            <a:endParaRPr lang="en-IN" sz="1200" b="0" i="0" kern="1200" dirty="0">
              <a:solidFill>
                <a:schemeClr val="tx1"/>
              </a:solidFill>
              <a:effectLst/>
              <a:latin typeface="+mn-lt"/>
              <a:ea typeface="+mn-ea"/>
              <a:cs typeface="+mn-cs"/>
            </a:endParaRPr>
          </a:p>
          <a:p>
            <a:r>
              <a:rPr lang="en-US" b="1" dirty="0"/>
              <a:t>Always-On Availability </a:t>
            </a:r>
            <a:r>
              <a:rPr lang="en-US" dirty="0"/>
              <a:t>– SF has Built in resiliency. Even if one of the instances fail, the replicated instance becomes the primary automatically.</a:t>
            </a:r>
          </a:p>
          <a:p>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t>Programming Models</a:t>
            </a:r>
            <a:r>
              <a:rPr lang="en-US" dirty="0"/>
              <a:t> - </a:t>
            </a:r>
            <a:r>
              <a:rPr lang="en-IN" sz="1200" b="0" i="0" kern="1200" dirty="0">
                <a:solidFill>
                  <a:schemeClr val="tx1"/>
                </a:solidFill>
                <a:effectLst/>
                <a:latin typeface="+mn-lt"/>
                <a:ea typeface="+mn-ea"/>
                <a:cs typeface="+mn-cs"/>
              </a:rPr>
              <a:t>Service Fabric offers multiple ways to write and manage your services. </a:t>
            </a:r>
            <a:r>
              <a:rPr lang="en-US" sz="1200" b="0" i="0" kern="1200" dirty="0">
                <a:solidFill>
                  <a:schemeClr val="tx1"/>
                </a:solidFill>
                <a:effectLst/>
                <a:latin typeface="+mn-lt"/>
                <a:ea typeface="+mn-ea"/>
                <a:cs typeface="+mn-cs"/>
              </a:rPr>
              <a:t>Guest executables, Containers, Reliable Services, Reliable Actors, ASP.NET Core</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kern="0" dirty="0">
                <a:gradFill>
                  <a:gsLst>
                    <a:gs pos="12097">
                      <a:srgbClr val="FFFFFF"/>
                    </a:gs>
                    <a:gs pos="34000">
                      <a:srgbClr val="FFFFFF"/>
                    </a:gs>
                  </a:gsLst>
                  <a:lin ang="5400000" scaled="0"/>
                </a:gradFill>
                <a:latin typeface="Segoe UI Semilight"/>
                <a:ea typeface="MS PGothic" panose="020B0600070205080204" pitchFamily="34" charset="-128"/>
              </a:rPr>
              <a:t>Health &amp; Monitoring - </a:t>
            </a:r>
            <a:r>
              <a:rPr lang="en-IN" sz="1200" b="0" i="0" kern="1200" dirty="0">
                <a:solidFill>
                  <a:schemeClr val="tx1"/>
                </a:solidFill>
                <a:effectLst/>
                <a:latin typeface="+mn-lt"/>
                <a:ea typeface="+mn-ea"/>
                <a:cs typeface="+mn-cs"/>
              </a:rPr>
              <a:t>Service Fabric introduces a </a:t>
            </a:r>
            <a:r>
              <a:rPr lang="en-IN" sz="1200" b="0" i="0" u="none" strike="noStrike" kern="1200" dirty="0">
                <a:solidFill>
                  <a:schemeClr val="tx1"/>
                </a:solidFill>
                <a:effectLst/>
                <a:latin typeface="+mn-lt"/>
                <a:ea typeface="+mn-ea"/>
                <a:cs typeface="+mn-cs"/>
                <a:hlinkClick r:id="rId3"/>
              </a:rPr>
              <a:t>health model</a:t>
            </a:r>
            <a:r>
              <a:rPr lang="en-IN" sz="1200" b="0" i="0" kern="1200" dirty="0">
                <a:solidFill>
                  <a:schemeClr val="tx1"/>
                </a:solidFill>
                <a:effectLst/>
                <a:latin typeface="+mn-lt"/>
                <a:ea typeface="+mn-ea"/>
                <a:cs typeface="+mn-cs"/>
              </a:rPr>
              <a:t> designed to flag unhealthy cluster and application conditions on specific cluster nodes and service replicas.</a:t>
            </a:r>
            <a:endParaRPr lang="en-US" sz="1200" b="1" kern="0" dirty="0">
              <a:gradFill>
                <a:gsLst>
                  <a:gs pos="12097">
                    <a:srgbClr val="FFFFFF"/>
                  </a:gs>
                  <a:gs pos="34000">
                    <a:srgbClr val="FFFFFF"/>
                  </a:gs>
                </a:gsLst>
                <a:lin ang="5400000" scaled="0"/>
              </a:gradFill>
              <a:latin typeface="Segoe UI Semilight"/>
              <a:ea typeface="MS PGothic" panose="020B0600070205080204" pitchFamily="34"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r>
              <a:rPr lang="en-US" b="1" dirty="0"/>
              <a:t>DevOps Tooling – </a:t>
            </a:r>
            <a:r>
              <a:rPr lang="en-US" b="0" dirty="0"/>
              <a:t>VSTS, Jenkins</a:t>
            </a:r>
          </a:p>
          <a:p>
            <a:endParaRPr lang="en-US" dirty="0"/>
          </a:p>
          <a:p>
            <a:endParaRPr lang="en-US" dirty="0"/>
          </a:p>
          <a:p>
            <a:r>
              <a:rPr lang="en-US" b="1" dirty="0"/>
              <a:t>https://docs.microsoft.com/en-us/azure/service-fabric/service-fabric-content-roadmap</a:t>
            </a:r>
          </a:p>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Build 2017</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9/2017 1:31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25398033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11/9/2017 1:31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a:t>
            </a:fld>
            <a:endParaRPr lang="en-US" dirty="0"/>
          </a:p>
        </p:txBody>
      </p:sp>
    </p:spTree>
    <p:extLst>
      <p:ext uri="{BB962C8B-B14F-4D97-AF65-F5344CB8AC3E}">
        <p14:creationId xmlns:p14="http://schemas.microsoft.com/office/powerpoint/2010/main" val="262260845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sz="1200" b="1" i="0" kern="1200" dirty="0">
                <a:solidFill>
                  <a:schemeClr val="tx1"/>
                </a:solidFill>
                <a:effectLst/>
                <a:latin typeface="+mn-lt"/>
                <a:ea typeface="+mn-ea"/>
                <a:cs typeface="+mn-cs"/>
              </a:rPr>
              <a:t>Monolithic</a:t>
            </a:r>
          </a:p>
          <a:p>
            <a:pPr marL="171450" indent="-171450">
              <a:buFont typeface="Arial" panose="020B0604020202020204" pitchFamily="34" charset="0"/>
              <a:buChar char="•"/>
            </a:pPr>
            <a:r>
              <a:rPr lang="en-IN" sz="1200" b="0" i="0" kern="1200" dirty="0">
                <a:solidFill>
                  <a:schemeClr val="tx1"/>
                </a:solidFill>
                <a:effectLst/>
                <a:latin typeface="+mn-lt"/>
                <a:ea typeface="+mn-ea"/>
                <a:cs typeface="+mn-cs"/>
              </a:rPr>
              <a:t>During the client-server era, we tended to focus on building tiered applications by using specific technologies in each tier. The term </a:t>
            </a:r>
            <a:r>
              <a:rPr lang="en-IN" sz="1200" b="0" i="1" kern="1200" dirty="0">
                <a:solidFill>
                  <a:schemeClr val="tx1"/>
                </a:solidFill>
                <a:effectLst/>
                <a:latin typeface="+mn-lt"/>
                <a:ea typeface="+mn-ea"/>
                <a:cs typeface="+mn-cs"/>
              </a:rPr>
              <a:t>monolithic</a:t>
            </a:r>
            <a:r>
              <a:rPr lang="en-IN" sz="1200" b="0" i="0" kern="1200" dirty="0">
                <a:solidFill>
                  <a:schemeClr val="tx1"/>
                </a:solidFill>
                <a:effectLst/>
                <a:latin typeface="+mn-lt"/>
                <a:ea typeface="+mn-ea"/>
                <a:cs typeface="+mn-cs"/>
              </a:rPr>
              <a:t> application has emerged for these approaches.</a:t>
            </a:r>
          </a:p>
          <a:p>
            <a:pPr marL="0" indent="0">
              <a:buFont typeface="Arial" panose="020B0604020202020204" pitchFamily="34" charset="0"/>
              <a:buNone/>
            </a:pPr>
            <a:endParaRPr lang="en-IN" sz="1200" b="0" i="0" kern="1200" dirty="0">
              <a:solidFill>
                <a:schemeClr val="tx1"/>
              </a:solidFill>
              <a:effectLst/>
              <a:latin typeface="+mn-lt"/>
              <a:ea typeface="+mn-ea"/>
              <a:cs typeface="+mn-cs"/>
            </a:endParaRPr>
          </a:p>
          <a:p>
            <a:pPr marL="171450" indent="-171450">
              <a:buFont typeface="Arial" panose="020B0604020202020204" pitchFamily="34" charset="0"/>
              <a:buChar char="•"/>
            </a:pPr>
            <a:r>
              <a:rPr lang="en-IN" sz="1200" b="0" i="0" kern="1200" dirty="0">
                <a:solidFill>
                  <a:schemeClr val="tx1"/>
                </a:solidFill>
                <a:effectLst/>
                <a:latin typeface="+mn-lt"/>
                <a:ea typeface="+mn-ea"/>
                <a:cs typeface="+mn-cs"/>
              </a:rPr>
              <a:t>There are benefits to such a monolithic design approach. It's often simpler to design, and it has faster calls between components, because these calls are often over </a:t>
            </a:r>
            <a:r>
              <a:rPr lang="en-IN" sz="1200" b="0" i="0" kern="1200" dirty="0" err="1">
                <a:solidFill>
                  <a:schemeClr val="tx1"/>
                </a:solidFill>
                <a:effectLst/>
                <a:latin typeface="+mn-lt"/>
                <a:ea typeface="+mn-ea"/>
                <a:cs typeface="+mn-cs"/>
              </a:rPr>
              <a:t>interprocess</a:t>
            </a:r>
            <a:r>
              <a:rPr lang="en-IN" sz="1200" b="0" i="0" kern="1200" dirty="0">
                <a:solidFill>
                  <a:schemeClr val="tx1"/>
                </a:solidFill>
                <a:effectLst/>
                <a:latin typeface="+mn-lt"/>
                <a:ea typeface="+mn-ea"/>
                <a:cs typeface="+mn-cs"/>
              </a:rPr>
              <a:t> communication (IPC).</a:t>
            </a:r>
          </a:p>
          <a:p>
            <a:pPr marL="0" indent="0">
              <a:buFont typeface="Arial" panose="020B0604020202020204" pitchFamily="34" charset="0"/>
              <a:buNone/>
            </a:pPr>
            <a:endParaRPr lang="en-IN" sz="1200" b="0" i="0" kern="1200" dirty="0">
              <a:solidFill>
                <a:schemeClr val="tx1"/>
              </a:solidFill>
              <a:effectLst/>
              <a:latin typeface="+mn-lt"/>
              <a:ea typeface="+mn-ea"/>
              <a:cs typeface="+mn-cs"/>
            </a:endParaRPr>
          </a:p>
          <a:p>
            <a:pPr marL="171450" indent="-171450">
              <a:buFont typeface="Arial" panose="020B0604020202020204" pitchFamily="34" charset="0"/>
              <a:buChar char="•"/>
            </a:pPr>
            <a:r>
              <a:rPr lang="en-IN" sz="1200" b="0" i="0" kern="1200" dirty="0">
                <a:solidFill>
                  <a:schemeClr val="tx1"/>
                </a:solidFill>
                <a:effectLst/>
                <a:latin typeface="+mn-lt"/>
                <a:ea typeface="+mn-ea"/>
                <a:cs typeface="+mn-cs"/>
              </a:rPr>
              <a:t>The downside is that there's a tight coupling between tiered layers, and you cannot scale individual components. If you need to perform fixes or upgrades, you have to wait for others to finish their testing. It is more difficult to be agile.</a:t>
            </a:r>
          </a:p>
          <a:p>
            <a:pPr marL="0" indent="0">
              <a:buFont typeface="Arial" panose="020B0604020202020204" pitchFamily="34" charset="0"/>
              <a:buNone/>
            </a:pPr>
            <a:endParaRPr lang="en-IN" sz="1200" b="0" i="0" kern="1200" dirty="0">
              <a:solidFill>
                <a:schemeClr val="tx1"/>
              </a:solidFill>
              <a:effectLst/>
              <a:latin typeface="+mn-lt"/>
              <a:ea typeface="+mn-ea"/>
              <a:cs typeface="+mn-cs"/>
            </a:endParaRPr>
          </a:p>
          <a:p>
            <a:pPr marL="0" indent="0">
              <a:buFont typeface="Arial" panose="020B0604020202020204" pitchFamily="34" charset="0"/>
              <a:buNone/>
            </a:pPr>
            <a:r>
              <a:rPr lang="en-IN" sz="1200" b="1" i="0" kern="1200" dirty="0">
                <a:solidFill>
                  <a:schemeClr val="tx1"/>
                </a:solidFill>
                <a:effectLst/>
                <a:latin typeface="+mn-lt"/>
                <a:ea typeface="+mn-ea"/>
                <a:cs typeface="+mn-cs"/>
              </a:rPr>
              <a:t>Microservices</a:t>
            </a:r>
          </a:p>
          <a:p>
            <a:pPr marL="171450" indent="-171450">
              <a:buFont typeface="Arial" panose="020B0604020202020204" pitchFamily="34" charset="0"/>
              <a:buChar char="•"/>
            </a:pPr>
            <a:r>
              <a:rPr lang="en-IN" sz="1200" b="0" i="0" kern="1200" dirty="0">
                <a:solidFill>
                  <a:schemeClr val="tx1"/>
                </a:solidFill>
                <a:effectLst/>
                <a:latin typeface="+mn-lt"/>
                <a:ea typeface="+mn-ea"/>
                <a:cs typeface="+mn-cs"/>
              </a:rPr>
              <a:t>The benefits of microservices are that each one typically encapsulates simpler business functionality, which you scale up or down, test, deploy, and manage independently.</a:t>
            </a:r>
          </a:p>
          <a:p>
            <a:pPr marL="171450" indent="-171450">
              <a:buFont typeface="Arial" panose="020B0604020202020204" pitchFamily="34" charset="0"/>
              <a:buChar char="•"/>
            </a:pPr>
            <a:endParaRPr lang="en-IN" sz="1200" b="0" i="0" kern="1200" dirty="0">
              <a:solidFill>
                <a:schemeClr val="tx1"/>
              </a:solidFill>
              <a:effectLst/>
              <a:latin typeface="+mn-lt"/>
              <a:ea typeface="+mn-ea"/>
              <a:cs typeface="+mn-cs"/>
            </a:endParaRPr>
          </a:p>
          <a:p>
            <a:pPr marL="171450" indent="-171450">
              <a:buFont typeface="Arial" panose="020B0604020202020204" pitchFamily="34" charset="0"/>
              <a:buChar char="•"/>
            </a:pPr>
            <a:r>
              <a:rPr lang="en-IN" sz="1200" b="0" i="0" kern="1200" dirty="0">
                <a:solidFill>
                  <a:schemeClr val="tx1"/>
                </a:solidFill>
                <a:effectLst/>
                <a:latin typeface="+mn-lt"/>
                <a:ea typeface="+mn-ea"/>
                <a:cs typeface="+mn-cs"/>
              </a:rPr>
              <a:t>The downside of microservices comes in managing the increased number of separate entities and dealing with more complex deployments and versioning. </a:t>
            </a:r>
          </a:p>
          <a:p>
            <a:pPr marL="171450" indent="-171450">
              <a:buFont typeface="Arial" panose="020B0604020202020204" pitchFamily="34" charset="0"/>
              <a:buChar char="•"/>
            </a:pPr>
            <a:endParaRPr lang="en-IN" sz="1200" b="0" i="0" kern="1200" dirty="0">
              <a:solidFill>
                <a:schemeClr val="tx1"/>
              </a:solidFill>
              <a:effectLst/>
              <a:latin typeface="+mn-lt"/>
              <a:ea typeface="+mn-ea"/>
              <a:cs typeface="+mn-cs"/>
            </a:endParaRPr>
          </a:p>
          <a:p>
            <a:pPr marL="171450" indent="-171450">
              <a:buFont typeface="Arial" panose="020B0604020202020204" pitchFamily="34" charset="0"/>
              <a:buChar char="•"/>
            </a:pPr>
            <a:endParaRPr lang="en-IN" sz="1200" b="0" i="0" kern="1200" dirty="0">
              <a:solidFill>
                <a:schemeClr val="tx1"/>
              </a:solidFill>
              <a:effectLst/>
              <a:latin typeface="+mn-lt"/>
              <a:ea typeface="+mn-ea"/>
              <a:cs typeface="+mn-cs"/>
            </a:endParaRPr>
          </a:p>
          <a:p>
            <a:pPr marL="171450" indent="-171450">
              <a:buFont typeface="Arial" panose="020B0604020202020204" pitchFamily="34" charset="0"/>
              <a:buChar char="•"/>
            </a:pPr>
            <a:r>
              <a:rPr lang="en-US" b="1" dirty="0"/>
              <a:t>https://docs.microsoft.com/en-us/azure/service-fabric/service-fabric-overview-microservices</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A2F40B69-2AC5-4937-9EE6-A04B6E0B76C1}"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9/2017 2:19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84483837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a:p>
            <a:r>
              <a:rPr lang="en-IN" dirty="0"/>
              <a:t>We are deploying lots of azure mission critical services on Service Fabric, you can imagine what if SQL Azure goes down.</a:t>
            </a:r>
          </a:p>
          <a:p>
            <a:endParaRPr lang="en-IN" dirty="0"/>
          </a:p>
          <a:p>
            <a:r>
              <a:rPr lang="en-IN" dirty="0"/>
              <a:t>Microsoft itself runs its business on Service Fabric.</a:t>
            </a:r>
            <a:endParaRPr lang="en-US" dirty="0"/>
          </a:p>
        </p:txBody>
      </p:sp>
      <p:sp>
        <p:nvSpPr>
          <p:cNvPr id="4" name="Slide Number Placeholder 3"/>
          <p:cNvSpPr>
            <a:spLocks noGrp="1"/>
          </p:cNvSpPr>
          <p:nvPr>
            <p:ph type="sldNum" sz="quarter" idx="10"/>
          </p:nvPr>
        </p:nvSpPr>
        <p:spPr/>
        <p:txBody>
          <a:bodyPr/>
          <a:lstStyle/>
          <a:p>
            <a:fld id="{F07DEF43-D4A7-461F-8F11-3356F0C85618}" type="slidenum">
              <a:rPr lang="en-US" smtClean="0"/>
              <a:t>21</a:t>
            </a:fld>
            <a:endParaRPr lang="en-US"/>
          </a:p>
        </p:txBody>
      </p:sp>
    </p:spTree>
    <p:extLst>
      <p:ext uri="{BB962C8B-B14F-4D97-AF65-F5344CB8AC3E}">
        <p14:creationId xmlns:p14="http://schemas.microsoft.com/office/powerpoint/2010/main" val="367343225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sz="1200" b="0" i="0" kern="1200" dirty="0">
                <a:solidFill>
                  <a:schemeClr val="tx1"/>
                </a:solidFill>
                <a:effectLst/>
                <a:latin typeface="+mn-lt"/>
                <a:ea typeface="+mn-ea"/>
                <a:cs typeface="+mn-cs"/>
              </a:rPr>
              <a:t>Azure Service Fabric makes it easy to build scalable applications by managing the services, partitions, and replicas on the nodes of a cluster. </a:t>
            </a:r>
          </a:p>
          <a:p>
            <a:endParaRPr lang="en-IN" sz="1200" b="0" i="0" kern="1200" dirty="0">
              <a:solidFill>
                <a:schemeClr val="tx1"/>
              </a:solidFill>
              <a:effectLst/>
              <a:latin typeface="+mn-lt"/>
              <a:ea typeface="+mn-ea"/>
              <a:cs typeface="+mn-cs"/>
            </a:endParaRPr>
          </a:p>
          <a:p>
            <a:r>
              <a:rPr lang="en-IN" sz="1200" b="0" i="0" kern="1200" dirty="0">
                <a:solidFill>
                  <a:schemeClr val="tx1"/>
                </a:solidFill>
                <a:effectLst/>
                <a:latin typeface="+mn-lt"/>
                <a:ea typeface="+mn-ea"/>
                <a:cs typeface="+mn-cs"/>
              </a:rPr>
              <a:t>Scaling in Service Fabric is accomplished several different ways:</a:t>
            </a:r>
          </a:p>
          <a:p>
            <a:pPr marL="171450" indent="-171450">
              <a:buFont typeface="Arial" panose="020B0604020202020204" pitchFamily="34" charset="0"/>
              <a:buChar char="•"/>
            </a:pPr>
            <a:r>
              <a:rPr lang="en-IN" sz="1200" b="1" i="0" kern="1200" dirty="0">
                <a:solidFill>
                  <a:schemeClr val="tx1"/>
                </a:solidFill>
                <a:effectLst/>
                <a:latin typeface="+mn-lt"/>
                <a:ea typeface="+mn-ea"/>
                <a:cs typeface="+mn-cs"/>
              </a:rPr>
              <a:t>Scaling by creating or removing stateless service instances: </a:t>
            </a:r>
            <a:r>
              <a:rPr lang="en-IN" sz="1200" b="0" i="0" kern="1200" dirty="0">
                <a:solidFill>
                  <a:schemeClr val="tx1"/>
                </a:solidFill>
                <a:effectLst/>
                <a:latin typeface="+mn-lt"/>
                <a:ea typeface="+mn-ea"/>
                <a:cs typeface="+mn-cs"/>
              </a:rPr>
              <a:t>When you create a stateless service, you get a chance to define an </a:t>
            </a:r>
            <a:r>
              <a:rPr lang="en-IN" dirty="0" err="1"/>
              <a:t>InstanceCount</a:t>
            </a:r>
            <a:r>
              <a:rPr lang="en-IN" sz="1200" b="0" i="0" kern="1200" dirty="0">
                <a:solidFill>
                  <a:schemeClr val="tx1"/>
                </a:solidFill>
                <a:effectLst/>
                <a:latin typeface="+mn-lt"/>
                <a:ea typeface="+mn-ea"/>
                <a:cs typeface="+mn-cs"/>
              </a:rPr>
              <a:t>. </a:t>
            </a:r>
            <a:r>
              <a:rPr lang="en-IN" dirty="0" err="1"/>
              <a:t>InstanceCount</a:t>
            </a:r>
            <a:r>
              <a:rPr lang="en-IN" sz="1200" b="0" i="0" kern="1200" dirty="0">
                <a:solidFill>
                  <a:schemeClr val="tx1"/>
                </a:solidFill>
                <a:effectLst/>
                <a:latin typeface="+mn-lt"/>
                <a:ea typeface="+mn-ea"/>
                <a:cs typeface="+mn-cs"/>
              </a:rPr>
              <a:t> defines how many running copies of that service's code are created when the service starts up.</a:t>
            </a:r>
          </a:p>
          <a:p>
            <a:pPr marL="0" indent="0">
              <a:buFont typeface="Arial" panose="020B0604020202020204" pitchFamily="34" charset="0"/>
              <a:buNone/>
            </a:pPr>
            <a:endParaRPr lang="en-IN" sz="1200" b="0" i="0" kern="1200" dirty="0">
              <a:solidFill>
                <a:schemeClr val="tx1"/>
              </a:solidFill>
              <a:effectLst/>
              <a:latin typeface="+mn-lt"/>
              <a:ea typeface="+mn-ea"/>
              <a:cs typeface="+mn-cs"/>
            </a:endParaRPr>
          </a:p>
          <a:p>
            <a:pPr marL="171450" indent="-171450">
              <a:buFont typeface="Arial" panose="020B0604020202020204" pitchFamily="34" charset="0"/>
              <a:buChar char="•"/>
            </a:pPr>
            <a:r>
              <a:rPr lang="en-IN" sz="1200" b="1" i="0" kern="1200" dirty="0">
                <a:solidFill>
                  <a:schemeClr val="tx1"/>
                </a:solidFill>
                <a:effectLst/>
                <a:latin typeface="+mn-lt"/>
                <a:ea typeface="+mn-ea"/>
                <a:cs typeface="+mn-cs"/>
              </a:rPr>
              <a:t>Scaling by creating or removing new named services: </a:t>
            </a:r>
            <a:r>
              <a:rPr lang="en-IN" sz="1200" b="0" i="0" kern="1200" dirty="0">
                <a:solidFill>
                  <a:schemeClr val="tx1"/>
                </a:solidFill>
                <a:effectLst/>
                <a:latin typeface="+mn-lt"/>
                <a:ea typeface="+mn-ea"/>
                <a:cs typeface="+mn-cs"/>
              </a:rPr>
              <a:t>New named service instances can be created (or removed) as services become more or less busy. This allows requests to be spread across more service instances, usually allowing load on existing services to decrease.</a:t>
            </a:r>
          </a:p>
          <a:p>
            <a:pPr marL="0" indent="0">
              <a:buFont typeface="Arial" panose="020B0604020202020204" pitchFamily="34" charset="0"/>
              <a:buNone/>
            </a:pPr>
            <a:endParaRPr lang="en-IN" sz="1200" b="0" i="0" kern="1200" dirty="0">
              <a:solidFill>
                <a:schemeClr val="tx1"/>
              </a:solidFill>
              <a:effectLst/>
              <a:latin typeface="+mn-lt"/>
              <a:ea typeface="+mn-ea"/>
              <a:cs typeface="+mn-cs"/>
            </a:endParaRPr>
          </a:p>
          <a:p>
            <a:pPr marL="171450" indent="-171450">
              <a:buFont typeface="Arial" panose="020B0604020202020204" pitchFamily="34" charset="0"/>
              <a:buChar char="•"/>
            </a:pPr>
            <a:r>
              <a:rPr lang="en-IN" sz="1200" b="1" i="0" kern="1200" dirty="0">
                <a:solidFill>
                  <a:schemeClr val="tx1"/>
                </a:solidFill>
                <a:effectLst/>
                <a:latin typeface="+mn-lt"/>
                <a:ea typeface="+mn-ea"/>
                <a:cs typeface="+mn-cs"/>
              </a:rPr>
              <a:t>Scaling by creating or removing new named application instances: </a:t>
            </a:r>
            <a:r>
              <a:rPr lang="en-IN" sz="1200" b="0" i="0" kern="1200" dirty="0">
                <a:solidFill>
                  <a:schemeClr val="tx1"/>
                </a:solidFill>
                <a:effectLst/>
                <a:latin typeface="+mn-lt"/>
                <a:ea typeface="+mn-ea"/>
                <a:cs typeface="+mn-cs"/>
              </a:rPr>
              <a:t>there's some manager service that is making the decision based on the requests that it is seeing and the information it is receiving from the other services inside the cluster.</a:t>
            </a:r>
          </a:p>
          <a:p>
            <a:pPr marL="171450" indent="-171450">
              <a:buFont typeface="Arial" panose="020B0604020202020204" pitchFamily="34" charset="0"/>
              <a:buChar char="•"/>
            </a:pPr>
            <a:endParaRPr lang="en-IN" sz="1200" b="0" i="0" kern="1200" dirty="0">
              <a:solidFill>
                <a:schemeClr val="tx1"/>
              </a:solidFill>
              <a:effectLst/>
              <a:latin typeface="+mn-lt"/>
              <a:ea typeface="+mn-ea"/>
              <a:cs typeface="+mn-cs"/>
            </a:endParaRPr>
          </a:p>
          <a:p>
            <a:pPr marL="171450" indent="-171450">
              <a:buFont typeface="Arial" panose="020B0604020202020204" pitchFamily="34" charset="0"/>
              <a:buChar char="•"/>
            </a:pPr>
            <a:r>
              <a:rPr lang="en-IN" sz="1200" b="1" i="0" kern="1200" dirty="0">
                <a:solidFill>
                  <a:schemeClr val="tx1"/>
                </a:solidFill>
                <a:effectLst/>
                <a:latin typeface="+mn-lt"/>
                <a:ea typeface="+mn-ea"/>
                <a:cs typeface="+mn-cs"/>
              </a:rPr>
              <a:t>Scaling by using partitioned services: </a:t>
            </a:r>
            <a:r>
              <a:rPr lang="en-IN" sz="1200" b="0" i="0" kern="1200" dirty="0">
                <a:solidFill>
                  <a:schemeClr val="tx1"/>
                </a:solidFill>
                <a:effectLst/>
                <a:latin typeface="+mn-lt"/>
                <a:ea typeface="+mn-ea"/>
                <a:cs typeface="+mn-cs"/>
              </a:rPr>
              <a:t>Partitioning splits a service into several logical and physical sections, each of which operates independently. </a:t>
            </a:r>
          </a:p>
          <a:p>
            <a:pPr marL="0" indent="0">
              <a:buFont typeface="Arial" panose="020B0604020202020204" pitchFamily="34" charset="0"/>
              <a:buNone/>
            </a:pPr>
            <a:endParaRPr lang="en-IN" sz="1200" b="1" i="0" kern="1200" dirty="0">
              <a:solidFill>
                <a:schemeClr val="tx1"/>
              </a:solidFill>
              <a:effectLst/>
              <a:latin typeface="+mn-lt"/>
              <a:ea typeface="+mn-ea"/>
              <a:cs typeface="+mn-cs"/>
            </a:endParaRPr>
          </a:p>
          <a:p>
            <a:pPr marL="171450" indent="-171450">
              <a:buFont typeface="Arial" panose="020B0604020202020204" pitchFamily="34" charset="0"/>
              <a:buChar char="•"/>
            </a:pPr>
            <a:r>
              <a:rPr lang="en-IN" sz="1200" b="1" i="0" kern="1200" dirty="0">
                <a:solidFill>
                  <a:schemeClr val="tx1"/>
                </a:solidFill>
                <a:effectLst/>
                <a:latin typeface="+mn-lt"/>
                <a:ea typeface="+mn-ea"/>
                <a:cs typeface="+mn-cs"/>
              </a:rPr>
              <a:t>Scaling by adding and removing nodes from the cluster:  </a:t>
            </a:r>
            <a:r>
              <a:rPr lang="en-IN" sz="1200" b="0" i="0" u="none" strike="noStrike" kern="1200" dirty="0">
                <a:solidFill>
                  <a:schemeClr val="tx1"/>
                </a:solidFill>
                <a:effectLst/>
                <a:latin typeface="+mn-lt"/>
                <a:ea typeface="+mn-ea"/>
                <a:cs typeface="+mn-cs"/>
                <a:hlinkClick r:id="rId3"/>
              </a:rPr>
              <a:t>Metrics</a:t>
            </a:r>
            <a:r>
              <a:rPr lang="en-IN" sz="1200" b="0" i="0" kern="1200" dirty="0">
                <a:solidFill>
                  <a:schemeClr val="tx1"/>
                </a:solidFill>
                <a:effectLst/>
                <a:latin typeface="+mn-lt"/>
                <a:ea typeface="+mn-ea"/>
                <a:cs typeface="+mn-cs"/>
              </a:rPr>
              <a:t> are how services express their resource consumption to Service Fabric.</a:t>
            </a:r>
          </a:p>
          <a:p>
            <a:pPr marL="0" indent="0">
              <a:buFont typeface="Arial" panose="020B0604020202020204" pitchFamily="34" charset="0"/>
              <a:buNone/>
            </a:pPr>
            <a:endParaRPr lang="en-IN" sz="1200" b="1" i="0" kern="1200" dirty="0">
              <a:solidFill>
                <a:schemeClr val="tx1"/>
              </a:solidFill>
              <a:effectLst/>
              <a:latin typeface="+mn-lt"/>
              <a:ea typeface="+mn-ea"/>
              <a:cs typeface="+mn-cs"/>
            </a:endParaRPr>
          </a:p>
          <a:p>
            <a:pPr marL="171450" indent="-171450">
              <a:buFont typeface="Arial" panose="020B0604020202020204" pitchFamily="34" charset="0"/>
              <a:buChar char="•"/>
            </a:pPr>
            <a:r>
              <a:rPr lang="en-IN" sz="1200" b="1" i="0" kern="1200" dirty="0">
                <a:solidFill>
                  <a:schemeClr val="tx1"/>
                </a:solidFill>
                <a:effectLst/>
                <a:latin typeface="+mn-lt"/>
                <a:ea typeface="+mn-ea"/>
                <a:cs typeface="+mn-cs"/>
              </a:rPr>
              <a:t>Scaling by using Cluster Resource Manager metrics: </a:t>
            </a:r>
            <a:r>
              <a:rPr lang="en-IN" sz="1200" b="0" i="0" kern="1200" dirty="0">
                <a:solidFill>
                  <a:schemeClr val="tx1"/>
                </a:solidFill>
                <a:effectLst/>
                <a:latin typeface="+mn-lt"/>
                <a:ea typeface="+mn-ea"/>
                <a:cs typeface="+mn-cs"/>
              </a:rPr>
              <a:t>Another option for scaling with Service Fabric is to change the size of the cluster. Changing the size of the cluster means adding or removing nodes for one or more of the node types in the cluster.</a:t>
            </a:r>
            <a:endParaRPr lang="en-IN" sz="1200" b="1" i="0" kern="1200" dirty="0">
              <a:solidFill>
                <a:schemeClr val="tx1"/>
              </a:solidFill>
              <a:effectLst/>
              <a:latin typeface="+mn-lt"/>
              <a:ea typeface="+mn-ea"/>
              <a:cs typeface="+mn-cs"/>
            </a:endParaRPr>
          </a:p>
          <a:p>
            <a:endParaRPr lang="en-US" dirty="0"/>
          </a:p>
        </p:txBody>
      </p:sp>
      <p:sp>
        <p:nvSpPr>
          <p:cNvPr id="4" name="Slide Number Placeholder 3"/>
          <p:cNvSpPr>
            <a:spLocks noGrp="1"/>
          </p:cNvSpPr>
          <p:nvPr>
            <p:ph type="sldNum" sz="quarter" idx="10"/>
          </p:nvPr>
        </p:nvSpPr>
        <p:spPr/>
        <p:txBody>
          <a:bodyPr/>
          <a:lstStyle/>
          <a:p>
            <a:fld id="{F07DEF43-D4A7-461F-8F11-3356F0C85618}" type="slidenum">
              <a:rPr lang="en-US" smtClean="0"/>
              <a:t>22</a:t>
            </a:fld>
            <a:endParaRPr lang="en-US"/>
          </a:p>
        </p:txBody>
      </p:sp>
    </p:spTree>
    <p:extLst>
      <p:ext uri="{BB962C8B-B14F-4D97-AF65-F5344CB8AC3E}">
        <p14:creationId xmlns:p14="http://schemas.microsoft.com/office/powerpoint/2010/main" val="297144063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sz="1200" b="0" i="0" kern="1200" dirty="0">
                <a:solidFill>
                  <a:schemeClr val="tx1"/>
                </a:solidFill>
                <a:effectLst/>
                <a:latin typeface="+mn-lt"/>
                <a:ea typeface="+mn-ea"/>
                <a:cs typeface="+mn-cs"/>
              </a:rPr>
              <a:t>Partitioning is not unique to Service Fabric. In fact, it is a core pattern of building scalable services. In a broader sense, we can think about partitioning as a concept of dividing state (data) and compute into smaller accessible units to improve scalability and performance. A well-known form of partitioning is </a:t>
            </a:r>
            <a:r>
              <a:rPr lang="en-IN" sz="1200" b="0" i="0" u="none" strike="noStrike" kern="1200" dirty="0">
                <a:solidFill>
                  <a:schemeClr val="tx1"/>
                </a:solidFill>
                <a:effectLst/>
                <a:latin typeface="+mn-lt"/>
                <a:ea typeface="+mn-ea"/>
                <a:cs typeface="+mn-cs"/>
                <a:hlinkClick r:id="rId3"/>
              </a:rPr>
              <a:t>data partitioning</a:t>
            </a:r>
            <a:r>
              <a:rPr lang="en-IN" sz="1200" b="0" i="0" kern="1200" dirty="0">
                <a:solidFill>
                  <a:schemeClr val="tx1"/>
                </a:solidFill>
                <a:effectLst/>
                <a:latin typeface="+mn-lt"/>
                <a:ea typeface="+mn-ea"/>
                <a:cs typeface="+mn-cs"/>
              </a:rPr>
              <a:t>, also known as </a:t>
            </a:r>
            <a:r>
              <a:rPr lang="en-IN" sz="1200" b="0" i="0" kern="1200" dirty="0" err="1">
                <a:solidFill>
                  <a:schemeClr val="tx1"/>
                </a:solidFill>
                <a:effectLst/>
                <a:latin typeface="+mn-lt"/>
                <a:ea typeface="+mn-ea"/>
                <a:cs typeface="+mn-cs"/>
              </a:rPr>
              <a:t>sharding</a:t>
            </a:r>
            <a:r>
              <a:rPr lang="en-IN" sz="1200" b="0" i="0" kern="1200" dirty="0">
                <a:solidFill>
                  <a:schemeClr val="tx1"/>
                </a:solidFill>
                <a:effectLst/>
                <a:latin typeface="+mn-lt"/>
                <a:ea typeface="+mn-ea"/>
                <a:cs typeface="+mn-cs"/>
              </a:rPr>
              <a:t>.</a:t>
            </a:r>
          </a:p>
          <a:p>
            <a:endParaRPr lang="en-IN" sz="1200" b="0" i="0" kern="1200" dirty="0">
              <a:solidFill>
                <a:schemeClr val="tx1"/>
              </a:solidFill>
              <a:effectLst/>
              <a:latin typeface="+mn-lt"/>
              <a:ea typeface="+mn-ea"/>
              <a:cs typeface="+mn-cs"/>
            </a:endParaRPr>
          </a:p>
          <a:p>
            <a:endParaRPr lang="en-US" dirty="0"/>
          </a:p>
          <a:p>
            <a:endParaRPr lang="en-US" dirty="0"/>
          </a:p>
          <a:p>
            <a:r>
              <a:rPr lang="en-US" dirty="0"/>
              <a:t>https://docs.microsoft.com/en-us/azure/service-fabric/service-fabric-concepts-partitioning</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44329567-95F2-43EB-BA27-D8112F1BA416}"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9/2017 1:31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6330083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b="0" i="0" kern="1200" dirty="0">
                <a:solidFill>
                  <a:schemeClr val="tx1"/>
                </a:solidFill>
                <a:effectLst/>
                <a:latin typeface="Segoe UI Light" pitchFamily="34" charset="0"/>
                <a:ea typeface="+mn-ea"/>
                <a:cs typeface="+mn-cs"/>
              </a:rPr>
              <a:t>In many large-scale solutions, data is divided into separate partitions that can be managed and accessed separately. The partitioning strategy must be chosen carefully to maximize the benefits while minimizing adverse effects. Partitioning can help improve scalability, reduce contention, and optimize performance. Another benefit of partitioning is that it can provide a mechanism for dividing data by the pattern of use. For example, you can archive older, less active (cold) data in cheaper data storage.</a:t>
            </a:r>
          </a:p>
          <a:p>
            <a:endParaRPr lang="en-US" sz="900" b="0" i="0" kern="1200" dirty="0">
              <a:solidFill>
                <a:schemeClr val="tx1"/>
              </a:solidFill>
              <a:effectLst/>
              <a:latin typeface="Segoe UI Light" pitchFamily="34" charset="0"/>
              <a:ea typeface="+mn-ea"/>
              <a:cs typeface="+mn-cs"/>
            </a:endParaRPr>
          </a:p>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11/9/2017 1:31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4</a:t>
            </a:fld>
            <a:endParaRPr lang="en-US" dirty="0"/>
          </a:p>
        </p:txBody>
      </p:sp>
    </p:spTree>
    <p:extLst>
      <p:ext uri="{BB962C8B-B14F-4D97-AF65-F5344CB8AC3E}">
        <p14:creationId xmlns:p14="http://schemas.microsoft.com/office/powerpoint/2010/main" val="881009446"/>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sz="900" b="0" i="0" kern="1200" dirty="0">
                <a:solidFill>
                  <a:schemeClr val="tx1"/>
                </a:solidFill>
                <a:effectLst/>
                <a:latin typeface="Segoe UI Light" pitchFamily="34" charset="0"/>
                <a:ea typeface="+mn-ea"/>
                <a:cs typeface="+mn-cs"/>
              </a:rPr>
              <a:t>https://docs.microsoft.com/en-us/azure/sql-database/sql-database-elastic-scale-introduction#horizontal-and-vertical-scaling</a:t>
            </a:r>
          </a:p>
          <a:p>
            <a:endParaRPr lang="en-IN" sz="900" b="0" i="0" kern="1200" dirty="0">
              <a:solidFill>
                <a:schemeClr val="tx1"/>
              </a:solidFill>
              <a:effectLst/>
              <a:latin typeface="Segoe UI Light" pitchFamily="34" charset="0"/>
              <a:ea typeface="+mn-ea"/>
              <a:cs typeface="+mn-cs"/>
            </a:endParaRPr>
          </a:p>
          <a:p>
            <a:r>
              <a:rPr lang="en-IN" sz="900" b="0" i="0" kern="1200" dirty="0">
                <a:solidFill>
                  <a:schemeClr val="tx1"/>
                </a:solidFill>
                <a:effectLst/>
                <a:latin typeface="Segoe UI Light" pitchFamily="34" charset="0"/>
                <a:ea typeface="+mn-ea"/>
                <a:cs typeface="+mn-cs"/>
              </a:rPr>
              <a:t>Horizontal scaling refers to adding or removing databases in order to adjust capacity or overall performance. This is also called “scaling out”. </a:t>
            </a:r>
            <a:r>
              <a:rPr lang="en-IN" sz="900" b="0" i="0" kern="1200" dirty="0" err="1">
                <a:solidFill>
                  <a:schemeClr val="tx1"/>
                </a:solidFill>
                <a:effectLst/>
                <a:latin typeface="Segoe UI Light" pitchFamily="34" charset="0"/>
                <a:ea typeface="+mn-ea"/>
                <a:cs typeface="+mn-cs"/>
              </a:rPr>
              <a:t>Sharding</a:t>
            </a:r>
            <a:r>
              <a:rPr lang="en-IN" sz="900" b="0" i="0" kern="1200" dirty="0">
                <a:solidFill>
                  <a:schemeClr val="tx1"/>
                </a:solidFill>
                <a:effectLst/>
                <a:latin typeface="Segoe UI Light" pitchFamily="34" charset="0"/>
                <a:ea typeface="+mn-ea"/>
                <a:cs typeface="+mn-cs"/>
              </a:rPr>
              <a:t>, in which data is partitioned across a collection of identically structured databases, is a common way to implement horizontal scaling.</a:t>
            </a:r>
            <a:endParaRPr lang="en-IN" sz="900" b="0" i="0" u="none" strike="noStrike" kern="1200" dirty="0">
              <a:solidFill>
                <a:schemeClr val="tx1"/>
              </a:solidFill>
              <a:effectLst/>
              <a:latin typeface="Segoe UI Light" pitchFamily="34" charset="0"/>
              <a:ea typeface="+mn-ea"/>
              <a:cs typeface="+mn-cs"/>
            </a:endParaRPr>
          </a:p>
          <a:p>
            <a:endParaRPr lang="en-IN" sz="900" b="0" i="0" kern="1200" dirty="0">
              <a:solidFill>
                <a:schemeClr val="tx1"/>
              </a:solidFill>
              <a:effectLst/>
              <a:latin typeface="Segoe UI Light" pitchFamily="34" charset="0"/>
              <a:ea typeface="+mn-ea"/>
              <a:cs typeface="+mn-cs"/>
            </a:endParaRPr>
          </a:p>
          <a:p>
            <a:r>
              <a:rPr lang="en-IN" sz="900" b="0" i="0" kern="1200" dirty="0">
                <a:solidFill>
                  <a:schemeClr val="tx1"/>
                </a:solidFill>
                <a:effectLst/>
                <a:latin typeface="Segoe UI Light" pitchFamily="34" charset="0"/>
                <a:ea typeface="+mn-ea"/>
                <a:cs typeface="+mn-cs"/>
              </a:rPr>
              <a:t>Vertical scaling refers to increasing or decreasing the performance level of an individual database—this is also known as “scaling up.”</a:t>
            </a:r>
          </a:p>
          <a:p>
            <a:endParaRPr lang="en-IN" sz="900" b="0" i="0" kern="1200" dirty="0">
              <a:solidFill>
                <a:schemeClr val="tx1"/>
              </a:solidFill>
              <a:effectLst/>
              <a:latin typeface="Segoe UI Light" pitchFamily="34" charset="0"/>
              <a:ea typeface="+mn-ea"/>
              <a:cs typeface="+mn-cs"/>
            </a:endParaRPr>
          </a:p>
          <a:p>
            <a:r>
              <a:rPr lang="en-IN" sz="900" b="0" i="0" kern="1200" dirty="0">
                <a:solidFill>
                  <a:schemeClr val="tx1"/>
                </a:solidFill>
                <a:effectLst/>
                <a:latin typeface="Segoe UI Light" pitchFamily="34" charset="0"/>
                <a:ea typeface="+mn-ea"/>
                <a:cs typeface="+mn-cs"/>
              </a:rPr>
              <a:t>Most cloud-scale database applications will use a combination of these two strategies. For example, a Software as a Service application may use horizontal scaling to provision new end-customers and vertical scaling to allow each end-customer’s database to grow or shrink resources as needed by the workload.</a:t>
            </a:r>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11/9/2017 1:31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5</a:t>
            </a:fld>
            <a:endParaRPr lang="en-US" dirty="0"/>
          </a:p>
        </p:txBody>
      </p:sp>
    </p:spTree>
    <p:extLst>
      <p:ext uri="{BB962C8B-B14F-4D97-AF65-F5344CB8AC3E}">
        <p14:creationId xmlns:p14="http://schemas.microsoft.com/office/powerpoint/2010/main" val="253301410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effectLst/>
              </a:rPr>
              <a:t>Active geo-replication available in the Premium service tier of SQL Azure database can be leveraged by applications.</a:t>
            </a:r>
          </a:p>
          <a:p>
            <a:endParaRPr lang="en-US" dirty="0">
              <a:effectLst/>
            </a:endParaRPr>
          </a:p>
          <a:p>
            <a:r>
              <a:rPr lang="en-US" dirty="0">
                <a:effectLst/>
              </a:rPr>
              <a:t>Though the primary scenario is business continuity, active replication can be used to create database replicas that the application</a:t>
            </a:r>
            <a:r>
              <a:rPr lang="en-US" baseline="0" dirty="0">
                <a:effectLst/>
              </a:rPr>
              <a:t> can use for read only workloads such as reporting. Application would pick a secondary based on random or round robin selection.</a:t>
            </a:r>
          </a:p>
          <a:p>
            <a:endParaRPr lang="en-US" baseline="0" dirty="0">
              <a:effectLst/>
            </a:endParaRPr>
          </a:p>
          <a:p>
            <a:r>
              <a:rPr lang="en-US" baseline="0" dirty="0">
                <a:effectLst/>
              </a:rPr>
              <a:t>In this way the primary database receives a reduced load.</a:t>
            </a:r>
            <a:endParaRPr lang="en-US" dirty="0">
              <a:effectLst/>
            </a:endParaRPr>
          </a:p>
          <a:p>
            <a:endParaRPr lang="en-US" dirty="0">
              <a:effectLst/>
            </a:endParaRPr>
          </a:p>
          <a:p>
            <a:r>
              <a:rPr lang="en-US" sz="900" b="0" i="0" kern="1200" dirty="0">
                <a:solidFill>
                  <a:schemeClr val="tx1"/>
                </a:solidFill>
                <a:effectLst/>
                <a:latin typeface="Segoe UI Light" pitchFamily="34" charset="0"/>
                <a:ea typeface="+mn-ea"/>
                <a:cs typeface="+mn-cs"/>
              </a:rPr>
              <a:t>Active geo-replication leverages the </a:t>
            </a:r>
            <a:r>
              <a:rPr lang="en-US" sz="900" b="0" i="0" u="none" strike="noStrike" kern="1200" dirty="0">
                <a:solidFill>
                  <a:schemeClr val="tx1"/>
                </a:solidFill>
                <a:effectLst/>
                <a:latin typeface="Segoe UI Light" pitchFamily="34" charset="0"/>
                <a:ea typeface="+mn-ea"/>
                <a:cs typeface="+mn-cs"/>
                <a:hlinkClick r:id="rId3"/>
              </a:rPr>
              <a:t>Always On</a:t>
            </a:r>
            <a:r>
              <a:rPr lang="en-US" sz="900" b="0" i="0" kern="1200" dirty="0">
                <a:solidFill>
                  <a:schemeClr val="tx1"/>
                </a:solidFill>
                <a:effectLst/>
                <a:latin typeface="Segoe UI Light" pitchFamily="34" charset="0"/>
                <a:ea typeface="+mn-ea"/>
                <a:cs typeface="+mn-cs"/>
              </a:rPr>
              <a:t> technology of SQL Server to asynchronously replicate committed transactions on the primary database to a secondary database using read committed snapshot isolation (RCSI).</a:t>
            </a:r>
          </a:p>
          <a:p>
            <a:endParaRPr lang="en-US" sz="900" b="0" i="0" kern="1200" dirty="0">
              <a:solidFill>
                <a:schemeClr val="tx1"/>
              </a:solidFill>
              <a:effectLst/>
              <a:latin typeface="Segoe UI Light" pitchFamily="34" charset="0"/>
              <a:ea typeface="+mn-ea"/>
              <a:cs typeface="+mn-cs"/>
            </a:endParaRPr>
          </a:p>
          <a:p>
            <a:r>
              <a:rPr lang="en-US" dirty="0">
                <a:effectLst/>
              </a:rPr>
              <a:t>The primary database asynchronously replicates committed transactions to each of the online secondary databases. While at any given point, the online secondary data might be slightly behind the primary database, the online secondary data is guaranteed to always be </a:t>
            </a:r>
            <a:r>
              <a:rPr lang="en-US" dirty="0" err="1">
                <a:effectLst/>
              </a:rPr>
              <a:t>transactionally</a:t>
            </a:r>
            <a:r>
              <a:rPr lang="en-US" dirty="0">
                <a:effectLst/>
              </a:rPr>
              <a:t> consistent with changes committed to the primary database. </a:t>
            </a:r>
          </a:p>
          <a:p>
            <a:endParaRPr lang="en-US" dirty="0">
              <a:effectLst/>
            </a:endParaRPr>
          </a:p>
          <a:p>
            <a:r>
              <a:rPr lang="en-US" dirty="0">
                <a:effectLst/>
              </a:rPr>
              <a:t>An online secondary can act as a load balancer for read workloads such as reporting. While you can create an online secondary in a different region for disaster recovery, you could also have an online secondary in the same region on a different server. Both online secondary databases can be used to balance read only workloads serving clients distributed across several regions. </a:t>
            </a:r>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11/9/2017 1:31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6</a:t>
            </a:fld>
            <a:endParaRPr lang="en-US" dirty="0"/>
          </a:p>
        </p:txBody>
      </p:sp>
    </p:spTree>
    <p:extLst>
      <p:ext uri="{BB962C8B-B14F-4D97-AF65-F5344CB8AC3E}">
        <p14:creationId xmlns:p14="http://schemas.microsoft.com/office/powerpoint/2010/main" val="257236812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b="0" i="1" kern="1200" dirty="0" err="1">
                <a:solidFill>
                  <a:schemeClr val="tx1"/>
                </a:solidFill>
                <a:effectLst/>
                <a:latin typeface="Segoe UI Light" pitchFamily="34" charset="0"/>
                <a:ea typeface="+mn-ea"/>
                <a:cs typeface="+mn-cs"/>
              </a:rPr>
              <a:t>Sharding</a:t>
            </a:r>
            <a:r>
              <a:rPr lang="en-US" sz="900" b="0" i="0" kern="1200" dirty="0">
                <a:solidFill>
                  <a:schemeClr val="tx1"/>
                </a:solidFill>
                <a:effectLst/>
                <a:latin typeface="Segoe UI Light" pitchFamily="34" charset="0"/>
                <a:ea typeface="+mn-ea"/>
                <a:cs typeface="+mn-cs"/>
              </a:rPr>
              <a:t> is a technique to distribute large amounts of identically-structured data across a number of independent databases. It is especially popular with cloud developers creating Software as a Service (SAAS) offerings for end customers or businesses. These end customers are often referred to as “tenants”. </a:t>
            </a:r>
            <a:r>
              <a:rPr lang="en-US" sz="900" b="0" i="0" kern="1200" dirty="0" err="1">
                <a:solidFill>
                  <a:schemeClr val="tx1"/>
                </a:solidFill>
                <a:effectLst/>
                <a:latin typeface="Segoe UI Light" pitchFamily="34" charset="0"/>
                <a:ea typeface="+mn-ea"/>
                <a:cs typeface="+mn-cs"/>
              </a:rPr>
              <a:t>Sharding</a:t>
            </a:r>
            <a:r>
              <a:rPr lang="en-US" sz="900" b="0" i="0" kern="1200" dirty="0">
                <a:solidFill>
                  <a:schemeClr val="tx1"/>
                </a:solidFill>
                <a:effectLst/>
                <a:latin typeface="Segoe UI Light" pitchFamily="34" charset="0"/>
                <a:ea typeface="+mn-ea"/>
                <a:cs typeface="+mn-cs"/>
              </a:rPr>
              <a:t> may be required for any number of reasons:</a:t>
            </a:r>
          </a:p>
          <a:p>
            <a:endParaRPr lang="en-US" sz="900" b="0" i="0" kern="1200" dirty="0">
              <a:solidFill>
                <a:schemeClr val="tx1"/>
              </a:solidFill>
              <a:effectLst/>
              <a:latin typeface="Segoe UI Light" pitchFamily="34" charset="0"/>
              <a:ea typeface="+mn-ea"/>
              <a:cs typeface="+mn-cs"/>
            </a:endParaRPr>
          </a:p>
          <a:p>
            <a:pPr marL="228600" indent="-228600">
              <a:buFont typeface="+mj-lt"/>
              <a:buAutoNum type="arabicPeriod"/>
            </a:pPr>
            <a:r>
              <a:rPr lang="en-US" sz="900" b="0" i="0" kern="1200" dirty="0">
                <a:solidFill>
                  <a:schemeClr val="tx1"/>
                </a:solidFill>
                <a:effectLst/>
                <a:latin typeface="Segoe UI Light" pitchFamily="34" charset="0"/>
                <a:ea typeface="+mn-ea"/>
                <a:cs typeface="+mn-cs"/>
              </a:rPr>
              <a:t>The total amount of data is too large to fit within the constraints of a single database</a:t>
            </a:r>
          </a:p>
          <a:p>
            <a:pPr marL="228600" indent="-228600">
              <a:buFont typeface="+mj-lt"/>
              <a:buAutoNum type="arabicPeriod"/>
            </a:pPr>
            <a:r>
              <a:rPr lang="en-US" sz="900" b="0" i="0" kern="1200" dirty="0">
                <a:solidFill>
                  <a:schemeClr val="tx1"/>
                </a:solidFill>
                <a:effectLst/>
                <a:latin typeface="Segoe UI Light" pitchFamily="34" charset="0"/>
                <a:ea typeface="+mn-ea"/>
                <a:cs typeface="+mn-cs"/>
              </a:rPr>
              <a:t>The transaction throughput of the overall workload exceeds the capabilities of a single database</a:t>
            </a:r>
          </a:p>
          <a:p>
            <a:pPr marL="228600" indent="-228600">
              <a:buFont typeface="+mj-lt"/>
              <a:buAutoNum type="arabicPeriod"/>
            </a:pPr>
            <a:r>
              <a:rPr lang="en-US" sz="900" b="0" i="0" kern="1200" dirty="0">
                <a:solidFill>
                  <a:schemeClr val="tx1"/>
                </a:solidFill>
                <a:effectLst/>
                <a:latin typeface="Segoe UI Light" pitchFamily="34" charset="0"/>
                <a:ea typeface="+mn-ea"/>
                <a:cs typeface="+mn-cs"/>
              </a:rPr>
              <a:t>Tenants may require physical isolation from each other, so separate databases are needed for each tenant</a:t>
            </a:r>
          </a:p>
          <a:p>
            <a:pPr marL="228600" indent="-228600">
              <a:buFont typeface="+mj-lt"/>
              <a:buAutoNum type="arabicPeriod"/>
            </a:pPr>
            <a:r>
              <a:rPr lang="en-US" sz="900" b="0" i="0" kern="1200" dirty="0">
                <a:solidFill>
                  <a:schemeClr val="tx1"/>
                </a:solidFill>
                <a:effectLst/>
                <a:latin typeface="Segoe UI Light" pitchFamily="34" charset="0"/>
                <a:ea typeface="+mn-ea"/>
                <a:cs typeface="+mn-cs"/>
              </a:rPr>
              <a:t>Different sections of a database may need to reside in different geographies for compliance, performance or geopolitical reasons.</a:t>
            </a:r>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11/9/2017 1:31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7</a:t>
            </a:fld>
            <a:endParaRPr lang="en-US" dirty="0"/>
          </a:p>
        </p:txBody>
      </p:sp>
    </p:spTree>
    <p:extLst>
      <p:ext uri="{BB962C8B-B14F-4D97-AF65-F5344CB8AC3E}">
        <p14:creationId xmlns:p14="http://schemas.microsoft.com/office/powerpoint/2010/main" val="283905809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effectLst/>
              </a:rPr>
              <a:t>Applications connect to the Shard</a:t>
            </a:r>
            <a:r>
              <a:rPr lang="en-US" baseline="0" dirty="0">
                <a:effectLst/>
              </a:rPr>
              <a:t> Map Manager database that will use the shard map to route query to appropriate database (data dependent routing).</a:t>
            </a:r>
          </a:p>
          <a:p>
            <a:r>
              <a:rPr lang="en-US" baseline="0" dirty="0">
                <a:effectLst/>
              </a:rPr>
              <a:t>It is also possible to launch queries across multiple shard databases using multi-shard querying. You take advantage of these two features using Elastic Database Client Tools that provide respective APIs. </a:t>
            </a:r>
          </a:p>
          <a:p>
            <a:r>
              <a:rPr lang="en-US" baseline="0" dirty="0">
                <a:effectLst/>
              </a:rPr>
              <a:t>The databases can also be assigned to elastic database pool where Azure will assign the required </a:t>
            </a:r>
            <a:r>
              <a:rPr lang="en-US" baseline="0" dirty="0" err="1">
                <a:effectLst/>
              </a:rPr>
              <a:t>amout</a:t>
            </a:r>
            <a:r>
              <a:rPr lang="en-US" baseline="0" dirty="0">
                <a:effectLst/>
              </a:rPr>
              <a:t> of DTUs to the database that needs it.</a:t>
            </a:r>
          </a:p>
          <a:p>
            <a:endParaRPr lang="en-US" dirty="0">
              <a:effectLst/>
            </a:endParaRPr>
          </a:p>
          <a:p>
            <a:r>
              <a:rPr lang="en-US" dirty="0">
                <a:effectLst/>
              </a:rPr>
              <a:t>More background detail:</a:t>
            </a:r>
            <a:endParaRPr lang="en-US" dirty="0"/>
          </a:p>
          <a:p>
            <a:endParaRPr lang="en-US" dirty="0"/>
          </a:p>
          <a:p>
            <a:endParaRPr lang="en-US" dirty="0"/>
          </a:p>
          <a:p>
            <a:r>
              <a:rPr lang="en-US" sz="900" b="0" i="0" kern="1200" dirty="0">
                <a:solidFill>
                  <a:schemeClr val="tx1"/>
                </a:solidFill>
                <a:effectLst/>
                <a:latin typeface="Segoe UI Light" pitchFamily="34" charset="0"/>
                <a:ea typeface="+mn-ea"/>
                <a:cs typeface="+mn-cs"/>
              </a:rPr>
              <a:t>In a </a:t>
            </a:r>
            <a:r>
              <a:rPr lang="en-US" sz="900" b="0" i="0" kern="1200" dirty="0" err="1">
                <a:solidFill>
                  <a:schemeClr val="tx1"/>
                </a:solidFill>
                <a:effectLst/>
                <a:latin typeface="Segoe UI Light" pitchFamily="34" charset="0"/>
                <a:ea typeface="+mn-ea"/>
                <a:cs typeface="+mn-cs"/>
              </a:rPr>
              <a:t>sharded</a:t>
            </a:r>
            <a:r>
              <a:rPr lang="en-US" sz="900" b="0" i="0" kern="1200" dirty="0">
                <a:solidFill>
                  <a:schemeClr val="tx1"/>
                </a:solidFill>
                <a:effectLst/>
                <a:latin typeface="Segoe UI Light" pitchFamily="34" charset="0"/>
                <a:ea typeface="+mn-ea"/>
                <a:cs typeface="+mn-cs"/>
              </a:rPr>
              <a:t> database environment Shard Map Manager database maintains, a </a:t>
            </a:r>
            <a:r>
              <a:rPr lang="en-US" sz="900" b="1" i="0" kern="1200" dirty="0">
                <a:solidFill>
                  <a:schemeClr val="tx1"/>
                </a:solidFill>
                <a:effectLst/>
                <a:latin typeface="Segoe UI Light" pitchFamily="34" charset="0"/>
                <a:ea typeface="+mn-ea"/>
                <a:cs typeface="+mn-cs"/>
              </a:rPr>
              <a:t>shard map</a:t>
            </a:r>
            <a:r>
              <a:rPr lang="en-US" sz="900" b="0" i="0" kern="1200" dirty="0">
                <a:solidFill>
                  <a:schemeClr val="tx1"/>
                </a:solidFill>
                <a:effectLst/>
                <a:latin typeface="Segoe UI Light" pitchFamily="34" charset="0"/>
                <a:ea typeface="+mn-ea"/>
                <a:cs typeface="+mn-cs"/>
              </a:rPr>
              <a:t> containing information that allows an application to connect to the correct database based upon the value of the </a:t>
            </a:r>
            <a:r>
              <a:rPr lang="en-US" sz="900" b="1" i="0" kern="1200" dirty="0" err="1">
                <a:solidFill>
                  <a:schemeClr val="tx1"/>
                </a:solidFill>
                <a:effectLst/>
                <a:latin typeface="Segoe UI Light" pitchFamily="34" charset="0"/>
                <a:ea typeface="+mn-ea"/>
                <a:cs typeface="+mn-cs"/>
              </a:rPr>
              <a:t>sharding</a:t>
            </a:r>
            <a:r>
              <a:rPr lang="en-US" sz="900" b="1" i="0" kern="1200" dirty="0">
                <a:solidFill>
                  <a:schemeClr val="tx1"/>
                </a:solidFill>
                <a:effectLst/>
                <a:latin typeface="Segoe UI Light" pitchFamily="34" charset="0"/>
                <a:ea typeface="+mn-ea"/>
                <a:cs typeface="+mn-cs"/>
              </a:rPr>
              <a:t> key</a:t>
            </a:r>
            <a:r>
              <a:rPr lang="en-US" sz="900" b="0" i="0" kern="1200" dirty="0">
                <a:solidFill>
                  <a:schemeClr val="tx1"/>
                </a:solidFill>
                <a:effectLst/>
                <a:latin typeface="Segoe UI Light" pitchFamily="34" charset="0"/>
                <a:ea typeface="+mn-ea"/>
                <a:cs typeface="+mn-cs"/>
              </a:rPr>
              <a:t>. Understanding how these maps are constructed is crucial to managing shards in the Elastic Scale preview.</a:t>
            </a:r>
          </a:p>
          <a:p>
            <a:endParaRPr lang="en-US" sz="900" b="0" i="0" kern="1200" dirty="0">
              <a:solidFill>
                <a:schemeClr val="tx1"/>
              </a:solidFill>
              <a:effectLst/>
              <a:latin typeface="Segoe UI Light" pitchFamily="34" charset="0"/>
              <a:ea typeface="+mn-ea"/>
              <a:cs typeface="+mn-cs"/>
            </a:endParaRPr>
          </a:p>
          <a:p>
            <a:r>
              <a:rPr lang="en-US" sz="900" b="0" i="0" kern="1200" dirty="0">
                <a:solidFill>
                  <a:schemeClr val="tx1"/>
                </a:solidFill>
                <a:effectLst/>
                <a:latin typeface="Segoe UI Light" pitchFamily="34" charset="0"/>
                <a:ea typeface="+mn-ea"/>
                <a:cs typeface="+mn-cs"/>
              </a:rPr>
              <a:t>Shard maps can be constructed using </a:t>
            </a:r>
            <a:r>
              <a:rPr lang="en-US" sz="900" b="1" i="0" kern="1200" dirty="0">
                <a:solidFill>
                  <a:schemeClr val="tx1"/>
                </a:solidFill>
                <a:effectLst/>
                <a:latin typeface="Segoe UI Light" pitchFamily="34" charset="0"/>
                <a:ea typeface="+mn-ea"/>
                <a:cs typeface="+mn-cs"/>
              </a:rPr>
              <a:t>lists of individual </a:t>
            </a:r>
            <a:r>
              <a:rPr lang="en-US" sz="900" b="1" i="0" kern="1200" dirty="0" err="1">
                <a:solidFill>
                  <a:schemeClr val="tx1"/>
                </a:solidFill>
                <a:effectLst/>
                <a:latin typeface="Segoe UI Light" pitchFamily="34" charset="0"/>
                <a:ea typeface="+mn-ea"/>
                <a:cs typeface="+mn-cs"/>
              </a:rPr>
              <a:t>sharding</a:t>
            </a:r>
            <a:r>
              <a:rPr lang="en-US" sz="900" b="1" i="0" kern="1200" dirty="0">
                <a:solidFill>
                  <a:schemeClr val="tx1"/>
                </a:solidFill>
                <a:effectLst/>
                <a:latin typeface="Segoe UI Light" pitchFamily="34" charset="0"/>
                <a:ea typeface="+mn-ea"/>
                <a:cs typeface="+mn-cs"/>
              </a:rPr>
              <a:t> key values</a:t>
            </a:r>
            <a:r>
              <a:rPr lang="en-US" sz="900" b="0" i="0" kern="1200" dirty="0">
                <a:solidFill>
                  <a:schemeClr val="tx1"/>
                </a:solidFill>
                <a:effectLst/>
                <a:latin typeface="Segoe UI Light" pitchFamily="34" charset="0"/>
                <a:ea typeface="+mn-ea"/>
                <a:cs typeface="+mn-cs"/>
              </a:rPr>
              <a:t>, or they can be constructed using </a:t>
            </a:r>
            <a:r>
              <a:rPr lang="en-US" sz="900" b="1" i="0" kern="1200" dirty="0">
                <a:solidFill>
                  <a:schemeClr val="tx1"/>
                </a:solidFill>
                <a:effectLst/>
                <a:latin typeface="Segoe UI Light" pitchFamily="34" charset="0"/>
                <a:ea typeface="+mn-ea"/>
                <a:cs typeface="+mn-cs"/>
              </a:rPr>
              <a:t>ranges of </a:t>
            </a:r>
            <a:r>
              <a:rPr lang="en-US" sz="900" b="1" i="0" kern="1200" dirty="0" err="1">
                <a:solidFill>
                  <a:schemeClr val="tx1"/>
                </a:solidFill>
                <a:effectLst/>
                <a:latin typeface="Segoe UI Light" pitchFamily="34" charset="0"/>
                <a:ea typeface="+mn-ea"/>
                <a:cs typeface="+mn-cs"/>
              </a:rPr>
              <a:t>sharding</a:t>
            </a:r>
            <a:r>
              <a:rPr lang="en-US" sz="900" b="1" i="0" kern="1200" dirty="0">
                <a:solidFill>
                  <a:schemeClr val="tx1"/>
                </a:solidFill>
                <a:effectLst/>
                <a:latin typeface="Segoe UI Light" pitchFamily="34" charset="0"/>
                <a:ea typeface="+mn-ea"/>
                <a:cs typeface="+mn-cs"/>
              </a:rPr>
              <a:t> key values</a:t>
            </a:r>
            <a:r>
              <a:rPr lang="en-US" sz="900" b="0" i="0" kern="1200" dirty="0">
                <a:solidFill>
                  <a:schemeClr val="tx1"/>
                </a:solidFill>
                <a:effectLst/>
                <a:latin typeface="Segoe UI Light" pitchFamily="34" charset="0"/>
                <a:ea typeface="+mn-ea"/>
                <a:cs typeface="+mn-cs"/>
              </a:rPr>
              <a:t>. In this</a:t>
            </a:r>
            <a:r>
              <a:rPr lang="en-US" sz="900" b="0" i="0" kern="1200" baseline="0" dirty="0">
                <a:solidFill>
                  <a:schemeClr val="tx1"/>
                </a:solidFill>
                <a:effectLst/>
                <a:latin typeface="Segoe UI Light" pitchFamily="34" charset="0"/>
                <a:ea typeface="+mn-ea"/>
                <a:cs typeface="+mn-cs"/>
              </a:rPr>
              <a:t> figure there are couple of examples, the first is using a List Map which contains the Shard that contains data rows based on keys; while the lower piece assigns ranges of keys to different shards or databases.</a:t>
            </a:r>
            <a:endParaRPr lang="en-US" sz="900" b="0" i="0" kern="1200" dirty="0">
              <a:solidFill>
                <a:schemeClr val="tx1"/>
              </a:solidFill>
              <a:effectLst/>
              <a:latin typeface="Segoe UI Light" pitchFamily="34" charset="0"/>
              <a:ea typeface="+mn-ea"/>
              <a:cs typeface="+mn-cs"/>
            </a:endParaRPr>
          </a:p>
          <a:p>
            <a:endParaRPr lang="en-US" sz="900" b="0" i="0" kern="1200" dirty="0">
              <a:solidFill>
                <a:schemeClr val="tx1"/>
              </a:solidFill>
              <a:effectLst/>
              <a:latin typeface="Segoe UI Light" pitchFamily="34" charset="0"/>
              <a:ea typeface="+mn-ea"/>
              <a:cs typeface="+mn-cs"/>
            </a:endParaRPr>
          </a:p>
          <a:p>
            <a:r>
              <a:rPr lang="en-US" sz="900" b="0" i="0" kern="1200" dirty="0">
                <a:solidFill>
                  <a:schemeClr val="tx1"/>
                </a:solidFill>
                <a:effectLst/>
                <a:latin typeface="Segoe UI Light" pitchFamily="34" charset="0"/>
                <a:ea typeface="+mn-ea"/>
                <a:cs typeface="+mn-cs"/>
              </a:rPr>
              <a:t>In the Elastic Scale APIs, the Shard Map Manager is a collection of shard maps. The data managed by a </a:t>
            </a:r>
            <a:r>
              <a:rPr lang="en-US" sz="900" b="1" i="0" kern="1200" dirty="0" err="1">
                <a:solidFill>
                  <a:schemeClr val="tx1"/>
                </a:solidFill>
                <a:effectLst/>
                <a:latin typeface="Segoe UI Light" pitchFamily="34" charset="0"/>
                <a:ea typeface="+mn-ea"/>
                <a:cs typeface="+mn-cs"/>
              </a:rPr>
              <a:t>ShardMapManager</a:t>
            </a:r>
            <a:r>
              <a:rPr lang="en-US" sz="900" b="0" i="0" kern="1200" dirty="0">
                <a:solidFill>
                  <a:schemeClr val="tx1"/>
                </a:solidFill>
                <a:effectLst/>
                <a:latin typeface="Segoe UI Light" pitchFamily="34" charset="0"/>
                <a:ea typeface="+mn-ea"/>
                <a:cs typeface="+mn-cs"/>
              </a:rPr>
              <a:t> </a:t>
            </a:r>
            <a:r>
              <a:rPr lang="en-US" sz="900" b="0" i="0" kern="1200" dirty="0" err="1">
                <a:solidFill>
                  <a:schemeClr val="tx1"/>
                </a:solidFill>
                <a:effectLst/>
                <a:latin typeface="Segoe UI Light" pitchFamily="34" charset="0"/>
                <a:ea typeface="+mn-ea"/>
                <a:cs typeface="+mn-cs"/>
              </a:rPr>
              <a:t>.Net</a:t>
            </a:r>
            <a:r>
              <a:rPr lang="en-US" sz="900" b="0" i="0" kern="1200" dirty="0">
                <a:solidFill>
                  <a:schemeClr val="tx1"/>
                </a:solidFill>
                <a:effectLst/>
                <a:latin typeface="Segoe UI Light" pitchFamily="34" charset="0"/>
                <a:ea typeface="+mn-ea"/>
                <a:cs typeface="+mn-cs"/>
              </a:rPr>
              <a:t> object is kept in three places:</a:t>
            </a:r>
            <a:br>
              <a:rPr lang="en-US" sz="900" b="1" kern="1200" dirty="0">
                <a:solidFill>
                  <a:schemeClr val="tx1"/>
                </a:solidFill>
                <a:effectLst/>
                <a:latin typeface="Segoe UI Light" pitchFamily="34" charset="0"/>
                <a:ea typeface="+mn-ea"/>
                <a:cs typeface="+mn-cs"/>
              </a:rPr>
            </a:br>
            <a:r>
              <a:rPr lang="en-US" sz="900" b="1" kern="1200" dirty="0">
                <a:solidFill>
                  <a:schemeClr val="tx1"/>
                </a:solidFill>
                <a:effectLst/>
                <a:latin typeface="Segoe UI Light" pitchFamily="34" charset="0"/>
                <a:ea typeface="+mn-ea"/>
                <a:cs typeface="+mn-cs"/>
              </a:rPr>
              <a:t>Global Shard Map (GSM)</a:t>
            </a:r>
            <a:r>
              <a:rPr lang="en-US" sz="900" b="0" kern="1200" dirty="0">
                <a:solidFill>
                  <a:schemeClr val="tx1"/>
                </a:solidFill>
                <a:effectLst/>
                <a:latin typeface="Segoe UI Light" pitchFamily="34" charset="0"/>
                <a:ea typeface="+mn-ea"/>
                <a:cs typeface="+mn-cs"/>
              </a:rPr>
              <a:t>: When you create a </a:t>
            </a:r>
            <a:r>
              <a:rPr lang="en-US" sz="900" b="1" kern="1200" dirty="0" err="1">
                <a:solidFill>
                  <a:schemeClr val="tx1"/>
                </a:solidFill>
                <a:effectLst/>
                <a:latin typeface="Segoe UI Light" pitchFamily="34" charset="0"/>
                <a:ea typeface="+mn-ea"/>
                <a:cs typeface="+mn-cs"/>
              </a:rPr>
              <a:t>ShardMapManager</a:t>
            </a:r>
            <a:r>
              <a:rPr lang="en-US" sz="900" b="0" kern="1200" dirty="0">
                <a:solidFill>
                  <a:schemeClr val="tx1"/>
                </a:solidFill>
                <a:effectLst/>
                <a:latin typeface="Segoe UI Light" pitchFamily="34" charset="0"/>
                <a:ea typeface="+mn-ea"/>
                <a:cs typeface="+mn-cs"/>
              </a:rPr>
              <a:t>, you specify a database (or</a:t>
            </a:r>
            <a:r>
              <a:rPr lang="en-US" sz="900" b="0" kern="1200" baseline="0" dirty="0">
                <a:solidFill>
                  <a:schemeClr val="tx1"/>
                </a:solidFill>
                <a:effectLst/>
                <a:latin typeface="Segoe UI Light" pitchFamily="34" charset="0"/>
                <a:ea typeface="+mn-ea"/>
                <a:cs typeface="+mn-cs"/>
              </a:rPr>
              <a:t> shard) </a:t>
            </a:r>
            <a:r>
              <a:rPr lang="en-US" sz="900" b="0" kern="1200" dirty="0">
                <a:solidFill>
                  <a:schemeClr val="tx1"/>
                </a:solidFill>
                <a:effectLst/>
                <a:latin typeface="Segoe UI Light" pitchFamily="34" charset="0"/>
                <a:ea typeface="+mn-ea"/>
                <a:cs typeface="+mn-cs"/>
              </a:rPr>
              <a:t>to serve as the repository for all of its shard maps and mappings. Special tables and stored procedures are automatically created to manage the information. This is typically a small database and lightly accessed, but it should not be used for other needs of the application. </a:t>
            </a:r>
          </a:p>
          <a:p>
            <a:endParaRPr lang="en-US" sz="900" b="0" kern="1200" dirty="0">
              <a:solidFill>
                <a:schemeClr val="tx1"/>
              </a:solidFill>
              <a:effectLst/>
              <a:latin typeface="Segoe UI Light" pitchFamily="34" charset="0"/>
              <a:ea typeface="+mn-ea"/>
              <a:cs typeface="+mn-cs"/>
            </a:endParaRPr>
          </a:p>
          <a:p>
            <a:r>
              <a:rPr lang="en-US" sz="900" b="1" kern="1200" dirty="0">
                <a:solidFill>
                  <a:schemeClr val="tx1"/>
                </a:solidFill>
                <a:effectLst/>
                <a:latin typeface="Segoe UI Light" pitchFamily="34" charset="0"/>
                <a:ea typeface="+mn-ea"/>
                <a:cs typeface="+mn-cs"/>
              </a:rPr>
              <a:t>Also, Every database </a:t>
            </a:r>
            <a:r>
              <a:rPr lang="en-US" sz="900" b="0" kern="1200" dirty="0">
                <a:solidFill>
                  <a:schemeClr val="tx1"/>
                </a:solidFill>
                <a:effectLst/>
                <a:latin typeface="Segoe UI Light" pitchFamily="34" charset="0"/>
                <a:ea typeface="+mn-ea"/>
                <a:cs typeface="+mn-cs"/>
              </a:rPr>
              <a:t>that you specify to be a shard within a shard map will be modified to contain several small tables and special stored procedures that contain and manage shard map information specific to that shard. This information is redundant to the information in the global shard map but it allows the application to validate cached shard map information without placing any load on the GSM; this is called the </a:t>
            </a:r>
            <a:r>
              <a:rPr lang="en-US" sz="900" b="1" kern="1200" dirty="0">
                <a:solidFill>
                  <a:schemeClr val="tx1"/>
                </a:solidFill>
                <a:effectLst/>
                <a:latin typeface="Segoe UI Light" pitchFamily="34" charset="0"/>
                <a:ea typeface="+mn-ea"/>
                <a:cs typeface="+mn-cs"/>
              </a:rPr>
              <a:t>Local Shard Map (LSM)</a:t>
            </a:r>
          </a:p>
          <a:p>
            <a:endParaRPr lang="en-US" sz="900" b="0" kern="1200" dirty="0">
              <a:solidFill>
                <a:schemeClr val="tx1"/>
              </a:solidFill>
              <a:effectLst/>
              <a:latin typeface="Segoe UI Light" pitchFamily="34" charset="0"/>
              <a:ea typeface="+mn-ea"/>
              <a:cs typeface="+mn-cs"/>
            </a:endParaRPr>
          </a:p>
          <a:p>
            <a:r>
              <a:rPr lang="en-US" sz="900" b="1" kern="1200" dirty="0">
                <a:solidFill>
                  <a:schemeClr val="tx1"/>
                </a:solidFill>
                <a:effectLst/>
                <a:latin typeface="Segoe UI Light" pitchFamily="34" charset="0"/>
                <a:ea typeface="+mn-ea"/>
                <a:cs typeface="+mn-cs"/>
              </a:rPr>
              <a:t>In addition to that, </a:t>
            </a:r>
            <a:r>
              <a:rPr lang="en-US" sz="900" b="0" kern="1200" dirty="0">
                <a:solidFill>
                  <a:schemeClr val="tx1"/>
                </a:solidFill>
                <a:effectLst/>
                <a:latin typeface="Segoe UI Light" pitchFamily="34" charset="0"/>
                <a:ea typeface="+mn-ea"/>
                <a:cs typeface="+mn-cs"/>
              </a:rPr>
              <a:t>Each application instance accessing a </a:t>
            </a:r>
            <a:r>
              <a:rPr lang="en-US" sz="900" b="1" kern="1200" dirty="0" err="1">
                <a:solidFill>
                  <a:schemeClr val="tx1"/>
                </a:solidFill>
                <a:effectLst/>
                <a:latin typeface="Segoe UI Light" pitchFamily="34" charset="0"/>
                <a:ea typeface="+mn-ea"/>
                <a:cs typeface="+mn-cs"/>
              </a:rPr>
              <a:t>ShardMapManager</a:t>
            </a:r>
            <a:r>
              <a:rPr lang="en-US" sz="900" b="0" kern="1200" dirty="0">
                <a:solidFill>
                  <a:schemeClr val="tx1"/>
                </a:solidFill>
                <a:effectLst/>
                <a:latin typeface="Segoe UI Light" pitchFamily="34" charset="0"/>
                <a:ea typeface="+mn-ea"/>
                <a:cs typeface="+mn-cs"/>
              </a:rPr>
              <a:t> object maintains a local in-memory cache of its mappings. It stores routing information that has recently been retrieved. This serves as an </a:t>
            </a:r>
            <a:r>
              <a:rPr lang="en-US" sz="900" b="1" kern="1200" dirty="0">
                <a:solidFill>
                  <a:schemeClr val="tx1"/>
                </a:solidFill>
                <a:effectLst/>
                <a:latin typeface="Segoe UI Light" pitchFamily="34" charset="0"/>
                <a:ea typeface="+mn-ea"/>
                <a:cs typeface="+mn-cs"/>
              </a:rPr>
              <a:t>Application</a:t>
            </a:r>
            <a:r>
              <a:rPr lang="en-US" sz="900" b="1" kern="1200" baseline="0" dirty="0">
                <a:solidFill>
                  <a:schemeClr val="tx1"/>
                </a:solidFill>
                <a:effectLst/>
                <a:latin typeface="Segoe UI Light" pitchFamily="34" charset="0"/>
                <a:ea typeface="+mn-ea"/>
                <a:cs typeface="+mn-cs"/>
              </a:rPr>
              <a:t> Level Cache</a:t>
            </a:r>
            <a:r>
              <a:rPr lang="en-US" sz="900" b="0" kern="1200" baseline="0" dirty="0">
                <a:solidFill>
                  <a:schemeClr val="tx1"/>
                </a:solidFill>
                <a:effectLst/>
                <a:latin typeface="Segoe UI Light" pitchFamily="34" charset="0"/>
                <a:ea typeface="+mn-ea"/>
                <a:cs typeface="+mn-cs"/>
              </a:rPr>
              <a:t>.</a:t>
            </a:r>
          </a:p>
          <a:p>
            <a:endParaRPr lang="en-US" sz="900" b="0" kern="1200" baseline="0" dirty="0">
              <a:solidFill>
                <a:schemeClr val="tx1"/>
              </a:solidFill>
              <a:effectLst/>
              <a:latin typeface="Segoe UI Light" pitchFamily="34" charset="0"/>
              <a:ea typeface="+mn-ea"/>
              <a:cs typeface="+mn-cs"/>
            </a:endParaRPr>
          </a:p>
          <a:p>
            <a:r>
              <a:rPr lang="en-US" sz="900" b="0" kern="1200" baseline="0" dirty="0">
                <a:solidFill>
                  <a:schemeClr val="tx1"/>
                </a:solidFill>
                <a:effectLst/>
                <a:latin typeface="Segoe UI Light" pitchFamily="34" charset="0"/>
                <a:ea typeface="+mn-ea"/>
                <a:cs typeface="+mn-cs"/>
              </a:rPr>
              <a:t>It is worthwhile to note here that </a:t>
            </a:r>
            <a:r>
              <a:rPr lang="en-US" sz="900" b="0" i="0" kern="1200" dirty="0">
                <a:solidFill>
                  <a:schemeClr val="tx1"/>
                </a:solidFill>
                <a:effectLst/>
                <a:latin typeface="Segoe UI Light" pitchFamily="34" charset="0"/>
                <a:ea typeface="+mn-ea"/>
                <a:cs typeface="+mn-cs"/>
              </a:rPr>
              <a:t>Methods used for populating or changing the </a:t>
            </a:r>
            <a:r>
              <a:rPr lang="en-US" sz="900" b="1" i="0" kern="1200" dirty="0" err="1">
                <a:solidFill>
                  <a:schemeClr val="tx1"/>
                </a:solidFill>
                <a:effectLst/>
                <a:latin typeface="Segoe UI Light" pitchFamily="34" charset="0"/>
                <a:ea typeface="+mn-ea"/>
                <a:cs typeface="+mn-cs"/>
              </a:rPr>
              <a:t>ShardMapManager</a:t>
            </a:r>
            <a:r>
              <a:rPr lang="en-US" sz="900" b="0" i="0" kern="1200" dirty="0">
                <a:solidFill>
                  <a:schemeClr val="tx1"/>
                </a:solidFill>
                <a:effectLst/>
                <a:latin typeface="Segoe UI Light" pitchFamily="34" charset="0"/>
                <a:ea typeface="+mn-ea"/>
                <a:cs typeface="+mn-cs"/>
              </a:rPr>
              <a:t> data do not alter the user data stored in the shards themselves. For example, there are methods to  </a:t>
            </a:r>
            <a:r>
              <a:rPr lang="en-US" sz="900" b="1" i="0" kern="1200" dirty="0">
                <a:solidFill>
                  <a:schemeClr val="tx1"/>
                </a:solidFill>
                <a:effectLst/>
                <a:latin typeface="Segoe UI Light" pitchFamily="34" charset="0"/>
                <a:ea typeface="+mn-ea"/>
                <a:cs typeface="+mn-cs"/>
              </a:rPr>
              <a:t>Create Shard</a:t>
            </a:r>
            <a:r>
              <a:rPr lang="en-US" sz="900" b="0" i="0" kern="1200" dirty="0">
                <a:solidFill>
                  <a:schemeClr val="tx1"/>
                </a:solidFill>
                <a:effectLst/>
                <a:latin typeface="Segoe UI Light" pitchFamily="34" charset="0"/>
                <a:ea typeface="+mn-ea"/>
                <a:cs typeface="+mn-cs"/>
              </a:rPr>
              <a:t>, </a:t>
            </a:r>
            <a:r>
              <a:rPr lang="en-US" sz="900" b="1" i="0" kern="1200" dirty="0">
                <a:solidFill>
                  <a:schemeClr val="tx1"/>
                </a:solidFill>
                <a:effectLst/>
                <a:latin typeface="Segoe UI Light" pitchFamily="34" charset="0"/>
                <a:ea typeface="+mn-ea"/>
                <a:cs typeface="+mn-cs"/>
              </a:rPr>
              <a:t>Delete Shard</a:t>
            </a:r>
            <a:r>
              <a:rPr lang="en-US" sz="900" b="0" i="0" kern="1200" baseline="0" dirty="0">
                <a:solidFill>
                  <a:schemeClr val="tx1"/>
                </a:solidFill>
                <a:effectLst/>
                <a:latin typeface="Segoe UI Light" pitchFamily="34" charset="0"/>
                <a:ea typeface="+mn-ea"/>
                <a:cs typeface="+mn-cs"/>
              </a:rPr>
              <a:t> and</a:t>
            </a:r>
            <a:r>
              <a:rPr lang="en-US" sz="900" b="0" i="0" kern="1200" dirty="0">
                <a:solidFill>
                  <a:schemeClr val="tx1"/>
                </a:solidFill>
                <a:effectLst/>
                <a:latin typeface="Segoe UI Light" pitchFamily="34" charset="0"/>
                <a:ea typeface="+mn-ea"/>
                <a:cs typeface="+mn-cs"/>
              </a:rPr>
              <a:t> </a:t>
            </a:r>
            <a:r>
              <a:rPr lang="en-US" sz="900" b="1" i="0" kern="1200" dirty="0" err="1">
                <a:solidFill>
                  <a:schemeClr val="tx1"/>
                </a:solidFill>
                <a:effectLst/>
                <a:latin typeface="Segoe UI Light" pitchFamily="34" charset="0"/>
                <a:ea typeface="+mn-ea"/>
                <a:cs typeface="+mn-cs"/>
              </a:rPr>
              <a:t>UpdateMapping</a:t>
            </a:r>
            <a:r>
              <a:rPr lang="en-US" sz="900" b="0" i="0" kern="1200" dirty="0">
                <a:solidFill>
                  <a:schemeClr val="tx1"/>
                </a:solidFill>
                <a:effectLst/>
                <a:latin typeface="Segoe UI Light" pitchFamily="34" charset="0"/>
                <a:ea typeface="+mn-ea"/>
                <a:cs typeface="+mn-cs"/>
              </a:rPr>
              <a:t>.</a:t>
            </a:r>
            <a:r>
              <a:rPr lang="en-US" sz="900" b="0" i="0" kern="1200" baseline="0" dirty="0">
                <a:solidFill>
                  <a:schemeClr val="tx1"/>
                </a:solidFill>
                <a:effectLst/>
                <a:latin typeface="Segoe UI Light" pitchFamily="34" charset="0"/>
                <a:ea typeface="+mn-ea"/>
                <a:cs typeface="+mn-cs"/>
              </a:rPr>
              <a:t> These will only </a:t>
            </a:r>
            <a:r>
              <a:rPr lang="en-US" sz="900" b="0" i="0" kern="1200" dirty="0">
                <a:solidFill>
                  <a:schemeClr val="tx1"/>
                </a:solidFill>
                <a:effectLst/>
                <a:latin typeface="Segoe UI Light" pitchFamily="34" charset="0"/>
                <a:ea typeface="+mn-ea"/>
                <a:cs typeface="+mn-cs"/>
              </a:rPr>
              <a:t>affect the shard map metadata, they do not remove, add, or alter user data contained in the shards. Instead, these methods are designed to be used in conjunction with separate operations you perform to create or remove actual databases, or that move rows from one shard to another to rebalance a </a:t>
            </a:r>
            <a:r>
              <a:rPr lang="en-US" sz="900" b="0" i="0" kern="1200" dirty="0" err="1">
                <a:solidFill>
                  <a:schemeClr val="tx1"/>
                </a:solidFill>
                <a:effectLst/>
                <a:latin typeface="Segoe UI Light" pitchFamily="34" charset="0"/>
                <a:ea typeface="+mn-ea"/>
                <a:cs typeface="+mn-cs"/>
              </a:rPr>
              <a:t>sharded</a:t>
            </a:r>
            <a:r>
              <a:rPr lang="en-US" sz="900" b="0" i="0" kern="1200" dirty="0">
                <a:solidFill>
                  <a:schemeClr val="tx1"/>
                </a:solidFill>
                <a:effectLst/>
                <a:latin typeface="Segoe UI Light" pitchFamily="34" charset="0"/>
                <a:ea typeface="+mn-ea"/>
                <a:cs typeface="+mn-cs"/>
              </a:rPr>
              <a:t> environment. </a:t>
            </a:r>
            <a:endParaRPr lang="en-US" sz="900" b="0" kern="1200" dirty="0">
              <a:solidFill>
                <a:schemeClr val="tx1"/>
              </a:solidFill>
              <a:effectLst/>
              <a:latin typeface="Segoe UI Light" pitchFamily="34" charset="0"/>
              <a:ea typeface="+mn-ea"/>
              <a:cs typeface="+mn-cs"/>
            </a:endParaRPr>
          </a:p>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11/9/2017 1:31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8</a:t>
            </a:fld>
            <a:endParaRPr lang="en-US" dirty="0"/>
          </a:p>
        </p:txBody>
      </p:sp>
    </p:spTree>
    <p:extLst>
      <p:ext uri="{BB962C8B-B14F-4D97-AF65-F5344CB8AC3E}">
        <p14:creationId xmlns:p14="http://schemas.microsoft.com/office/powerpoint/2010/main" val="2204656062"/>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b="1" i="0" kern="1200" dirty="0">
                <a:solidFill>
                  <a:schemeClr val="tx1"/>
                </a:solidFill>
                <a:effectLst/>
                <a:latin typeface="Segoe UI Light" pitchFamily="34" charset="0"/>
                <a:ea typeface="+mn-ea"/>
                <a:cs typeface="+mn-cs"/>
              </a:rPr>
              <a:t>Single-tenant</a:t>
            </a:r>
          </a:p>
          <a:p>
            <a:endParaRPr lang="en-US" sz="900" b="0" i="0" kern="1200" dirty="0">
              <a:solidFill>
                <a:schemeClr val="tx1"/>
              </a:solidFill>
              <a:effectLst/>
              <a:latin typeface="Segoe UI Light" pitchFamily="34" charset="0"/>
              <a:ea typeface="+mn-ea"/>
              <a:cs typeface="+mn-cs"/>
            </a:endParaRPr>
          </a:p>
          <a:p>
            <a:pPr marL="171450" indent="-171450">
              <a:buFont typeface="Arial" panose="020B0604020202020204" pitchFamily="34" charset="0"/>
              <a:buChar char="•"/>
            </a:pPr>
            <a:r>
              <a:rPr lang="en-US" sz="900" b="0" i="0" kern="1200" dirty="0">
                <a:solidFill>
                  <a:schemeClr val="tx1"/>
                </a:solidFill>
                <a:effectLst/>
                <a:latin typeface="Segoe UI Light" pitchFamily="34" charset="0"/>
                <a:ea typeface="+mn-ea"/>
                <a:cs typeface="+mn-cs"/>
              </a:rPr>
              <a:t>Some applications use the simplest approach of creating a separate database for each tenant. This is the </a:t>
            </a:r>
            <a:r>
              <a:rPr lang="en-US" sz="900" b="1" i="0" kern="1200" dirty="0">
                <a:solidFill>
                  <a:schemeClr val="tx1"/>
                </a:solidFill>
                <a:effectLst/>
                <a:latin typeface="Segoe UI Light" pitchFamily="34" charset="0"/>
                <a:ea typeface="+mn-ea"/>
                <a:cs typeface="+mn-cs"/>
              </a:rPr>
              <a:t>single tenant </a:t>
            </a:r>
            <a:r>
              <a:rPr lang="en-US" sz="900" b="1" i="0" kern="1200" dirty="0" err="1">
                <a:solidFill>
                  <a:schemeClr val="tx1"/>
                </a:solidFill>
                <a:effectLst/>
                <a:latin typeface="Segoe UI Light" pitchFamily="34" charset="0"/>
                <a:ea typeface="+mn-ea"/>
                <a:cs typeface="+mn-cs"/>
              </a:rPr>
              <a:t>sharding</a:t>
            </a:r>
            <a:r>
              <a:rPr lang="en-US" sz="900" b="1" i="0" kern="1200" dirty="0">
                <a:solidFill>
                  <a:schemeClr val="tx1"/>
                </a:solidFill>
                <a:effectLst/>
                <a:latin typeface="Segoe UI Light" pitchFamily="34" charset="0"/>
                <a:ea typeface="+mn-ea"/>
                <a:cs typeface="+mn-cs"/>
              </a:rPr>
              <a:t> pattern</a:t>
            </a:r>
            <a:r>
              <a:rPr lang="en-US" sz="900" b="0" i="0" kern="1200" dirty="0">
                <a:solidFill>
                  <a:schemeClr val="tx1"/>
                </a:solidFill>
                <a:effectLst/>
                <a:latin typeface="Segoe UI Light" pitchFamily="34" charset="0"/>
                <a:ea typeface="+mn-ea"/>
                <a:cs typeface="+mn-cs"/>
              </a:rPr>
              <a:t> that provides isolation, backup/restore ability and resource scaling at the granularity of the tenant. With single tenant </a:t>
            </a:r>
            <a:r>
              <a:rPr lang="en-US" sz="900" b="0" i="0" kern="1200" dirty="0" err="1">
                <a:solidFill>
                  <a:schemeClr val="tx1"/>
                </a:solidFill>
                <a:effectLst/>
                <a:latin typeface="Segoe UI Light" pitchFamily="34" charset="0"/>
                <a:ea typeface="+mn-ea"/>
                <a:cs typeface="+mn-cs"/>
              </a:rPr>
              <a:t>sharding</a:t>
            </a:r>
            <a:r>
              <a:rPr lang="en-US" sz="900" b="0" i="0" kern="1200" dirty="0">
                <a:solidFill>
                  <a:schemeClr val="tx1"/>
                </a:solidFill>
                <a:effectLst/>
                <a:latin typeface="Segoe UI Light" pitchFamily="34" charset="0"/>
                <a:ea typeface="+mn-ea"/>
                <a:cs typeface="+mn-cs"/>
              </a:rPr>
              <a:t>, each database is associated with a specific tenant ID value (or customer key value), but that key need not always be present in the data itself. It is the application’s responsibility to route each request to the appropriate database - and the client library can simplify this.</a:t>
            </a:r>
          </a:p>
          <a:p>
            <a:pPr marL="171450" indent="-171450">
              <a:buFont typeface="Arial" panose="020B0604020202020204" pitchFamily="34" charset="0"/>
              <a:buChar char="•"/>
            </a:pPr>
            <a:endParaRPr lang="en-US" sz="900" b="0" i="0" kern="1200" dirty="0">
              <a:solidFill>
                <a:schemeClr val="tx1"/>
              </a:solidFill>
              <a:effectLst/>
              <a:latin typeface="Segoe UI Light" pitchFamily="34" charset="0"/>
              <a:ea typeface="+mn-ea"/>
              <a:cs typeface="+mn-cs"/>
            </a:endParaRPr>
          </a:p>
          <a:p>
            <a:pPr marL="0" indent="0">
              <a:buFont typeface="Arial" panose="020B0604020202020204" pitchFamily="34" charset="0"/>
              <a:buNone/>
            </a:pPr>
            <a:endParaRPr lang="en-US" sz="900" b="0" i="0" kern="1200" dirty="0">
              <a:solidFill>
                <a:schemeClr val="tx1"/>
              </a:solidFill>
              <a:effectLst/>
              <a:latin typeface="Segoe UI Light" pitchFamily="34" charset="0"/>
              <a:ea typeface="+mn-ea"/>
              <a:cs typeface="+mn-cs"/>
            </a:endParaRPr>
          </a:p>
          <a:p>
            <a:pPr marL="0" marR="0" lvl="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r>
              <a:rPr lang="en-US" sz="900" b="1" i="0" kern="1200" dirty="0">
                <a:solidFill>
                  <a:schemeClr val="tx1"/>
                </a:solidFill>
                <a:effectLst/>
                <a:latin typeface="Segoe UI Light" pitchFamily="34" charset="0"/>
                <a:ea typeface="+mn-ea"/>
                <a:cs typeface="+mn-cs"/>
              </a:rPr>
              <a:t>Multi-tenant </a:t>
            </a:r>
          </a:p>
          <a:p>
            <a:pPr marL="0" marR="0" lvl="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900" b="1" i="0" kern="1200" dirty="0">
              <a:solidFill>
                <a:schemeClr val="tx1"/>
              </a:solidFill>
              <a:effectLst/>
              <a:latin typeface="Segoe UI Light" pitchFamily="34" charset="0"/>
              <a:ea typeface="+mn-ea"/>
              <a:cs typeface="+mn-cs"/>
            </a:endParaRPr>
          </a:p>
          <a:p>
            <a:pPr marL="171450" indent="-171450">
              <a:buFont typeface="Arial" panose="020B0604020202020204" pitchFamily="34" charset="0"/>
              <a:buChar char="•"/>
            </a:pPr>
            <a:r>
              <a:rPr lang="en-US" sz="900" b="0" i="0" kern="1200" dirty="0">
                <a:solidFill>
                  <a:schemeClr val="tx1"/>
                </a:solidFill>
                <a:effectLst/>
                <a:latin typeface="Segoe UI Light" pitchFamily="34" charset="0"/>
                <a:ea typeface="+mn-ea"/>
                <a:cs typeface="+mn-cs"/>
              </a:rPr>
              <a:t>Others scenarios pack multiple tenants together into databases, rather than isolating them into separate databases. This is a typical </a:t>
            </a:r>
            <a:r>
              <a:rPr lang="en-US" sz="900" b="1" i="0" kern="1200" dirty="0">
                <a:solidFill>
                  <a:schemeClr val="tx1"/>
                </a:solidFill>
                <a:effectLst/>
                <a:latin typeface="Segoe UI Light" pitchFamily="34" charset="0"/>
                <a:ea typeface="+mn-ea"/>
                <a:cs typeface="+mn-cs"/>
              </a:rPr>
              <a:t>multi-tenant </a:t>
            </a:r>
            <a:r>
              <a:rPr lang="en-US" sz="900" b="1" i="0" kern="1200" dirty="0" err="1">
                <a:solidFill>
                  <a:schemeClr val="tx1"/>
                </a:solidFill>
                <a:effectLst/>
                <a:latin typeface="Segoe UI Light" pitchFamily="34" charset="0"/>
                <a:ea typeface="+mn-ea"/>
                <a:cs typeface="+mn-cs"/>
              </a:rPr>
              <a:t>sharding</a:t>
            </a:r>
            <a:r>
              <a:rPr lang="en-US" sz="900" b="1" i="0" kern="1200" dirty="0">
                <a:solidFill>
                  <a:schemeClr val="tx1"/>
                </a:solidFill>
                <a:effectLst/>
                <a:latin typeface="Segoe UI Light" pitchFamily="34" charset="0"/>
                <a:ea typeface="+mn-ea"/>
                <a:cs typeface="+mn-cs"/>
              </a:rPr>
              <a:t> pattern</a:t>
            </a:r>
            <a:r>
              <a:rPr lang="en-US" sz="900" b="0" i="0" kern="1200" dirty="0">
                <a:solidFill>
                  <a:schemeClr val="tx1"/>
                </a:solidFill>
                <a:effectLst/>
                <a:latin typeface="Segoe UI Light" pitchFamily="34" charset="0"/>
                <a:ea typeface="+mn-ea"/>
                <a:cs typeface="+mn-cs"/>
              </a:rPr>
              <a:t> - and it may be driven by the fact that an application manages large numbers of very small tenants. In multi-tenant </a:t>
            </a:r>
            <a:r>
              <a:rPr lang="en-US" sz="900" b="0" i="0" kern="1200" dirty="0" err="1">
                <a:solidFill>
                  <a:schemeClr val="tx1"/>
                </a:solidFill>
                <a:effectLst/>
                <a:latin typeface="Segoe UI Light" pitchFamily="34" charset="0"/>
                <a:ea typeface="+mn-ea"/>
                <a:cs typeface="+mn-cs"/>
              </a:rPr>
              <a:t>sharding</a:t>
            </a:r>
            <a:r>
              <a:rPr lang="en-US" sz="900" b="0" i="0" kern="1200" dirty="0">
                <a:solidFill>
                  <a:schemeClr val="tx1"/>
                </a:solidFill>
                <a:effectLst/>
                <a:latin typeface="Segoe UI Light" pitchFamily="34" charset="0"/>
                <a:ea typeface="+mn-ea"/>
                <a:cs typeface="+mn-cs"/>
              </a:rPr>
              <a:t>, the rows in the database tables are all designed to carry a key identifying the tenant ID or </a:t>
            </a:r>
            <a:r>
              <a:rPr lang="en-US" sz="900" b="0" i="0" kern="1200" dirty="0" err="1">
                <a:solidFill>
                  <a:schemeClr val="tx1"/>
                </a:solidFill>
                <a:effectLst/>
                <a:latin typeface="Segoe UI Light" pitchFamily="34" charset="0"/>
                <a:ea typeface="+mn-ea"/>
                <a:cs typeface="+mn-cs"/>
              </a:rPr>
              <a:t>sharding</a:t>
            </a:r>
            <a:r>
              <a:rPr lang="en-US" sz="900" b="0" i="0" kern="1200" dirty="0">
                <a:solidFill>
                  <a:schemeClr val="tx1"/>
                </a:solidFill>
                <a:effectLst/>
                <a:latin typeface="Segoe UI Light" pitchFamily="34" charset="0"/>
                <a:ea typeface="+mn-ea"/>
                <a:cs typeface="+mn-cs"/>
              </a:rPr>
              <a:t> key. Again, the application tier is responsible for routing a tenant’s request to the appropriate database, and this can be supported by the elastic database client library. In addition, row-level security can be used to filter which rows each tenant can access</a:t>
            </a:r>
          </a:p>
          <a:p>
            <a:pPr marL="171450" indent="-171450">
              <a:buFont typeface="Arial" panose="020B0604020202020204" pitchFamily="34" charset="0"/>
              <a:buChar char="•"/>
            </a:pPr>
            <a:endParaRPr lang="en-US" sz="900" b="0" i="0" kern="1200" dirty="0">
              <a:solidFill>
                <a:schemeClr val="tx1"/>
              </a:solidFill>
              <a:effectLst/>
              <a:latin typeface="Segoe UI Light" pitchFamily="34" charset="0"/>
              <a:ea typeface="+mn-ea"/>
              <a:cs typeface="+mn-cs"/>
            </a:endParaRPr>
          </a:p>
          <a:p>
            <a:pPr marL="171450" indent="-171450">
              <a:buFont typeface="Arial" panose="020B0604020202020204" pitchFamily="34" charset="0"/>
              <a:buChar char="•"/>
            </a:pPr>
            <a:endParaRPr lang="en-US" sz="900" b="0" i="0" kern="1200" dirty="0">
              <a:solidFill>
                <a:schemeClr val="tx1"/>
              </a:solidFill>
              <a:effectLst/>
              <a:latin typeface="Segoe UI Light" pitchFamily="34" charset="0"/>
              <a:ea typeface="+mn-ea"/>
              <a:cs typeface="+mn-cs"/>
            </a:endParaRPr>
          </a:p>
          <a:p>
            <a:pPr marL="171450" indent="-171450">
              <a:buFont typeface="Arial" panose="020B0604020202020204" pitchFamily="34" charset="0"/>
              <a:buChar char="•"/>
            </a:pPr>
            <a:r>
              <a:rPr lang="en-US" sz="900" b="1" i="0" kern="1200" dirty="0">
                <a:solidFill>
                  <a:schemeClr val="tx1"/>
                </a:solidFill>
                <a:effectLst/>
                <a:latin typeface="Segoe UI Light" pitchFamily="34" charset="0"/>
                <a:ea typeface="+mn-ea"/>
                <a:cs typeface="+mn-cs"/>
              </a:rPr>
              <a:t>https://docs.microsoft.com/en-us/azure/sql-database/sql-database-elastic-scale-introduction</a:t>
            </a:r>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11/9/2017 1:31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9</a:t>
            </a:fld>
            <a:endParaRPr lang="en-US" dirty="0"/>
          </a:p>
        </p:txBody>
      </p:sp>
    </p:spTree>
    <p:extLst>
      <p:ext uri="{BB962C8B-B14F-4D97-AF65-F5344CB8AC3E}">
        <p14:creationId xmlns:p14="http://schemas.microsoft.com/office/powerpoint/2010/main" val="423875041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b="0" i="0" kern="1200" dirty="0">
                <a:solidFill>
                  <a:schemeClr val="tx1"/>
                </a:solidFill>
                <a:effectLst/>
                <a:latin typeface="Segoe UI Light" pitchFamily="34" charset="0"/>
                <a:ea typeface="+mn-ea"/>
                <a:cs typeface="+mn-cs"/>
              </a:rPr>
              <a:t>The cloud is changing the way applications are designed.</a:t>
            </a:r>
          </a:p>
          <a:p>
            <a:endParaRPr lang="en-US" sz="900" b="0" i="0" kern="1200" dirty="0">
              <a:solidFill>
                <a:schemeClr val="tx1"/>
              </a:solidFill>
              <a:effectLst/>
              <a:latin typeface="Segoe UI Light" pitchFamily="34" charset="0"/>
              <a:ea typeface="+mn-ea"/>
              <a:cs typeface="+mn-cs"/>
            </a:endParaRPr>
          </a:p>
          <a:p>
            <a:r>
              <a:rPr lang="en-US" sz="900" b="0" i="0" kern="1200" dirty="0">
                <a:solidFill>
                  <a:schemeClr val="tx1"/>
                </a:solidFill>
                <a:effectLst/>
                <a:latin typeface="Segoe UI Light" pitchFamily="34" charset="0"/>
                <a:ea typeface="+mn-ea"/>
                <a:cs typeface="+mn-cs"/>
              </a:rPr>
              <a:t>The new trends bring new challenges. Application state is distributed. Operations are done in parallel and asynchronously. The system as a whole must be resilient when failures occur. Deployments must be automated and predictable. Monitoring and telemetry are critical for gaining insight into the system.</a:t>
            </a:r>
          </a:p>
          <a:p>
            <a:endParaRPr lang="en-US" sz="900" b="0" i="0" kern="1200" dirty="0">
              <a:solidFill>
                <a:schemeClr val="tx1"/>
              </a:solidFill>
              <a:effectLst/>
              <a:latin typeface="Segoe UI Light" pitchFamily="34" charset="0"/>
              <a:ea typeface="+mn-ea"/>
              <a:cs typeface="+mn-cs"/>
            </a:endParaRPr>
          </a:p>
          <a:p>
            <a:r>
              <a:rPr lang="en-US" sz="900" b="0" i="0" kern="1200" dirty="0">
                <a:solidFill>
                  <a:schemeClr val="tx1"/>
                </a:solidFill>
                <a:effectLst/>
                <a:latin typeface="Segoe UI Light" pitchFamily="34" charset="0"/>
                <a:ea typeface="+mn-ea"/>
                <a:cs typeface="+mn-cs"/>
              </a:rPr>
              <a:t>A primary advantage of the cloud is elastic scaling — So lets talk, what is scaling?</a:t>
            </a:r>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38EEC551-8CDA-4EB6-89BB-2A86C9F091C8}" type="datetime8">
              <a:rPr lang="en-US" smtClean="0"/>
              <a:t>11/9/2017 1:31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a:t>
            </a:fld>
            <a:endParaRPr lang="en-US" dirty="0"/>
          </a:p>
        </p:txBody>
      </p:sp>
    </p:spTree>
    <p:extLst>
      <p:ext uri="{BB962C8B-B14F-4D97-AF65-F5344CB8AC3E}">
        <p14:creationId xmlns:p14="http://schemas.microsoft.com/office/powerpoint/2010/main" val="1243638119"/>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11/9/2017 1:31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0</a:t>
            </a:fld>
            <a:endParaRPr lang="en-US" dirty="0"/>
          </a:p>
        </p:txBody>
      </p:sp>
    </p:spTree>
    <p:extLst>
      <p:ext uri="{BB962C8B-B14F-4D97-AF65-F5344CB8AC3E}">
        <p14:creationId xmlns:p14="http://schemas.microsoft.com/office/powerpoint/2010/main" val="1653230385"/>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a:t>There is no built in </a:t>
            </a:r>
            <a:r>
              <a:rPr lang="en-US" baseline="0" dirty="0" err="1"/>
              <a:t>autoscaling</a:t>
            </a:r>
            <a:r>
              <a:rPr lang="en-US" baseline="0" dirty="0"/>
              <a:t> feature in SQL Database service. However Scaling can be implemented</a:t>
            </a:r>
          </a:p>
          <a:p>
            <a:r>
              <a:rPr lang="en-US" baseline="0" dirty="0"/>
              <a:t>Via PowerShell and automated with Azure Automation that allows you to run PowerShell scripts on a schedule.</a:t>
            </a:r>
          </a:p>
          <a:p>
            <a:endParaRPr lang="en-US" baseline="0" dirty="0"/>
          </a:p>
          <a:p>
            <a:r>
              <a:rPr lang="en-US" sz="900" kern="1200" dirty="0">
                <a:solidFill>
                  <a:schemeClr val="tx1"/>
                </a:solidFill>
                <a:effectLst/>
                <a:latin typeface="Segoe UI Light" pitchFamily="34" charset="0"/>
                <a:ea typeface="+mn-ea"/>
                <a:cs typeface="+mn-cs"/>
              </a:rPr>
              <a:t>It is not practical to scale </a:t>
            </a:r>
            <a:r>
              <a:rPr lang="en-US" sz="900" kern="1200" dirty="0" err="1">
                <a:solidFill>
                  <a:schemeClr val="tx1"/>
                </a:solidFill>
                <a:effectLst/>
                <a:latin typeface="Segoe UI Light" pitchFamily="34" charset="0"/>
                <a:ea typeface="+mn-ea"/>
                <a:cs typeface="+mn-cs"/>
              </a:rPr>
              <a:t>db</a:t>
            </a:r>
            <a:r>
              <a:rPr lang="en-US" sz="900" kern="1200" dirty="0">
                <a:solidFill>
                  <a:schemeClr val="tx1"/>
                </a:solidFill>
                <a:effectLst/>
                <a:latin typeface="Segoe UI Light" pitchFamily="34" charset="0"/>
                <a:ea typeface="+mn-ea"/>
                <a:cs typeface="+mn-cs"/>
              </a:rPr>
              <a:t> on </a:t>
            </a:r>
            <a:r>
              <a:rPr lang="en-US" sz="900" kern="1200">
                <a:solidFill>
                  <a:schemeClr val="tx1"/>
                </a:solidFill>
                <a:effectLst/>
                <a:latin typeface="Segoe UI Light" pitchFamily="34" charset="0"/>
                <a:ea typeface="+mn-ea"/>
                <a:cs typeface="+mn-cs"/>
              </a:rPr>
              <a:t>the fly, this is only a rare scale up scenario.</a:t>
            </a:r>
            <a:endParaRPr lang="en-US" baseline="0" dirty="0"/>
          </a:p>
          <a:p>
            <a:endParaRPr lang="en-US" baseline="0" dirty="0"/>
          </a:p>
          <a:p>
            <a:r>
              <a:rPr lang="en-US" dirty="0">
                <a:effectLst/>
              </a:rPr>
              <a:t>-You can make up to four individual database changes (service tier or performance levels) within a 24 hour period.</a:t>
            </a:r>
          </a:p>
          <a:p>
            <a:r>
              <a:rPr lang="en-US" dirty="0">
                <a:effectLst/>
              </a:rPr>
              <a:t>-If</a:t>
            </a:r>
            <a:r>
              <a:rPr lang="en-US" baseline="0" dirty="0">
                <a:effectLst/>
              </a:rPr>
              <a:t> downgrading from Premium tier with geo-replication you would needs to stop the geo-replication relationships with secondary's.</a:t>
            </a:r>
          </a:p>
          <a:p>
            <a:r>
              <a:rPr lang="en-US" baseline="0" dirty="0">
                <a:effectLst/>
              </a:rPr>
              <a:t>- When downgrading you would need to watch the database size limits</a:t>
            </a:r>
          </a:p>
          <a:p>
            <a:endParaRPr lang="en-US" dirty="0">
              <a:effectLst/>
            </a:endParaRPr>
          </a:p>
          <a:p>
            <a:r>
              <a:rPr lang="en-US" dirty="0">
                <a:effectLst/>
              </a:rPr>
              <a:t>-A SLO change for a database often involves data movement and therefore many hours may elapse before the change request completes and the associated billing change becomes effective. Data movement occurs for changes when upgrading a database and may also occur when changing performance level of the database. Scaling-up</a:t>
            </a:r>
            <a:r>
              <a:rPr lang="en-US" baseline="0" dirty="0">
                <a:effectLst/>
              </a:rPr>
              <a:t> large database can take days</a:t>
            </a:r>
            <a:endParaRPr lang="en-US" dirty="0">
              <a:effectLst/>
            </a:endParaRPr>
          </a:p>
          <a:p>
            <a:endParaRPr lang="en-US" dirty="0">
              <a:effectLst/>
            </a:endParaRPr>
          </a:p>
          <a:p>
            <a:r>
              <a:rPr lang="en-US" dirty="0">
                <a:effectLst/>
              </a:rPr>
              <a:t>Generally, there is no data movement if the database performance level is changed from a higher performance level to a smaller size. In such cases, the latency of the SLO change is much faster and typically completes in the order of seconds.</a:t>
            </a:r>
          </a:p>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11/9/2017 2:21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1</a:t>
            </a:fld>
            <a:endParaRPr lang="en-US" dirty="0"/>
          </a:p>
        </p:txBody>
      </p:sp>
    </p:spTree>
    <p:extLst>
      <p:ext uri="{BB962C8B-B14F-4D97-AF65-F5344CB8AC3E}">
        <p14:creationId xmlns:p14="http://schemas.microsoft.com/office/powerpoint/2010/main" val="3429809062"/>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urpose: explain how performance can be optimized by</a:t>
            </a:r>
            <a:r>
              <a:rPr lang="en-US" baseline="0" dirty="0"/>
              <a:t> using Azure SQL Elastic Database Pool</a:t>
            </a:r>
            <a:endParaRPr lang="en-US" dirty="0"/>
          </a:p>
          <a:p>
            <a:endParaRPr lang="en-US" dirty="0"/>
          </a:p>
          <a:p>
            <a:r>
              <a:rPr lang="en-US" dirty="0"/>
              <a:t>Detail:</a:t>
            </a:r>
          </a:p>
          <a:p>
            <a:pPr marL="0" marR="0" indent="0" algn="l" defTabSz="932742" rtl="0" eaLnBrk="1" fontAlgn="auto" latinLnBrk="0" hangingPunct="1">
              <a:lnSpc>
                <a:spcPct val="90000"/>
              </a:lnSpc>
              <a:spcBef>
                <a:spcPts val="0"/>
              </a:spcBef>
              <a:spcAft>
                <a:spcPts val="340"/>
              </a:spcAft>
              <a:buClrTx/>
              <a:buSzTx/>
              <a:buFontTx/>
              <a:buNone/>
              <a:tabLst/>
              <a:defRPr/>
            </a:pPr>
            <a:r>
              <a:rPr lang="en-US" dirty="0"/>
              <a:t>https://azure.microsoft.com/en-us/documentation/articles/sql-database-elastic-pool/</a:t>
            </a:r>
          </a:p>
          <a:p>
            <a:endParaRPr lang="en-US" dirty="0"/>
          </a:p>
          <a:p>
            <a:r>
              <a:rPr lang="en-US" dirty="0"/>
              <a:t>SaaS</a:t>
            </a:r>
            <a:r>
              <a:rPr lang="en-US" baseline="0" dirty="0"/>
              <a:t> ISVs with a large number of SQL Azure databases (single tenant per database) face problem of optimal DTU assignment. Some tenants may be less active than others, and likely not all tenants are active at the same time.</a:t>
            </a:r>
          </a:p>
          <a:p>
            <a:r>
              <a:rPr lang="en-US" baseline="0" dirty="0"/>
              <a:t>Azure Elastic Database Pool is currently a preview feature. It allows you to move SQL azure databases to the pool which has a desired DTU capacity. The DTUs from the pool are assigned automatically to the SQL Databases in the pool depending on their needs. You can specify minimum and maximum </a:t>
            </a:r>
            <a:r>
              <a:rPr lang="en-US" baseline="0" dirty="0" err="1"/>
              <a:t>nr</a:t>
            </a:r>
            <a:r>
              <a:rPr lang="en-US" baseline="0" dirty="0"/>
              <a:t>. of DTUs that any one database can be assigned and the total of DTUs available in the pool.</a:t>
            </a:r>
          </a:p>
          <a:p>
            <a:endParaRPr lang="en-US" baseline="0" dirty="0"/>
          </a:p>
          <a:p>
            <a:r>
              <a:rPr lang="en-US" baseline="0" dirty="0"/>
              <a:t>You can add or remove databases at any time to and from the pool and Azure offers a wizard that uses machine learning algorithm to suggest databases that are good candidates to move to the pool.</a:t>
            </a:r>
          </a:p>
          <a:p>
            <a:r>
              <a:rPr lang="en-US" baseline="0" dirty="0"/>
              <a:t>A database with constant load (DTU needs) is not a good candidate for pool, neither database that may spike beyond the DTU pool capacity.</a:t>
            </a:r>
          </a:p>
          <a:p>
            <a:endParaRPr lang="en-US" baseline="0"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11/9/2017 1:31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2</a:t>
            </a:fld>
            <a:endParaRPr lang="en-US" dirty="0"/>
          </a:p>
        </p:txBody>
      </p:sp>
    </p:spTree>
    <p:extLst>
      <p:ext uri="{BB962C8B-B14F-4D97-AF65-F5344CB8AC3E}">
        <p14:creationId xmlns:p14="http://schemas.microsoft.com/office/powerpoint/2010/main" val="689694060"/>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1"/>
          <p:cNvSpPr>
            <a:spLocks noGrp="1"/>
          </p:cNvSpPr>
          <p:nvPr>
            <p:ph type="body" idx="1"/>
          </p:nvPr>
        </p:nvSpPr>
        <p:spPr/>
        <p:txBody>
          <a:bodyPr/>
          <a:lstStyle/>
          <a:p>
            <a:r>
              <a:rPr lang="en-US" sz="900" b="0" i="0" kern="1200" dirty="0">
                <a:solidFill>
                  <a:schemeClr val="tx1"/>
                </a:solidFill>
                <a:effectLst/>
                <a:latin typeface="Segoe UI Light" pitchFamily="34" charset="0"/>
                <a:ea typeface="+mn-ea"/>
                <a:cs typeface="+mn-cs"/>
              </a:rPr>
              <a:t>Azure Cosmos DB is Microsoft's globally distributed, multi-model database. With the click of a button, Azure Cosmos DB enables you to elastically and independently scale throughput and storage across any number of Azure's geographic regions. It offers throughput, latency, availability, and consistency guarantees with comprehensive </a:t>
            </a:r>
            <a:r>
              <a:rPr lang="en-US" sz="900" b="0" i="0" u="none" strike="noStrike" kern="1200" dirty="0">
                <a:solidFill>
                  <a:schemeClr val="tx1"/>
                </a:solidFill>
                <a:effectLst/>
                <a:latin typeface="Segoe UI Light" pitchFamily="34" charset="0"/>
                <a:ea typeface="+mn-ea"/>
                <a:cs typeface="+mn-cs"/>
                <a:hlinkClick r:id="rId3"/>
              </a:rPr>
              <a:t>service level agreements</a:t>
            </a:r>
            <a:r>
              <a:rPr lang="en-US" sz="900" b="0" i="0" kern="1200" dirty="0">
                <a:solidFill>
                  <a:schemeClr val="tx1"/>
                </a:solidFill>
                <a:effectLst/>
                <a:latin typeface="Segoe UI Light" pitchFamily="34" charset="0"/>
                <a:ea typeface="+mn-ea"/>
                <a:cs typeface="+mn-cs"/>
              </a:rPr>
              <a:t> (SLAs), something no other database service can offer. </a:t>
            </a:r>
          </a:p>
          <a:p>
            <a:endParaRPr lang="en-US" sz="900" b="0" i="0" kern="1200" dirty="0">
              <a:solidFill>
                <a:schemeClr val="tx1"/>
              </a:solidFill>
              <a:effectLst/>
              <a:latin typeface="Segoe UI Light" pitchFamily="34" charset="0"/>
              <a:ea typeface="+mn-ea"/>
              <a:cs typeface="+mn-cs"/>
            </a:endParaRPr>
          </a:p>
          <a:p>
            <a:r>
              <a:rPr lang="en-US" sz="900" b="0" i="0" kern="1200" dirty="0">
                <a:solidFill>
                  <a:schemeClr val="tx1"/>
                </a:solidFill>
                <a:effectLst/>
                <a:latin typeface="Segoe UI Light" pitchFamily="34" charset="0"/>
                <a:ea typeface="+mn-ea"/>
                <a:cs typeface="+mn-cs"/>
              </a:rPr>
              <a:t>APIs for the following data models are supported with SDKs available in multiple </a:t>
            </a:r>
            <a:r>
              <a:rPr lang="en-US" sz="900" b="0" i="0" kern="1200" dirty="0" err="1">
                <a:solidFill>
                  <a:schemeClr val="tx1"/>
                </a:solidFill>
                <a:effectLst/>
                <a:latin typeface="Segoe UI Light" pitchFamily="34" charset="0"/>
                <a:ea typeface="+mn-ea"/>
                <a:cs typeface="+mn-cs"/>
              </a:rPr>
              <a:t>languages:</a:t>
            </a:r>
            <a:r>
              <a:rPr lang="en-US" sz="900" b="0" i="0" u="none" strike="noStrike" kern="1200" dirty="0" err="1">
                <a:solidFill>
                  <a:schemeClr val="tx1"/>
                </a:solidFill>
                <a:effectLst/>
                <a:latin typeface="Segoe UI Light" pitchFamily="34" charset="0"/>
                <a:ea typeface="+mn-ea"/>
                <a:cs typeface="+mn-cs"/>
                <a:hlinkClick r:id="rId4"/>
              </a:rPr>
              <a:t>DocumentDB</a:t>
            </a:r>
            <a:r>
              <a:rPr lang="en-US" sz="900" b="0" i="0" u="none" strike="noStrike" kern="1200" dirty="0">
                <a:solidFill>
                  <a:schemeClr val="tx1"/>
                </a:solidFill>
                <a:effectLst/>
                <a:latin typeface="Segoe UI Light" pitchFamily="34" charset="0"/>
                <a:ea typeface="+mn-ea"/>
                <a:cs typeface="+mn-cs"/>
                <a:hlinkClick r:id="rId4"/>
              </a:rPr>
              <a:t> API</a:t>
            </a:r>
            <a:r>
              <a:rPr lang="en-US" sz="900" b="0" i="0" kern="1200" dirty="0">
                <a:solidFill>
                  <a:schemeClr val="tx1"/>
                </a:solidFill>
                <a:effectLst/>
                <a:latin typeface="Segoe UI Light" pitchFamily="34" charset="0"/>
                <a:ea typeface="+mn-ea"/>
                <a:cs typeface="+mn-cs"/>
              </a:rPr>
              <a:t>: A schema-less JSON database engine with SQL querying capabilities.</a:t>
            </a:r>
          </a:p>
          <a:p>
            <a:pPr marL="171450" indent="-171450">
              <a:buFont typeface="Arial" panose="020B0604020202020204" pitchFamily="34" charset="0"/>
              <a:buChar char="•"/>
            </a:pPr>
            <a:r>
              <a:rPr lang="en-US" sz="900" b="0" i="0" u="none" strike="noStrike" kern="1200" dirty="0">
                <a:solidFill>
                  <a:schemeClr val="tx1"/>
                </a:solidFill>
                <a:effectLst/>
                <a:latin typeface="Segoe UI Light" pitchFamily="34" charset="0"/>
                <a:ea typeface="+mn-ea"/>
                <a:cs typeface="+mn-cs"/>
                <a:hlinkClick r:id="rId5"/>
              </a:rPr>
              <a:t>MongoDB API</a:t>
            </a:r>
            <a:r>
              <a:rPr lang="en-US" sz="900" b="0" i="0" kern="1200" dirty="0">
                <a:solidFill>
                  <a:schemeClr val="tx1"/>
                </a:solidFill>
                <a:effectLst/>
                <a:latin typeface="Segoe UI Light" pitchFamily="34" charset="0"/>
                <a:ea typeface="+mn-ea"/>
                <a:cs typeface="+mn-cs"/>
              </a:rPr>
              <a:t>: A MongoDB database service built on top of Cosmos DB. Compatible with existing MongoDB libraries, drivers, tools and applications.</a:t>
            </a:r>
          </a:p>
          <a:p>
            <a:pPr marL="171450" indent="-171450">
              <a:buFont typeface="Arial" panose="020B0604020202020204" pitchFamily="34" charset="0"/>
              <a:buChar char="•"/>
            </a:pPr>
            <a:r>
              <a:rPr lang="en-US" sz="900" b="0" i="0" u="none" strike="noStrike" kern="1200" dirty="0">
                <a:solidFill>
                  <a:schemeClr val="tx1"/>
                </a:solidFill>
                <a:effectLst/>
                <a:latin typeface="Segoe UI Light" pitchFamily="34" charset="0"/>
                <a:ea typeface="+mn-ea"/>
                <a:cs typeface="+mn-cs"/>
                <a:hlinkClick r:id="rId6"/>
              </a:rPr>
              <a:t>Table API</a:t>
            </a:r>
            <a:r>
              <a:rPr lang="en-US" sz="900" b="0" i="0" kern="1200" dirty="0">
                <a:solidFill>
                  <a:schemeClr val="tx1"/>
                </a:solidFill>
                <a:effectLst/>
                <a:latin typeface="Segoe UI Light" pitchFamily="34" charset="0"/>
                <a:ea typeface="+mn-ea"/>
                <a:cs typeface="+mn-cs"/>
              </a:rPr>
              <a:t>: A key-value storage database service built to provide premium capabilities for Azure Table storage applications.</a:t>
            </a:r>
          </a:p>
          <a:p>
            <a:pPr marL="171450" indent="-171450">
              <a:buFont typeface="Arial" panose="020B0604020202020204" pitchFamily="34" charset="0"/>
              <a:buChar char="•"/>
            </a:pPr>
            <a:r>
              <a:rPr lang="en-US" sz="900" b="0" i="0" u="none" strike="noStrike" kern="1200" dirty="0">
                <a:solidFill>
                  <a:schemeClr val="tx1"/>
                </a:solidFill>
                <a:effectLst/>
                <a:latin typeface="Segoe UI Light" pitchFamily="34" charset="0"/>
                <a:ea typeface="+mn-ea"/>
                <a:cs typeface="+mn-cs"/>
                <a:hlinkClick r:id="rId7"/>
              </a:rPr>
              <a:t>Graph (Gremlin) API</a:t>
            </a:r>
            <a:r>
              <a:rPr lang="en-US" sz="900" b="0" i="0" kern="1200" dirty="0">
                <a:solidFill>
                  <a:schemeClr val="tx1"/>
                </a:solidFill>
                <a:effectLst/>
                <a:latin typeface="Segoe UI Light" pitchFamily="34" charset="0"/>
                <a:ea typeface="+mn-ea"/>
                <a:cs typeface="+mn-cs"/>
              </a:rPr>
              <a:t>: A graph database service built following the </a:t>
            </a:r>
            <a:r>
              <a:rPr lang="en-US" sz="900" b="0" i="0" u="none" strike="noStrike" kern="1200" dirty="0">
                <a:solidFill>
                  <a:schemeClr val="tx1"/>
                </a:solidFill>
                <a:effectLst/>
                <a:latin typeface="Segoe UI Light" pitchFamily="34" charset="0"/>
                <a:ea typeface="+mn-ea"/>
                <a:cs typeface="+mn-cs"/>
                <a:hlinkClick r:id="rId8"/>
              </a:rPr>
              <a:t>Apache </a:t>
            </a:r>
            <a:r>
              <a:rPr lang="en-US" sz="900" b="0" i="0" u="none" strike="noStrike" kern="1200" dirty="0" err="1">
                <a:solidFill>
                  <a:schemeClr val="tx1"/>
                </a:solidFill>
                <a:effectLst/>
                <a:latin typeface="Segoe UI Light" pitchFamily="34" charset="0"/>
                <a:ea typeface="+mn-ea"/>
                <a:cs typeface="+mn-cs"/>
                <a:hlinkClick r:id="rId8"/>
              </a:rPr>
              <a:t>TinkerPop</a:t>
            </a:r>
            <a:r>
              <a:rPr lang="en-US" sz="900" b="0" i="0" u="none" strike="noStrike" kern="1200" dirty="0">
                <a:solidFill>
                  <a:schemeClr val="tx1"/>
                </a:solidFill>
                <a:effectLst/>
                <a:latin typeface="Segoe UI Light" pitchFamily="34" charset="0"/>
                <a:ea typeface="+mn-ea"/>
                <a:cs typeface="+mn-cs"/>
                <a:hlinkClick r:id="rId8"/>
              </a:rPr>
              <a:t> specification</a:t>
            </a:r>
            <a:r>
              <a:rPr lang="en-US" sz="900" b="0" i="0" kern="1200" dirty="0">
                <a:solidFill>
                  <a:schemeClr val="tx1"/>
                </a:solidFill>
                <a:effectLst/>
                <a:latin typeface="Segoe UI Light" pitchFamily="34" charset="0"/>
                <a:ea typeface="+mn-ea"/>
                <a:cs typeface="+mn-cs"/>
              </a:rPr>
              <a:t>.</a:t>
            </a:r>
          </a:p>
          <a:p>
            <a:pPr marL="171450" indent="-171450">
              <a:buFont typeface="Arial" panose="020B0604020202020204" pitchFamily="34" charset="0"/>
              <a:buChar char="•"/>
            </a:pPr>
            <a:r>
              <a:rPr lang="en-US" sz="900" b="0" i="0" kern="1200" dirty="0">
                <a:solidFill>
                  <a:schemeClr val="tx1"/>
                </a:solidFill>
                <a:effectLst/>
                <a:latin typeface="Segoe UI Light" pitchFamily="34" charset="0"/>
                <a:ea typeface="+mn-ea"/>
                <a:cs typeface="+mn-cs"/>
              </a:rPr>
              <a:t>Additional data models coming soon!</a:t>
            </a:r>
          </a:p>
          <a:p>
            <a:endParaRPr lang="en-US" sz="900" b="0" i="0" kern="1200" dirty="0">
              <a:solidFill>
                <a:schemeClr val="tx1"/>
              </a:solidFill>
              <a:effectLst/>
              <a:latin typeface="Segoe UI Light" pitchFamily="34" charset="0"/>
              <a:ea typeface="+mn-ea"/>
              <a:cs typeface="+mn-cs"/>
            </a:endParaRPr>
          </a:p>
          <a:p>
            <a:r>
              <a:rPr lang="en-US" sz="900" b="1" i="0" kern="1200" dirty="0">
                <a:solidFill>
                  <a:schemeClr val="tx1"/>
                </a:solidFill>
                <a:effectLst/>
                <a:latin typeface="Segoe UI Light" pitchFamily="34" charset="0"/>
                <a:ea typeface="+mn-ea"/>
                <a:cs typeface="+mn-cs"/>
              </a:rPr>
              <a:t>Write globally distributed applications, the right way</a:t>
            </a:r>
            <a:endParaRPr lang="en-US" sz="900" b="0" i="0" kern="1200" dirty="0">
              <a:solidFill>
                <a:schemeClr val="tx1"/>
              </a:solidFill>
              <a:effectLst/>
              <a:latin typeface="Segoe UI Light" pitchFamily="34" charset="0"/>
              <a:ea typeface="+mn-ea"/>
              <a:cs typeface="+mn-cs"/>
            </a:endParaRPr>
          </a:p>
          <a:p>
            <a:r>
              <a:rPr lang="en-US" sz="900" b="0" i="0" kern="1200" dirty="0">
                <a:solidFill>
                  <a:schemeClr val="tx1"/>
                </a:solidFill>
                <a:effectLst/>
                <a:latin typeface="Segoe UI Light" pitchFamily="34" charset="0"/>
                <a:ea typeface="+mn-ea"/>
                <a:cs typeface="+mn-cs"/>
              </a:rPr>
              <a:t>Five </a:t>
            </a:r>
            <a:r>
              <a:rPr lang="en-US" sz="900" b="0" i="0" u="none" strike="noStrike" kern="1200" dirty="0">
                <a:solidFill>
                  <a:schemeClr val="tx1"/>
                </a:solidFill>
                <a:effectLst/>
                <a:latin typeface="Segoe UI Light" pitchFamily="34" charset="0"/>
                <a:ea typeface="+mn-ea"/>
                <a:cs typeface="+mn-cs"/>
                <a:hlinkClick r:id="rId9"/>
              </a:rPr>
              <a:t>consistency models</a:t>
            </a:r>
            <a:r>
              <a:rPr lang="en-US" sz="900" b="0" i="0" kern="1200" dirty="0">
                <a:solidFill>
                  <a:schemeClr val="tx1"/>
                </a:solidFill>
                <a:effectLst/>
                <a:latin typeface="Segoe UI Light" pitchFamily="34" charset="0"/>
                <a:ea typeface="+mn-ea"/>
                <a:cs typeface="+mn-cs"/>
              </a:rPr>
              <a:t> </a:t>
            </a:r>
            <a:r>
              <a:rPr lang="en-US" sz="900" b="0" i="0" kern="1200" dirty="0" err="1">
                <a:solidFill>
                  <a:schemeClr val="tx1"/>
                </a:solidFill>
                <a:effectLst/>
                <a:latin typeface="Segoe UI Light" pitchFamily="34" charset="0"/>
                <a:ea typeface="+mn-ea"/>
                <a:cs typeface="+mn-cs"/>
              </a:rPr>
              <a:t>models</a:t>
            </a:r>
            <a:r>
              <a:rPr lang="en-US" sz="900" b="0" i="0" kern="1200" dirty="0">
                <a:solidFill>
                  <a:schemeClr val="tx1"/>
                </a:solidFill>
                <a:effectLst/>
                <a:latin typeface="Segoe UI Light" pitchFamily="34" charset="0"/>
                <a:ea typeface="+mn-ea"/>
                <a:cs typeface="+mn-cs"/>
              </a:rPr>
              <a:t> provide a spectrum of strong SQL-like consistency all the way to NoSQL-like eventual consistency, and every thing in between.</a:t>
            </a:r>
          </a:p>
          <a:p>
            <a:endParaRPr lang="en-US" sz="900" b="0" i="0" kern="1200" dirty="0">
              <a:solidFill>
                <a:schemeClr val="tx1"/>
              </a:solidFill>
              <a:effectLst/>
              <a:latin typeface="Segoe UI Light" pitchFamily="34" charset="0"/>
              <a:ea typeface="+mn-ea"/>
              <a:cs typeface="+mn-cs"/>
            </a:endParaRPr>
          </a:p>
          <a:p>
            <a:r>
              <a:rPr lang="en-US" sz="900" b="1" i="0" kern="1200" dirty="0">
                <a:solidFill>
                  <a:schemeClr val="tx1"/>
                </a:solidFill>
                <a:effectLst/>
                <a:latin typeface="Segoe UI Light" pitchFamily="34" charset="0"/>
                <a:ea typeface="+mn-ea"/>
                <a:cs typeface="+mn-cs"/>
              </a:rPr>
              <a:t>Money back guarantees</a:t>
            </a:r>
            <a:endParaRPr lang="en-US" sz="900" b="0" i="0" kern="1200" dirty="0">
              <a:solidFill>
                <a:schemeClr val="tx1"/>
              </a:solidFill>
              <a:effectLst/>
              <a:latin typeface="Segoe UI Light" pitchFamily="34" charset="0"/>
              <a:ea typeface="+mn-ea"/>
              <a:cs typeface="+mn-cs"/>
            </a:endParaRPr>
          </a:p>
          <a:p>
            <a:r>
              <a:rPr lang="en-US" sz="900" b="0" i="0" kern="1200" dirty="0">
                <a:solidFill>
                  <a:schemeClr val="tx1"/>
                </a:solidFill>
                <a:effectLst/>
                <a:latin typeface="Segoe UI Light" pitchFamily="34" charset="0"/>
                <a:ea typeface="+mn-ea"/>
                <a:cs typeface="+mn-cs"/>
              </a:rPr>
              <a:t>Your data gets there fast, or your money back.</a:t>
            </a:r>
          </a:p>
          <a:p>
            <a:r>
              <a:rPr lang="en-US" sz="900" b="0" i="0" u="none" strike="noStrike" kern="1200" dirty="0">
                <a:solidFill>
                  <a:schemeClr val="tx1"/>
                </a:solidFill>
                <a:effectLst/>
                <a:latin typeface="Segoe UI Light" pitchFamily="34" charset="0"/>
                <a:ea typeface="+mn-ea"/>
                <a:cs typeface="+mn-cs"/>
                <a:hlinkClick r:id="rId3"/>
              </a:rPr>
              <a:t>Service level agreements</a:t>
            </a:r>
            <a:r>
              <a:rPr lang="en-US" sz="900" b="0" i="0" kern="1200" dirty="0">
                <a:solidFill>
                  <a:schemeClr val="tx1"/>
                </a:solidFill>
                <a:effectLst/>
                <a:latin typeface="Segoe UI Light" pitchFamily="34" charset="0"/>
                <a:ea typeface="+mn-ea"/>
                <a:cs typeface="+mn-cs"/>
              </a:rPr>
              <a:t> for availability, latency, throughput, and consistency.</a:t>
            </a:r>
          </a:p>
          <a:p>
            <a:endParaRPr lang="en-US" sz="900" b="0" i="0" kern="1200" dirty="0">
              <a:solidFill>
                <a:schemeClr val="tx1"/>
              </a:solidFill>
              <a:effectLst/>
              <a:latin typeface="Segoe UI Light" pitchFamily="34" charset="0"/>
              <a:ea typeface="+mn-ea"/>
              <a:cs typeface="+mn-cs"/>
            </a:endParaRPr>
          </a:p>
          <a:p>
            <a:endParaRPr lang="en-US" dirty="0"/>
          </a:p>
        </p:txBody>
      </p:sp>
    </p:spTree>
    <p:extLst>
      <p:ext uri="{BB962C8B-B14F-4D97-AF65-F5344CB8AC3E}">
        <p14:creationId xmlns:p14="http://schemas.microsoft.com/office/powerpoint/2010/main" val="3242927768"/>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dirty="0">
                <a:latin typeface="+mn-lt"/>
              </a:rPr>
              <a:t> </a:t>
            </a:r>
            <a:r>
              <a:rPr lang="en-US" sz="900" b="1" i="0" kern="1200" dirty="0">
                <a:solidFill>
                  <a:schemeClr val="tx1"/>
                </a:solidFill>
                <a:effectLst/>
                <a:latin typeface="Segoe UI Light" pitchFamily="34" charset="0"/>
                <a:ea typeface="+mn-ea"/>
                <a:cs typeface="+mn-cs"/>
              </a:rPr>
              <a:t>Turnkey global distribution</a:t>
            </a:r>
            <a:endParaRPr lang="en-US" sz="900" b="0" i="0" kern="1200" dirty="0">
              <a:solidFill>
                <a:schemeClr val="tx1"/>
              </a:solidFill>
              <a:effectLst/>
              <a:latin typeface="Segoe UI Light" pitchFamily="34" charset="0"/>
              <a:ea typeface="+mn-ea"/>
              <a:cs typeface="+mn-cs"/>
            </a:endParaRPr>
          </a:p>
          <a:p>
            <a:pPr marL="171450" indent="-171450">
              <a:buFont typeface="Arial" panose="020B0604020202020204" pitchFamily="34" charset="0"/>
              <a:buChar char="•"/>
            </a:pPr>
            <a:r>
              <a:rPr lang="en-US" sz="900" b="0" i="0" kern="1200" dirty="0">
                <a:solidFill>
                  <a:schemeClr val="tx1"/>
                </a:solidFill>
                <a:effectLst/>
                <a:latin typeface="Segoe UI Light" pitchFamily="34" charset="0"/>
                <a:ea typeface="+mn-ea"/>
                <a:cs typeface="+mn-cs"/>
              </a:rPr>
              <a:t>You can </a:t>
            </a:r>
            <a:r>
              <a:rPr lang="en-US" sz="900" b="0" i="0" u="sng" kern="1200" dirty="0">
                <a:solidFill>
                  <a:schemeClr val="tx1"/>
                </a:solidFill>
                <a:effectLst/>
                <a:latin typeface="Segoe UI Light" pitchFamily="34" charset="0"/>
                <a:ea typeface="+mn-ea"/>
                <a:cs typeface="+mn-cs"/>
                <a:hlinkClick r:id="rId3"/>
              </a:rPr>
              <a:t>distribute your data</a:t>
            </a:r>
            <a:r>
              <a:rPr lang="en-US" sz="900" b="0" i="0" kern="1200" dirty="0">
                <a:solidFill>
                  <a:schemeClr val="tx1"/>
                </a:solidFill>
                <a:effectLst/>
                <a:latin typeface="Segoe UI Light" pitchFamily="34" charset="0"/>
                <a:ea typeface="+mn-ea"/>
                <a:cs typeface="+mn-cs"/>
              </a:rPr>
              <a:t> to any number of </a:t>
            </a:r>
            <a:r>
              <a:rPr lang="en-US" sz="900" b="0" i="0" u="none" strike="noStrike" kern="1200" dirty="0">
                <a:solidFill>
                  <a:schemeClr val="tx1"/>
                </a:solidFill>
                <a:effectLst/>
                <a:latin typeface="Segoe UI Light" pitchFamily="34" charset="0"/>
                <a:ea typeface="+mn-ea"/>
                <a:cs typeface="+mn-cs"/>
                <a:hlinkClick r:id="rId4"/>
              </a:rPr>
              <a:t>Azure regions</a:t>
            </a:r>
            <a:r>
              <a:rPr lang="en-US" sz="900" b="0" i="0" kern="1200" dirty="0">
                <a:solidFill>
                  <a:schemeClr val="tx1"/>
                </a:solidFill>
                <a:effectLst/>
                <a:latin typeface="Segoe UI Light" pitchFamily="34" charset="0"/>
                <a:ea typeface="+mn-ea"/>
                <a:cs typeface="+mn-cs"/>
              </a:rPr>
              <a:t>, with the </a:t>
            </a:r>
            <a:r>
              <a:rPr lang="en-US" sz="900" b="0" i="0" u="none" strike="noStrike" kern="1200" dirty="0">
                <a:solidFill>
                  <a:schemeClr val="tx1"/>
                </a:solidFill>
                <a:effectLst/>
                <a:latin typeface="Segoe UI Light" pitchFamily="34" charset="0"/>
                <a:ea typeface="+mn-ea"/>
                <a:cs typeface="+mn-cs"/>
                <a:hlinkClick r:id="rId5"/>
              </a:rPr>
              <a:t>click of a button</a:t>
            </a:r>
            <a:r>
              <a:rPr lang="en-US" sz="900" b="0" i="0" kern="1200" dirty="0">
                <a:solidFill>
                  <a:schemeClr val="tx1"/>
                </a:solidFill>
                <a:effectLst/>
                <a:latin typeface="Segoe UI Light" pitchFamily="34" charset="0"/>
                <a:ea typeface="+mn-ea"/>
                <a:cs typeface="+mn-cs"/>
              </a:rPr>
              <a:t>. This enables you to put your data where your users are, ensuring the lowest possible latency to your customers.</a:t>
            </a:r>
          </a:p>
          <a:p>
            <a:pPr marL="171450" indent="-171450">
              <a:buFont typeface="Arial" panose="020B0604020202020204" pitchFamily="34" charset="0"/>
              <a:buChar char="•"/>
            </a:pPr>
            <a:r>
              <a:rPr lang="en-US" sz="900" b="0" i="0" kern="1200" dirty="0">
                <a:solidFill>
                  <a:schemeClr val="tx1"/>
                </a:solidFill>
                <a:effectLst/>
                <a:latin typeface="Segoe UI Light" pitchFamily="34" charset="0"/>
                <a:ea typeface="+mn-ea"/>
                <a:cs typeface="+mn-cs"/>
              </a:rPr>
              <a:t>Using Azure Cosmos DB's multi-homing APIs, the app always knows where the nearest region is and sends requests to the nearest data center. All of this is possible with no config changes. You set your write-region and as many read-regions as you want, and the rest is handled for you.</a:t>
            </a:r>
          </a:p>
          <a:p>
            <a:endParaRPr lang="en-US" sz="1200" dirty="0">
              <a:latin typeface="+mn-lt"/>
            </a:endParaRPr>
          </a:p>
        </p:txBody>
      </p:sp>
      <p:sp>
        <p:nvSpPr>
          <p:cNvPr id="4" name="Slide Number Placeholder 3"/>
          <p:cNvSpPr>
            <a:spLocks noGrp="1"/>
          </p:cNvSpPr>
          <p:nvPr>
            <p:ph type="sldNum" sz="quarter" idx="10"/>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D6FCFD6A-4BD9-4516-9E31-F047A5C70304}"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40721565"/>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b="1" i="0" kern="1200" dirty="0">
                <a:solidFill>
                  <a:schemeClr val="tx1"/>
                </a:solidFill>
                <a:effectLst/>
                <a:latin typeface="Segoe UI Light" pitchFamily="34" charset="0"/>
                <a:ea typeface="+mn-ea"/>
                <a:cs typeface="+mn-cs"/>
              </a:rPr>
              <a:t>Elastically scale throughput and storage on demand, worldwide</a:t>
            </a:r>
            <a:endParaRPr lang="en-US" sz="900" b="0" i="0" kern="1200" dirty="0">
              <a:solidFill>
                <a:schemeClr val="tx1"/>
              </a:solidFill>
              <a:effectLst/>
              <a:latin typeface="Segoe UI Light" pitchFamily="34" charset="0"/>
              <a:ea typeface="+mn-ea"/>
              <a:cs typeface="+mn-cs"/>
            </a:endParaRPr>
          </a:p>
          <a:p>
            <a:r>
              <a:rPr lang="en-US" sz="900" b="0" i="0" kern="1200" dirty="0">
                <a:solidFill>
                  <a:schemeClr val="tx1"/>
                </a:solidFill>
                <a:effectLst/>
                <a:latin typeface="Segoe UI Light" pitchFamily="34" charset="0"/>
                <a:ea typeface="+mn-ea"/>
                <a:cs typeface="+mn-cs"/>
              </a:rPr>
              <a:t>Easily scale database throughput at a </a:t>
            </a:r>
            <a:r>
              <a:rPr lang="en-US" sz="900" b="0" i="0" u="none" strike="noStrike" kern="1200" dirty="0">
                <a:solidFill>
                  <a:schemeClr val="tx1"/>
                </a:solidFill>
                <a:effectLst/>
                <a:latin typeface="Segoe UI Light" pitchFamily="34" charset="0"/>
                <a:ea typeface="+mn-ea"/>
                <a:cs typeface="+mn-cs"/>
                <a:hlinkClick r:id="rId3"/>
              </a:rPr>
              <a:t>per-second</a:t>
            </a:r>
            <a:r>
              <a:rPr lang="en-US" sz="900" b="0" i="0" kern="1200" dirty="0">
                <a:solidFill>
                  <a:schemeClr val="tx1"/>
                </a:solidFill>
                <a:effectLst/>
                <a:latin typeface="Segoe UI Light" pitchFamily="34" charset="0"/>
                <a:ea typeface="+mn-ea"/>
                <a:cs typeface="+mn-cs"/>
              </a:rPr>
              <a:t> granularity, and change it anytime you want.</a:t>
            </a:r>
          </a:p>
          <a:p>
            <a:r>
              <a:rPr lang="en-US" sz="900" b="0" i="0" kern="1200" dirty="0">
                <a:solidFill>
                  <a:schemeClr val="tx1"/>
                </a:solidFill>
                <a:effectLst/>
                <a:latin typeface="Segoe UI Light" pitchFamily="34" charset="0"/>
                <a:ea typeface="+mn-ea"/>
                <a:cs typeface="+mn-cs"/>
              </a:rPr>
              <a:t>Scale storage size </a:t>
            </a:r>
            <a:r>
              <a:rPr lang="en-US" sz="900" b="0" i="0" u="none" strike="noStrike" kern="1200" dirty="0">
                <a:solidFill>
                  <a:schemeClr val="tx1"/>
                </a:solidFill>
                <a:effectLst/>
                <a:latin typeface="Segoe UI Light" pitchFamily="34" charset="0"/>
                <a:ea typeface="+mn-ea"/>
                <a:cs typeface="+mn-cs"/>
                <a:hlinkClick r:id="rId4"/>
              </a:rPr>
              <a:t>transparently and automatically</a:t>
            </a:r>
            <a:r>
              <a:rPr lang="en-US" sz="900" b="0" i="0" kern="1200" dirty="0">
                <a:solidFill>
                  <a:schemeClr val="tx1"/>
                </a:solidFill>
                <a:effectLst/>
                <a:latin typeface="Segoe UI Light" pitchFamily="34" charset="0"/>
                <a:ea typeface="+mn-ea"/>
                <a:cs typeface="+mn-cs"/>
              </a:rPr>
              <a:t> to handle your size requirements now and forever.</a:t>
            </a:r>
          </a:p>
          <a:p>
            <a:endParaRPr lang="en-US" dirty="0"/>
          </a:p>
          <a:p>
            <a:r>
              <a:rPr lang="en-US" sz="900" b="1" i="0" kern="1200" dirty="0">
                <a:solidFill>
                  <a:schemeClr val="tx1"/>
                </a:solidFill>
                <a:effectLst/>
                <a:latin typeface="Segoe UI Light" pitchFamily="34" charset="0"/>
                <a:ea typeface="+mn-ea"/>
                <a:cs typeface="+mn-cs"/>
              </a:rPr>
              <a:t>Dynamically add and remove regions</a:t>
            </a:r>
          </a:p>
          <a:p>
            <a:r>
              <a:rPr lang="en-US" sz="900" b="0" i="0" kern="1200" dirty="0">
                <a:solidFill>
                  <a:schemeClr val="tx1"/>
                </a:solidFill>
                <a:effectLst/>
                <a:latin typeface="Segoe UI Light" pitchFamily="34" charset="0"/>
                <a:ea typeface="+mn-ea"/>
                <a:cs typeface="+mn-cs"/>
              </a:rPr>
              <a:t>Azure Cosmos DB allows you to add (associate) or remove (dissociate) regions to your database account at any point in time (see </a:t>
            </a:r>
            <a:r>
              <a:rPr lang="en-US" sz="900" b="0" i="0" u="none" strike="noStrike" kern="1200" dirty="0">
                <a:solidFill>
                  <a:schemeClr val="tx1"/>
                </a:solidFill>
                <a:effectLst/>
                <a:latin typeface="Segoe UI Light" pitchFamily="34" charset="0"/>
                <a:ea typeface="+mn-ea"/>
                <a:cs typeface="+mn-cs"/>
                <a:hlinkClick r:id="rId5"/>
              </a:rPr>
              <a:t>preceding figure</a:t>
            </a:r>
            <a:r>
              <a:rPr lang="en-US" sz="900" b="0" i="0" kern="1200" dirty="0">
                <a:solidFill>
                  <a:schemeClr val="tx1"/>
                </a:solidFill>
                <a:effectLst/>
                <a:latin typeface="Segoe UI Light" pitchFamily="34" charset="0"/>
                <a:ea typeface="+mn-ea"/>
                <a:cs typeface="+mn-cs"/>
              </a:rPr>
              <a:t>). By virtue of replicating data across partitions in parallel, Azure Cosmos DB ensures that when a new region comes online, Azure Cosmos DB is available within 30 minutes anywhere in the world for up to 100 </a:t>
            </a:r>
            <a:r>
              <a:rPr lang="en-US" sz="900" b="0" i="0" kern="1200" dirty="0" err="1">
                <a:solidFill>
                  <a:schemeClr val="tx1"/>
                </a:solidFill>
                <a:effectLst/>
                <a:latin typeface="Segoe UI Light" pitchFamily="34" charset="0"/>
                <a:ea typeface="+mn-ea"/>
                <a:cs typeface="+mn-cs"/>
              </a:rPr>
              <a:t>TBs.</a:t>
            </a:r>
            <a:endParaRPr lang="en-US" sz="900" b="0" i="0" kern="1200" dirty="0">
              <a:solidFill>
                <a:schemeClr val="tx1"/>
              </a:solidFill>
              <a:effectLst/>
              <a:latin typeface="Segoe UI Light" pitchFamily="34" charset="0"/>
              <a:ea typeface="+mn-ea"/>
              <a:cs typeface="+mn-cs"/>
            </a:endParaRPr>
          </a:p>
          <a:p>
            <a:endParaRPr lang="en-US" dirty="0"/>
          </a:p>
          <a:p>
            <a:endParaRPr lang="en-US" dirty="0"/>
          </a:p>
          <a:p>
            <a:r>
              <a:rPr lang="en-US" dirty="0"/>
              <a:t>https://docs.microsoft.com/en-us/azure/cosmos-db/distribute-data-globally</a:t>
            </a:r>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11/9/2017 1:31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5</a:t>
            </a:fld>
            <a:endParaRPr lang="en-US" dirty="0"/>
          </a:p>
        </p:txBody>
      </p:sp>
    </p:spTree>
    <p:extLst>
      <p:ext uri="{BB962C8B-B14F-4D97-AF65-F5344CB8AC3E}">
        <p14:creationId xmlns:p14="http://schemas.microsoft.com/office/powerpoint/2010/main" val="1841913813"/>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b="0" i="0" kern="1200" dirty="0">
                <a:solidFill>
                  <a:schemeClr val="tx1"/>
                </a:solidFill>
                <a:effectLst/>
                <a:latin typeface="Segoe UI Light" pitchFamily="34" charset="0"/>
                <a:ea typeface="+mn-ea"/>
                <a:cs typeface="+mn-cs"/>
              </a:rPr>
              <a:t>With Azure Cosmos DB, reserved throughput is specified in terms of request units processing per second. You can think of request units as throughput currency, whereby you </a:t>
            </a:r>
            <a:r>
              <a:rPr lang="en-US" sz="900" b="0" i="1" kern="1200" dirty="0">
                <a:solidFill>
                  <a:schemeClr val="tx1"/>
                </a:solidFill>
                <a:effectLst/>
                <a:latin typeface="Segoe UI Light" pitchFamily="34" charset="0"/>
                <a:ea typeface="+mn-ea"/>
                <a:cs typeface="+mn-cs"/>
              </a:rPr>
              <a:t>reserve</a:t>
            </a:r>
            <a:r>
              <a:rPr lang="en-US" sz="900" b="0" i="0" kern="1200" dirty="0">
                <a:solidFill>
                  <a:schemeClr val="tx1"/>
                </a:solidFill>
                <a:effectLst/>
                <a:latin typeface="Segoe UI Light" pitchFamily="34" charset="0"/>
                <a:ea typeface="+mn-ea"/>
                <a:cs typeface="+mn-cs"/>
              </a:rPr>
              <a:t> an amount of guaranteed request units available to your application on per second basis. Each operation in Azure Cosmos DB - writing a document, performing a query, updating a document - consumes CPU, memory, and IOPS. That is, each operation incurs a </a:t>
            </a:r>
            <a:r>
              <a:rPr lang="en-US" sz="900" b="0" i="1" kern="1200" dirty="0">
                <a:solidFill>
                  <a:schemeClr val="tx1"/>
                </a:solidFill>
                <a:effectLst/>
                <a:latin typeface="Segoe UI Light" pitchFamily="34" charset="0"/>
                <a:ea typeface="+mn-ea"/>
                <a:cs typeface="+mn-cs"/>
              </a:rPr>
              <a:t>request charge</a:t>
            </a:r>
            <a:r>
              <a:rPr lang="en-US" sz="900" b="0" i="0" kern="1200" dirty="0">
                <a:solidFill>
                  <a:schemeClr val="tx1"/>
                </a:solidFill>
                <a:effectLst/>
                <a:latin typeface="Segoe UI Light" pitchFamily="34" charset="0"/>
                <a:ea typeface="+mn-ea"/>
                <a:cs typeface="+mn-cs"/>
              </a:rPr>
              <a:t>, which is expressed in </a:t>
            </a:r>
            <a:r>
              <a:rPr lang="en-US" sz="900" b="0" i="1" kern="1200" dirty="0">
                <a:solidFill>
                  <a:schemeClr val="tx1"/>
                </a:solidFill>
                <a:effectLst/>
                <a:latin typeface="Segoe UI Light" pitchFamily="34" charset="0"/>
                <a:ea typeface="+mn-ea"/>
                <a:cs typeface="+mn-cs"/>
              </a:rPr>
              <a:t>request units</a:t>
            </a:r>
            <a:r>
              <a:rPr lang="en-US" sz="900" b="0" i="0" kern="1200" dirty="0">
                <a:solidFill>
                  <a:schemeClr val="tx1"/>
                </a:solidFill>
                <a:effectLst/>
                <a:latin typeface="Segoe UI Light" pitchFamily="34" charset="0"/>
                <a:ea typeface="+mn-ea"/>
                <a:cs typeface="+mn-cs"/>
              </a:rPr>
              <a:t>. </a:t>
            </a:r>
          </a:p>
          <a:p>
            <a:endParaRPr lang="en-US" sz="900" b="0" i="0" kern="1200" dirty="0">
              <a:solidFill>
                <a:schemeClr val="tx1"/>
              </a:solidFill>
              <a:effectLst/>
              <a:latin typeface="Segoe UI Light" pitchFamily="34" charset="0"/>
              <a:ea typeface="+mn-ea"/>
              <a:cs typeface="+mn-cs"/>
            </a:endParaRPr>
          </a:p>
          <a:p>
            <a:r>
              <a:rPr lang="en-US" sz="900" b="0" i="0" kern="1200" dirty="0">
                <a:solidFill>
                  <a:schemeClr val="tx1"/>
                </a:solidFill>
                <a:effectLst/>
                <a:latin typeface="Segoe UI Light" pitchFamily="34" charset="0"/>
                <a:ea typeface="+mn-ea"/>
                <a:cs typeface="+mn-cs"/>
              </a:rPr>
              <a:t>To help customers fine tune their throughput estimations, there is a web based </a:t>
            </a:r>
            <a:r>
              <a:rPr lang="en-US" sz="900" b="0" i="0" u="none" strike="noStrike" kern="1200" dirty="0">
                <a:solidFill>
                  <a:schemeClr val="tx1"/>
                </a:solidFill>
                <a:effectLst/>
                <a:latin typeface="Segoe UI Light" pitchFamily="34" charset="0"/>
                <a:ea typeface="+mn-ea"/>
                <a:cs typeface="+mn-cs"/>
                <a:hlinkClick r:id="rId3"/>
              </a:rPr>
              <a:t>request unit calculator</a:t>
            </a:r>
            <a:r>
              <a:rPr lang="en-US" sz="900" b="0" i="0" kern="1200" dirty="0">
                <a:solidFill>
                  <a:schemeClr val="tx1"/>
                </a:solidFill>
                <a:effectLst/>
                <a:latin typeface="Segoe UI Light" pitchFamily="34" charset="0"/>
                <a:ea typeface="+mn-ea"/>
                <a:cs typeface="+mn-cs"/>
              </a:rPr>
              <a:t> to help estimate the request unit requirements for typical operations.</a:t>
            </a:r>
          </a:p>
          <a:p>
            <a:endParaRPr lang="en-US" sz="900" b="0" i="0" kern="1200" dirty="0">
              <a:solidFill>
                <a:schemeClr val="tx1"/>
              </a:solidFill>
              <a:effectLst/>
              <a:latin typeface="Segoe UI Light" pitchFamily="34" charset="0"/>
              <a:ea typeface="+mn-ea"/>
              <a:cs typeface="+mn-cs"/>
            </a:endParaRPr>
          </a:p>
          <a:p>
            <a:endParaRPr lang="en-US" sz="900" b="0" i="0" kern="1200" dirty="0">
              <a:solidFill>
                <a:schemeClr val="tx1"/>
              </a:solidFill>
              <a:effectLst/>
              <a:latin typeface="Segoe UI Light" pitchFamily="34" charset="0"/>
              <a:ea typeface="+mn-ea"/>
              <a:cs typeface="+mn-cs"/>
            </a:endParaRPr>
          </a:p>
          <a:p>
            <a:r>
              <a:rPr lang="en-US" dirty="0"/>
              <a:t>https://docs.microsoft.com/en-us/azure/cosmos-db/request-units</a:t>
            </a:r>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11/9/2017 1:31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6</a:t>
            </a:fld>
            <a:endParaRPr lang="en-US" dirty="0"/>
          </a:p>
        </p:txBody>
      </p:sp>
    </p:spTree>
    <p:extLst>
      <p:ext uri="{BB962C8B-B14F-4D97-AF65-F5344CB8AC3E}">
        <p14:creationId xmlns:p14="http://schemas.microsoft.com/office/powerpoint/2010/main" val="2973672923"/>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11/9/2017 1:31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7</a:t>
            </a:fld>
            <a:endParaRPr lang="en-US" dirty="0"/>
          </a:p>
        </p:txBody>
      </p:sp>
    </p:spTree>
    <p:extLst>
      <p:ext uri="{BB962C8B-B14F-4D97-AF65-F5344CB8AC3E}">
        <p14:creationId xmlns:p14="http://schemas.microsoft.com/office/powerpoint/2010/main" val="3104749650"/>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7D10C09F-FCA1-48C8-B40D-42E1045D109E}" type="datetime8">
              <a:rPr lang="en-US" smtClean="0"/>
              <a:t>11/9/2017 1:31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8</a:t>
            </a:fld>
            <a:endParaRPr lang="en-US" dirty="0"/>
          </a:p>
        </p:txBody>
      </p:sp>
    </p:spTree>
    <p:extLst>
      <p:ext uri="{BB962C8B-B14F-4D97-AF65-F5344CB8AC3E}">
        <p14:creationId xmlns:p14="http://schemas.microsoft.com/office/powerpoint/2010/main" val="154216802"/>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b="1" i="0" kern="1200" dirty="0">
                <a:solidFill>
                  <a:schemeClr val="tx1"/>
                </a:solidFill>
                <a:effectLst/>
                <a:latin typeface="Segoe UI Light" pitchFamily="34" charset="0"/>
                <a:ea typeface="+mn-ea"/>
                <a:cs typeface="+mn-cs"/>
              </a:rPr>
              <a:t>Context and problem</a:t>
            </a:r>
          </a:p>
          <a:p>
            <a:r>
              <a:rPr lang="en-US" sz="900" b="0" i="0" kern="1200" dirty="0">
                <a:solidFill>
                  <a:schemeClr val="tx1"/>
                </a:solidFill>
                <a:effectLst/>
                <a:latin typeface="Segoe UI Light" pitchFamily="34" charset="0"/>
                <a:ea typeface="+mn-ea"/>
                <a:cs typeface="+mn-cs"/>
              </a:rPr>
              <a:t>Applications use a cache to improve repeated access to information held in a data store. However, it's impractical to expect that cached data will always be completely consistent with the data in the data store. Applications should implement a strategy that helps to ensure that the data in the cache is as up-to-date as possible, but can also detect and handle situations that arise when the data in the cache has become stale.</a:t>
            </a:r>
          </a:p>
          <a:p>
            <a:endParaRPr lang="en-US" sz="900" dirty="0"/>
          </a:p>
          <a:p>
            <a:pPr marL="0" marR="0" lvl="0" indent="0" algn="l" defTabSz="932742" rtl="0" eaLnBrk="1" fontAlgn="auto" latinLnBrk="0" hangingPunct="1">
              <a:lnSpc>
                <a:spcPct val="90000"/>
              </a:lnSpc>
              <a:spcBef>
                <a:spcPts val="0"/>
              </a:spcBef>
              <a:spcAft>
                <a:spcPts val="340"/>
              </a:spcAft>
              <a:buClrTx/>
              <a:buSzTx/>
              <a:buFontTx/>
              <a:buNone/>
              <a:tabLst/>
              <a:defRPr/>
            </a:pPr>
            <a:r>
              <a:rPr lang="en-US" sz="900" b="1" i="0" kern="1200" dirty="0">
                <a:solidFill>
                  <a:schemeClr val="tx1"/>
                </a:solidFill>
                <a:effectLst/>
                <a:latin typeface="Segoe UI Light" pitchFamily="34" charset="0"/>
                <a:ea typeface="+mn-ea"/>
                <a:cs typeface="+mn-cs"/>
              </a:rPr>
              <a:t>Solution</a:t>
            </a:r>
          </a:p>
          <a:p>
            <a:endParaRPr lang="en-US" sz="900" dirty="0"/>
          </a:p>
          <a:p>
            <a:r>
              <a:rPr lang="en-US" sz="900" dirty="0"/>
              <a:t>Use this pattern when:</a:t>
            </a:r>
          </a:p>
          <a:p>
            <a:r>
              <a:rPr lang="en-US" sz="900" dirty="0"/>
              <a:t>•A cache does not provide native read-through and write-through operations.</a:t>
            </a:r>
          </a:p>
          <a:p>
            <a:r>
              <a:rPr lang="en-US" sz="900" dirty="0"/>
              <a:t>•Resource demand is unpredictable. This pattern enables applications to load data on demand. It makes no assumptions about which data an application will require in advance.</a:t>
            </a:r>
          </a:p>
          <a:p>
            <a:endParaRPr lang="en-US" sz="900" dirty="0"/>
          </a:p>
          <a:p>
            <a:r>
              <a:rPr lang="en-US" sz="900" dirty="0"/>
              <a:t>This pattern might not be suitable:</a:t>
            </a:r>
          </a:p>
          <a:p>
            <a:r>
              <a:rPr lang="en-US" sz="900" dirty="0"/>
              <a:t>•When the cached data set is static. If the data will fit into the available cache space, prime the cache with the data on startup and apply a policy that prevents the data from expiring.</a:t>
            </a:r>
          </a:p>
          <a:p>
            <a:r>
              <a:rPr lang="en-US" sz="900" dirty="0"/>
              <a:t>•For caching session state information in a web application hosted in a web farm. In this environment, you should avoid introducing dependencies based on client-server affinity.</a:t>
            </a:r>
          </a:p>
          <a:p>
            <a:endParaRPr lang="en-US" sz="900" dirty="0"/>
          </a:p>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11/9/2017 1:31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9</a:t>
            </a:fld>
            <a:endParaRPr lang="en-US" dirty="0"/>
          </a:p>
        </p:txBody>
      </p:sp>
    </p:spTree>
    <p:extLst>
      <p:ext uri="{BB962C8B-B14F-4D97-AF65-F5344CB8AC3E}">
        <p14:creationId xmlns:p14="http://schemas.microsoft.com/office/powerpoint/2010/main" val="398286151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sz="900" b="0" i="0" kern="1200" dirty="0">
                <a:solidFill>
                  <a:schemeClr val="tx1"/>
                </a:solidFill>
                <a:effectLst/>
                <a:latin typeface="Segoe UI Light" pitchFamily="34" charset="0"/>
                <a:ea typeface="+mn-ea"/>
                <a:cs typeface="+mn-cs"/>
              </a:rPr>
              <a:t>There are two types of scaling. 1) Manual Scale and 2) Auto-Scale</a:t>
            </a:r>
          </a:p>
          <a:p>
            <a:endParaRPr lang="en-IN" sz="900" b="0" i="0" kern="1200" dirty="0">
              <a:solidFill>
                <a:schemeClr val="tx1"/>
              </a:solidFill>
              <a:effectLst/>
              <a:latin typeface="Segoe UI Light" pitchFamily="34" charset="0"/>
              <a:ea typeface="+mn-ea"/>
              <a:cs typeface="+mn-cs"/>
            </a:endParaRPr>
          </a:p>
          <a:p>
            <a:r>
              <a:rPr lang="en-IN" sz="900" b="0" i="0" kern="1200" dirty="0" err="1">
                <a:solidFill>
                  <a:schemeClr val="tx1"/>
                </a:solidFill>
                <a:effectLst/>
                <a:latin typeface="Segoe UI Light" pitchFamily="34" charset="0"/>
                <a:ea typeface="+mn-ea"/>
                <a:cs typeface="+mn-cs"/>
              </a:rPr>
              <a:t>Autoscaling</a:t>
            </a:r>
            <a:r>
              <a:rPr lang="en-IN" sz="900" b="0" i="0" kern="1200" dirty="0">
                <a:solidFill>
                  <a:schemeClr val="tx1"/>
                </a:solidFill>
                <a:effectLst/>
                <a:latin typeface="Segoe UI Light" pitchFamily="34" charset="0"/>
                <a:ea typeface="+mn-ea"/>
                <a:cs typeface="+mn-cs"/>
              </a:rPr>
              <a:t> is the process of dynamically allocating resources to match performance requirements. As the volume of work grows, an application may need additional resources to maintain the desired performance levels and satisfy service-level agreements (SLAs). As demand slackens and the additional resources are no longer needed, they can be de-allocated to minimize costs.</a:t>
            </a:r>
            <a:endParaRPr lang="en-IN" sz="900" b="0" i="0" u="none" strike="noStrike" kern="1200" dirty="0">
              <a:solidFill>
                <a:schemeClr val="tx1"/>
              </a:solidFill>
              <a:effectLst/>
              <a:latin typeface="Segoe UI Light" pitchFamily="34" charset="0"/>
              <a:ea typeface="+mn-ea"/>
              <a:cs typeface="+mn-cs"/>
            </a:endParaRPr>
          </a:p>
          <a:p>
            <a:endParaRPr lang="en-IN" sz="900" b="0" i="0" kern="1200" dirty="0">
              <a:solidFill>
                <a:schemeClr val="tx1"/>
              </a:solidFill>
              <a:effectLst/>
              <a:latin typeface="Segoe UI Light" pitchFamily="34" charset="0"/>
              <a:ea typeface="+mn-ea"/>
              <a:cs typeface="+mn-cs"/>
            </a:endParaRPr>
          </a:p>
          <a:p>
            <a:r>
              <a:rPr lang="en-IN" sz="900" b="0" i="0" kern="1200" dirty="0" err="1">
                <a:solidFill>
                  <a:schemeClr val="tx1"/>
                </a:solidFill>
                <a:effectLst/>
                <a:latin typeface="Segoe UI Light" pitchFamily="34" charset="0"/>
                <a:ea typeface="+mn-ea"/>
                <a:cs typeface="+mn-cs"/>
              </a:rPr>
              <a:t>Autoscaling</a:t>
            </a:r>
            <a:r>
              <a:rPr lang="en-IN" sz="900" b="0" i="0" kern="1200" dirty="0">
                <a:solidFill>
                  <a:schemeClr val="tx1"/>
                </a:solidFill>
                <a:effectLst/>
                <a:latin typeface="Segoe UI Light" pitchFamily="34" charset="0"/>
                <a:ea typeface="+mn-ea"/>
                <a:cs typeface="+mn-cs"/>
              </a:rPr>
              <a:t> takes advantage of the elasticity of cloud-hosted environments while easing management overhead. It reduces the need for an operator to continually monitor the performance of a system and make decisions about adding or removing resources.</a:t>
            </a:r>
          </a:p>
          <a:p>
            <a:endParaRPr lang="en-IN" sz="900" b="0" i="0" kern="1200" dirty="0">
              <a:solidFill>
                <a:schemeClr val="tx1"/>
              </a:solidFill>
              <a:effectLst/>
              <a:latin typeface="Segoe UI Light" pitchFamily="34" charset="0"/>
              <a:ea typeface="+mn-ea"/>
              <a:cs typeface="+mn-cs"/>
            </a:endParaRPr>
          </a:p>
          <a:p>
            <a:r>
              <a:rPr lang="en-IN" sz="900" b="0" i="0" kern="1200" dirty="0">
                <a:solidFill>
                  <a:schemeClr val="tx1"/>
                </a:solidFill>
                <a:effectLst/>
                <a:latin typeface="Segoe UI Light" pitchFamily="34" charset="0"/>
                <a:ea typeface="+mn-ea"/>
                <a:cs typeface="+mn-cs"/>
              </a:rPr>
              <a:t>There are two main ways that an application can scale:</a:t>
            </a:r>
          </a:p>
          <a:p>
            <a:r>
              <a:rPr lang="en-IN" sz="900" b="1" i="0" kern="1200" dirty="0">
                <a:solidFill>
                  <a:schemeClr val="tx1"/>
                </a:solidFill>
                <a:effectLst/>
                <a:latin typeface="Segoe UI Light" pitchFamily="34" charset="0"/>
                <a:ea typeface="+mn-ea"/>
                <a:cs typeface="+mn-cs"/>
              </a:rPr>
              <a:t>Vertical scaling</a:t>
            </a:r>
            <a:r>
              <a:rPr lang="en-IN" sz="900" b="0" i="0" kern="1200" dirty="0">
                <a:solidFill>
                  <a:schemeClr val="tx1"/>
                </a:solidFill>
                <a:effectLst/>
                <a:latin typeface="Segoe UI Light" pitchFamily="34" charset="0"/>
                <a:ea typeface="+mn-ea"/>
                <a:cs typeface="+mn-cs"/>
              </a:rPr>
              <a:t>, also called scaling up and down, means changing the capacity of a resource. For example, you could move an application to a larger VM size. Vertical scaling often requires making the system temporarily unavailable while it is being redeployed. Therefore, it's less common to automate vertical scaling.</a:t>
            </a:r>
          </a:p>
          <a:p>
            <a:endParaRPr lang="en-IN" sz="900" b="0" i="0" kern="1200" dirty="0">
              <a:solidFill>
                <a:schemeClr val="tx1"/>
              </a:solidFill>
              <a:effectLst/>
              <a:latin typeface="Segoe UI Light" pitchFamily="34" charset="0"/>
              <a:ea typeface="+mn-ea"/>
              <a:cs typeface="+mn-cs"/>
            </a:endParaRPr>
          </a:p>
          <a:p>
            <a:r>
              <a:rPr lang="en-IN" sz="900" b="1" i="0" kern="1200" dirty="0">
                <a:solidFill>
                  <a:schemeClr val="tx1"/>
                </a:solidFill>
                <a:effectLst/>
                <a:latin typeface="Segoe UI Light" pitchFamily="34" charset="0"/>
                <a:ea typeface="+mn-ea"/>
                <a:cs typeface="+mn-cs"/>
              </a:rPr>
              <a:t>Horizontal scaling</a:t>
            </a:r>
            <a:r>
              <a:rPr lang="en-IN" sz="900" b="0" i="0" kern="1200" dirty="0">
                <a:solidFill>
                  <a:schemeClr val="tx1"/>
                </a:solidFill>
                <a:effectLst/>
                <a:latin typeface="Segoe UI Light" pitchFamily="34" charset="0"/>
                <a:ea typeface="+mn-ea"/>
                <a:cs typeface="+mn-cs"/>
              </a:rPr>
              <a:t>, also called scaling out and in, means adding or removing instances of a resource. The application continues running without interruption as new resources are provisioned. When the provisioning process is complete, the solution is deployed on these additional resources. If demand drops, the additional resources can be shut down cleanly and deallocated.</a:t>
            </a:r>
          </a:p>
          <a:p>
            <a:endParaRPr lang="en-IN" sz="9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11/9/2017 1:31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4</a:t>
            </a:fld>
            <a:endParaRPr lang="en-US" dirty="0"/>
          </a:p>
        </p:txBody>
      </p:sp>
    </p:spTree>
    <p:extLst>
      <p:ext uri="{BB962C8B-B14F-4D97-AF65-F5344CB8AC3E}">
        <p14:creationId xmlns:p14="http://schemas.microsoft.com/office/powerpoint/2010/main" val="955192543"/>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urpose: Introduce </a:t>
            </a:r>
            <a:r>
              <a:rPr lang="en-US" dirty="0" err="1"/>
              <a:t>Redis</a:t>
            </a:r>
            <a:r>
              <a:rPr lang="en-US" dirty="0"/>
              <a:t> cache</a:t>
            </a:r>
          </a:p>
          <a:p>
            <a:endParaRPr lang="en-US" dirty="0"/>
          </a:p>
          <a:p>
            <a:r>
              <a:rPr lang="en-US" dirty="0"/>
              <a:t>Detail:</a:t>
            </a:r>
          </a:p>
          <a:p>
            <a:r>
              <a:rPr lang="en-US" sz="900" b="0" i="0" kern="1200" dirty="0">
                <a:solidFill>
                  <a:schemeClr val="tx1"/>
                </a:solidFill>
                <a:effectLst/>
                <a:latin typeface="Segoe UI Light" pitchFamily="34" charset="0"/>
                <a:ea typeface="+mn-ea"/>
                <a:cs typeface="+mn-cs"/>
              </a:rPr>
              <a:t>Azure </a:t>
            </a:r>
            <a:r>
              <a:rPr lang="en-US" sz="900" b="0" i="0" kern="1200" dirty="0" err="1">
                <a:solidFill>
                  <a:schemeClr val="tx1"/>
                </a:solidFill>
                <a:effectLst/>
                <a:latin typeface="Segoe UI Light" pitchFamily="34" charset="0"/>
                <a:ea typeface="+mn-ea"/>
                <a:cs typeface="+mn-cs"/>
              </a:rPr>
              <a:t>Redis</a:t>
            </a:r>
            <a:r>
              <a:rPr lang="en-US" sz="900" b="0" i="0" kern="1200" dirty="0">
                <a:solidFill>
                  <a:schemeClr val="tx1"/>
                </a:solidFill>
                <a:effectLst/>
                <a:latin typeface="Segoe UI Light" pitchFamily="34" charset="0"/>
                <a:ea typeface="+mn-ea"/>
                <a:cs typeface="+mn-cs"/>
              </a:rPr>
              <a:t> Cache is based on the popular open source </a:t>
            </a:r>
            <a:r>
              <a:rPr lang="en-US" sz="900" b="0" i="0" kern="1200" dirty="0" err="1">
                <a:solidFill>
                  <a:schemeClr val="tx1"/>
                </a:solidFill>
                <a:effectLst/>
                <a:latin typeface="Segoe UI Light" pitchFamily="34" charset="0"/>
                <a:ea typeface="+mn-ea"/>
                <a:cs typeface="+mn-cs"/>
              </a:rPr>
              <a:t>Redis</a:t>
            </a:r>
            <a:r>
              <a:rPr lang="en-US" sz="900" b="0" i="0" kern="1200" dirty="0">
                <a:solidFill>
                  <a:schemeClr val="tx1"/>
                </a:solidFill>
                <a:effectLst/>
                <a:latin typeface="Segoe UI Light" pitchFamily="34" charset="0"/>
                <a:ea typeface="+mn-ea"/>
                <a:cs typeface="+mn-cs"/>
              </a:rPr>
              <a:t> cache. It gives you access to a secure, dedicated </a:t>
            </a:r>
            <a:r>
              <a:rPr lang="en-US" sz="900" b="0" i="0" kern="1200" dirty="0" err="1">
                <a:solidFill>
                  <a:schemeClr val="tx1"/>
                </a:solidFill>
                <a:effectLst/>
                <a:latin typeface="Segoe UI Light" pitchFamily="34" charset="0"/>
                <a:ea typeface="+mn-ea"/>
                <a:cs typeface="+mn-cs"/>
              </a:rPr>
              <a:t>Redis</a:t>
            </a:r>
            <a:r>
              <a:rPr lang="en-US" sz="900" b="0" i="0" kern="1200" dirty="0">
                <a:solidFill>
                  <a:schemeClr val="tx1"/>
                </a:solidFill>
                <a:effectLst/>
                <a:latin typeface="Segoe UI Light" pitchFamily="34" charset="0"/>
                <a:ea typeface="+mn-ea"/>
                <a:cs typeface="+mn-cs"/>
              </a:rPr>
              <a:t> cache, managed by Microsoft and accessible from any application within Azure.</a:t>
            </a:r>
            <a:endParaRPr lang="en-US" dirty="0"/>
          </a:p>
          <a:p>
            <a:endParaRPr lang="en-US" dirty="0"/>
          </a:p>
          <a:p>
            <a:r>
              <a:rPr lang="en-US" sz="900" b="0" i="0" kern="1200" dirty="0">
                <a:solidFill>
                  <a:schemeClr val="tx1"/>
                </a:solidFill>
                <a:effectLst/>
                <a:latin typeface="Segoe UI Light" pitchFamily="34" charset="0"/>
                <a:ea typeface="+mn-ea"/>
                <a:cs typeface="+mn-cs"/>
              </a:rPr>
              <a:t>Azure </a:t>
            </a:r>
            <a:r>
              <a:rPr lang="en-US" sz="900" b="0" i="0" kern="1200" dirty="0" err="1">
                <a:solidFill>
                  <a:schemeClr val="tx1"/>
                </a:solidFill>
                <a:effectLst/>
                <a:latin typeface="Segoe UI Light" pitchFamily="34" charset="0"/>
                <a:ea typeface="+mn-ea"/>
                <a:cs typeface="+mn-cs"/>
              </a:rPr>
              <a:t>Redis</a:t>
            </a:r>
            <a:r>
              <a:rPr lang="en-US" sz="900" b="0" i="0" kern="1200" dirty="0">
                <a:solidFill>
                  <a:schemeClr val="tx1"/>
                </a:solidFill>
                <a:effectLst/>
                <a:latin typeface="Segoe UI Light" pitchFamily="34" charset="0"/>
                <a:ea typeface="+mn-ea"/>
                <a:cs typeface="+mn-cs"/>
              </a:rPr>
              <a:t> Cache is available in the following tiers:</a:t>
            </a:r>
          </a:p>
          <a:p>
            <a:endParaRPr lang="en-US" sz="900" b="0" i="0" kern="1200" dirty="0">
              <a:solidFill>
                <a:schemeClr val="tx1"/>
              </a:solidFill>
              <a:effectLst/>
              <a:latin typeface="Segoe UI Light" pitchFamily="34" charset="0"/>
              <a:ea typeface="+mn-ea"/>
              <a:cs typeface="+mn-cs"/>
            </a:endParaRPr>
          </a:p>
          <a:p>
            <a:r>
              <a:rPr lang="en-US" sz="900" b="0" i="0" kern="1200" dirty="0">
                <a:solidFill>
                  <a:schemeClr val="tx1"/>
                </a:solidFill>
                <a:effectLst/>
                <a:latin typeface="Segoe UI Light" pitchFamily="34" charset="0"/>
                <a:ea typeface="+mn-ea"/>
                <a:cs typeface="+mn-cs"/>
              </a:rPr>
              <a:t>Basic—Single node, multiple sizes, ideal for development/test and non-critical workloads. The Basic tier has no SLA.</a:t>
            </a:r>
          </a:p>
          <a:p>
            <a:endParaRPr lang="en-US" sz="900" b="0" i="0" kern="1200" dirty="0">
              <a:solidFill>
                <a:schemeClr val="tx1"/>
              </a:solidFill>
              <a:effectLst/>
              <a:latin typeface="Segoe UI Light" pitchFamily="34" charset="0"/>
              <a:ea typeface="+mn-ea"/>
              <a:cs typeface="+mn-cs"/>
            </a:endParaRPr>
          </a:p>
          <a:p>
            <a:r>
              <a:rPr lang="en-US" sz="900" b="0" i="0" kern="1200" dirty="0">
                <a:solidFill>
                  <a:schemeClr val="tx1"/>
                </a:solidFill>
                <a:effectLst/>
                <a:latin typeface="Segoe UI Light" pitchFamily="34" charset="0"/>
                <a:ea typeface="+mn-ea"/>
                <a:cs typeface="+mn-cs"/>
              </a:rPr>
              <a:t>Standard—A replicated cache in a two-node primary/secondary configuration managed by Microsoft, with a high-availability SLA.</a:t>
            </a:r>
          </a:p>
          <a:p>
            <a:endParaRPr lang="en-US" sz="900" b="0" i="0" kern="1200" dirty="0">
              <a:solidFill>
                <a:schemeClr val="tx1"/>
              </a:solidFill>
              <a:effectLst/>
              <a:latin typeface="Segoe UI Light" pitchFamily="34" charset="0"/>
              <a:ea typeface="+mn-ea"/>
              <a:cs typeface="+mn-cs"/>
            </a:endParaRPr>
          </a:p>
          <a:p>
            <a:r>
              <a:rPr lang="en-US" sz="900" b="0" i="0" kern="1200" dirty="0">
                <a:solidFill>
                  <a:schemeClr val="tx1"/>
                </a:solidFill>
                <a:effectLst/>
                <a:latin typeface="Segoe UI Light" pitchFamily="34" charset="0"/>
                <a:ea typeface="+mn-ea"/>
                <a:cs typeface="+mn-cs"/>
              </a:rPr>
              <a:t>Premium—All of the Standard tier features, including a high-availability SLA, as well as better performance over Basic and Standard-tier caches, bigger workloads, disaster recovery, enhanced security and more.</a:t>
            </a:r>
          </a:p>
          <a:p>
            <a:endParaRPr lang="en-US" dirty="0"/>
          </a:p>
          <a:p>
            <a:endParaRPr lang="en-US" dirty="0"/>
          </a:p>
          <a:p>
            <a:r>
              <a:rPr lang="en-US" dirty="0"/>
              <a:t>https://azure.microsoft.com/en-in/services/cache/</a:t>
            </a:r>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11/9/2017 1:31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40</a:t>
            </a:fld>
            <a:endParaRPr lang="en-US" dirty="0"/>
          </a:p>
        </p:txBody>
      </p:sp>
    </p:spTree>
    <p:extLst>
      <p:ext uri="{BB962C8B-B14F-4D97-AF65-F5344CB8AC3E}">
        <p14:creationId xmlns:p14="http://schemas.microsoft.com/office/powerpoint/2010/main" val="1664713167"/>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effectLst/>
              </a:rPr>
              <a:t>Purpose: explain provider model for</a:t>
            </a:r>
            <a:r>
              <a:rPr lang="en-US" baseline="0" dirty="0">
                <a:effectLst/>
              </a:rPr>
              <a:t> </a:t>
            </a:r>
            <a:r>
              <a:rPr lang="en-US" baseline="0" dirty="0" err="1">
                <a:effectLst/>
              </a:rPr>
              <a:t>ASP.Net</a:t>
            </a:r>
            <a:r>
              <a:rPr lang="en-US" baseline="0" dirty="0">
                <a:effectLst/>
              </a:rPr>
              <a:t> applications </a:t>
            </a:r>
          </a:p>
          <a:p>
            <a:endParaRPr lang="en-US" baseline="0" dirty="0">
              <a:effectLst/>
            </a:endParaRPr>
          </a:p>
          <a:p>
            <a:r>
              <a:rPr lang="en-US" baseline="0" dirty="0">
                <a:effectLst/>
              </a:rPr>
              <a:t>Detail: </a:t>
            </a:r>
          </a:p>
          <a:p>
            <a:r>
              <a:rPr lang="en-US" baseline="0" dirty="0">
                <a:effectLst/>
              </a:rPr>
              <a:t>https://docs.microsoft.com/en-us/azure/redis-cache/cache-aspnet-session-state-provider</a:t>
            </a:r>
          </a:p>
          <a:p>
            <a:r>
              <a:rPr lang="en-US" baseline="0" dirty="0">
                <a:effectLst/>
              </a:rPr>
              <a:t>https://docs.microsoft.com/en-us/azure/redis-cache/cache-aspnet-output-cache-provider</a:t>
            </a:r>
          </a:p>
          <a:p>
            <a:endParaRPr lang="en-US" baseline="0" dirty="0">
              <a:effectLst/>
            </a:endParaRPr>
          </a:p>
          <a:p>
            <a:r>
              <a:rPr lang="en-US" baseline="0" dirty="0">
                <a:effectLst/>
              </a:rPr>
              <a:t>We have mentioned before that session state should be stored out of process to allow scaling out of the web farm. For </a:t>
            </a:r>
            <a:r>
              <a:rPr lang="en-US" baseline="0" dirty="0" err="1">
                <a:effectLst/>
              </a:rPr>
              <a:t>ASP.Net</a:t>
            </a:r>
            <a:r>
              <a:rPr lang="en-US" baseline="0" dirty="0">
                <a:effectLst/>
              </a:rPr>
              <a:t> applications both session state and page output cache providers are available and can easily be added to the application by Session State and Output Cache provider.</a:t>
            </a:r>
            <a:endParaRPr lang="en-US" dirty="0">
              <a:effectLst/>
            </a:endParaRPr>
          </a:p>
          <a:p>
            <a:endParaRPr lang="en-US" dirty="0">
              <a:effectLst/>
            </a:endParaRPr>
          </a:p>
          <a:p>
            <a:r>
              <a:rPr lang="en-US" dirty="0">
                <a:effectLst/>
              </a:rPr>
              <a:t>Azure </a:t>
            </a:r>
            <a:r>
              <a:rPr lang="en-US" dirty="0" err="1">
                <a:effectLst/>
              </a:rPr>
              <a:t>Redis</a:t>
            </a:r>
            <a:r>
              <a:rPr lang="en-US" dirty="0">
                <a:effectLst/>
              </a:rPr>
              <a:t> Cache provides a session state provider that you can use to store your session state in a cache rather than in-memory or in a SQL Server database. To use the caching session state provider, first configure your cache, and then configure your ASP.NET application for cache using the </a:t>
            </a:r>
            <a:r>
              <a:rPr lang="en-US" dirty="0" err="1">
                <a:effectLst/>
              </a:rPr>
              <a:t>Redis</a:t>
            </a:r>
            <a:r>
              <a:rPr lang="en-US" dirty="0">
                <a:effectLst/>
              </a:rPr>
              <a:t> Cache Session State </a:t>
            </a:r>
            <a:r>
              <a:rPr lang="en-US" dirty="0" err="1">
                <a:effectLst/>
              </a:rPr>
              <a:t>NuGet</a:t>
            </a:r>
            <a:r>
              <a:rPr lang="en-US" dirty="0">
                <a:effectLst/>
              </a:rPr>
              <a:t> package.</a:t>
            </a:r>
          </a:p>
          <a:p>
            <a:endParaRPr lang="en-US" dirty="0">
              <a:effectLst/>
            </a:endParaRPr>
          </a:p>
          <a:p>
            <a:r>
              <a:rPr lang="en-US" dirty="0">
                <a:effectLst/>
              </a:rPr>
              <a:t>The </a:t>
            </a:r>
            <a:r>
              <a:rPr lang="en-US" dirty="0" err="1">
                <a:effectLst/>
              </a:rPr>
              <a:t>Redis</a:t>
            </a:r>
            <a:r>
              <a:rPr lang="en-US" dirty="0">
                <a:effectLst/>
              </a:rPr>
              <a:t> Output Cache Provider is an out-of-process storage mechanism for output cache data. This data is specifically for full HTTP responses (page output caching). The provider plugs into the new output cache provider extensibility point that was introduced in ASP.NET 4.</a:t>
            </a:r>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11/9/2017 1:31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41</a:t>
            </a:fld>
            <a:endParaRPr lang="en-US" dirty="0"/>
          </a:p>
        </p:txBody>
      </p:sp>
    </p:spTree>
    <p:extLst>
      <p:ext uri="{BB962C8B-B14F-4D97-AF65-F5344CB8AC3E}">
        <p14:creationId xmlns:p14="http://schemas.microsoft.com/office/powerpoint/2010/main" val="3789012094"/>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effectLst/>
              </a:rPr>
              <a:t>Purpose: explain features of </a:t>
            </a:r>
            <a:r>
              <a:rPr lang="en-US" dirty="0" err="1">
                <a:effectLst/>
              </a:rPr>
              <a:t>Redis</a:t>
            </a:r>
            <a:r>
              <a:rPr lang="en-US" dirty="0">
                <a:effectLst/>
              </a:rPr>
              <a:t> and show</a:t>
            </a:r>
            <a:r>
              <a:rPr lang="en-US" baseline="0" dirty="0">
                <a:effectLst/>
              </a:rPr>
              <a:t> cash aside pattern implementation</a:t>
            </a:r>
          </a:p>
          <a:p>
            <a:endParaRPr lang="en-US" baseline="0" dirty="0">
              <a:effectLst/>
            </a:endParaRPr>
          </a:p>
          <a:p>
            <a:r>
              <a:rPr lang="en-US" baseline="0" dirty="0">
                <a:effectLst/>
              </a:rPr>
              <a:t>Detail: read through the points</a:t>
            </a:r>
          </a:p>
          <a:p>
            <a:r>
              <a:rPr lang="en-US" baseline="0" dirty="0">
                <a:effectLst/>
              </a:rPr>
              <a:t>https://msdn.microsoft.com/en-us/library/azure/dn690523.aspx</a:t>
            </a:r>
          </a:p>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11/9/2017 1:31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42</a:t>
            </a:fld>
            <a:endParaRPr lang="en-US" dirty="0"/>
          </a:p>
        </p:txBody>
      </p:sp>
    </p:spTree>
    <p:extLst>
      <p:ext uri="{BB962C8B-B14F-4D97-AF65-F5344CB8AC3E}">
        <p14:creationId xmlns:p14="http://schemas.microsoft.com/office/powerpoint/2010/main" val="4068962746"/>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b="0" i="0" kern="1200" dirty="0">
                <a:solidFill>
                  <a:schemeClr val="tx1"/>
                </a:solidFill>
                <a:effectLst/>
                <a:latin typeface="Segoe UI Light" pitchFamily="34" charset="0"/>
                <a:ea typeface="+mn-ea"/>
                <a:cs typeface="+mn-cs"/>
              </a:rPr>
              <a:t>Microsoft Azure Traffic Manager allows you to control the distribution of user traffic for service endpoints in different datacenters. Service endpoints supported by Traffic Manager include Azure VMs, Web Apps, and cloud services. You can also use Traffic Manager with external, non-Azure endpoints.</a:t>
            </a:r>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11/9/2017 1:31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43</a:t>
            </a:fld>
            <a:endParaRPr lang="en-US" dirty="0"/>
          </a:p>
        </p:txBody>
      </p:sp>
    </p:spTree>
    <p:extLst>
      <p:ext uri="{BB962C8B-B14F-4D97-AF65-F5344CB8AC3E}">
        <p14:creationId xmlns:p14="http://schemas.microsoft.com/office/powerpoint/2010/main" val="1550876353"/>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urpose: explain how Traffic</a:t>
            </a:r>
            <a:r>
              <a:rPr lang="en-US" baseline="0" dirty="0"/>
              <a:t> Manager works</a:t>
            </a:r>
            <a:endParaRPr lang="en-US" dirty="0"/>
          </a:p>
          <a:p>
            <a:endParaRPr lang="en-US" dirty="0"/>
          </a:p>
          <a:p>
            <a:r>
              <a:rPr lang="en-US" dirty="0"/>
              <a:t>Description:</a:t>
            </a:r>
          </a:p>
          <a:p>
            <a:r>
              <a:rPr lang="en-US" dirty="0"/>
              <a:t>https://docs.microsoft.com/en-us/azure/traffic-manager/traffic-manager-overview#how-traffic-manager-works</a:t>
            </a:r>
          </a:p>
          <a:p>
            <a:endParaRPr lang="en-US" dirty="0"/>
          </a:p>
          <a:p>
            <a:r>
              <a:rPr lang="en-US" sz="900" b="1" i="0" kern="1200" dirty="0">
                <a:solidFill>
                  <a:schemeClr val="tx1"/>
                </a:solidFill>
                <a:effectLst/>
                <a:latin typeface="Segoe UI Light" pitchFamily="34" charset="0"/>
                <a:ea typeface="+mn-ea"/>
                <a:cs typeface="+mn-cs"/>
              </a:rPr>
              <a:t>The most important point to understand is that Traffic Manager works at the DNS level.</a:t>
            </a:r>
            <a:r>
              <a:rPr lang="en-US" sz="900" b="0" i="0" kern="1200" dirty="0">
                <a:solidFill>
                  <a:schemeClr val="tx1"/>
                </a:solidFill>
                <a:effectLst/>
                <a:latin typeface="Segoe UI Light" pitchFamily="34" charset="0"/>
                <a:ea typeface="+mn-ea"/>
                <a:cs typeface="+mn-cs"/>
              </a:rPr>
              <a:t> Traffic Manager uses DNS to direct clients to specific service endpoints based on the rules of the traffic-routing method. Clients connect to the selected endpoint </a:t>
            </a:r>
            <a:r>
              <a:rPr lang="en-US" sz="900" b="1" i="0" kern="1200" dirty="0">
                <a:solidFill>
                  <a:schemeClr val="tx1"/>
                </a:solidFill>
                <a:effectLst/>
                <a:latin typeface="Segoe UI Light" pitchFamily="34" charset="0"/>
                <a:ea typeface="+mn-ea"/>
                <a:cs typeface="+mn-cs"/>
              </a:rPr>
              <a:t>directly</a:t>
            </a:r>
            <a:r>
              <a:rPr lang="en-US" sz="900" b="0" i="0" kern="1200" dirty="0">
                <a:solidFill>
                  <a:schemeClr val="tx1"/>
                </a:solidFill>
                <a:effectLst/>
                <a:latin typeface="Segoe UI Light" pitchFamily="34" charset="0"/>
                <a:ea typeface="+mn-ea"/>
                <a:cs typeface="+mn-cs"/>
              </a:rPr>
              <a:t>. Traffic Manager is not a proxy or a gateway. Traffic Manager does not see the traffic passing between the client and the service.</a:t>
            </a:r>
            <a:endParaRPr lang="en-US" dirty="0"/>
          </a:p>
          <a:p>
            <a:pPr marL="228600" indent="-228600">
              <a:buFont typeface="+mj-lt"/>
              <a:buAutoNum type="arabicPeriod"/>
            </a:pPr>
            <a:endParaRPr lang="en-US" dirty="0"/>
          </a:p>
          <a:p>
            <a:pPr marL="228600" indent="-228600">
              <a:buFont typeface="+mj-lt"/>
              <a:buAutoNum type="arabicPeriod"/>
            </a:pPr>
            <a:r>
              <a:rPr lang="en-US" sz="900" b="0" i="0" kern="1200" dirty="0">
                <a:solidFill>
                  <a:schemeClr val="tx1"/>
                </a:solidFill>
                <a:effectLst/>
                <a:latin typeface="Segoe UI Light" pitchFamily="34" charset="0"/>
                <a:ea typeface="+mn-ea"/>
                <a:cs typeface="+mn-cs"/>
              </a:rPr>
              <a:t>The client sends a DNS query to its configured recursive DNS service to resolve the name 'partners.contoso.com'. A recursive DNS service, sometimes called a 'local DNS' service, does not host DNS domains directly. Rather, the client off-loads the work of contacting the various authoritative DNS services across the Internet needed to resolve a DNS name.</a:t>
            </a:r>
          </a:p>
          <a:p>
            <a:pPr marL="228600" indent="-228600">
              <a:buFont typeface="+mj-lt"/>
              <a:buAutoNum type="arabicPeriod"/>
            </a:pPr>
            <a:r>
              <a:rPr lang="en-US" sz="900" b="0" i="0" kern="1200" dirty="0">
                <a:solidFill>
                  <a:schemeClr val="tx1"/>
                </a:solidFill>
                <a:effectLst/>
                <a:latin typeface="Segoe UI Light" pitchFamily="34" charset="0"/>
                <a:ea typeface="+mn-ea"/>
                <a:cs typeface="+mn-cs"/>
              </a:rPr>
              <a:t>To resolve the DNS name, the recursive DNS service finds the name servers for the 'contoso.com' domain. It then contacts those name servers to request the 'partners.contoso.com' DNS record. The contoso.com DNS servers return the CNAME record that points to contoso.trafficmanager.net.</a:t>
            </a:r>
          </a:p>
          <a:p>
            <a:pPr marL="228600" indent="-228600">
              <a:buFont typeface="+mj-lt"/>
              <a:buAutoNum type="arabicPeriod"/>
            </a:pPr>
            <a:r>
              <a:rPr lang="en-US" sz="900" b="0" i="0" kern="1200" dirty="0">
                <a:solidFill>
                  <a:schemeClr val="tx1"/>
                </a:solidFill>
                <a:effectLst/>
                <a:latin typeface="Segoe UI Light" pitchFamily="34" charset="0"/>
                <a:ea typeface="+mn-ea"/>
                <a:cs typeface="+mn-cs"/>
              </a:rPr>
              <a:t>Next, the recursive DNS service finds the name servers for the 'trafficmanager.net' domain, which are provided by the Azure Traffic Manager service. It then sends a request for the 'contoso.trafficmanager.net' DNS record to those DNS servers.</a:t>
            </a:r>
          </a:p>
          <a:p>
            <a:pPr marL="228600" indent="-228600">
              <a:buFont typeface="+mj-lt"/>
              <a:buAutoNum type="arabicPeriod"/>
            </a:pPr>
            <a:r>
              <a:rPr lang="en-US" sz="900" b="0" i="0" kern="1200" dirty="0">
                <a:solidFill>
                  <a:schemeClr val="tx1"/>
                </a:solidFill>
                <a:effectLst/>
                <a:latin typeface="Segoe UI Light" pitchFamily="34" charset="0"/>
                <a:ea typeface="+mn-ea"/>
                <a:cs typeface="+mn-cs"/>
              </a:rPr>
              <a:t>The Traffic Manager name servers receive the request. They choose an endpoint based on:</a:t>
            </a:r>
          </a:p>
          <a:p>
            <a:pPr marL="217262" lvl="1" indent="-107956"/>
            <a:r>
              <a:rPr lang="en-US" sz="900" b="0" i="0" kern="1200" dirty="0">
                <a:solidFill>
                  <a:schemeClr val="tx1"/>
                </a:solidFill>
                <a:effectLst/>
                <a:latin typeface="Segoe UI Light" pitchFamily="34" charset="0"/>
                <a:ea typeface="+mn-ea"/>
                <a:cs typeface="+mn-cs"/>
              </a:rPr>
              <a:t>The configured state of each endpoint (disabled endpoints are not returned)</a:t>
            </a:r>
          </a:p>
          <a:p>
            <a:pPr marL="217262" lvl="1" indent="-107956"/>
            <a:r>
              <a:rPr lang="en-US" sz="900" b="0" i="0" kern="1200" dirty="0">
                <a:solidFill>
                  <a:schemeClr val="tx1"/>
                </a:solidFill>
                <a:effectLst/>
                <a:latin typeface="Segoe UI Light" pitchFamily="34" charset="0"/>
                <a:ea typeface="+mn-ea"/>
                <a:cs typeface="+mn-cs"/>
              </a:rPr>
              <a:t>The current health of each endpoint, as determined by the Traffic Manager health checks. For more information, see </a:t>
            </a:r>
            <a:r>
              <a:rPr lang="en-US" sz="900" b="0" i="0" u="none" strike="noStrike" kern="1200" dirty="0">
                <a:solidFill>
                  <a:schemeClr val="tx1"/>
                </a:solidFill>
                <a:effectLst/>
                <a:latin typeface="Segoe UI Light" pitchFamily="34" charset="0"/>
                <a:ea typeface="+mn-ea"/>
                <a:cs typeface="+mn-cs"/>
                <a:hlinkClick r:id="rId3"/>
              </a:rPr>
              <a:t>Traffic Manager Endpoint Monitoring</a:t>
            </a:r>
            <a:r>
              <a:rPr lang="en-US" sz="900" b="0" i="0" kern="1200" dirty="0">
                <a:solidFill>
                  <a:schemeClr val="tx1"/>
                </a:solidFill>
                <a:effectLst/>
                <a:latin typeface="Segoe UI Light" pitchFamily="34" charset="0"/>
                <a:ea typeface="+mn-ea"/>
                <a:cs typeface="+mn-cs"/>
              </a:rPr>
              <a:t>.</a:t>
            </a:r>
          </a:p>
          <a:p>
            <a:pPr marL="217262" lvl="1" indent="-107956"/>
            <a:r>
              <a:rPr lang="en-US" sz="900" b="0" i="0" kern="1200" dirty="0">
                <a:solidFill>
                  <a:schemeClr val="tx1"/>
                </a:solidFill>
                <a:effectLst/>
                <a:latin typeface="Segoe UI Light" pitchFamily="34" charset="0"/>
                <a:ea typeface="+mn-ea"/>
                <a:cs typeface="+mn-cs"/>
              </a:rPr>
              <a:t>The chosen traffic-routing method. For more information, see </a:t>
            </a:r>
            <a:r>
              <a:rPr lang="en-US" sz="900" b="0" i="0" u="none" strike="noStrike" kern="1200" dirty="0">
                <a:solidFill>
                  <a:schemeClr val="tx1"/>
                </a:solidFill>
                <a:effectLst/>
                <a:latin typeface="Segoe UI Light" pitchFamily="34" charset="0"/>
                <a:ea typeface="+mn-ea"/>
                <a:cs typeface="+mn-cs"/>
                <a:hlinkClick r:id="rId4"/>
              </a:rPr>
              <a:t>Traffic Manager Routing Methods</a:t>
            </a:r>
            <a:r>
              <a:rPr lang="en-US" sz="900" b="0" i="0" kern="1200" dirty="0">
                <a:solidFill>
                  <a:schemeClr val="tx1"/>
                </a:solidFill>
                <a:effectLst/>
                <a:latin typeface="Segoe UI Light" pitchFamily="34" charset="0"/>
                <a:ea typeface="+mn-ea"/>
                <a:cs typeface="+mn-cs"/>
              </a:rPr>
              <a:t>.</a:t>
            </a:r>
          </a:p>
          <a:p>
            <a:pPr marL="228600" indent="-228600">
              <a:buFont typeface="+mj-lt"/>
              <a:buAutoNum type="arabicPeriod"/>
            </a:pPr>
            <a:r>
              <a:rPr lang="en-US" sz="900" b="0" i="0" kern="1200" dirty="0">
                <a:solidFill>
                  <a:schemeClr val="tx1"/>
                </a:solidFill>
                <a:effectLst/>
                <a:latin typeface="Segoe UI Light" pitchFamily="34" charset="0"/>
                <a:ea typeface="+mn-ea"/>
                <a:cs typeface="+mn-cs"/>
              </a:rPr>
              <a:t>The chosen endpoint is returned as another DNS CNAME record. In this case, let us suppose contoso-us.cloudapp.net is returned.</a:t>
            </a:r>
          </a:p>
          <a:p>
            <a:pPr marL="228600" indent="-228600">
              <a:buFont typeface="+mj-lt"/>
              <a:buAutoNum type="arabicPeriod"/>
            </a:pPr>
            <a:r>
              <a:rPr lang="en-US" sz="900" b="0" i="0" kern="1200" dirty="0">
                <a:solidFill>
                  <a:schemeClr val="tx1"/>
                </a:solidFill>
                <a:effectLst/>
                <a:latin typeface="Segoe UI Light" pitchFamily="34" charset="0"/>
                <a:ea typeface="+mn-ea"/>
                <a:cs typeface="+mn-cs"/>
              </a:rPr>
              <a:t>Next, the recursive DNS service finds the name servers for the 'cloudapp.net' domain. It contacts those name servers to request the 'contoso-us.cloudapp.net' DNS record. A DNS 'A' record containing the IP address of the US-based service endpoint is returned.</a:t>
            </a:r>
          </a:p>
          <a:p>
            <a:pPr marL="228600" indent="-228600">
              <a:buFont typeface="+mj-lt"/>
              <a:buAutoNum type="arabicPeriod"/>
            </a:pPr>
            <a:r>
              <a:rPr lang="en-US" sz="900" b="0" i="0" kern="1200" dirty="0">
                <a:solidFill>
                  <a:schemeClr val="tx1"/>
                </a:solidFill>
                <a:effectLst/>
                <a:latin typeface="Segoe UI Light" pitchFamily="34" charset="0"/>
                <a:ea typeface="+mn-ea"/>
                <a:cs typeface="+mn-cs"/>
              </a:rPr>
              <a:t>The recursive DNS service consolidates the results and returns a single DNS response to the client.</a:t>
            </a:r>
          </a:p>
          <a:p>
            <a:pPr marL="228600" indent="-228600">
              <a:buFont typeface="+mj-lt"/>
              <a:buAutoNum type="arabicPeriod"/>
            </a:pPr>
            <a:r>
              <a:rPr lang="en-US" sz="900" b="0" i="0" kern="1200" dirty="0">
                <a:solidFill>
                  <a:schemeClr val="tx1"/>
                </a:solidFill>
                <a:effectLst/>
                <a:latin typeface="Segoe UI Light" pitchFamily="34" charset="0"/>
                <a:ea typeface="+mn-ea"/>
                <a:cs typeface="+mn-cs"/>
              </a:rPr>
              <a:t>The client receives the DNS results and connects to the given IP address. The client connects to the application service endpoint directly, not through Traffic Manager. Since it is an HTTPS endpoint, the client performs the necessary SSL/TLS handshake, and then makes an HTTP GET request for the '/login.aspx' page.</a:t>
            </a:r>
          </a:p>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11/9/2017 1:31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44</a:t>
            </a:fld>
            <a:endParaRPr lang="en-US" dirty="0"/>
          </a:p>
        </p:txBody>
      </p:sp>
    </p:spTree>
    <p:extLst>
      <p:ext uri="{BB962C8B-B14F-4D97-AF65-F5344CB8AC3E}">
        <p14:creationId xmlns:p14="http://schemas.microsoft.com/office/powerpoint/2010/main" val="1619736779"/>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urpose: Explain Priority</a:t>
            </a:r>
            <a:r>
              <a:rPr lang="en-US" baseline="0" dirty="0"/>
              <a:t> </a:t>
            </a:r>
            <a:r>
              <a:rPr lang="en-US" dirty="0"/>
              <a:t>profile of Traffic Manager</a:t>
            </a:r>
          </a:p>
          <a:p>
            <a:endParaRPr lang="en-US" dirty="0"/>
          </a:p>
          <a:p>
            <a:r>
              <a:rPr lang="en-US" dirty="0"/>
              <a:t>Detail:</a:t>
            </a:r>
          </a:p>
          <a:p>
            <a:r>
              <a:rPr lang="en-US" dirty="0"/>
              <a:t>https://docs.microsoft.com/en-us/azure/traffic-manager/traffic-manager-routing-methods#a-name--priorityapriority-traffic-routing-method</a:t>
            </a:r>
          </a:p>
          <a:p>
            <a:endParaRPr lang="en-US" dirty="0"/>
          </a:p>
          <a:p>
            <a:r>
              <a:rPr lang="en-US" sz="900" b="0" i="0" kern="1200" dirty="0">
                <a:solidFill>
                  <a:schemeClr val="tx1"/>
                </a:solidFill>
                <a:effectLst/>
                <a:latin typeface="Segoe UI Light" pitchFamily="34" charset="0"/>
                <a:ea typeface="+mn-ea"/>
                <a:cs typeface="+mn-cs"/>
              </a:rPr>
              <a:t>Often an organization wants to provide reliability for its services by deploying one or more backup services in case their primary service goes down. The 'Priority' traffic-routing method allows Azure customers to easily implement this failover pattern.</a:t>
            </a:r>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11/9/2017 1:31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45</a:t>
            </a:fld>
            <a:endParaRPr lang="en-US" dirty="0"/>
          </a:p>
        </p:txBody>
      </p:sp>
    </p:spTree>
    <p:extLst>
      <p:ext uri="{BB962C8B-B14F-4D97-AF65-F5344CB8AC3E}">
        <p14:creationId xmlns:p14="http://schemas.microsoft.com/office/powerpoint/2010/main" val="841439098"/>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urpose: Explain Weighted</a:t>
            </a:r>
            <a:r>
              <a:rPr lang="en-US" baseline="0" dirty="0"/>
              <a:t> </a:t>
            </a:r>
            <a:r>
              <a:rPr lang="en-US" dirty="0"/>
              <a:t>profile of Traffic Manager</a:t>
            </a:r>
          </a:p>
          <a:p>
            <a:endParaRPr lang="en-US" dirty="0"/>
          </a:p>
          <a:p>
            <a:r>
              <a:rPr lang="en-US" dirty="0"/>
              <a:t>Detail:</a:t>
            </a:r>
          </a:p>
          <a:p>
            <a:r>
              <a:rPr lang="en-US" dirty="0"/>
              <a:t>https://docs.microsoft.com/en-us/azure/traffic-manager/traffic-manager-routing-methods#a-name--weightedaweighted-traffic-routing-method</a:t>
            </a:r>
          </a:p>
          <a:p>
            <a:endParaRPr lang="en-US" dirty="0"/>
          </a:p>
          <a:p>
            <a:r>
              <a:rPr lang="en-US" sz="900" b="0" i="0" kern="1200" dirty="0">
                <a:solidFill>
                  <a:schemeClr val="tx1"/>
                </a:solidFill>
                <a:effectLst/>
                <a:latin typeface="Segoe UI Light" pitchFamily="34" charset="0"/>
                <a:ea typeface="+mn-ea"/>
                <a:cs typeface="+mn-cs"/>
              </a:rPr>
              <a:t>In the Weighted traffic-routing method, you assign a weight to each endpoint in the Traffic Manager profile configuration. The weight is an integer from 1 to 1000. This parameter is optional. If omitted, Traffic Managers uses a default weight of '1'.</a:t>
            </a:r>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11/9/2017 1:31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46</a:t>
            </a:fld>
            <a:endParaRPr lang="en-US" dirty="0"/>
          </a:p>
        </p:txBody>
      </p:sp>
    </p:spTree>
    <p:extLst>
      <p:ext uri="{BB962C8B-B14F-4D97-AF65-F5344CB8AC3E}">
        <p14:creationId xmlns:p14="http://schemas.microsoft.com/office/powerpoint/2010/main" val="3626179446"/>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urpose: Explain Performance</a:t>
            </a:r>
            <a:r>
              <a:rPr lang="en-US" baseline="0" dirty="0"/>
              <a:t> </a:t>
            </a:r>
            <a:r>
              <a:rPr lang="en-US" dirty="0"/>
              <a:t>profile of Traffic Manager</a:t>
            </a:r>
          </a:p>
          <a:p>
            <a:endParaRPr lang="en-US" dirty="0"/>
          </a:p>
          <a:p>
            <a:r>
              <a:rPr lang="en-US" dirty="0"/>
              <a:t>Detail:</a:t>
            </a:r>
          </a:p>
          <a:p>
            <a:r>
              <a:rPr lang="en-US" dirty="0"/>
              <a:t>https://docs.microsoft.com/en-us/azure/traffic-manager/traffic-manager-routing-methods#a-name--performanceaperformance-traffic-routing-method</a:t>
            </a:r>
          </a:p>
          <a:p>
            <a:endParaRPr lang="en-US" dirty="0"/>
          </a:p>
          <a:p>
            <a:r>
              <a:rPr lang="en-US" sz="900" b="0" i="0" kern="1200" dirty="0">
                <a:solidFill>
                  <a:schemeClr val="tx1"/>
                </a:solidFill>
                <a:effectLst/>
                <a:latin typeface="Segoe UI Light" pitchFamily="34" charset="0"/>
                <a:ea typeface="+mn-ea"/>
                <a:cs typeface="+mn-cs"/>
              </a:rPr>
              <a:t>The 'closest' endpoint is not necessarily closest as measured by geographic distance. Instead, the 'Performance' traffic-routing method determines the closest endpoint by measuring network latency. Traffic Manager maintains an Internet Latency Table to track the round-trip time between IP address ranges and each Azure datacenter.</a:t>
            </a:r>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11/9/2017 1:31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47</a:t>
            </a:fld>
            <a:endParaRPr lang="en-US" dirty="0"/>
          </a:p>
        </p:txBody>
      </p:sp>
    </p:spTree>
    <p:extLst>
      <p:ext uri="{BB962C8B-B14F-4D97-AF65-F5344CB8AC3E}">
        <p14:creationId xmlns:p14="http://schemas.microsoft.com/office/powerpoint/2010/main" val="3050266213"/>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urpose: Explain Geographic</a:t>
            </a:r>
            <a:r>
              <a:rPr lang="en-US" baseline="0" dirty="0"/>
              <a:t> </a:t>
            </a:r>
            <a:r>
              <a:rPr lang="en-US" dirty="0"/>
              <a:t>profile of Traffic Manager</a:t>
            </a:r>
          </a:p>
          <a:p>
            <a:endParaRPr lang="en-US" dirty="0"/>
          </a:p>
          <a:p>
            <a:r>
              <a:rPr lang="en-US" dirty="0"/>
              <a:t>Detail:</a:t>
            </a:r>
          </a:p>
          <a:p>
            <a:r>
              <a:rPr lang="en-US" dirty="0"/>
              <a:t>https://docs.microsoft.com/en-us/azure/traffic-manager/traffic-manager-routing-methods#a-name--geographicageographic-traffic-routing-method</a:t>
            </a:r>
          </a:p>
          <a:p>
            <a:endParaRPr lang="en-US" dirty="0"/>
          </a:p>
          <a:p>
            <a:r>
              <a:rPr lang="en-US" sz="900" b="0" i="0" kern="1200" dirty="0">
                <a:solidFill>
                  <a:schemeClr val="tx1"/>
                </a:solidFill>
                <a:effectLst/>
                <a:latin typeface="Segoe UI Light" pitchFamily="34" charset="0"/>
                <a:ea typeface="+mn-ea"/>
                <a:cs typeface="+mn-cs"/>
              </a:rPr>
              <a:t>Traffic Manager reads the source IP address of the DNS query and decides which geographic region it is originating from. It then looks to see if there is an endpoint that has this geographic region mapped to it. This lookup starts at the lowest granularity level (State/Province where it is supported, else at the Country/Region level) and goes all the way up to the highest level, which is </a:t>
            </a:r>
            <a:r>
              <a:rPr lang="en-US" sz="900" b="1" i="0" kern="1200" dirty="0">
                <a:solidFill>
                  <a:schemeClr val="tx1"/>
                </a:solidFill>
                <a:effectLst/>
                <a:latin typeface="Segoe UI Light" pitchFamily="34" charset="0"/>
                <a:ea typeface="+mn-ea"/>
                <a:cs typeface="+mn-cs"/>
              </a:rPr>
              <a:t>World</a:t>
            </a:r>
            <a:r>
              <a:rPr lang="en-US" sz="900" b="0" i="0" kern="1200" dirty="0">
                <a:solidFill>
                  <a:schemeClr val="tx1"/>
                </a:solidFill>
                <a:effectLst/>
                <a:latin typeface="Segoe UI Light" pitchFamily="34" charset="0"/>
                <a:ea typeface="+mn-ea"/>
                <a:cs typeface="+mn-cs"/>
              </a:rPr>
              <a:t>. The first match found using this traversal is designated as the endpoint to return in the query response. When matching with a Nested type endpoint, an endpoint within that child profile is returned, based on its routing method.</a:t>
            </a:r>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11/9/2017 1:31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48</a:t>
            </a:fld>
            <a:endParaRPr lang="en-US" dirty="0"/>
          </a:p>
        </p:txBody>
      </p:sp>
    </p:spTree>
    <p:extLst>
      <p:ext uri="{BB962C8B-B14F-4D97-AF65-F5344CB8AC3E}">
        <p14:creationId xmlns:p14="http://schemas.microsoft.com/office/powerpoint/2010/main" val="3178956419"/>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b="0" i="0" kern="1200" dirty="0">
                <a:solidFill>
                  <a:schemeClr val="tx1"/>
                </a:solidFill>
                <a:effectLst/>
                <a:latin typeface="Segoe UI Light" pitchFamily="34" charset="0"/>
                <a:ea typeface="+mn-ea"/>
                <a:cs typeface="+mn-cs"/>
              </a:rPr>
              <a:t>Speed matters. Ensuring a consistent user experience is important. If your websites or mobile apps involve streaming media, gaming software, firmware updates (Smart TVs, consumer electronic appliances) or IoT endpoints (cars, sensors), then Azure Content Delivery Network helps you reduce load times, save bandwidth and increase responsiveness.</a:t>
            </a:r>
          </a:p>
          <a:p>
            <a:endParaRPr lang="en-US" sz="900" b="0" i="0" kern="1200" dirty="0">
              <a:solidFill>
                <a:schemeClr val="tx1"/>
              </a:solidFill>
              <a:effectLst/>
              <a:latin typeface="Segoe UI Light" pitchFamily="34" charset="0"/>
              <a:ea typeface="+mn-ea"/>
              <a:cs typeface="+mn-cs"/>
            </a:endParaRPr>
          </a:p>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11/9/2017 1:31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49</a:t>
            </a:fld>
            <a:endParaRPr lang="en-US" dirty="0"/>
          </a:p>
        </p:txBody>
      </p:sp>
    </p:spTree>
    <p:extLst>
      <p:ext uri="{BB962C8B-B14F-4D97-AF65-F5344CB8AC3E}">
        <p14:creationId xmlns:p14="http://schemas.microsoft.com/office/powerpoint/2010/main" val="21398011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r>
              <a:rPr lang="en-US" sz="900" b="0" i="0" kern="1200" dirty="0">
                <a:solidFill>
                  <a:schemeClr val="tx1"/>
                </a:solidFill>
                <a:effectLst/>
                <a:latin typeface="Segoe UI Light" pitchFamily="34" charset="0"/>
                <a:ea typeface="+mn-ea"/>
                <a:cs typeface="+mn-cs"/>
              </a:rPr>
              <a:t>Design your application so that it can scale horizontally.</a:t>
            </a:r>
          </a:p>
          <a:p>
            <a:pPr marL="0" marR="0" lvl="0" indent="0" algn="l" defTabSz="932742" rtl="0" eaLnBrk="1" fontAlgn="auto" latinLnBrk="0" hangingPunct="1">
              <a:lnSpc>
                <a:spcPct val="90000"/>
              </a:lnSpc>
              <a:spcBef>
                <a:spcPts val="0"/>
              </a:spcBef>
              <a:spcAft>
                <a:spcPts val="340"/>
              </a:spcAft>
              <a:buClrTx/>
              <a:buSzTx/>
              <a:buFontTx/>
              <a:buNone/>
              <a:tabLst/>
              <a:defRPr/>
            </a:pPr>
            <a:endParaRPr lang="en-US" sz="900" b="0" i="0" kern="1200" dirty="0">
              <a:solidFill>
                <a:schemeClr val="tx1"/>
              </a:solidFill>
              <a:effectLst/>
              <a:latin typeface="Segoe UI Light" pitchFamily="34" charset="0"/>
              <a:ea typeface="+mn-ea"/>
              <a:cs typeface="+mn-cs"/>
            </a:endParaRPr>
          </a:p>
          <a:p>
            <a:pPr marL="0" marR="0" lvl="0" indent="0" algn="l" defTabSz="932742" rtl="0" eaLnBrk="1" fontAlgn="auto" latinLnBrk="0" hangingPunct="1">
              <a:lnSpc>
                <a:spcPct val="90000"/>
              </a:lnSpc>
              <a:spcBef>
                <a:spcPts val="0"/>
              </a:spcBef>
              <a:spcAft>
                <a:spcPts val="340"/>
              </a:spcAft>
              <a:buClrTx/>
              <a:buSzTx/>
              <a:buFontTx/>
              <a:buNone/>
              <a:tabLst/>
              <a:defRPr/>
            </a:pPr>
            <a:r>
              <a:rPr lang="en-US" sz="900" b="0" i="0" kern="1200" dirty="0">
                <a:solidFill>
                  <a:schemeClr val="tx1"/>
                </a:solidFill>
                <a:effectLst/>
                <a:latin typeface="Segoe UI Light" pitchFamily="34" charset="0"/>
                <a:ea typeface="+mn-ea"/>
                <a:cs typeface="+mn-cs"/>
              </a:rPr>
              <a:t>Okay, so now we know about scaling and the ways we can scale our applications, but the question is, in what situation should I scale my application? What are the recommendations?</a:t>
            </a:r>
          </a:p>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11/9/2017 1:31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5</a:t>
            </a:fld>
            <a:endParaRPr lang="en-US" dirty="0"/>
          </a:p>
        </p:txBody>
      </p:sp>
    </p:spTree>
    <p:extLst>
      <p:ext uri="{BB962C8B-B14F-4D97-AF65-F5344CB8AC3E}">
        <p14:creationId xmlns:p14="http://schemas.microsoft.com/office/powerpoint/2010/main" val="751010576"/>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61191">
              <a:spcAft>
                <a:spcPts val="350"/>
              </a:spcAft>
              <a:defRPr/>
            </a:pPr>
            <a:r>
              <a:rPr lang="en-US" b="0" dirty="0">
                <a:latin typeface="Segoe UI" panose="020B0502040204020203" pitchFamily="34" charset="0"/>
              </a:rPr>
              <a:t>In a CDN, content exists in multiple copies on </a:t>
            </a:r>
            <a:r>
              <a:rPr lang="en-US" b="1" dirty="0">
                <a:latin typeface="Segoe UI" panose="020B0502040204020203" pitchFamily="34" charset="0"/>
              </a:rPr>
              <a:t>strategically dispersed servers </a:t>
            </a:r>
            <a:r>
              <a:rPr lang="en-US" b="0" dirty="0">
                <a:latin typeface="Segoe UI" panose="020B0502040204020203" pitchFamily="34" charset="0"/>
              </a:rPr>
              <a:t>(edge servers,</a:t>
            </a:r>
            <a:r>
              <a:rPr lang="en-US" b="0" baseline="0" dirty="0">
                <a:latin typeface="Segoe UI" panose="020B0502040204020203" pitchFamily="34" charset="0"/>
              </a:rPr>
              <a:t> POP –point of presence servers)</a:t>
            </a:r>
            <a:r>
              <a:rPr lang="en-US" b="0" dirty="0">
                <a:latin typeface="Segoe UI" panose="020B0502040204020203" pitchFamily="34" charset="0"/>
              </a:rPr>
              <a:t>.</a:t>
            </a:r>
          </a:p>
          <a:p>
            <a:pPr defTabSz="961191">
              <a:spcAft>
                <a:spcPts val="350"/>
              </a:spcAft>
              <a:defRPr/>
            </a:pPr>
            <a:endParaRPr lang="en-US" b="0" dirty="0">
              <a:latin typeface="Segoe UI" panose="020B0502040204020203" pitchFamily="34" charset="0"/>
            </a:endParaRPr>
          </a:p>
          <a:p>
            <a:pPr defTabSz="961191">
              <a:spcAft>
                <a:spcPts val="350"/>
              </a:spcAft>
              <a:defRPr/>
            </a:pPr>
            <a:r>
              <a:rPr lang="en-US" b="0" dirty="0">
                <a:latin typeface="Segoe UI" panose="020B0502040204020203" pitchFamily="34" charset="0"/>
              </a:rPr>
              <a:t>A large CDN can have thousands of servers, making it possible to provide identical content to many users efficiently and reliably even at times of maximum Internet traffic or during sudden demand spikes. When a specific page, file or digital asset is requested by a user, the server closest to that user (in terms of the minimum number of nodes between the server and the user) is dynamically determined. This optimizes the speed with which the content is delivered to that user.</a:t>
            </a:r>
          </a:p>
          <a:p>
            <a:endParaRPr lang="en-US" dirty="0">
              <a:effectLst/>
            </a:endParaRPr>
          </a:p>
          <a:p>
            <a:r>
              <a:rPr lang="en-US" dirty="0">
                <a:effectLst/>
              </a:rPr>
              <a:t>A typical website generally contains a mix of static and dynamic content,</a:t>
            </a:r>
            <a:r>
              <a:rPr lang="en-US" baseline="0" dirty="0">
                <a:effectLst/>
              </a:rPr>
              <a:t> both of which can affect load times. As you know, u</a:t>
            </a:r>
            <a:r>
              <a:rPr lang="en-US" dirty="0">
                <a:effectLst/>
              </a:rPr>
              <a:t>ser tolerance for slow sites, sluggish apps, and choppy streaming is fading fast. If your site doesn’t load in the first second or two, users</a:t>
            </a:r>
            <a:r>
              <a:rPr lang="en-US" baseline="0" dirty="0">
                <a:effectLst/>
              </a:rPr>
              <a:t> will</a:t>
            </a:r>
            <a:r>
              <a:rPr lang="en-US" dirty="0">
                <a:effectLst/>
              </a:rPr>
              <a:t> go</a:t>
            </a:r>
            <a:r>
              <a:rPr lang="en-US" baseline="0" dirty="0">
                <a:effectLst/>
              </a:rPr>
              <a:t> </a:t>
            </a:r>
            <a:r>
              <a:rPr lang="en-US" dirty="0">
                <a:effectLst/>
              </a:rPr>
              <a:t>elsewhere. Search engines use speed as a ranking factor, too – so it has a more direct impact on loyalty and revenue than ever before.</a:t>
            </a:r>
          </a:p>
          <a:p>
            <a:endParaRPr lang="en-US" dirty="0">
              <a:effectLst/>
            </a:endParaRPr>
          </a:p>
          <a:p>
            <a:r>
              <a:rPr lang="en-US" b="1" dirty="0">
                <a:effectLst/>
              </a:rPr>
              <a:t>Static</a:t>
            </a:r>
            <a:r>
              <a:rPr lang="en-US" b="0" dirty="0">
                <a:effectLst/>
              </a:rPr>
              <a:t> </a:t>
            </a:r>
            <a:r>
              <a:rPr lang="en-US" b="1" dirty="0">
                <a:effectLst/>
              </a:rPr>
              <a:t>content</a:t>
            </a:r>
            <a:r>
              <a:rPr lang="en-US" b="0" dirty="0">
                <a:effectLst/>
              </a:rPr>
              <a:t> includes </a:t>
            </a:r>
            <a:r>
              <a:rPr lang="en-US" b="0" baseline="0" dirty="0"/>
              <a:t>fixed object that aren’t capable of action or change, such as code, images, downloads and some media</a:t>
            </a:r>
            <a:r>
              <a:rPr lang="en-US" b="0" dirty="0">
                <a:effectLst/>
              </a:rPr>
              <a:t>; while</a:t>
            </a:r>
          </a:p>
          <a:p>
            <a:r>
              <a:rPr lang="en-US" b="1" dirty="0">
                <a:effectLst/>
              </a:rPr>
              <a:t>dynamic content</a:t>
            </a:r>
            <a:r>
              <a:rPr lang="en-US" b="1" baseline="0" dirty="0">
                <a:effectLst/>
              </a:rPr>
              <a:t> </a:t>
            </a:r>
            <a:r>
              <a:rPr lang="en-US" b="0" baseline="0" dirty="0">
                <a:effectLst/>
              </a:rPr>
              <a:t>(also known as</a:t>
            </a:r>
            <a:r>
              <a:rPr lang="en-US" b="0" dirty="0">
                <a:effectLst/>
              </a:rPr>
              <a:t> application generated content) </a:t>
            </a:r>
            <a:r>
              <a:rPr lang="en-US" b="0" baseline="0" dirty="0"/>
              <a:t>consist of actions that take place in real time, and </a:t>
            </a:r>
            <a:r>
              <a:rPr lang="en-US" dirty="0">
                <a:effectLst/>
              </a:rPr>
              <a:t>include elements of your site that are personalized to each viewer</a:t>
            </a:r>
            <a:r>
              <a:rPr lang="en-US" b="0" baseline="0" dirty="0"/>
              <a:t>, such as web applications, SaaS and some media. </a:t>
            </a:r>
          </a:p>
          <a:p>
            <a:endParaRPr lang="en-US" b="0" baseline="0" dirty="0"/>
          </a:p>
          <a:p>
            <a:pPr marL="0" marR="0" indent="0" algn="l" defTabSz="932742" rtl="0" eaLnBrk="1" fontAlgn="auto" latinLnBrk="0" hangingPunct="1">
              <a:lnSpc>
                <a:spcPct val="90000"/>
              </a:lnSpc>
              <a:spcBef>
                <a:spcPts val="0"/>
              </a:spcBef>
              <a:spcAft>
                <a:spcPts val="340"/>
              </a:spcAft>
              <a:buClrTx/>
              <a:buSzTx/>
              <a:buFontTx/>
              <a:buNone/>
              <a:tabLst/>
              <a:defRPr/>
            </a:pPr>
            <a:r>
              <a:rPr lang="en-US" sz="900" dirty="0">
                <a:solidFill>
                  <a:schemeClr val="tx2"/>
                </a:solidFill>
              </a:rPr>
              <a:t>All of this effects the performance, availability and reliability of your site,</a:t>
            </a:r>
            <a:r>
              <a:rPr lang="en-US" sz="900" baseline="0" dirty="0">
                <a:solidFill>
                  <a:schemeClr val="tx2"/>
                </a:solidFill>
              </a:rPr>
              <a:t> which are key factors in building a successful CDN.</a:t>
            </a:r>
            <a:endParaRPr lang="en-US" sz="900" dirty="0">
              <a:solidFill>
                <a:schemeClr val="tx2"/>
              </a:solidFill>
            </a:endParaRPr>
          </a:p>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11/9/2017 1:31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50</a:t>
            </a:fld>
            <a:endParaRPr lang="en-US" dirty="0"/>
          </a:p>
        </p:txBody>
      </p:sp>
    </p:spTree>
    <p:extLst>
      <p:ext uri="{BB962C8B-B14F-4D97-AF65-F5344CB8AC3E}">
        <p14:creationId xmlns:p14="http://schemas.microsoft.com/office/powerpoint/2010/main" val="2054630961"/>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61191">
              <a:spcAft>
                <a:spcPts val="350"/>
              </a:spcAft>
              <a:defRPr/>
            </a:pPr>
            <a:r>
              <a:rPr lang="en-US" b="1" dirty="0">
                <a:latin typeface="Segoe UI" panose="020B0502040204020203" pitchFamily="34" charset="0"/>
              </a:rPr>
              <a:t>Speaker Notes:</a:t>
            </a:r>
            <a:endParaRPr lang="en-US" dirty="0"/>
          </a:p>
          <a:p>
            <a:pPr marL="0" marR="0" indent="0" algn="l" defTabSz="961191" rtl="0" eaLnBrk="1" fontAlgn="auto" latinLnBrk="0" hangingPunct="1">
              <a:lnSpc>
                <a:spcPct val="90000"/>
              </a:lnSpc>
              <a:spcBef>
                <a:spcPts val="0"/>
              </a:spcBef>
              <a:spcAft>
                <a:spcPts val="350"/>
              </a:spcAft>
              <a:buClrTx/>
              <a:buSzTx/>
              <a:buFontTx/>
              <a:buNone/>
              <a:tabLst/>
              <a:defRPr/>
            </a:pPr>
            <a:r>
              <a:rPr lang="en-US" dirty="0">
                <a:solidFill>
                  <a:schemeClr val="bg1"/>
                </a:solidFill>
                <a:ea typeface="Segoe UI" pitchFamily="34" charset="0"/>
                <a:cs typeface="Segoe UI" pitchFamily="34" charset="0"/>
              </a:rPr>
              <a:t>The Internet backbone is the </a:t>
            </a:r>
            <a:r>
              <a:rPr lang="en-US" dirty="0">
                <a:solidFill>
                  <a:schemeClr val="bg1"/>
                </a:solidFill>
                <a:cs typeface="Segoe UI" pitchFamily="34" charset="0"/>
              </a:rPr>
              <a:t>primary system of networks connecting both major network hubs and Internet users to the Internet itself,</a:t>
            </a:r>
            <a:r>
              <a:rPr lang="en-US" baseline="0" dirty="0">
                <a:solidFill>
                  <a:schemeClr val="bg1"/>
                </a:solidFill>
                <a:cs typeface="Segoe UI" pitchFamily="34" charset="0"/>
              </a:rPr>
              <a:t> m</a:t>
            </a:r>
            <a:r>
              <a:rPr lang="en-US" dirty="0">
                <a:solidFill>
                  <a:schemeClr val="bg1"/>
                </a:solidFill>
                <a:cs typeface="Segoe UI" pitchFamily="34" charset="0"/>
              </a:rPr>
              <a:t>uch like a human backbone, or spine, that carries information to other parts of the body in the</a:t>
            </a:r>
            <a:r>
              <a:rPr lang="en-US" baseline="0" dirty="0">
                <a:solidFill>
                  <a:schemeClr val="bg1"/>
                </a:solidFill>
                <a:cs typeface="Segoe UI" pitchFamily="34" charset="0"/>
              </a:rPr>
              <a:t> most</a:t>
            </a:r>
            <a:r>
              <a:rPr lang="en-US" dirty="0">
                <a:solidFill>
                  <a:schemeClr val="bg1"/>
                </a:solidFill>
                <a:cs typeface="Segoe UI" pitchFamily="34" charset="0"/>
              </a:rPr>
              <a:t> organized</a:t>
            </a:r>
            <a:r>
              <a:rPr lang="en-US" baseline="0" dirty="0">
                <a:solidFill>
                  <a:schemeClr val="bg1"/>
                </a:solidFill>
                <a:cs typeface="Segoe UI" pitchFamily="34" charset="0"/>
              </a:rPr>
              <a:t> and </a:t>
            </a:r>
            <a:r>
              <a:rPr lang="en-US" dirty="0">
                <a:solidFill>
                  <a:schemeClr val="bg1"/>
                </a:solidFill>
                <a:cs typeface="Segoe UI" pitchFamily="34" charset="0"/>
              </a:rPr>
              <a:t>efficient manner.</a:t>
            </a:r>
          </a:p>
          <a:p>
            <a:pPr marL="0" marR="0" indent="0" algn="l" defTabSz="961191" rtl="0" eaLnBrk="1" fontAlgn="auto" latinLnBrk="0" hangingPunct="1">
              <a:lnSpc>
                <a:spcPct val="90000"/>
              </a:lnSpc>
              <a:spcBef>
                <a:spcPts val="0"/>
              </a:spcBef>
              <a:spcAft>
                <a:spcPts val="350"/>
              </a:spcAft>
              <a:buClrTx/>
              <a:buSzTx/>
              <a:buFontTx/>
              <a:buNone/>
              <a:tabLst/>
              <a:defRPr/>
            </a:pPr>
            <a:r>
              <a:rPr lang="en-US" dirty="0">
                <a:solidFill>
                  <a:schemeClr val="bg1"/>
                </a:solidFill>
                <a:cs typeface="Segoe UI" pitchFamily="34" charset="0"/>
              </a:rPr>
              <a:t> </a:t>
            </a:r>
          </a:p>
          <a:p>
            <a:pPr defTabSz="961191">
              <a:spcAft>
                <a:spcPts val="350"/>
              </a:spcAft>
              <a:defRPr/>
            </a:pPr>
            <a:r>
              <a:rPr lang="en-US" sz="900" b="0" i="0" kern="1200" dirty="0">
                <a:solidFill>
                  <a:schemeClr val="tx1"/>
                </a:solidFill>
                <a:effectLst/>
                <a:latin typeface="Segoe UI Light" pitchFamily="34" charset="0"/>
                <a:ea typeface="+mn-ea"/>
                <a:cs typeface="+mn-cs"/>
              </a:rPr>
              <a:t>North America: 12</a:t>
            </a:r>
          </a:p>
          <a:p>
            <a:pPr defTabSz="961191">
              <a:spcAft>
                <a:spcPts val="350"/>
              </a:spcAft>
              <a:defRPr/>
            </a:pPr>
            <a:r>
              <a:rPr lang="en-US" sz="900" b="0" i="0" kern="1200" dirty="0">
                <a:solidFill>
                  <a:schemeClr val="tx1"/>
                </a:solidFill>
                <a:effectLst/>
                <a:latin typeface="Segoe UI Light" pitchFamily="34" charset="0"/>
                <a:ea typeface="+mn-ea"/>
                <a:cs typeface="+mn-cs"/>
              </a:rPr>
              <a:t>South America: 6</a:t>
            </a:r>
          </a:p>
          <a:p>
            <a:pPr defTabSz="961191">
              <a:spcAft>
                <a:spcPts val="350"/>
              </a:spcAft>
              <a:defRPr/>
            </a:pPr>
            <a:r>
              <a:rPr lang="en-US" sz="900" b="0" i="0" kern="1200" dirty="0">
                <a:solidFill>
                  <a:schemeClr val="tx1"/>
                </a:solidFill>
                <a:effectLst/>
                <a:latin typeface="Segoe UI Light" pitchFamily="34" charset="0"/>
                <a:ea typeface="+mn-ea"/>
                <a:cs typeface="+mn-cs"/>
              </a:rPr>
              <a:t>North and East Europe: 5</a:t>
            </a:r>
          </a:p>
          <a:p>
            <a:pPr defTabSz="961191">
              <a:spcAft>
                <a:spcPts val="350"/>
              </a:spcAft>
              <a:defRPr/>
            </a:pPr>
            <a:r>
              <a:rPr lang="en-US" sz="900" b="0" i="0" kern="1200" dirty="0">
                <a:solidFill>
                  <a:schemeClr val="tx1"/>
                </a:solidFill>
                <a:effectLst/>
                <a:latin typeface="Segoe UI Light" pitchFamily="34" charset="0"/>
                <a:ea typeface="+mn-ea"/>
                <a:cs typeface="+mn-cs"/>
              </a:rPr>
              <a:t>West Europe: 4</a:t>
            </a:r>
          </a:p>
          <a:p>
            <a:pPr defTabSz="961191">
              <a:spcAft>
                <a:spcPts val="350"/>
              </a:spcAft>
              <a:defRPr/>
            </a:pPr>
            <a:r>
              <a:rPr lang="en-US" sz="900" b="0" i="0" kern="1200" dirty="0">
                <a:solidFill>
                  <a:schemeClr val="tx1"/>
                </a:solidFill>
                <a:effectLst/>
                <a:latin typeface="Segoe UI Light" pitchFamily="34" charset="0"/>
                <a:ea typeface="+mn-ea"/>
                <a:cs typeface="+mn-cs"/>
              </a:rPr>
              <a:t>South Europe: 2</a:t>
            </a:r>
          </a:p>
          <a:p>
            <a:pPr defTabSz="961191">
              <a:spcAft>
                <a:spcPts val="350"/>
              </a:spcAft>
              <a:defRPr/>
            </a:pPr>
            <a:r>
              <a:rPr lang="en-US" dirty="0">
                <a:effectLst/>
              </a:rPr>
              <a:t>East Asia: 8</a:t>
            </a:r>
          </a:p>
          <a:p>
            <a:pPr defTabSz="961191">
              <a:spcAft>
                <a:spcPts val="350"/>
              </a:spcAft>
              <a:defRPr/>
            </a:pPr>
            <a:r>
              <a:rPr lang="en-US" sz="900" b="0" i="0" kern="1200" dirty="0">
                <a:solidFill>
                  <a:schemeClr val="tx1"/>
                </a:solidFill>
                <a:effectLst/>
                <a:latin typeface="Segoe UI Light" pitchFamily="34" charset="0"/>
                <a:ea typeface="+mn-ea"/>
                <a:cs typeface="+mn-cs"/>
              </a:rPr>
              <a:t>South and Central Asia: 4</a:t>
            </a:r>
          </a:p>
          <a:p>
            <a:pPr defTabSz="961191">
              <a:spcAft>
                <a:spcPts val="350"/>
              </a:spcAft>
              <a:defRPr/>
            </a:pPr>
            <a:r>
              <a:rPr lang="en-US" sz="900" b="0" i="0" kern="1200" dirty="0">
                <a:solidFill>
                  <a:schemeClr val="tx1"/>
                </a:solidFill>
                <a:effectLst/>
                <a:latin typeface="Segoe UI Light" pitchFamily="34" charset="0"/>
                <a:ea typeface="+mn-ea"/>
                <a:cs typeface="+mn-cs"/>
              </a:rPr>
              <a:t>Middle East/West Asia: 2</a:t>
            </a:r>
          </a:p>
          <a:p>
            <a:pPr defTabSz="961191">
              <a:spcAft>
                <a:spcPts val="350"/>
              </a:spcAft>
              <a:defRPr/>
            </a:pPr>
            <a:r>
              <a:rPr lang="en-US" sz="900" b="0" i="0" kern="1200" dirty="0">
                <a:solidFill>
                  <a:schemeClr val="tx1"/>
                </a:solidFill>
                <a:effectLst/>
                <a:latin typeface="Segoe UI Light" pitchFamily="34" charset="0"/>
                <a:ea typeface="+mn-ea"/>
                <a:cs typeface="+mn-cs"/>
              </a:rPr>
              <a:t>Africa: </a:t>
            </a:r>
          </a:p>
          <a:p>
            <a:pPr defTabSz="961191">
              <a:spcAft>
                <a:spcPts val="350"/>
              </a:spcAft>
              <a:defRPr/>
            </a:pPr>
            <a:r>
              <a:rPr lang="en-US" sz="900" b="0" i="0" kern="1200" dirty="0">
                <a:solidFill>
                  <a:schemeClr val="tx1"/>
                </a:solidFill>
                <a:effectLst/>
                <a:latin typeface="Segoe UI Light" pitchFamily="34" charset="0"/>
                <a:ea typeface="+mn-ea"/>
                <a:cs typeface="+mn-cs"/>
              </a:rPr>
              <a:t>Australia and New Zealand: 2</a:t>
            </a:r>
            <a:br>
              <a:rPr lang="en-US" dirty="0"/>
            </a:br>
            <a:endParaRPr lang="en-US" sz="900" b="0" i="0" kern="1200" dirty="0">
              <a:solidFill>
                <a:schemeClr val="tx1"/>
              </a:solidFill>
              <a:effectLst/>
              <a:latin typeface="Segoe UI Light" pitchFamily="34" charset="0"/>
              <a:ea typeface="+mn-ea"/>
              <a:cs typeface="+mn-cs"/>
            </a:endParaRPr>
          </a:p>
          <a:p>
            <a:pPr defTabSz="961191">
              <a:spcAft>
                <a:spcPts val="350"/>
              </a:spcAft>
              <a:defRPr/>
            </a:pPr>
            <a:r>
              <a:rPr lang="en-US" sz="900" b="0" i="0" kern="1200" dirty="0">
                <a:solidFill>
                  <a:schemeClr val="tx1"/>
                </a:solidFill>
                <a:effectLst/>
                <a:latin typeface="Segoe UI Light" pitchFamily="34" charset="0"/>
                <a:ea typeface="+mn-ea"/>
                <a:cs typeface="+mn-cs"/>
              </a:rPr>
              <a:t>Total = 45</a:t>
            </a:r>
          </a:p>
          <a:p>
            <a:pPr defTabSz="961191">
              <a:spcAft>
                <a:spcPts val="350"/>
              </a:spcAft>
              <a:defRPr/>
            </a:pPr>
            <a:endParaRPr lang="en-US" dirty="0">
              <a:solidFill>
                <a:schemeClr val="bg1"/>
              </a:solidFill>
              <a:ea typeface="Segoe UI" pitchFamily="34" charset="0"/>
              <a:cs typeface="Segoe UI" pitchFamily="34" charset="0"/>
            </a:endParaRPr>
          </a:p>
          <a:p>
            <a:pPr defTabSz="961191">
              <a:spcAft>
                <a:spcPts val="350"/>
              </a:spcAft>
              <a:defRPr/>
            </a:pPr>
            <a:r>
              <a:rPr lang="en-US" dirty="0">
                <a:solidFill>
                  <a:schemeClr val="bg1"/>
                </a:solidFill>
                <a:ea typeface="Segoe UI" pitchFamily="34" charset="0"/>
                <a:cs typeface="Segoe UI" pitchFamily="34" charset="0"/>
              </a:rPr>
              <a:t>We selected these locations for a number of reasons – most significantly, they are key Internet exchange locations – where the majority of Internet traffic is exchanged from carrier network to carrier network. Locating POPs at these strategic locations enables us to tap into the peering opportunities available at these massive exchange points.</a:t>
            </a:r>
          </a:p>
          <a:p>
            <a:pPr defTabSz="961191">
              <a:spcAft>
                <a:spcPts val="350"/>
              </a:spcAft>
              <a:defRPr/>
            </a:pPr>
            <a:endParaRPr lang="en-US" dirty="0">
              <a:solidFill>
                <a:schemeClr val="bg1"/>
              </a:solidFill>
              <a:ea typeface="Segoe UI" pitchFamily="34" charset="0"/>
              <a:cs typeface="Segoe UI" pitchFamily="34" charset="0"/>
            </a:endParaRPr>
          </a:p>
          <a:p>
            <a:pPr defTabSz="961191">
              <a:spcAft>
                <a:spcPts val="350"/>
              </a:spcAft>
              <a:defRPr/>
            </a:pPr>
            <a:r>
              <a:rPr lang="en-US" dirty="0">
                <a:solidFill>
                  <a:schemeClr val="bg1"/>
                </a:solidFill>
                <a:ea typeface="Segoe UI" pitchFamily="34" charset="0"/>
                <a:cs typeface="Segoe UI" pitchFamily="34" charset="0"/>
              </a:rPr>
              <a:t>Our POPs are also highly secure, built inside robust data centers managed by industry leaders including </a:t>
            </a:r>
            <a:r>
              <a:rPr lang="en-US" dirty="0" err="1">
                <a:solidFill>
                  <a:schemeClr val="bg1"/>
                </a:solidFill>
                <a:ea typeface="Segoe UI" pitchFamily="34" charset="0"/>
                <a:cs typeface="Segoe UI" pitchFamily="34" charset="0"/>
              </a:rPr>
              <a:t>Equinix</a:t>
            </a:r>
            <a:r>
              <a:rPr lang="en-US" dirty="0">
                <a:solidFill>
                  <a:schemeClr val="bg1"/>
                </a:solidFill>
                <a:ea typeface="Segoe UI" pitchFamily="34" charset="0"/>
                <a:cs typeface="Segoe UI" pitchFamily="34" charset="0"/>
              </a:rPr>
              <a:t>.</a:t>
            </a:r>
          </a:p>
          <a:p>
            <a:pPr defTabSz="961191">
              <a:spcAft>
                <a:spcPts val="350"/>
              </a:spcAft>
              <a:defRPr/>
            </a:pPr>
            <a:endParaRPr lang="en-US" dirty="0">
              <a:solidFill>
                <a:schemeClr val="bg1"/>
              </a:solidFill>
              <a:ea typeface="Segoe UI" pitchFamily="34" charset="0"/>
              <a:cs typeface="Segoe UI" pitchFamily="34" charset="0"/>
            </a:endParaRPr>
          </a:p>
          <a:p>
            <a:pPr defTabSz="961191">
              <a:spcAft>
                <a:spcPts val="350"/>
              </a:spcAft>
              <a:defRPr/>
            </a:pPr>
            <a:r>
              <a:rPr lang="en-US" dirty="0">
                <a:solidFill>
                  <a:schemeClr val="bg1"/>
                </a:solidFill>
                <a:ea typeface="Segoe UI" pitchFamily="34" charset="0"/>
                <a:cs typeface="Segoe UI" pitchFamily="34" charset="0"/>
              </a:rPr>
              <a:t>Azure CDN POPs are numerous enough that we can place content on the edge near end users (especially large concentrations of users) around the world, but not so diverse that we are unable to effectively cache and serve objects for our customers. Thus, our clients get complete global coverage with very high cache ratios, resulting in extremely cost-effective content delivery.</a:t>
            </a:r>
          </a:p>
          <a:p>
            <a:endParaRPr lang="en-IN" dirty="0"/>
          </a:p>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11/9/2017 1:31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51</a:t>
            </a:fld>
            <a:endParaRPr lang="en-US" dirty="0"/>
          </a:p>
        </p:txBody>
      </p:sp>
    </p:spTree>
    <p:extLst>
      <p:ext uri="{BB962C8B-B14F-4D97-AF65-F5344CB8AC3E}">
        <p14:creationId xmlns:p14="http://schemas.microsoft.com/office/powerpoint/2010/main" val="720516613"/>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o explain how Azure CDN consider an origin</a:t>
            </a:r>
            <a:r>
              <a:rPr lang="en-US" baseline="0" dirty="0"/>
              <a:t> that is azure storage with a public container holding an asset like an image or video.</a:t>
            </a:r>
          </a:p>
          <a:p>
            <a:r>
              <a:rPr lang="en-US" baseline="0" dirty="0"/>
              <a:t>If user connects directly to download an asset from a remote location he will experience large network latency due to multiple network hops</a:t>
            </a:r>
          </a:p>
          <a:p>
            <a:endParaRPr lang="en-US" baseline="0" dirty="0"/>
          </a:p>
          <a:p>
            <a:r>
              <a:rPr lang="en-US" baseline="0" dirty="0"/>
              <a:t>However is Azure CDN is enabled to the storage account then user can access the asset using an alternative URL. In this case he is connecting</a:t>
            </a:r>
          </a:p>
          <a:p>
            <a:r>
              <a:rPr lang="en-US" baseline="0" dirty="0"/>
              <a:t>To the POP server closer to his geographic location meaning the asset will be downloaded faster.</a:t>
            </a:r>
          </a:p>
          <a:p>
            <a:endParaRPr lang="en-US" baseline="0" dirty="0"/>
          </a:p>
          <a:p>
            <a:r>
              <a:rPr lang="en-US" baseline="0" dirty="0"/>
              <a:t>Azure CDN is a “pull cache” meaning that if the asset that the user is requesting is not present on the POP server (either because it is being</a:t>
            </a:r>
          </a:p>
          <a:p>
            <a:r>
              <a:rPr lang="en-US" baseline="0" dirty="0"/>
              <a:t>Requested the first time or because is has expired) the POP server will transparently connect to Azure storage and download the asset from</a:t>
            </a:r>
          </a:p>
          <a:p>
            <a:r>
              <a:rPr lang="en-US" baseline="0" dirty="0"/>
              <a:t>Azure datacenter to POP server and then serve it to the user. Subsequent requests are satisfied from the POP node.</a:t>
            </a:r>
          </a:p>
          <a:p>
            <a:endParaRPr lang="en-US" baseline="0" dirty="0"/>
          </a:p>
          <a:p>
            <a:r>
              <a:rPr lang="en-US" baseline="0" dirty="0"/>
              <a:t>For illustration we show Azure CDN enabled for storage account. However you can enable Azure CDN for other origins such as web applications hosted in Azure web App service, Azure Cloud web role or virtual machine or even outside of azure, e.g. traditional </a:t>
            </a:r>
            <a:r>
              <a:rPr lang="en-US" baseline="0" dirty="0" err="1"/>
              <a:t>hosters</a:t>
            </a:r>
            <a:r>
              <a:rPr lang="en-US" baseline="0" dirty="0"/>
              <a:t>.</a:t>
            </a:r>
          </a:p>
          <a:p>
            <a:endParaRPr lang="en-US" baseline="0" dirty="0"/>
          </a:p>
          <a:p>
            <a:r>
              <a:rPr lang="en-US" baseline="0" dirty="0"/>
              <a:t>For understanding how Azure CDN works with web applications please review</a:t>
            </a:r>
          </a:p>
          <a:p>
            <a:r>
              <a:rPr lang="en-US" dirty="0"/>
              <a:t>https://azure.microsoft.com/en-us/documentation/articles/cdn-websites-with-cdn/ </a:t>
            </a:r>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11/9/2017 1:31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52</a:t>
            </a:fld>
            <a:endParaRPr lang="en-US" dirty="0"/>
          </a:p>
        </p:txBody>
      </p:sp>
    </p:spTree>
    <p:extLst>
      <p:ext uri="{BB962C8B-B14F-4D97-AF65-F5344CB8AC3E}">
        <p14:creationId xmlns:p14="http://schemas.microsoft.com/office/powerpoint/2010/main" val="1982747729"/>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Tx/>
              <a:buNone/>
              <a:tabLst/>
              <a:defRPr/>
            </a:pPr>
            <a:r>
              <a:rPr lang="en-US" sz="900" u="sng" kern="1200" dirty="0">
                <a:solidFill>
                  <a:schemeClr val="tx1"/>
                </a:solidFill>
                <a:effectLst/>
                <a:latin typeface="Segoe UI Light" pitchFamily="34" charset="0"/>
                <a:ea typeface="+mn-ea"/>
                <a:cs typeface="+mn-cs"/>
                <a:hlinkClick r:id="rId3"/>
              </a:rPr>
              <a:t>https://customers.microsoft.com/Pages/CustomerStory.aspx?recid=20881</a:t>
            </a:r>
            <a:r>
              <a:rPr lang="en-US" sz="900" kern="1200" dirty="0">
                <a:solidFill>
                  <a:schemeClr val="tx1"/>
                </a:solidFill>
                <a:effectLst/>
                <a:latin typeface="Segoe UI Light" pitchFamily="34" charset="0"/>
                <a:ea typeface="+mn-ea"/>
                <a:cs typeface="+mn-cs"/>
              </a:rPr>
              <a:t> </a:t>
            </a:r>
          </a:p>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11/9/2017 1:31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53</a:t>
            </a:fld>
            <a:endParaRPr lang="en-US" dirty="0"/>
          </a:p>
        </p:txBody>
      </p:sp>
    </p:spTree>
    <p:extLst>
      <p:ext uri="{BB962C8B-B14F-4D97-AF65-F5344CB8AC3E}">
        <p14:creationId xmlns:p14="http://schemas.microsoft.com/office/powerpoint/2010/main" val="3833662489"/>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roduct and Services</a:t>
            </a:r>
            <a:r>
              <a:rPr lang="en-US" baseline="0" dirty="0"/>
              <a:t> </a:t>
            </a:r>
            <a:r>
              <a:rPr lang="en-US" i="1" baseline="0" dirty="0"/>
              <a:t>continued:</a:t>
            </a:r>
          </a:p>
          <a:p>
            <a:pPr marL="171450" indent="-171450">
              <a:buFont typeface="Arial" panose="020B0604020202020204" pitchFamily="34" charset="0"/>
              <a:buChar char="•"/>
            </a:pPr>
            <a:r>
              <a:rPr lang="en-US" sz="1200" dirty="0"/>
              <a:t>Azure Notification Hub</a:t>
            </a:r>
          </a:p>
          <a:p>
            <a:pPr marL="171450" indent="-171450">
              <a:buFont typeface="Arial" panose="020B0604020202020204" pitchFamily="34" charset="0"/>
              <a:buChar char="•"/>
            </a:pPr>
            <a:r>
              <a:rPr lang="en-US" sz="1200" dirty="0"/>
              <a:t>Azure Service Fabric</a:t>
            </a:r>
          </a:p>
          <a:p>
            <a:pPr marL="171450" indent="-171450">
              <a:buFont typeface="Arial" panose="020B0604020202020204" pitchFamily="34" charset="0"/>
              <a:buChar char="•"/>
            </a:pPr>
            <a:r>
              <a:rPr lang="en-US" sz="1200" dirty="0"/>
              <a:t>Azure Traffic Manager</a:t>
            </a:r>
          </a:p>
          <a:p>
            <a:pPr marL="171450" indent="-171450">
              <a:buFont typeface="Arial" panose="020B0604020202020204" pitchFamily="34" charset="0"/>
              <a:buChar char="•"/>
            </a:pPr>
            <a:r>
              <a:rPr lang="en-US" sz="1200" dirty="0"/>
              <a:t>Azure Web Apps</a:t>
            </a:r>
          </a:p>
          <a:p>
            <a:endParaRPr lang="en-US" dirty="0"/>
          </a:p>
          <a:p>
            <a:r>
              <a:rPr lang="en-US" sz="1200" kern="1200" dirty="0">
                <a:solidFill>
                  <a:schemeClr val="tx1"/>
                </a:solidFill>
                <a:effectLst/>
                <a:latin typeface="+mn-lt"/>
                <a:ea typeface="+mn-ea"/>
                <a:cs typeface="+mn-cs"/>
                <a:hlinkClick r:id="rId3"/>
              </a:rPr>
              <a:t>https://customers.microsoft.com/en-us/story/next-games</a:t>
            </a:r>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hlinkClick r:id="rId4"/>
              </a:rPr>
              <a:t>https://aka.ms/hegoxv</a:t>
            </a:r>
            <a:endParaRPr lang="en-US" sz="1200" kern="1200" dirty="0">
              <a:solidFill>
                <a:schemeClr val="tx1"/>
              </a:solidFill>
              <a:effectLst/>
              <a:latin typeface="+mn-lt"/>
              <a:ea typeface="+mn-ea"/>
              <a:cs typeface="+mn-cs"/>
            </a:endParaRPr>
          </a:p>
          <a:p>
            <a:endParaRPr lang="en-US" dirty="0"/>
          </a:p>
        </p:txBody>
      </p:sp>
      <p:sp>
        <p:nvSpPr>
          <p:cNvPr id="4" name="Slide Number Placeholder 3"/>
          <p:cNvSpPr>
            <a:spLocks noGrp="1"/>
          </p:cNvSpPr>
          <p:nvPr>
            <p:ph type="sldNum" sz="quarter" idx="10"/>
          </p:nvPr>
        </p:nvSpPr>
        <p:spPr/>
        <p:txBody>
          <a:bodyPr/>
          <a:lstStyle/>
          <a:p>
            <a:fld id="{081C9C15-504F-4AC2-AD31-7003795B0E2A}" type="slidenum">
              <a:rPr lang="en-US" smtClean="0"/>
              <a:t>54</a:t>
            </a:fld>
            <a:endParaRPr lang="en-US"/>
          </a:p>
        </p:txBody>
      </p:sp>
    </p:spTree>
    <p:extLst>
      <p:ext uri="{BB962C8B-B14F-4D97-AF65-F5344CB8AC3E}">
        <p14:creationId xmlns:p14="http://schemas.microsoft.com/office/powerpoint/2010/main" val="4285319987"/>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customers.microsoft.com/en-us/story/asos-retail-and-consumer-goods-azure</a:t>
            </a:r>
          </a:p>
        </p:txBody>
      </p:sp>
      <p:sp>
        <p:nvSpPr>
          <p:cNvPr id="4" name="Slide Number Placeholder 3"/>
          <p:cNvSpPr>
            <a:spLocks noGrp="1"/>
          </p:cNvSpPr>
          <p:nvPr>
            <p:ph type="sldNum" sz="quarter" idx="10"/>
          </p:nvPr>
        </p:nvSpPr>
        <p:spPr/>
        <p:txBody>
          <a:bodyPr/>
          <a:lstStyle/>
          <a:p>
            <a:fld id="{92B77466-98EE-664C-AEB4-58E98CC9B104}" type="slidenum">
              <a:rPr lang="en-US" smtClean="0"/>
              <a:t>55</a:t>
            </a:fld>
            <a:endParaRPr lang="en-US"/>
          </a:p>
        </p:txBody>
      </p:sp>
    </p:spTree>
    <p:extLst>
      <p:ext uri="{BB962C8B-B14F-4D97-AF65-F5344CB8AC3E}">
        <p14:creationId xmlns:p14="http://schemas.microsoft.com/office/powerpoint/2010/main" val="4073389484"/>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kern="1200" dirty="0">
                <a:solidFill>
                  <a:schemeClr val="tx1"/>
                </a:solidFill>
                <a:effectLst/>
                <a:latin typeface="+mn-lt"/>
                <a:ea typeface="+mn-ea"/>
                <a:cs typeface="+mn-cs"/>
              </a:rPr>
              <a:t>Products </a:t>
            </a:r>
            <a:endParaRPr lang="en-US" sz="1200" kern="1200" dirty="0">
              <a:solidFill>
                <a:schemeClr val="tx1"/>
              </a:solidFill>
              <a:effectLst/>
              <a:latin typeface="+mn-lt"/>
              <a:ea typeface="+mn-ea"/>
              <a:cs typeface="+mn-cs"/>
            </a:endParaRPr>
          </a:p>
          <a:p>
            <a:pPr lvl="0"/>
            <a:r>
              <a:rPr lang="en-US" sz="1200" kern="1200" dirty="0">
                <a:solidFill>
                  <a:schemeClr val="tx1"/>
                </a:solidFill>
                <a:effectLst/>
                <a:latin typeface="+mn-lt"/>
                <a:ea typeface="+mn-ea"/>
                <a:cs typeface="+mn-cs"/>
              </a:rPr>
              <a:t>Azure Active Directory</a:t>
            </a:r>
          </a:p>
          <a:p>
            <a:pPr lvl="0"/>
            <a:r>
              <a:rPr lang="en-US" sz="1200" kern="1200" dirty="0">
                <a:solidFill>
                  <a:schemeClr val="tx1"/>
                </a:solidFill>
                <a:effectLst/>
                <a:latin typeface="+mn-lt"/>
                <a:ea typeface="+mn-ea"/>
                <a:cs typeface="+mn-cs"/>
              </a:rPr>
              <a:t>Azure App Service</a:t>
            </a:r>
          </a:p>
          <a:p>
            <a:pPr lvl="0"/>
            <a:r>
              <a:rPr lang="en-US" sz="1200" kern="1200" dirty="0">
                <a:solidFill>
                  <a:schemeClr val="tx1"/>
                </a:solidFill>
                <a:effectLst/>
                <a:latin typeface="+mn-lt"/>
                <a:ea typeface="+mn-ea"/>
                <a:cs typeface="+mn-cs"/>
              </a:rPr>
              <a:t>Azure Application Insights</a:t>
            </a:r>
          </a:p>
          <a:p>
            <a:pPr lvl="0"/>
            <a:r>
              <a:rPr lang="en-US" sz="1200" kern="1200" dirty="0">
                <a:solidFill>
                  <a:schemeClr val="tx1"/>
                </a:solidFill>
                <a:effectLst/>
                <a:latin typeface="+mn-lt"/>
                <a:ea typeface="+mn-ea"/>
                <a:cs typeface="+mn-cs"/>
              </a:rPr>
              <a:t>Cloud Services</a:t>
            </a:r>
          </a:p>
          <a:p>
            <a:pPr lvl="0"/>
            <a:r>
              <a:rPr lang="en-US" sz="1200" kern="1200" dirty="0">
                <a:solidFill>
                  <a:schemeClr val="tx1"/>
                </a:solidFill>
                <a:effectLst/>
                <a:latin typeface="+mn-lt"/>
                <a:ea typeface="+mn-ea"/>
                <a:cs typeface="+mn-cs"/>
              </a:rPr>
              <a:t>Azure Cosmos DB</a:t>
            </a:r>
          </a:p>
          <a:p>
            <a:pPr lvl="0"/>
            <a:r>
              <a:rPr lang="en-US" sz="1200" kern="1200" dirty="0">
                <a:solidFill>
                  <a:schemeClr val="tx1"/>
                </a:solidFill>
                <a:effectLst/>
                <a:latin typeface="+mn-lt"/>
                <a:ea typeface="+mn-ea"/>
                <a:cs typeface="+mn-cs"/>
              </a:rPr>
              <a:t>Azure Data Factory</a:t>
            </a:r>
          </a:p>
          <a:p>
            <a:pPr lvl="0"/>
            <a:r>
              <a:rPr lang="en-US" sz="1200" kern="1200" dirty="0">
                <a:solidFill>
                  <a:schemeClr val="tx1"/>
                </a:solidFill>
                <a:effectLst/>
                <a:latin typeface="+mn-lt"/>
                <a:ea typeface="+mn-ea"/>
                <a:cs typeface="+mn-cs"/>
              </a:rPr>
              <a:t>Azure Media Services</a:t>
            </a:r>
          </a:p>
          <a:p>
            <a:pPr lvl="0"/>
            <a:r>
              <a:rPr lang="en-US" sz="1200" kern="1200" dirty="0">
                <a:solidFill>
                  <a:schemeClr val="tx1"/>
                </a:solidFill>
                <a:effectLst/>
                <a:latin typeface="+mn-lt"/>
                <a:ea typeface="+mn-ea"/>
                <a:cs typeface="+mn-cs"/>
              </a:rPr>
              <a:t>Azure Search</a:t>
            </a:r>
          </a:p>
          <a:p>
            <a:pPr lvl="0"/>
            <a:r>
              <a:rPr lang="en-US" sz="1200" kern="1200" dirty="0">
                <a:solidFill>
                  <a:schemeClr val="tx1"/>
                </a:solidFill>
                <a:effectLst/>
                <a:latin typeface="+mn-lt"/>
                <a:ea typeface="+mn-ea"/>
                <a:cs typeface="+mn-cs"/>
              </a:rPr>
              <a:t>Azure Storage</a:t>
            </a:r>
          </a:p>
          <a:p>
            <a:pPr lvl="0"/>
            <a:r>
              <a:rPr lang="en-US" sz="1200" kern="1200" dirty="0">
                <a:solidFill>
                  <a:schemeClr val="tx1"/>
                </a:solidFill>
                <a:effectLst/>
                <a:latin typeface="+mn-lt"/>
                <a:ea typeface="+mn-ea"/>
                <a:cs typeface="+mn-cs"/>
              </a:rPr>
              <a:t>Azure Stream Analytics</a:t>
            </a:r>
          </a:p>
          <a:p>
            <a:pPr lvl="0"/>
            <a:r>
              <a:rPr lang="en-US" sz="1200" kern="1200" dirty="0">
                <a:solidFill>
                  <a:schemeClr val="tx1"/>
                </a:solidFill>
                <a:effectLst/>
                <a:latin typeface="+mn-lt"/>
                <a:ea typeface="+mn-ea"/>
                <a:cs typeface="+mn-cs"/>
              </a:rPr>
              <a:t>Microsoft Dynamics 365 for Customer Service</a:t>
            </a:r>
          </a:p>
          <a:p>
            <a:pPr lvl="0"/>
            <a:r>
              <a:rPr lang="en-US" sz="1200" kern="1200" dirty="0">
                <a:solidFill>
                  <a:schemeClr val="tx1"/>
                </a:solidFill>
                <a:effectLst/>
                <a:latin typeface="+mn-lt"/>
                <a:ea typeface="+mn-ea"/>
                <a:cs typeface="+mn-cs"/>
              </a:rPr>
              <a:t>Microsoft Dynamics 365 for Marketing</a:t>
            </a:r>
          </a:p>
          <a:p>
            <a:pPr lvl="0"/>
            <a:r>
              <a:rPr lang="en-US" sz="1200" kern="1200" dirty="0">
                <a:solidFill>
                  <a:schemeClr val="tx1"/>
                </a:solidFill>
                <a:effectLst/>
                <a:latin typeface="+mn-lt"/>
                <a:ea typeface="+mn-ea"/>
                <a:cs typeface="+mn-cs"/>
              </a:rPr>
              <a:t>Microsoft Services</a:t>
            </a:r>
          </a:p>
          <a:p>
            <a:pPr lvl="0"/>
            <a:r>
              <a:rPr lang="en-US" sz="1200" kern="1200" dirty="0">
                <a:solidFill>
                  <a:schemeClr val="tx1"/>
                </a:solidFill>
                <a:effectLst/>
                <a:latin typeface="+mn-lt"/>
                <a:ea typeface="+mn-ea"/>
                <a:cs typeface="+mn-cs"/>
              </a:rPr>
              <a:t>Microsoft Office 365</a:t>
            </a:r>
          </a:p>
          <a:p>
            <a:pPr lvl="0"/>
            <a:r>
              <a:rPr lang="en-US" sz="1200" kern="1200" dirty="0">
                <a:solidFill>
                  <a:schemeClr val="tx1"/>
                </a:solidFill>
                <a:effectLst/>
                <a:latin typeface="+mn-lt"/>
                <a:ea typeface="+mn-ea"/>
                <a:cs typeface="+mn-cs"/>
              </a:rPr>
              <a:t>Power BI</a:t>
            </a:r>
          </a:p>
          <a:p>
            <a:pPr lvl="0"/>
            <a:r>
              <a:rPr lang="en-US" sz="1200" kern="1200" dirty="0">
                <a:solidFill>
                  <a:schemeClr val="tx1"/>
                </a:solidFill>
                <a:effectLst/>
                <a:latin typeface="+mn-lt"/>
                <a:ea typeface="+mn-ea"/>
                <a:cs typeface="+mn-cs"/>
              </a:rPr>
              <a:t>Visual Studio Application Insights Plug-in</a:t>
            </a:r>
          </a:p>
          <a:p>
            <a:r>
              <a:rPr lang="en-US" sz="1200" kern="1200" dirty="0">
                <a:solidFill>
                  <a:schemeClr val="tx1"/>
                </a:solidFill>
                <a:effectLst/>
                <a:latin typeface="+mn-lt"/>
                <a:ea typeface="+mn-ea"/>
                <a:cs typeface="+mn-cs"/>
              </a:rPr>
              <a:t>Visual Studio Team Services</a:t>
            </a:r>
            <a:r>
              <a:rPr lang="en-US" dirty="0">
                <a:effectLst/>
              </a:rPr>
              <a:t> </a:t>
            </a:r>
            <a:endParaRPr lang="en-US" dirty="0"/>
          </a:p>
          <a:p>
            <a:endParaRPr lang="en-US" dirty="0"/>
          </a:p>
          <a:p>
            <a:r>
              <a:rPr lang="en-US" dirty="0">
                <a:hlinkClick r:id="rId3"/>
              </a:rPr>
              <a:t>https://customers.microsoft.com/doclink/real-madrid </a:t>
            </a:r>
            <a:endParaRPr lang="en-US" dirty="0"/>
          </a:p>
          <a:p>
            <a:r>
              <a:rPr lang="en-US" dirty="0">
                <a:effectLst/>
                <a:hlinkClick r:id="rId4"/>
              </a:rPr>
              <a:t>https://aka.ms/Qvy945</a:t>
            </a:r>
            <a:endParaRPr lang="en-US" dirty="0"/>
          </a:p>
        </p:txBody>
      </p:sp>
      <p:sp>
        <p:nvSpPr>
          <p:cNvPr id="4" name="Slide Number Placeholder 3"/>
          <p:cNvSpPr>
            <a:spLocks noGrp="1"/>
          </p:cNvSpPr>
          <p:nvPr>
            <p:ph type="sldNum" sz="quarter" idx="10"/>
          </p:nvPr>
        </p:nvSpPr>
        <p:spPr/>
        <p:txBody>
          <a:bodyPr/>
          <a:lstStyle/>
          <a:p>
            <a:fld id="{081C9C15-504F-4AC2-AD31-7003795B0E2A}" type="slidenum">
              <a:rPr lang="en-US" smtClean="0"/>
              <a:t>56</a:t>
            </a:fld>
            <a:endParaRPr lang="en-US"/>
          </a:p>
        </p:txBody>
      </p:sp>
    </p:spTree>
    <p:extLst>
      <p:ext uri="{BB962C8B-B14F-4D97-AF65-F5344CB8AC3E}">
        <p14:creationId xmlns:p14="http://schemas.microsoft.com/office/powerpoint/2010/main" val="1856379344"/>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11/9/2017 1:31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57</a:t>
            </a:fld>
            <a:endParaRPr lang="en-US" dirty="0"/>
          </a:p>
        </p:txBody>
      </p:sp>
    </p:spTree>
    <p:extLst>
      <p:ext uri="{BB962C8B-B14F-4D97-AF65-F5344CB8AC3E}">
        <p14:creationId xmlns:p14="http://schemas.microsoft.com/office/powerpoint/2010/main" val="412027546"/>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11/9/2017 1:31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58</a:t>
            </a:fld>
            <a:endParaRPr lang="en-US" dirty="0"/>
          </a:p>
        </p:txBody>
      </p:sp>
    </p:spTree>
    <p:extLst>
      <p:ext uri="{BB962C8B-B14F-4D97-AF65-F5344CB8AC3E}">
        <p14:creationId xmlns:p14="http://schemas.microsoft.com/office/powerpoint/2010/main" val="373137141"/>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11/9/2017 1:31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59</a:t>
            </a:fld>
            <a:endParaRPr lang="en-US" dirty="0"/>
          </a:p>
        </p:txBody>
      </p:sp>
    </p:spTree>
    <p:extLst>
      <p:ext uri="{BB962C8B-B14F-4D97-AF65-F5344CB8AC3E}">
        <p14:creationId xmlns:p14="http://schemas.microsoft.com/office/powerpoint/2010/main" val="298033990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b="1" i="0" kern="1200" dirty="0">
                <a:solidFill>
                  <a:schemeClr val="tx1"/>
                </a:solidFill>
                <a:effectLst/>
                <a:latin typeface="Segoe UI Light" pitchFamily="34" charset="0"/>
                <a:ea typeface="+mn-ea"/>
                <a:cs typeface="+mn-cs"/>
              </a:rPr>
              <a:t>https://docs.microsoft.com/en-us/azure/architecture/guide/design-principles/scale-out</a:t>
            </a:r>
          </a:p>
          <a:p>
            <a:endParaRPr lang="en-US" sz="900" b="1" i="0" kern="1200" dirty="0">
              <a:solidFill>
                <a:schemeClr val="tx1"/>
              </a:solidFill>
              <a:effectLst/>
              <a:latin typeface="Segoe UI Light" pitchFamily="34" charset="0"/>
              <a:ea typeface="+mn-ea"/>
              <a:cs typeface="+mn-cs"/>
            </a:endParaRPr>
          </a:p>
          <a:p>
            <a:r>
              <a:rPr lang="en-US" sz="900" b="1" i="0" kern="1200" dirty="0">
                <a:solidFill>
                  <a:schemeClr val="tx1"/>
                </a:solidFill>
                <a:effectLst/>
                <a:latin typeface="Segoe UI Light" pitchFamily="34" charset="0"/>
                <a:ea typeface="+mn-ea"/>
                <a:cs typeface="+mn-cs"/>
              </a:rPr>
              <a:t>Avoid instance stickiness</a:t>
            </a:r>
            <a:r>
              <a:rPr lang="en-US" sz="900" b="0" i="0" kern="1200" dirty="0">
                <a:solidFill>
                  <a:schemeClr val="tx1"/>
                </a:solidFill>
                <a:effectLst/>
                <a:latin typeface="Segoe UI Light" pitchFamily="34" charset="0"/>
                <a:ea typeface="+mn-ea"/>
                <a:cs typeface="+mn-cs"/>
              </a:rPr>
              <a:t>. Stickiness, or </a:t>
            </a:r>
            <a:r>
              <a:rPr lang="en-US" sz="900" b="0" i="1" kern="1200" dirty="0">
                <a:solidFill>
                  <a:schemeClr val="tx1"/>
                </a:solidFill>
                <a:effectLst/>
                <a:latin typeface="Segoe UI Light" pitchFamily="34" charset="0"/>
                <a:ea typeface="+mn-ea"/>
                <a:cs typeface="+mn-cs"/>
              </a:rPr>
              <a:t>session affinity</a:t>
            </a:r>
            <a:r>
              <a:rPr lang="en-US" sz="900" b="0" i="0" kern="1200" dirty="0">
                <a:solidFill>
                  <a:schemeClr val="tx1"/>
                </a:solidFill>
                <a:effectLst/>
                <a:latin typeface="Segoe UI Light" pitchFamily="34" charset="0"/>
                <a:ea typeface="+mn-ea"/>
                <a:cs typeface="+mn-cs"/>
              </a:rPr>
              <a:t>, is when requests from the same client are always routed to the same server. Stickiness limits the application's ability to scale out. For example, traffic from a high-volume user will not be distributed across instances. Causes of stickiness include storing session state in memory, and using machine-specific keys for encryption. Make sure that any instance can handle any request.</a:t>
            </a:r>
          </a:p>
          <a:p>
            <a:endParaRPr lang="en-US" sz="900" b="0" i="0" kern="1200" dirty="0">
              <a:solidFill>
                <a:schemeClr val="tx1"/>
              </a:solidFill>
              <a:effectLst/>
              <a:latin typeface="Segoe UI Light" pitchFamily="34" charset="0"/>
              <a:ea typeface="+mn-ea"/>
              <a:cs typeface="+mn-cs"/>
            </a:endParaRPr>
          </a:p>
          <a:p>
            <a:r>
              <a:rPr lang="en-US" sz="900" b="1" i="0" kern="1200" dirty="0">
                <a:solidFill>
                  <a:schemeClr val="tx1"/>
                </a:solidFill>
                <a:effectLst/>
                <a:latin typeface="Segoe UI Light" pitchFamily="34" charset="0"/>
                <a:ea typeface="+mn-ea"/>
                <a:cs typeface="+mn-cs"/>
              </a:rPr>
              <a:t>Identify bottlenecks</a:t>
            </a:r>
            <a:r>
              <a:rPr lang="en-US" sz="900" b="0" i="0" kern="1200" dirty="0">
                <a:solidFill>
                  <a:schemeClr val="tx1"/>
                </a:solidFill>
                <a:effectLst/>
                <a:latin typeface="Segoe UI Light" pitchFamily="34" charset="0"/>
                <a:ea typeface="+mn-ea"/>
                <a:cs typeface="+mn-cs"/>
              </a:rPr>
              <a:t>. Scaling out isn't a magic fix for every performance issue. For example, if your backend database is the bottleneck, it won't help to add more web servers. Identify and resolve the bottlenecks in the system first, before throwing more instances at the problem. </a:t>
            </a:r>
            <a:r>
              <a:rPr lang="en-US" sz="900" b="0" i="0" kern="1200" dirty="0" err="1">
                <a:solidFill>
                  <a:schemeClr val="tx1"/>
                </a:solidFill>
                <a:effectLst/>
                <a:latin typeface="Segoe UI Light" pitchFamily="34" charset="0"/>
                <a:ea typeface="+mn-ea"/>
                <a:cs typeface="+mn-cs"/>
              </a:rPr>
              <a:t>Stateful</a:t>
            </a:r>
            <a:r>
              <a:rPr lang="en-US" sz="900" b="0" i="0" kern="1200" dirty="0">
                <a:solidFill>
                  <a:schemeClr val="tx1"/>
                </a:solidFill>
                <a:effectLst/>
                <a:latin typeface="Segoe UI Light" pitchFamily="34" charset="0"/>
                <a:ea typeface="+mn-ea"/>
                <a:cs typeface="+mn-cs"/>
              </a:rPr>
              <a:t> parts of the system are the most likely cause of bottlenecks.</a:t>
            </a:r>
          </a:p>
          <a:p>
            <a:endParaRPr lang="en-US" sz="900" b="0" i="0" kern="1200" dirty="0">
              <a:solidFill>
                <a:schemeClr val="tx1"/>
              </a:solidFill>
              <a:effectLst/>
              <a:latin typeface="Segoe UI Light" pitchFamily="34" charset="0"/>
              <a:ea typeface="+mn-ea"/>
              <a:cs typeface="+mn-cs"/>
            </a:endParaRPr>
          </a:p>
          <a:p>
            <a:r>
              <a:rPr lang="en-US" sz="900" b="1" i="0" kern="1200" dirty="0">
                <a:solidFill>
                  <a:schemeClr val="tx1"/>
                </a:solidFill>
                <a:effectLst/>
                <a:latin typeface="Segoe UI Light" pitchFamily="34" charset="0"/>
                <a:ea typeface="+mn-ea"/>
                <a:cs typeface="+mn-cs"/>
              </a:rPr>
              <a:t>Decompose workloads by scalability requirements.</a:t>
            </a:r>
            <a:r>
              <a:rPr lang="en-US" sz="900" b="0" i="0" kern="1200" dirty="0">
                <a:solidFill>
                  <a:schemeClr val="tx1"/>
                </a:solidFill>
                <a:effectLst/>
                <a:latin typeface="Segoe UI Light" pitchFamily="34" charset="0"/>
                <a:ea typeface="+mn-ea"/>
                <a:cs typeface="+mn-cs"/>
              </a:rPr>
              <a:t> Applications often consist of multiple workloads, with different requirements for scaling. For example, an application might have a public-facing site and a separate administration site. The public site may experience sudden surges in traffic, while the administration site has a smaller, more predictable load.</a:t>
            </a:r>
          </a:p>
          <a:p>
            <a:endParaRPr lang="en-US" sz="900" b="0" i="0" kern="1200" dirty="0">
              <a:solidFill>
                <a:schemeClr val="tx1"/>
              </a:solidFill>
              <a:effectLst/>
              <a:latin typeface="Segoe UI Light" pitchFamily="34" charset="0"/>
              <a:ea typeface="+mn-ea"/>
              <a:cs typeface="+mn-cs"/>
            </a:endParaRPr>
          </a:p>
          <a:p>
            <a:r>
              <a:rPr lang="en-US" sz="900" b="1" i="0" kern="1200" dirty="0">
                <a:solidFill>
                  <a:schemeClr val="tx1"/>
                </a:solidFill>
                <a:effectLst/>
                <a:latin typeface="Segoe UI Light" pitchFamily="34" charset="0"/>
                <a:ea typeface="+mn-ea"/>
                <a:cs typeface="+mn-cs"/>
              </a:rPr>
              <a:t>Offload resource-intensive tasks.</a:t>
            </a:r>
            <a:r>
              <a:rPr lang="en-US" sz="900" b="0" i="0" kern="1200" dirty="0">
                <a:solidFill>
                  <a:schemeClr val="tx1"/>
                </a:solidFill>
                <a:effectLst/>
                <a:latin typeface="Segoe UI Light" pitchFamily="34" charset="0"/>
                <a:ea typeface="+mn-ea"/>
                <a:cs typeface="+mn-cs"/>
              </a:rPr>
              <a:t> Tasks that require a lot of CPU or I/O resources should be moved to </a:t>
            </a:r>
            <a:r>
              <a:rPr lang="en-US" sz="900" b="0" i="0" u="none" strike="noStrike" kern="1200" dirty="0">
                <a:solidFill>
                  <a:schemeClr val="tx1"/>
                </a:solidFill>
                <a:effectLst/>
                <a:latin typeface="Segoe UI Light" pitchFamily="34" charset="0"/>
                <a:ea typeface="+mn-ea"/>
                <a:cs typeface="+mn-cs"/>
                <a:hlinkClick r:id="rId3"/>
              </a:rPr>
              <a:t>background jobs</a:t>
            </a:r>
            <a:r>
              <a:rPr lang="en-US" sz="900" b="0" i="0" kern="1200" dirty="0">
                <a:solidFill>
                  <a:schemeClr val="tx1"/>
                </a:solidFill>
                <a:effectLst/>
                <a:latin typeface="Segoe UI Light" pitchFamily="34" charset="0"/>
                <a:ea typeface="+mn-ea"/>
                <a:cs typeface="+mn-cs"/>
              </a:rPr>
              <a:t> when possible, to minimize the load on the front end that is handling user requests.</a:t>
            </a:r>
          </a:p>
          <a:p>
            <a:endParaRPr lang="en-US" sz="900" b="0" i="0" kern="1200" dirty="0">
              <a:solidFill>
                <a:schemeClr val="tx1"/>
              </a:solidFill>
              <a:effectLst/>
              <a:latin typeface="Segoe UI Light" pitchFamily="34" charset="0"/>
              <a:ea typeface="+mn-ea"/>
              <a:cs typeface="+mn-cs"/>
            </a:endParaRPr>
          </a:p>
          <a:p>
            <a:r>
              <a:rPr lang="en-US" sz="900" b="1" i="0" kern="1200" dirty="0">
                <a:solidFill>
                  <a:schemeClr val="tx1"/>
                </a:solidFill>
                <a:effectLst/>
                <a:latin typeface="Segoe UI Light" pitchFamily="34" charset="0"/>
                <a:ea typeface="+mn-ea"/>
                <a:cs typeface="+mn-cs"/>
              </a:rPr>
              <a:t>Use built-in </a:t>
            </a:r>
            <a:r>
              <a:rPr lang="en-US" sz="900" b="1" i="0" kern="1200" dirty="0" err="1">
                <a:solidFill>
                  <a:schemeClr val="tx1"/>
                </a:solidFill>
                <a:effectLst/>
                <a:latin typeface="Segoe UI Light" pitchFamily="34" charset="0"/>
                <a:ea typeface="+mn-ea"/>
                <a:cs typeface="+mn-cs"/>
              </a:rPr>
              <a:t>autoscaling</a:t>
            </a:r>
            <a:r>
              <a:rPr lang="en-US" sz="900" b="1" i="0" kern="1200" dirty="0">
                <a:solidFill>
                  <a:schemeClr val="tx1"/>
                </a:solidFill>
                <a:effectLst/>
                <a:latin typeface="Segoe UI Light" pitchFamily="34" charset="0"/>
                <a:ea typeface="+mn-ea"/>
                <a:cs typeface="+mn-cs"/>
              </a:rPr>
              <a:t> features</a:t>
            </a:r>
            <a:r>
              <a:rPr lang="en-US" sz="900" b="0" i="0" kern="1200" dirty="0">
                <a:solidFill>
                  <a:schemeClr val="tx1"/>
                </a:solidFill>
                <a:effectLst/>
                <a:latin typeface="Segoe UI Light" pitchFamily="34" charset="0"/>
                <a:ea typeface="+mn-ea"/>
                <a:cs typeface="+mn-cs"/>
              </a:rPr>
              <a:t>. Many Azure compute services have built-in support for </a:t>
            </a:r>
            <a:r>
              <a:rPr lang="en-US" sz="900" b="0" i="0" kern="1200" dirty="0" err="1">
                <a:solidFill>
                  <a:schemeClr val="tx1"/>
                </a:solidFill>
                <a:effectLst/>
                <a:latin typeface="Segoe UI Light" pitchFamily="34" charset="0"/>
                <a:ea typeface="+mn-ea"/>
                <a:cs typeface="+mn-cs"/>
              </a:rPr>
              <a:t>autoscaling</a:t>
            </a:r>
            <a:r>
              <a:rPr lang="en-US" sz="900" b="0" i="0" kern="1200" dirty="0">
                <a:solidFill>
                  <a:schemeClr val="tx1"/>
                </a:solidFill>
                <a:effectLst/>
                <a:latin typeface="Segoe UI Light" pitchFamily="34" charset="0"/>
                <a:ea typeface="+mn-ea"/>
                <a:cs typeface="+mn-cs"/>
              </a:rPr>
              <a:t>. If the application has a predictable, regular workload, scale out on a schedule. For example, scale out during business hours. Otherwise, if the workload is not predictable, use performance metrics such as CPU or request queue length to trigger </a:t>
            </a:r>
            <a:r>
              <a:rPr lang="en-US" sz="900" b="0" i="0" kern="1200" dirty="0" err="1">
                <a:solidFill>
                  <a:schemeClr val="tx1"/>
                </a:solidFill>
                <a:effectLst/>
                <a:latin typeface="Segoe UI Light" pitchFamily="34" charset="0"/>
                <a:ea typeface="+mn-ea"/>
                <a:cs typeface="+mn-cs"/>
              </a:rPr>
              <a:t>autoscaling</a:t>
            </a:r>
            <a:r>
              <a:rPr lang="en-US" sz="900" b="0" i="0" kern="1200" dirty="0">
                <a:solidFill>
                  <a:schemeClr val="tx1"/>
                </a:solidFill>
                <a:effectLst/>
                <a:latin typeface="Segoe UI Light" pitchFamily="34" charset="0"/>
                <a:ea typeface="+mn-ea"/>
                <a:cs typeface="+mn-cs"/>
              </a:rPr>
              <a:t>. For </a:t>
            </a:r>
            <a:r>
              <a:rPr lang="en-US" sz="900" b="0" i="0" kern="1200" dirty="0" err="1">
                <a:solidFill>
                  <a:schemeClr val="tx1"/>
                </a:solidFill>
                <a:effectLst/>
                <a:latin typeface="Segoe UI Light" pitchFamily="34" charset="0"/>
                <a:ea typeface="+mn-ea"/>
                <a:cs typeface="+mn-cs"/>
              </a:rPr>
              <a:t>autoscaling</a:t>
            </a:r>
            <a:r>
              <a:rPr lang="en-US" sz="900" b="0" i="0" kern="1200" dirty="0">
                <a:solidFill>
                  <a:schemeClr val="tx1"/>
                </a:solidFill>
                <a:effectLst/>
                <a:latin typeface="Segoe UI Light" pitchFamily="34" charset="0"/>
                <a:ea typeface="+mn-ea"/>
                <a:cs typeface="+mn-cs"/>
              </a:rPr>
              <a:t> best practices, see </a:t>
            </a:r>
            <a:r>
              <a:rPr lang="en-US" sz="900" b="0" i="0" u="none" strike="noStrike" kern="1200" dirty="0" err="1">
                <a:solidFill>
                  <a:schemeClr val="tx1"/>
                </a:solidFill>
                <a:effectLst/>
                <a:latin typeface="Segoe UI Light" pitchFamily="34" charset="0"/>
                <a:ea typeface="+mn-ea"/>
                <a:cs typeface="+mn-cs"/>
                <a:hlinkClick r:id="rId4"/>
              </a:rPr>
              <a:t>Autoscaling</a:t>
            </a:r>
            <a:r>
              <a:rPr lang="en-US" sz="900" b="0" i="0" kern="1200" dirty="0">
                <a:solidFill>
                  <a:schemeClr val="tx1"/>
                </a:solidFill>
                <a:effectLst/>
                <a:latin typeface="Segoe UI Light" pitchFamily="34" charset="0"/>
                <a:ea typeface="+mn-ea"/>
                <a:cs typeface="+mn-cs"/>
              </a:rPr>
              <a:t>.</a:t>
            </a:r>
          </a:p>
          <a:p>
            <a:endParaRPr lang="en-US" sz="900" b="0" i="0" kern="1200" dirty="0">
              <a:solidFill>
                <a:schemeClr val="tx1"/>
              </a:solidFill>
              <a:effectLst/>
              <a:latin typeface="Segoe UI Light" pitchFamily="34" charset="0"/>
              <a:ea typeface="+mn-ea"/>
              <a:cs typeface="+mn-cs"/>
            </a:endParaRPr>
          </a:p>
          <a:p>
            <a:r>
              <a:rPr lang="en-US" sz="900" b="1" i="0" kern="1200" dirty="0">
                <a:solidFill>
                  <a:schemeClr val="tx1"/>
                </a:solidFill>
                <a:effectLst/>
                <a:latin typeface="Segoe UI Light" pitchFamily="34" charset="0"/>
                <a:ea typeface="+mn-ea"/>
                <a:cs typeface="+mn-cs"/>
              </a:rPr>
              <a:t>Consider aggressive </a:t>
            </a:r>
            <a:r>
              <a:rPr lang="en-US" sz="900" b="1" i="0" kern="1200" dirty="0" err="1">
                <a:solidFill>
                  <a:schemeClr val="tx1"/>
                </a:solidFill>
                <a:effectLst/>
                <a:latin typeface="Segoe UI Light" pitchFamily="34" charset="0"/>
                <a:ea typeface="+mn-ea"/>
                <a:cs typeface="+mn-cs"/>
              </a:rPr>
              <a:t>autoscaling</a:t>
            </a:r>
            <a:r>
              <a:rPr lang="en-US" sz="900" b="1" i="0" kern="1200" dirty="0">
                <a:solidFill>
                  <a:schemeClr val="tx1"/>
                </a:solidFill>
                <a:effectLst/>
                <a:latin typeface="Segoe UI Light" pitchFamily="34" charset="0"/>
                <a:ea typeface="+mn-ea"/>
                <a:cs typeface="+mn-cs"/>
              </a:rPr>
              <a:t> for critical workloads</a:t>
            </a:r>
            <a:r>
              <a:rPr lang="en-US" sz="900" b="0" i="0" kern="1200" dirty="0">
                <a:solidFill>
                  <a:schemeClr val="tx1"/>
                </a:solidFill>
                <a:effectLst/>
                <a:latin typeface="Segoe UI Light" pitchFamily="34" charset="0"/>
                <a:ea typeface="+mn-ea"/>
                <a:cs typeface="+mn-cs"/>
              </a:rPr>
              <a:t>. For critical workloads, you want to keep ahead of demand. It's better to add new instances quickly under heavy load to handle the additional traffic, and then gradually scale back.</a:t>
            </a:r>
          </a:p>
          <a:p>
            <a:endParaRPr lang="en-US" sz="900" b="0" i="0" kern="1200" dirty="0">
              <a:solidFill>
                <a:schemeClr val="tx1"/>
              </a:solidFill>
              <a:effectLst/>
              <a:latin typeface="Segoe UI Light" pitchFamily="34" charset="0"/>
              <a:ea typeface="+mn-ea"/>
              <a:cs typeface="+mn-cs"/>
            </a:endParaRPr>
          </a:p>
          <a:p>
            <a:r>
              <a:rPr lang="en-US" sz="900" b="1" i="0" kern="1200" dirty="0">
                <a:solidFill>
                  <a:schemeClr val="tx1"/>
                </a:solidFill>
                <a:effectLst/>
                <a:latin typeface="Segoe UI Light" pitchFamily="34" charset="0"/>
                <a:ea typeface="+mn-ea"/>
                <a:cs typeface="+mn-cs"/>
              </a:rPr>
              <a:t>Design for scale in</a:t>
            </a:r>
            <a:r>
              <a:rPr lang="en-US" sz="900" b="0" i="0" kern="1200" dirty="0">
                <a:solidFill>
                  <a:schemeClr val="tx1"/>
                </a:solidFill>
                <a:effectLst/>
                <a:latin typeface="Segoe UI Light" pitchFamily="34" charset="0"/>
                <a:ea typeface="+mn-ea"/>
                <a:cs typeface="+mn-cs"/>
              </a:rPr>
              <a:t>. Remember that with elastic scale, the application will have periods of scale in, when instances get removed. The application must gracefully handle instances being removed. Here are some ways to handle </a:t>
            </a:r>
            <a:r>
              <a:rPr lang="en-US" sz="900" b="0" i="0" kern="1200" dirty="0" err="1">
                <a:solidFill>
                  <a:schemeClr val="tx1"/>
                </a:solidFill>
                <a:effectLst/>
                <a:latin typeface="Segoe UI Light" pitchFamily="34" charset="0"/>
                <a:ea typeface="+mn-ea"/>
                <a:cs typeface="+mn-cs"/>
              </a:rPr>
              <a:t>scalein</a:t>
            </a:r>
            <a:r>
              <a:rPr lang="en-US" sz="900" b="0" i="0" kern="1200" dirty="0">
                <a:solidFill>
                  <a:schemeClr val="tx1"/>
                </a:solidFill>
                <a:effectLst/>
                <a:latin typeface="Segoe UI Light" pitchFamily="34" charset="0"/>
                <a:ea typeface="+mn-ea"/>
                <a:cs typeface="+mn-cs"/>
              </a:rPr>
              <a:t>:</a:t>
            </a:r>
          </a:p>
          <a:p>
            <a:r>
              <a:rPr lang="en-US" sz="900" b="0" i="0" kern="1200" dirty="0">
                <a:solidFill>
                  <a:schemeClr val="tx1"/>
                </a:solidFill>
                <a:effectLst/>
                <a:latin typeface="Segoe UI Light" pitchFamily="34" charset="0"/>
                <a:ea typeface="+mn-ea"/>
                <a:cs typeface="+mn-cs"/>
              </a:rPr>
              <a:t>Listen for shutdown events (when available) and shut down cleanly.</a:t>
            </a:r>
          </a:p>
          <a:p>
            <a:r>
              <a:rPr lang="en-US" sz="900" b="0" i="0" kern="1200" dirty="0">
                <a:solidFill>
                  <a:schemeClr val="tx1"/>
                </a:solidFill>
                <a:effectLst/>
                <a:latin typeface="Segoe UI Light" pitchFamily="34" charset="0"/>
                <a:ea typeface="+mn-ea"/>
                <a:cs typeface="+mn-cs"/>
              </a:rPr>
              <a:t>Clients/consumers of a service should support transient fault handling and retry.</a:t>
            </a:r>
          </a:p>
          <a:p>
            <a:r>
              <a:rPr lang="en-US" sz="900" b="0" i="0" kern="1200" dirty="0">
                <a:solidFill>
                  <a:schemeClr val="tx1"/>
                </a:solidFill>
                <a:effectLst/>
                <a:latin typeface="Segoe UI Light" pitchFamily="34" charset="0"/>
                <a:ea typeface="+mn-ea"/>
                <a:cs typeface="+mn-cs"/>
              </a:rPr>
              <a:t>For long-running tasks, consider breaking up the work, using checkpoints or the </a:t>
            </a:r>
            <a:r>
              <a:rPr lang="en-US" sz="900" b="0" i="0" u="none" strike="noStrike" kern="1200" dirty="0">
                <a:solidFill>
                  <a:schemeClr val="tx1"/>
                </a:solidFill>
                <a:effectLst/>
                <a:latin typeface="Segoe UI Light" pitchFamily="34" charset="0"/>
                <a:ea typeface="+mn-ea"/>
                <a:cs typeface="+mn-cs"/>
                <a:hlinkClick r:id="rId5"/>
              </a:rPr>
              <a:t>Pipes and Filters</a:t>
            </a:r>
            <a:r>
              <a:rPr lang="en-US" sz="900" b="0" i="0" kern="1200" dirty="0">
                <a:solidFill>
                  <a:schemeClr val="tx1"/>
                </a:solidFill>
                <a:effectLst/>
                <a:latin typeface="Segoe UI Light" pitchFamily="34" charset="0"/>
                <a:ea typeface="+mn-ea"/>
                <a:cs typeface="+mn-cs"/>
              </a:rPr>
              <a:t> pattern.</a:t>
            </a:r>
          </a:p>
          <a:p>
            <a:r>
              <a:rPr lang="en-US" sz="900" b="0" i="0" kern="1200" dirty="0">
                <a:solidFill>
                  <a:schemeClr val="tx1"/>
                </a:solidFill>
                <a:effectLst/>
                <a:latin typeface="Segoe UI Light" pitchFamily="34" charset="0"/>
                <a:ea typeface="+mn-ea"/>
                <a:cs typeface="+mn-cs"/>
              </a:rPr>
              <a:t>Put work items on a queue so that another instance can pick up the work, if an instance is removed in the middle of processing.</a:t>
            </a:r>
          </a:p>
          <a:p>
            <a:endParaRPr lang="en-US" sz="900" b="0" i="0" kern="1200" dirty="0">
              <a:solidFill>
                <a:schemeClr val="tx1"/>
              </a:solidFill>
              <a:effectLst/>
              <a:latin typeface="Segoe UI Light" pitchFamily="34" charset="0"/>
              <a:ea typeface="+mn-ea"/>
              <a:cs typeface="+mn-cs"/>
            </a:endParaRPr>
          </a:p>
          <a:p>
            <a:endParaRPr lang="en-US" sz="9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11/9/2017 1:31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6</a:t>
            </a:fld>
            <a:endParaRPr lang="en-US" dirty="0"/>
          </a:p>
        </p:txBody>
      </p:sp>
    </p:spTree>
    <p:extLst>
      <p:ext uri="{BB962C8B-B14F-4D97-AF65-F5344CB8AC3E}">
        <p14:creationId xmlns:p14="http://schemas.microsoft.com/office/powerpoint/2010/main" val="2886409726"/>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endParaRPr lang="en-US" dirty="0"/>
          </a:p>
        </p:txBody>
      </p:sp>
      <p:sp>
        <p:nvSpPr>
          <p:cNvPr id="4" name="Header Placeholder 3"/>
          <p:cNvSpPr>
            <a:spLocks noGrp="1"/>
          </p:cNvSpPr>
          <p:nvPr>
            <p:ph type="hdr" sz="quarter" idx="10"/>
          </p:nvPr>
        </p:nvSpPr>
        <p:spPr>
          <a:xfrm>
            <a:off x="0" y="0"/>
            <a:ext cx="2971800" cy="457200"/>
          </a:xfrm>
          <a:prstGeom prst="rect">
            <a:avLst/>
          </a:prstGeom>
        </p:spPr>
        <p:txBody>
          <a:bodyPr/>
          <a:lstStyle/>
          <a:p>
            <a:endParaRPr lang="en-US" dirty="0">
              <a:solidFill>
                <a:prstClr val="black"/>
              </a:solidFill>
            </a:endParaRPr>
          </a:p>
        </p:txBody>
      </p:sp>
      <p:sp>
        <p:nvSpPr>
          <p:cNvPr id="5" name="Date Placeholder 4"/>
          <p:cNvSpPr>
            <a:spLocks noGrp="1"/>
          </p:cNvSpPr>
          <p:nvPr>
            <p:ph type="dt" idx="11"/>
          </p:nvPr>
        </p:nvSpPr>
        <p:spPr/>
        <p:txBody>
          <a:bodyPr/>
          <a:lstStyle/>
          <a:p>
            <a:fld id="{D3E44BDE-2AB0-49D2-8E67-B5D3E7155170}" type="datetime8">
              <a:rPr lang="en-US" smtClean="0">
                <a:solidFill>
                  <a:prstClr val="black"/>
                </a:solidFill>
              </a:rPr>
              <a:t>11/9/2017 1:31 A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EC87E0CF-87F6-4B58-B8B8-DCAB2DAAF3CA}" type="slidenum">
              <a:rPr lang="en-US" smtClean="0">
                <a:solidFill>
                  <a:prstClr val="black"/>
                </a:solidFill>
              </a:rPr>
              <a:pPr/>
              <a:t>60</a:t>
            </a:fld>
            <a:endParaRPr lang="en-US" dirty="0">
              <a:solidFill>
                <a:prstClr val="black"/>
              </a:solidFill>
            </a:endParaRPr>
          </a:p>
        </p:txBody>
      </p:sp>
      <p:sp>
        <p:nvSpPr>
          <p:cNvPr id="6" name="Footer Placeholder 5"/>
          <p:cNvSpPr>
            <a:spLocks noGrp="1"/>
          </p:cNvSpPr>
          <p:nvPr>
            <p:ph type="ftr" sz="quarter" idx="1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Tree>
    <p:extLst>
      <p:ext uri="{BB962C8B-B14F-4D97-AF65-F5344CB8AC3E}">
        <p14:creationId xmlns:p14="http://schemas.microsoft.com/office/powerpoint/2010/main" val="309399932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a:t>In a typical web application as the number of request increase the capacity of the web server will eventually be insufficient and the users will experience the application performance issues.</a:t>
            </a:r>
          </a:p>
          <a:p>
            <a:endParaRPr lang="en-US" baseline="0" dirty="0"/>
          </a:p>
          <a:p>
            <a:r>
              <a:rPr lang="en-US" baseline="0" dirty="0"/>
              <a:t>You can mitigate this problem by either scaling up the web server or adding additional web servers to your web farm. However, as you increase the capacity in the web front-end the load transfers to the database (or any storage subsystem you use). The database becomes a bottleneck.</a:t>
            </a:r>
          </a:p>
          <a:p>
            <a:endParaRPr lang="en-US" baseline="0" dirty="0"/>
          </a:p>
          <a:p>
            <a:r>
              <a:rPr lang="en-US" baseline="0" dirty="0"/>
              <a:t>As you can see in the picture, we now have sufficient web front end servers to cater the increased load but we still have one single database server which is potential performance bottleneck.</a:t>
            </a:r>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11/9/2017 1:31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7</a:t>
            </a:fld>
            <a:endParaRPr lang="en-US" dirty="0"/>
          </a:p>
        </p:txBody>
      </p:sp>
    </p:spTree>
    <p:extLst>
      <p:ext uri="{BB962C8B-B14F-4D97-AF65-F5344CB8AC3E}">
        <p14:creationId xmlns:p14="http://schemas.microsoft.com/office/powerpoint/2010/main" val="40622214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a:t>To mitigate the database bottleneck you could scale up the database server (provide more CPU power more RAM) or you could use multiple databases (shards) and implement a data partitioning scheme. We will see later in the session, how you can easily implement </a:t>
            </a:r>
            <a:r>
              <a:rPr lang="en-US" baseline="0" dirty="0" err="1"/>
              <a:t>sharding</a:t>
            </a:r>
            <a:r>
              <a:rPr lang="en-US" baseline="0" dirty="0"/>
              <a:t> using elastic database client tools.</a:t>
            </a:r>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11/9/2017 1:31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8</a:t>
            </a:fld>
            <a:endParaRPr lang="en-US" dirty="0"/>
          </a:p>
        </p:txBody>
      </p:sp>
    </p:spTree>
    <p:extLst>
      <p:ext uri="{BB962C8B-B14F-4D97-AF65-F5344CB8AC3E}">
        <p14:creationId xmlns:p14="http://schemas.microsoft.com/office/powerpoint/2010/main" val="424503008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a:t>As the user load further increases we need to take additional design steps to prevent the database becoming a bottleneck.</a:t>
            </a:r>
          </a:p>
          <a:p>
            <a:endParaRPr lang="en-US" baseline="0" dirty="0"/>
          </a:p>
          <a:p>
            <a:r>
              <a:rPr lang="en-US" baseline="0" dirty="0"/>
              <a:t>We can introduce a cache such as </a:t>
            </a:r>
            <a:r>
              <a:rPr lang="en-US" baseline="0" dirty="0" err="1"/>
              <a:t>Redis</a:t>
            </a:r>
            <a:r>
              <a:rPr lang="en-US" baseline="0" dirty="0"/>
              <a:t> cache to store user session data and slowly changing reference/master data (such as zip codes, product catalogue, </a:t>
            </a:r>
            <a:r>
              <a:rPr lang="en-US" baseline="0" dirty="0" err="1"/>
              <a:t>etc</a:t>
            </a:r>
            <a:r>
              <a:rPr lang="en-US" baseline="0" dirty="0"/>
              <a:t>) so that the read workload is served from the cache reducing the load on the database.</a:t>
            </a:r>
          </a:p>
          <a:p>
            <a:endParaRPr lang="en-US" baseline="0" dirty="0"/>
          </a:p>
          <a:p>
            <a:r>
              <a:rPr lang="en-US" baseline="0" dirty="0"/>
              <a:t>Also as the session data is stored out of process we can disable the session affinity to ensure users can connect to any web server in the farm utilizing fully the compute capacity provided in the web farm.</a:t>
            </a:r>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11/9/2017 1:31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9</a:t>
            </a:fld>
            <a:endParaRPr lang="en-US" dirty="0"/>
          </a:p>
        </p:txBody>
      </p:sp>
    </p:spTree>
    <p:extLst>
      <p:ext uri="{BB962C8B-B14F-4D97-AF65-F5344CB8AC3E}">
        <p14:creationId xmlns:p14="http://schemas.microsoft.com/office/powerpoint/2010/main" val="109756661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16.jpg"/><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17.emf"/><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5.xml"/></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5.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6.xml"/></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6.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jpg"/><Relationship Id="rId1" Type="http://schemas.openxmlformats.org/officeDocument/2006/relationships/slideMaster" Target="../slideMasters/slideMaster5.xml"/><Relationship Id="rId5" Type="http://schemas.openxmlformats.org/officeDocument/2006/relationships/image" Target="../media/image15.png"/><Relationship Id="rId4" Type="http://schemas.microsoft.com/office/2007/relationships/hdphoto" Target="../media/hdphoto1.wdp"/></Relationships>
</file>

<file path=ppt/slideLayouts/_rels/slideLayout98.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4.png"/><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4.png"/><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hoto_Option">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a:extLst>
              <a:ext uri="{28A0092B-C50C-407E-A947-70E740481C1C}">
                <a14:useLocalDpi xmlns:a14="http://schemas.microsoft.com/office/drawing/2010/main" val="0"/>
              </a:ext>
            </a:extLst>
          </a:blip>
          <a:srcRect l="2944" t="1853" r="1090"/>
          <a:stretch/>
        </p:blipFill>
        <p:spPr>
          <a:xfrm flipH="1">
            <a:off x="0" y="2"/>
            <a:ext cx="12434704" cy="6994521"/>
          </a:xfrm>
          <a:prstGeom prst="rect">
            <a:avLst/>
          </a:prstGeom>
        </p:spPr>
      </p:pic>
      <p:sp>
        <p:nvSpPr>
          <p:cNvPr id="2" name="Rectangle 1"/>
          <p:cNvSpPr/>
          <p:nvPr userDrawn="1"/>
        </p:nvSpPr>
        <p:spPr bwMode="auto">
          <a:xfrm>
            <a:off x="274638" y="2119163"/>
            <a:ext cx="6400800" cy="3664099"/>
          </a:xfrm>
          <a:prstGeom prst="rect">
            <a:avLst/>
          </a:prstGeom>
          <a:solidFill>
            <a:srgbClr val="0078D7">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74702" y="2119178"/>
            <a:ext cx="6402388" cy="1828800"/>
          </a:xfrm>
          <a:noFill/>
        </p:spPr>
        <p:txBody>
          <a:bodyPr lIns="146304" tIns="91440" rIns="146304" bIns="91440" anchor="t" anchorCtr="0"/>
          <a:lstStyle>
            <a:lvl1pPr>
              <a:defRPr sz="5400" spc="-100" baseline="0">
                <a:gradFill>
                  <a:gsLst>
                    <a:gs pos="57576">
                      <a:srgbClr val="FFFFFF"/>
                    </a:gs>
                    <a:gs pos="3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73050" y="3954463"/>
            <a:ext cx="6402388" cy="1828800"/>
          </a:xfrm>
        </p:spPr>
        <p:txBody>
          <a:bodyPr tIns="109728" bIns="109728">
            <a:noAutofit/>
          </a:bodyPr>
          <a:lstStyle>
            <a:lvl1pPr marL="0" indent="0">
              <a:spcBef>
                <a:spcPts val="0"/>
              </a:spcBef>
              <a:buNone/>
              <a:defRPr sz="3200">
                <a:gradFill>
                  <a:gsLst>
                    <a:gs pos="57576">
                      <a:srgbClr val="FFFFFF"/>
                    </a:gs>
                    <a:gs pos="35000">
                      <a:srgbClr val="FFFFFF"/>
                    </a:gs>
                  </a:gsLst>
                  <a:lin ang="5400000" scaled="0"/>
                </a:gradFill>
              </a:defRPr>
            </a:lvl1pPr>
          </a:lstStyle>
          <a:p>
            <a:pPr lvl="0"/>
            <a:r>
              <a:rPr lang="en-US" dirty="0"/>
              <a:t>Speaker Name</a:t>
            </a:r>
          </a:p>
        </p:txBody>
      </p:sp>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invGray">
          <a:xfrm>
            <a:off x="457580" y="479425"/>
            <a:ext cx="1828800" cy="391754"/>
          </a:xfrm>
          <a:prstGeom prst="rect">
            <a:avLst/>
          </a:prstGeom>
        </p:spPr>
      </p:pic>
    </p:spTree>
    <p:extLst>
      <p:ext uri="{BB962C8B-B14F-4D97-AF65-F5344CB8AC3E}">
        <p14:creationId xmlns:p14="http://schemas.microsoft.com/office/powerpoint/2010/main" val="5946756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29362577"/>
      </p:ext>
    </p:extLst>
  </p:cSld>
  <p:clrMapOvr>
    <a:masterClrMapping/>
  </p:clrMapOvr>
  <p:transition>
    <p:fade/>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Confidentiality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p>
            <a:r>
              <a:rPr lang="en-US"/>
              <a:t>Click to edit Master title style</a:t>
            </a:r>
          </a:p>
        </p:txBody>
      </p:sp>
    </p:spTree>
    <p:extLst>
      <p:ext uri="{BB962C8B-B14F-4D97-AF65-F5344CB8AC3E}">
        <p14:creationId xmlns:p14="http://schemas.microsoft.com/office/powerpoint/2010/main" val="1230932590"/>
      </p:ext>
    </p:extLst>
  </p:cSld>
  <p:clrMapOvr>
    <a:masterClrMapping/>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2"/>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a:stretch>
            <a:fillRect/>
          </a:stretch>
        </p:blipFill>
        <p:spPr>
          <a:xfrm>
            <a:off x="7757448" y="304193"/>
            <a:ext cx="4409440" cy="6400800"/>
          </a:xfrm>
          <a:prstGeom prst="rect">
            <a:avLst/>
          </a:prstGeom>
        </p:spPr>
      </p:pic>
      <p:sp>
        <p:nvSpPr>
          <p:cNvPr id="4" name="Rectangle 3"/>
          <p:cNvSpPr/>
          <p:nvPr userDrawn="1"/>
        </p:nvSpPr>
        <p:spPr bwMode="auto">
          <a:xfrm>
            <a:off x="274702" y="1211287"/>
            <a:ext cx="10058336" cy="274317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274639" y="1209973"/>
            <a:ext cx="7314044" cy="3475534"/>
          </a:xfrm>
          <a:noFill/>
        </p:spPr>
        <p:txBody>
          <a:bodyPr tIns="91440" bIns="91440" anchor="t" anchorCtr="0"/>
          <a:lstStyle>
            <a:lvl1pPr>
              <a:defRPr sz="7200" spc="-100" baseline="0">
                <a:gradFill>
                  <a:gsLst>
                    <a:gs pos="75912">
                      <a:schemeClr val="tx1"/>
                    </a:gs>
                    <a:gs pos="34307">
                      <a:schemeClr val="tx1"/>
                    </a:gs>
                    <a:gs pos="43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9" y="4685507"/>
            <a:ext cx="7315200" cy="1829593"/>
          </a:xfrm>
          <a:noFill/>
        </p:spPr>
        <p:txBody>
          <a:bodyPr lIns="182880" tIns="146304" rIns="182880" bIns="146304">
            <a:noAutofit/>
          </a:bodyPr>
          <a:lstStyle>
            <a:lvl1pPr marL="0" indent="0">
              <a:spcBef>
                <a:spcPts val="0"/>
              </a:spcBef>
              <a:buNone/>
              <a:defRPr sz="3600" spc="0" baseline="0">
                <a:gradFill>
                  <a:gsLst>
                    <a:gs pos="75912">
                      <a:schemeClr val="tx1"/>
                    </a:gs>
                    <a:gs pos="34307">
                      <a:schemeClr val="tx1"/>
                    </a:gs>
                    <a:gs pos="43000">
                      <a:schemeClr val="tx1"/>
                    </a:gs>
                  </a:gsLst>
                  <a:lin ang="5400000" scaled="0"/>
                </a:gradFill>
                <a:latin typeface="+mj-lt"/>
              </a:defRPr>
            </a:lvl1pPr>
          </a:lstStyle>
          <a:p>
            <a:pPr lvl="0"/>
            <a:r>
              <a:rPr lang="en-US" dirty="0"/>
              <a:t>Speaker Name</a:t>
            </a:r>
          </a:p>
        </p:txBody>
      </p:sp>
      <p:sp>
        <p:nvSpPr>
          <p:cNvPr id="7" name="TextBox 7"/>
          <p:cNvSpPr txBox="1"/>
          <p:nvPr userDrawn="1"/>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150"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a:ea typeface="+mn-ea"/>
                <a:cs typeface="+mn-cs"/>
              </a:rPr>
              <a:t>MICROSOFT CONFIDENTIAL – INTERNAL ONLY</a:t>
            </a:r>
          </a:p>
        </p:txBody>
      </p:sp>
    </p:spTree>
    <p:extLst>
      <p:ext uri="{BB962C8B-B14F-4D97-AF65-F5344CB8AC3E}">
        <p14:creationId xmlns:p14="http://schemas.microsoft.com/office/powerpoint/2010/main" val="12853025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274702" y="1211287"/>
            <a:ext cx="10058336" cy="274317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274639" y="1209973"/>
            <a:ext cx="9143999" cy="2751698"/>
          </a:xfrm>
          <a:noFill/>
        </p:spPr>
        <p:txBody>
          <a:bodyPr tIns="91440" bIns="91440" anchor="t" anchorCtr="0"/>
          <a:lstStyle>
            <a:lvl1pPr>
              <a:defRPr sz="7200" spc="-100" baseline="0">
                <a:gradFill>
                  <a:gsLst>
                    <a:gs pos="75912">
                      <a:schemeClr val="tx1"/>
                    </a:gs>
                    <a:gs pos="34307">
                      <a:schemeClr val="tx1"/>
                    </a:gs>
                    <a:gs pos="43000">
                      <a:schemeClr val="tx1"/>
                    </a:gs>
                  </a:gsLst>
                  <a:lin ang="5400000" scaled="0"/>
                </a:gradFill>
              </a:defRPr>
            </a:lvl1pPr>
          </a:lstStyle>
          <a:p>
            <a:r>
              <a:rPr lang="en-US" dirty="0"/>
              <a:t>Video title</a:t>
            </a:r>
          </a:p>
        </p:txBody>
      </p:sp>
      <p:sp>
        <p:nvSpPr>
          <p:cNvPr id="5" name="TextBox 7"/>
          <p:cNvSpPr txBox="1"/>
          <p:nvPr userDrawn="1"/>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150"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a:ea typeface="+mn-ea"/>
                <a:cs typeface="+mn-cs"/>
              </a:rPr>
              <a:t>MICROSOFT CONFIDENTIAL – INTERNAL ONLY</a:t>
            </a:r>
          </a:p>
        </p:txBody>
      </p:sp>
      <p:pic>
        <p:nvPicPr>
          <p:cNvPr id="11" name="Picture 10"/>
          <p:cNvPicPr>
            <a:picLocks noChangeAspect="1"/>
          </p:cNvPicPr>
          <p:nvPr userDrawn="1"/>
        </p:nvPicPr>
        <p:blipFill>
          <a:blip r:embed="rId2"/>
          <a:stretch>
            <a:fillRect/>
          </a:stretch>
        </p:blipFill>
        <p:spPr>
          <a:xfrm>
            <a:off x="-222" y="3075628"/>
            <a:ext cx="12436918" cy="3292125"/>
          </a:xfrm>
          <a:prstGeom prst="rect">
            <a:avLst/>
          </a:prstGeom>
        </p:spPr>
      </p:pic>
    </p:spTree>
    <p:extLst>
      <p:ext uri="{BB962C8B-B14F-4D97-AF65-F5344CB8AC3E}">
        <p14:creationId xmlns:p14="http://schemas.microsoft.com/office/powerpoint/2010/main" val="17817726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75912">
                      <a:schemeClr val="tx1"/>
                    </a:gs>
                    <a:gs pos="34307">
                      <a:schemeClr val="tx1"/>
                    </a:gs>
                    <a:gs pos="43000">
                      <a:schemeClr val="tx1"/>
                    </a:gs>
                  </a:gsLst>
                  <a:lin ang="5400000" scaled="0"/>
                </a:gradFill>
              </a:defRPr>
            </a:lvl1pPr>
          </a:lstStyle>
          <a:p>
            <a:r>
              <a:rPr lang="en-US" dirty="0"/>
              <a:t>Section title</a:t>
            </a:r>
          </a:p>
        </p:txBody>
      </p:sp>
      <p:sp>
        <p:nvSpPr>
          <p:cNvPr id="3" name="TextBox 7"/>
          <p:cNvSpPr txBox="1"/>
          <p:nvPr userDrawn="1"/>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150"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a:ea typeface="+mn-ea"/>
                <a:cs typeface="+mn-cs"/>
              </a:rPr>
              <a:t>MICROSOFT CONFIDENTIAL – INTERNAL ONLY</a:t>
            </a:r>
          </a:p>
        </p:txBody>
      </p:sp>
    </p:spTree>
    <p:extLst>
      <p:ext uri="{BB962C8B-B14F-4D97-AF65-F5344CB8AC3E}">
        <p14:creationId xmlns:p14="http://schemas.microsoft.com/office/powerpoint/2010/main" val="980927421"/>
      </p:ext>
    </p:extLst>
  </p:cSld>
  <p:clrMapOvr>
    <a:masterClrMapping/>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lgn="l" defTabSz="932742" rtl="0" eaLnBrk="1" latinLnBrk="0" hangingPunct="1">
              <a:lnSpc>
                <a:spcPct val="90000"/>
              </a:lnSpc>
              <a:spcBef>
                <a:spcPct val="0"/>
              </a:spcBef>
              <a:buNone/>
              <a:defRPr lang="en-US" sz="8800" b="0" kern="1200" cap="none" spc="-100" baseline="0" dirty="0">
                <a:ln w="3175">
                  <a:noFill/>
                </a:ln>
                <a:gradFill>
                  <a:gsLst>
                    <a:gs pos="75912">
                      <a:schemeClr val="tx1"/>
                    </a:gs>
                    <a:gs pos="34307">
                      <a:schemeClr val="tx1"/>
                    </a:gs>
                    <a:gs pos="43000">
                      <a:schemeClr val="tx1"/>
                    </a:gs>
                  </a:gsLst>
                  <a:lin ang="5400000" scaled="0"/>
                </a:gradFill>
                <a:effectLst/>
                <a:latin typeface="+mj-lt"/>
                <a:ea typeface="+mn-ea"/>
                <a:cs typeface="Segoe UI" pitchFamily="34" charset="0"/>
              </a:defRPr>
            </a:lvl1pPr>
          </a:lstStyle>
          <a:p>
            <a:r>
              <a:rPr lang="en-US" dirty="0"/>
              <a:t>Section title</a:t>
            </a:r>
          </a:p>
        </p:txBody>
      </p:sp>
      <p:sp>
        <p:nvSpPr>
          <p:cNvPr id="3" name="TextBox 7"/>
          <p:cNvSpPr txBox="1"/>
          <p:nvPr userDrawn="1"/>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150"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a:ea typeface="+mn-ea"/>
                <a:cs typeface="+mn-cs"/>
              </a:rPr>
              <a:t>MICROSOFT CONFIDENTIAL – INTERNAL ONLY</a:t>
            </a:r>
          </a:p>
        </p:txBody>
      </p:sp>
    </p:spTree>
    <p:extLst>
      <p:ext uri="{BB962C8B-B14F-4D97-AF65-F5344CB8AC3E}">
        <p14:creationId xmlns:p14="http://schemas.microsoft.com/office/powerpoint/2010/main" val="1676305985"/>
      </p:ext>
    </p:extLst>
  </p:cSld>
  <p:clrMapOvr>
    <a:masterClrMapping/>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lgn="l" defTabSz="932742" rtl="0" eaLnBrk="1" latinLnBrk="0" hangingPunct="1">
              <a:lnSpc>
                <a:spcPct val="90000"/>
              </a:lnSpc>
              <a:spcBef>
                <a:spcPct val="0"/>
              </a:spcBef>
              <a:buNone/>
              <a:defRPr lang="en-US" sz="8800" b="0" kern="1200" cap="none" spc="-100" baseline="0" dirty="0">
                <a:ln w="3175">
                  <a:noFill/>
                </a:ln>
                <a:gradFill>
                  <a:gsLst>
                    <a:gs pos="83448">
                      <a:schemeClr val="tx1"/>
                    </a:gs>
                    <a:gs pos="53000">
                      <a:schemeClr val="tx1"/>
                    </a:gs>
                  </a:gsLst>
                  <a:lin ang="5400000" scaled="0"/>
                </a:gradFill>
                <a:effectLst/>
                <a:latin typeface="+mj-lt"/>
                <a:ea typeface="+mn-ea"/>
                <a:cs typeface="Segoe UI" pitchFamily="34" charset="0"/>
              </a:defRPr>
            </a:lvl1pPr>
          </a:lstStyle>
          <a:p>
            <a:r>
              <a:rPr lang="en-US" dirty="0"/>
              <a:t>Section title</a:t>
            </a:r>
          </a:p>
        </p:txBody>
      </p:sp>
      <p:sp>
        <p:nvSpPr>
          <p:cNvPr id="3" name="TextBox 7"/>
          <p:cNvSpPr txBox="1"/>
          <p:nvPr userDrawn="1"/>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150" normalizeH="0" baseline="0" noProof="0" dirty="0">
                <a:ln>
                  <a:noFill/>
                </a:ln>
                <a:gradFill>
                  <a:gsLst>
                    <a:gs pos="0">
                      <a:srgbClr val="505050">
                        <a:alpha val="50000"/>
                      </a:srgbClr>
                    </a:gs>
                    <a:gs pos="86000">
                      <a:srgbClr val="505050">
                        <a:alpha val="50000"/>
                      </a:srgbClr>
                    </a:gs>
                  </a:gsLst>
                  <a:lin ang="5400000" scaled="0"/>
                </a:gradFill>
                <a:effectLst/>
                <a:uLnTx/>
                <a:uFillTx/>
                <a:latin typeface="Segoe UI"/>
                <a:ea typeface="+mn-ea"/>
                <a:cs typeface="+mn-cs"/>
              </a:rPr>
              <a:t>MICROSOFT CONFIDENTIAL – INTERNAL ONLY</a:t>
            </a:r>
          </a:p>
        </p:txBody>
      </p:sp>
    </p:spTree>
    <p:extLst>
      <p:ext uri="{BB962C8B-B14F-4D97-AF65-F5344CB8AC3E}">
        <p14:creationId xmlns:p14="http://schemas.microsoft.com/office/powerpoint/2010/main" val="262117586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74639" y="1212849"/>
            <a:ext cx="11889564" cy="2059025"/>
          </a:xfrm>
        </p:spPr>
        <p:txBody>
          <a:bodyPr/>
          <a:lstStyle>
            <a:lvl1pPr marL="0" indent="0">
              <a:buNone/>
              <a:defRPr/>
            </a:lvl1pPr>
            <a:lvl2pPr marL="28575" indent="0">
              <a:buNone/>
              <a:defRPr sz="2000"/>
            </a:lvl2pPr>
            <a:lvl3pPr marL="223838" indent="0">
              <a:buNone/>
              <a:defRPr sz="2000"/>
            </a:lvl3pPr>
            <a:lvl4pPr marL="476250" indent="0">
              <a:buNone/>
              <a:defRPr sz="1800"/>
            </a:lvl4pPr>
            <a:lvl5pPr marL="739775" indent="0">
              <a:buNone/>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Box 7"/>
          <p:cNvSpPr txBox="1"/>
          <p:nvPr userDrawn="1"/>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150"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a:ea typeface="+mn-ea"/>
                <a:cs typeface="+mn-cs"/>
              </a:rPr>
              <a:t>MICROSOFT CONFIDENTIAL – INTERNAL ONLY</a:t>
            </a:r>
          </a:p>
        </p:txBody>
      </p:sp>
    </p:spTree>
    <p:extLst>
      <p:ext uri="{BB962C8B-B14F-4D97-AF65-F5344CB8AC3E}">
        <p14:creationId xmlns:p14="http://schemas.microsoft.com/office/powerpoint/2010/main" val="2955252458"/>
      </p:ext>
    </p:extLst>
  </p:cSld>
  <p:clrMapOvr>
    <a:masterClrMapping/>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228302"/>
          </a:xfrm>
        </p:spPr>
        <p:txBody>
          <a:bodyPr>
            <a:spAutoFit/>
          </a:bodyPr>
          <a:lstStyle>
            <a:lvl3pPr>
              <a:defRPr sz="24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5" name="TextBox 7"/>
          <p:cNvSpPr txBox="1"/>
          <p:nvPr userDrawn="1"/>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150"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a:ea typeface="+mn-ea"/>
                <a:cs typeface="+mn-cs"/>
              </a:rPr>
              <a:t>MICROSOFT CONFIDENTIAL – INTERNAL ONLY</a:t>
            </a:r>
          </a:p>
        </p:txBody>
      </p:sp>
    </p:spTree>
    <p:extLst>
      <p:ext uri="{BB962C8B-B14F-4D97-AF65-F5344CB8AC3E}">
        <p14:creationId xmlns:p14="http://schemas.microsoft.com/office/powerpoint/2010/main" val="1474896405"/>
      </p:ext>
    </p:extLst>
  </p:cSld>
  <p:clrMapOvr>
    <a:masterClrMapping/>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userDrawn="1"/>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150"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a:ea typeface="+mn-ea"/>
                <a:cs typeface="+mn-cs"/>
              </a:rPr>
              <a:t>MICROSOFT CONFIDENTIAL – INTERNAL ONLY</a:t>
            </a:r>
          </a:p>
        </p:txBody>
      </p:sp>
    </p:spTree>
    <p:extLst>
      <p:ext uri="{BB962C8B-B14F-4D97-AF65-F5344CB8AC3E}">
        <p14:creationId xmlns:p14="http://schemas.microsoft.com/office/powerpoint/2010/main" val="1748720746"/>
      </p:ext>
    </p:extLst>
  </p:cSld>
  <p:clrMapOvr>
    <a:masterClrMapping/>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536079"/>
          </a:xfrm>
        </p:spPr>
        <p:txBody>
          <a:bodyPr wrap="square">
            <a:spAutoFit/>
          </a:bodyPr>
          <a:lstStyle>
            <a:lvl1pPr marL="287338" indent="-287338">
              <a:spcBef>
                <a:spcPts val="1224"/>
              </a:spcBef>
              <a:buClr>
                <a:schemeClr val="tx1"/>
              </a:buClr>
              <a:buFont typeface="Wingdings" panose="05000000000000000000" pitchFamily="2" charset="2"/>
              <a:buChar char="§"/>
              <a:defRPr sz="36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536079"/>
          </a:xfrm>
        </p:spPr>
        <p:txBody>
          <a:bodyPr wrap="square">
            <a:spAutoFit/>
          </a:bodyPr>
          <a:lstStyle>
            <a:lvl1pPr marL="287338" indent="-287338">
              <a:spcBef>
                <a:spcPts val="1224"/>
              </a:spcBef>
              <a:buClr>
                <a:schemeClr val="tx1"/>
              </a:buClr>
              <a:buFont typeface="Wingdings" panose="05000000000000000000" pitchFamily="2" charset="2"/>
              <a:buChar char="§"/>
              <a:defRPr sz="36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userDrawn="1"/>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150"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a:ea typeface="+mn-ea"/>
                <a:cs typeface="+mn-cs"/>
              </a:rPr>
              <a:t>MICROSOFT CONFIDENTIAL – INTERNAL ONLY</a:t>
            </a:r>
          </a:p>
        </p:txBody>
      </p:sp>
    </p:spTree>
    <p:extLst>
      <p:ext uri="{BB962C8B-B14F-4D97-AF65-F5344CB8AC3E}">
        <p14:creationId xmlns:p14="http://schemas.microsoft.com/office/powerpoint/2010/main" val="1074352087"/>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11135705"/>
      </p:ext>
    </p:extLst>
  </p:cSld>
  <p:clrMapOvr>
    <a:masterClrMapping/>
  </p:clrMapOvr>
  <p:transition>
    <p:fade/>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Box 7"/>
          <p:cNvSpPr txBox="1"/>
          <p:nvPr userDrawn="1"/>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150"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a:ea typeface="+mn-ea"/>
                <a:cs typeface="+mn-cs"/>
              </a:rPr>
              <a:t>MICROSOFT CONFIDENTIAL – INTERNAL ONLY</a:t>
            </a:r>
          </a:p>
        </p:txBody>
      </p:sp>
    </p:spTree>
    <p:extLst>
      <p:ext uri="{BB962C8B-B14F-4D97-AF65-F5344CB8AC3E}">
        <p14:creationId xmlns:p14="http://schemas.microsoft.com/office/powerpoint/2010/main" val="2433360685"/>
      </p:ext>
    </p:extLst>
  </p:cSld>
  <p:clrMapOvr>
    <a:masterClrMapping/>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82576" y="1211263"/>
            <a:ext cx="11889564" cy="917575"/>
          </a:xfrm>
        </p:spPr>
        <p:txBody>
          <a:bodyPr/>
          <a:lstStyle>
            <a:lvl1pPr>
              <a:defRPr sz="7200" baseline="0"/>
            </a:lvl1pPr>
          </a:lstStyle>
          <a:p>
            <a:r>
              <a:rPr lang="en-US"/>
              <a:t>Click to edit Master title style</a:t>
            </a:r>
            <a:endParaRPr lang="en-US" dirty="0"/>
          </a:p>
        </p:txBody>
      </p:sp>
      <p:sp>
        <p:nvSpPr>
          <p:cNvPr id="3" name="TextBox 7"/>
          <p:cNvSpPr txBox="1"/>
          <p:nvPr userDrawn="1"/>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150"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a:ea typeface="+mn-ea"/>
                <a:cs typeface="+mn-cs"/>
              </a:rPr>
              <a:t>MICROSOFT CONFIDENTIAL – INTERNAL ONLY</a:t>
            </a:r>
          </a:p>
        </p:txBody>
      </p:sp>
    </p:spTree>
    <p:extLst>
      <p:ext uri="{BB962C8B-B14F-4D97-AF65-F5344CB8AC3E}">
        <p14:creationId xmlns:p14="http://schemas.microsoft.com/office/powerpoint/2010/main" val="962372280"/>
      </p:ext>
    </p:extLst>
  </p:cSld>
  <p:clrMapOvr>
    <a:masterClrMapping/>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113225" y="2125663"/>
            <a:ext cx="8219813" cy="1828800"/>
          </a:xfrm>
        </p:spPr>
        <p:txBody>
          <a:bodyPr/>
          <a:lstStyle>
            <a:lvl1pPr>
              <a:defRPr sz="6000" baseline="0"/>
            </a:lvl1pPr>
          </a:lstStyle>
          <a:p>
            <a:r>
              <a:rPr lang="en-US"/>
              <a:t>Click to edit Master title style</a:t>
            </a:r>
            <a:endParaRPr lang="en-US" dirty="0"/>
          </a:p>
        </p:txBody>
      </p:sp>
      <p:sp>
        <p:nvSpPr>
          <p:cNvPr id="3" name="TextBox 7"/>
          <p:cNvSpPr txBox="1"/>
          <p:nvPr userDrawn="1"/>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150"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a:ea typeface="+mn-ea"/>
                <a:cs typeface="+mn-cs"/>
              </a:rPr>
              <a:t>MICROSOFT CONFIDENTIAL – INTERNAL ONLY</a:t>
            </a:r>
          </a:p>
        </p:txBody>
      </p:sp>
    </p:spTree>
    <p:extLst>
      <p:ext uri="{BB962C8B-B14F-4D97-AF65-F5344CB8AC3E}">
        <p14:creationId xmlns:p14="http://schemas.microsoft.com/office/powerpoint/2010/main" val="3296326866"/>
      </p:ext>
    </p:extLst>
  </p:cSld>
  <p:clrMapOvr>
    <a:masterClrMapping/>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Fact Layout_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113225" y="2125663"/>
            <a:ext cx="8219813" cy="1828800"/>
          </a:xfrm>
        </p:spPr>
        <p:txBody>
          <a:bodyPr/>
          <a:lstStyle>
            <a:lvl1pPr>
              <a:defRPr sz="6000" baseline="0"/>
            </a:lvl1pPr>
          </a:lstStyle>
          <a:p>
            <a:r>
              <a:rPr lang="en-US"/>
              <a:t>Click to edit Master title style</a:t>
            </a:r>
            <a:endParaRPr lang="en-US" dirty="0"/>
          </a:p>
        </p:txBody>
      </p:sp>
      <p:sp>
        <p:nvSpPr>
          <p:cNvPr id="3" name="TextBox 7"/>
          <p:cNvSpPr txBox="1"/>
          <p:nvPr userDrawn="1"/>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150"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a:ea typeface="+mn-ea"/>
                <a:cs typeface="+mn-cs"/>
              </a:rPr>
              <a:t>MICROSOFT CONFIDENTIAL – INTERNAL ONLY</a:t>
            </a:r>
          </a:p>
        </p:txBody>
      </p:sp>
    </p:spTree>
    <p:extLst>
      <p:ext uri="{BB962C8B-B14F-4D97-AF65-F5344CB8AC3E}">
        <p14:creationId xmlns:p14="http://schemas.microsoft.com/office/powerpoint/2010/main" val="1842102956"/>
      </p:ext>
    </p:extLst>
  </p:cSld>
  <p:clrMapOvr>
    <a:masterClrMapping/>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8" y="1201806"/>
            <a:ext cx="10058399" cy="917575"/>
          </a:xfrm>
        </p:spPr>
        <p:txBody>
          <a:bodyPr/>
          <a:lstStyle>
            <a:lvl1pPr marL="233363" indent="-233363">
              <a:defRPr sz="6000" baseline="0"/>
            </a:lvl1pPr>
          </a:lstStyle>
          <a:p>
            <a:r>
              <a:rPr lang="en-US" dirty="0"/>
              <a:t>“Sample quote goes here. Design is easier than it looks, and more important than it seems.”</a:t>
            </a:r>
          </a:p>
        </p:txBody>
      </p:sp>
      <p:sp>
        <p:nvSpPr>
          <p:cNvPr id="4" name="Text Placeholder 3"/>
          <p:cNvSpPr>
            <a:spLocks noGrp="1"/>
          </p:cNvSpPr>
          <p:nvPr>
            <p:ph type="body" sz="quarter" idx="10" hasCustomPrompt="1"/>
          </p:nvPr>
        </p:nvSpPr>
        <p:spPr>
          <a:xfrm>
            <a:off x="5761038" y="5126038"/>
            <a:ext cx="5486400" cy="1071062"/>
          </a:xfrm>
        </p:spPr>
        <p:txBody>
          <a:bodyPr/>
          <a:lstStyle>
            <a:lvl1pPr marL="0" indent="0">
              <a:spcBef>
                <a:spcPts val="0"/>
              </a:spcBef>
              <a:buNone/>
              <a:defRPr sz="3200" baseline="0">
                <a:latin typeface="+mj-lt"/>
              </a:defRPr>
            </a:lvl1pPr>
          </a:lstStyle>
          <a:p>
            <a:pPr lvl="0"/>
            <a:r>
              <a:rPr lang="en-US" dirty="0"/>
              <a:t>Author Name</a:t>
            </a:r>
          </a:p>
          <a:p>
            <a:pPr lvl="0"/>
            <a:r>
              <a:rPr lang="en-US" dirty="0"/>
              <a:t>Title</a:t>
            </a:r>
          </a:p>
        </p:txBody>
      </p:sp>
      <p:sp>
        <p:nvSpPr>
          <p:cNvPr id="5"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150"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panose="020B0502040204020203" pitchFamily="34" charset="0"/>
                <a:ea typeface="+mn-ea"/>
                <a:cs typeface="+mn-cs"/>
              </a:rPr>
              <a:t>MICROSOFT CONFIDENTIAL – INTERNAL ONLY</a:t>
            </a:r>
          </a:p>
        </p:txBody>
      </p:sp>
    </p:spTree>
    <p:extLst>
      <p:ext uri="{BB962C8B-B14F-4D97-AF65-F5344CB8AC3E}">
        <p14:creationId xmlns:p14="http://schemas.microsoft.com/office/powerpoint/2010/main" val="2758631097"/>
      </p:ext>
    </p:extLst>
  </p:cSld>
  <p:clrMapOvr>
    <a:masterClrMapping/>
  </p:clrMapOvr>
  <p:transition>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Quote Layout_Accent Color 2">
    <p:bg>
      <p:bgPr>
        <a:solidFill>
          <a:schemeClr val="accent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8" y="2125663"/>
            <a:ext cx="10058399" cy="917575"/>
          </a:xfrm>
        </p:spPr>
        <p:txBody>
          <a:bodyPr/>
          <a:lstStyle>
            <a:lvl1pPr marL="282575" indent="-282575">
              <a:tabLst>
                <a:tab pos="282575" algn="l"/>
              </a:tabLst>
              <a:defRPr sz="6000"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761038" y="4868847"/>
            <a:ext cx="5486400" cy="1071062"/>
          </a:xfrm>
        </p:spPr>
        <p:txBody>
          <a:bodyPr/>
          <a:lstStyle>
            <a:lvl1pPr marL="0" indent="0">
              <a:spcBef>
                <a:spcPts val="0"/>
              </a:spcBef>
              <a:buNone/>
              <a:defRPr sz="3200" baseline="0">
                <a:latin typeface="+mj-lt"/>
              </a:defRPr>
            </a:lvl1pPr>
          </a:lstStyle>
          <a:p>
            <a:pPr lvl="0"/>
            <a:r>
              <a:rPr lang="en-US" dirty="0"/>
              <a:t>Author’s Name</a:t>
            </a:r>
          </a:p>
          <a:p>
            <a:pPr lvl="0"/>
            <a:r>
              <a:rPr lang="en-US" dirty="0"/>
              <a:t>Title</a:t>
            </a:r>
          </a:p>
        </p:txBody>
      </p:sp>
      <p:sp>
        <p:nvSpPr>
          <p:cNvPr id="5"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150"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panose="020B0502040204020203" pitchFamily="34" charset="0"/>
                <a:ea typeface="+mn-ea"/>
                <a:cs typeface="+mn-cs"/>
              </a:rPr>
              <a:t>MICROSOFT CONFIDENTIAL – INTERNAL ONLY</a:t>
            </a:r>
          </a:p>
        </p:txBody>
      </p:sp>
    </p:spTree>
    <p:extLst>
      <p:ext uri="{BB962C8B-B14F-4D97-AF65-F5344CB8AC3E}">
        <p14:creationId xmlns:p14="http://schemas.microsoft.com/office/powerpoint/2010/main" val="2781750973"/>
      </p:ext>
    </p:extLst>
  </p:cSld>
  <p:clrMapOvr>
    <a:masterClrMapping/>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82576" y="2430462"/>
            <a:ext cx="11887200" cy="932563"/>
          </a:xfrm>
        </p:spPr>
        <p:txBody>
          <a:bodyPr/>
          <a:lstStyle>
            <a:lvl1pPr marL="0" indent="0">
              <a:buNone/>
              <a:defRPr sz="5400">
                <a:gradFill>
                  <a:gsLst>
                    <a:gs pos="3333">
                      <a:schemeClr val="tx1"/>
                    </a:gs>
                    <a:gs pos="3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Click to edit Master text styles</a:t>
            </a:r>
          </a:p>
        </p:txBody>
      </p:sp>
      <p:sp>
        <p:nvSpPr>
          <p:cNvPr id="4" name="Title 1"/>
          <p:cNvSpPr>
            <a:spLocks noGrp="1"/>
          </p:cNvSpPr>
          <p:nvPr>
            <p:ph type="title"/>
          </p:nvPr>
        </p:nvSpPr>
        <p:spPr>
          <a:xfrm>
            <a:off x="282576" y="1211263"/>
            <a:ext cx="11889564" cy="917575"/>
          </a:xfrm>
        </p:spPr>
        <p:txBody>
          <a:bodyPr/>
          <a:lstStyle>
            <a:lvl1pPr>
              <a:defRPr sz="7200" baseline="0">
                <a:gradFill>
                  <a:gsLst>
                    <a:gs pos="1250">
                      <a:schemeClr val="tx1"/>
                    </a:gs>
                    <a:gs pos="100000">
                      <a:schemeClr val="tx1"/>
                    </a:gs>
                  </a:gsLst>
                  <a:lin ang="5400000" scaled="0"/>
                </a:gradFill>
              </a:defRPr>
            </a:lvl1pPr>
          </a:lstStyle>
          <a:p>
            <a:r>
              <a:rPr lang="en-US"/>
              <a:t>Click to edit Master title style</a:t>
            </a:r>
            <a:endParaRPr lang="en-US" dirty="0"/>
          </a:p>
        </p:txBody>
      </p:sp>
      <p:sp>
        <p:nvSpPr>
          <p:cNvPr id="5"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150"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panose="020B0502040204020203" pitchFamily="34" charset="0"/>
                <a:ea typeface="+mn-ea"/>
                <a:cs typeface="+mn-cs"/>
              </a:rPr>
              <a:t>MICROSOFT CONFIDENTIAL – INTERNAL ONLY</a:t>
            </a:r>
          </a:p>
        </p:txBody>
      </p:sp>
    </p:spTree>
    <p:extLst>
      <p:ext uri="{BB962C8B-B14F-4D97-AF65-F5344CB8AC3E}">
        <p14:creationId xmlns:p14="http://schemas.microsoft.com/office/powerpoint/2010/main" val="3194705956"/>
      </p:ext>
    </p:extLst>
  </p:cSld>
  <p:clrMapOvr>
    <a:masterClrMapping/>
  </p:clrMapOvr>
  <p:transition>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41426"/>
            <a:ext cx="5486399" cy="1798637"/>
          </a:xfrm>
        </p:spPr>
        <p:txBody>
          <a:bodyPr/>
          <a:lstStyle>
            <a:lvl1pPr>
              <a:defRPr sz="660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92587"/>
          </a:xfr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3260775595"/>
      </p:ext>
    </p:extLst>
  </p:cSld>
  <p:clrMapOvr>
    <a:masterClrMapping/>
  </p:clrMapOvr>
  <p:transition>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50-50 Left Photo Layout">
    <p:spTree>
      <p:nvGrpSpPr>
        <p:cNvPr id="1" name=""/>
        <p:cNvGrpSpPr/>
        <p:nvPr/>
      </p:nvGrpSpPr>
      <p:grpSpPr>
        <a:xfrm>
          <a:off x="0" y="0"/>
          <a:ext cx="0" cy="0"/>
          <a:chOff x="0" y="0"/>
          <a:chExt cx="0" cy="0"/>
        </a:xfrm>
      </p:grpSpPr>
      <p:sp>
        <p:nvSpPr>
          <p:cNvPr id="2" name="Title 1"/>
          <p:cNvSpPr>
            <a:spLocks noGrp="1"/>
          </p:cNvSpPr>
          <p:nvPr>
            <p:ph type="title"/>
          </p:nvPr>
        </p:nvSpPr>
        <p:spPr>
          <a:xfrm>
            <a:off x="6675439" y="1241426"/>
            <a:ext cx="5486399" cy="917575"/>
          </a:xfrm>
        </p:spPr>
        <p:txBody>
          <a:bodyPr/>
          <a:lstStyle>
            <a:lvl1pPr>
              <a:defRPr sz="6600" baseline="0">
                <a:gradFill>
                  <a:gsLst>
                    <a:gs pos="1250">
                      <a:schemeClr val="tx1"/>
                    </a:gs>
                    <a:gs pos="100000">
                      <a:schemeClr val="tx1"/>
                    </a:gs>
                  </a:gsLst>
                  <a:lin ang="5400000" scaled="0"/>
                </a:gradFill>
              </a:defRPr>
            </a:lvl1pPr>
          </a:lstStyle>
          <a:p>
            <a:r>
              <a:rPr lang="en-US"/>
              <a:t>Click to edit Master title style</a:t>
            </a:r>
            <a:endParaRPr lang="en-US" dirty="0"/>
          </a:p>
        </p:txBody>
      </p:sp>
      <p:sp>
        <p:nvSpPr>
          <p:cNvPr id="4" name="Picture Placeholder 4"/>
          <p:cNvSpPr>
            <a:spLocks noGrp="1"/>
          </p:cNvSpPr>
          <p:nvPr>
            <p:ph type="pic" sz="quarter" idx="10"/>
          </p:nvPr>
        </p:nvSpPr>
        <p:spPr bwMode="ltGray">
          <a:xfrm>
            <a:off x="0" y="0"/>
            <a:ext cx="6216650" cy="6988560"/>
          </a:xfrm>
          <a:blipFill>
            <a:blip r:embed="rId2"/>
            <a:stretch>
              <a:fillRect/>
            </a:stretch>
          </a:blipFill>
        </p:spPr>
        <p:txBody>
          <a:bodyPr tIns="548640" anchor="ctr" anchorCtr="0">
            <a:noAutofit/>
          </a:bodyPr>
          <a:lstStyle>
            <a:lvl1pPr marL="0" indent="0" algn="ctr">
              <a:buNone/>
              <a:defRPr sz="1400" b="1">
                <a:gradFill>
                  <a:gsLst>
                    <a:gs pos="13139">
                      <a:srgbClr val="FFFFFF"/>
                    </a:gs>
                    <a:gs pos="38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3240937805"/>
      </p:ext>
    </p:extLst>
  </p:cSld>
  <p:clrMapOvr>
    <a:masterClrMapping/>
  </p:clrMapOvr>
  <p:transition>
    <p:fade/>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150"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panose="020B0502040204020203" pitchFamily="34" charset="0"/>
                <a:ea typeface="+mn-ea"/>
                <a:cs typeface="+mn-cs"/>
              </a:rPr>
              <a:t>MICROSOFT CONFIDENTIAL – INTERNAL ONLY</a:t>
            </a:r>
          </a:p>
        </p:txBody>
      </p:sp>
    </p:spTree>
    <p:extLst>
      <p:ext uri="{BB962C8B-B14F-4D97-AF65-F5344CB8AC3E}">
        <p14:creationId xmlns:p14="http://schemas.microsoft.com/office/powerpoint/2010/main" val="707265759"/>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63"/>
            <a:ext cx="10058401" cy="1829593"/>
          </a:xfrm>
          <a:noFill/>
        </p:spPr>
        <p:txBody>
          <a:bodyPr lIns="182880" tIns="146304" rIns="182880" bIns="146304">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92386190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Blank Accent Color 2">
    <p:spTree>
      <p:nvGrpSpPr>
        <p:cNvPr id="1" name=""/>
        <p:cNvGrpSpPr/>
        <p:nvPr/>
      </p:nvGrpSpPr>
      <p:grpSpPr>
        <a:xfrm>
          <a:off x="0" y="0"/>
          <a:ext cx="0" cy="0"/>
          <a:chOff x="0" y="0"/>
          <a:chExt cx="0" cy="0"/>
        </a:xfrm>
      </p:grpSpPr>
      <p:sp>
        <p:nvSpPr>
          <p:cNvPr id="2"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150"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panose="020B0502040204020203" pitchFamily="34" charset="0"/>
                <a:ea typeface="+mn-ea"/>
                <a:cs typeface="+mn-cs"/>
              </a:rPr>
              <a:t>MICROSOFT CONFIDENTIAL – INTERNAL ONLY</a:t>
            </a:r>
          </a:p>
        </p:txBody>
      </p:sp>
    </p:spTree>
    <p:extLst>
      <p:ext uri="{BB962C8B-B14F-4D97-AF65-F5344CB8AC3E}">
        <p14:creationId xmlns:p14="http://schemas.microsoft.com/office/powerpoint/2010/main" val="3938134736"/>
      </p:ext>
    </p:extLst>
  </p:cSld>
  <p:clrMapOvr>
    <a:masterClrMapping/>
  </p:clrMapOvr>
  <p:transition>
    <p:fad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150" normalizeH="0" baseline="0" noProof="0" dirty="0">
                <a:ln>
                  <a:noFill/>
                </a:ln>
                <a:gradFill>
                  <a:gsLst>
                    <a:gs pos="0">
                      <a:srgbClr val="505050">
                        <a:alpha val="50000"/>
                      </a:srgbClr>
                    </a:gs>
                    <a:gs pos="86000">
                      <a:srgbClr val="505050">
                        <a:alpha val="50000"/>
                      </a:srgbClr>
                    </a:gs>
                  </a:gsLst>
                  <a:lin ang="5400000" scaled="0"/>
                </a:gradFill>
                <a:effectLst/>
                <a:uLnTx/>
                <a:uFillTx/>
                <a:latin typeface="Segoe UI" panose="020B0502040204020203" pitchFamily="34" charset="0"/>
                <a:ea typeface="+mn-ea"/>
                <a:cs typeface="+mn-cs"/>
              </a:rPr>
              <a:t>MICROSOFT CONFIDENTIAL – INTERNAL ONLY</a:t>
            </a:r>
          </a:p>
        </p:txBody>
      </p:sp>
    </p:spTree>
    <p:extLst>
      <p:ext uri="{BB962C8B-B14F-4D97-AF65-F5344CB8AC3E}">
        <p14:creationId xmlns:p14="http://schemas.microsoft.com/office/powerpoint/2010/main" val="285075267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Wingdings" panose="05000000000000000000" pitchFamily="2" charset="2"/>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Wingdings" panose="05000000000000000000" pitchFamily="2" charset="2"/>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Wingdings" panose="05000000000000000000" pitchFamily="2" charset="2"/>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Wingdings" panose="05000000000000000000" pitchFamily="2" charset="2"/>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Wingdings" panose="05000000000000000000" pitchFamily="2" charset="2"/>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410140878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userDrawn="1">
  <p:cSld name="Color Shape &amp; Color Background">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846638" y="3040063"/>
            <a:ext cx="7315203" cy="914400"/>
          </a:xfrm>
        </p:spPr>
        <p:txBody>
          <a:bodyPr wrap="square" lIns="182880" tIns="146304" rIns="182880" bIns="146304" anchor="ctr">
            <a:noAutofit/>
          </a:bodyPr>
          <a:lstStyle>
            <a:lvl1pPr>
              <a:lnSpc>
                <a:spcPct val="95000"/>
              </a:lnSpc>
              <a:spcBef>
                <a:spcPts val="0"/>
              </a:spcBef>
              <a:spcAft>
                <a:spcPts val="1632"/>
              </a:spcAft>
              <a:defRPr lang="en-US" sz="3600" kern="1200" dirty="0" smtClean="0">
                <a:gradFill>
                  <a:gsLst>
                    <a:gs pos="28302">
                      <a:schemeClr val="tx1">
                        <a:lumMod val="75000"/>
                        <a:lumOff val="25000"/>
                      </a:schemeClr>
                    </a:gs>
                    <a:gs pos="67000">
                      <a:schemeClr val="tx1">
                        <a:lumMod val="75000"/>
                        <a:lumOff val="25000"/>
                      </a:schemeClr>
                    </a:gs>
                  </a:gsLst>
                  <a:lin ang="5400000" scaled="0"/>
                </a:gradFill>
                <a:latin typeface="+mj-lt"/>
                <a:ea typeface="+mn-ea"/>
                <a:cs typeface="+mn-cs"/>
              </a:defRPr>
            </a:lvl1pPr>
            <a:lvl2pPr>
              <a:lnSpc>
                <a:spcPct val="100000"/>
              </a:lnSpc>
              <a:spcBef>
                <a:spcPts val="816"/>
              </a:spcBef>
              <a:defRPr sz="1900">
                <a:solidFill>
                  <a:srgbClr val="FFFFFF"/>
                </a:solidFill>
              </a:defRPr>
            </a:lvl2pPr>
            <a:lvl3pPr>
              <a:lnSpc>
                <a:spcPct val="100000"/>
              </a:lnSpc>
              <a:spcBef>
                <a:spcPts val="816"/>
              </a:spcBef>
              <a:defRPr sz="1900">
                <a:solidFill>
                  <a:srgbClr val="FFFFFF"/>
                </a:solidFill>
              </a:defRPr>
            </a:lvl3pPr>
            <a:lvl4pPr>
              <a:lnSpc>
                <a:spcPct val="100000"/>
              </a:lnSpc>
              <a:spcBef>
                <a:spcPts val="816"/>
              </a:spcBef>
              <a:defRPr sz="1900">
                <a:solidFill>
                  <a:srgbClr val="FFFFFF"/>
                </a:solidFill>
              </a:defRPr>
            </a:lvl4pPr>
            <a:lvl5pPr>
              <a:lnSpc>
                <a:spcPct val="100000"/>
              </a:lnSpc>
              <a:spcBef>
                <a:spcPts val="816"/>
              </a:spcBef>
              <a:defRPr sz="1900">
                <a:solidFill>
                  <a:srgbClr val="FFFFFF"/>
                </a:solidFill>
              </a:defRPr>
            </a:lvl5pPr>
          </a:lstStyle>
          <a:p>
            <a:pPr marL="0" lvl="0" indent="0" algn="l" defTabSz="914166" rtl="0" eaLnBrk="1" latinLnBrk="0" hangingPunct="1">
              <a:spcBef>
                <a:spcPct val="20000"/>
              </a:spcBef>
              <a:buFont typeface="Arial" pitchFamily="34" charset="0"/>
              <a:buNone/>
            </a:pPr>
            <a:r>
              <a:rPr lang="en-US" dirty="0"/>
              <a:t>Click to edit Master text styles</a:t>
            </a:r>
          </a:p>
        </p:txBody>
      </p:sp>
      <p:sp>
        <p:nvSpPr>
          <p:cNvPr id="15" name="Title 1"/>
          <p:cNvSpPr>
            <a:spLocks noGrp="1"/>
          </p:cNvSpPr>
          <p:nvPr>
            <p:ph type="ctrTitle" hasCustomPrompt="1"/>
          </p:nvPr>
        </p:nvSpPr>
        <p:spPr>
          <a:xfrm>
            <a:off x="274638" y="1537563"/>
            <a:ext cx="3931941" cy="3919398"/>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chemeClr val="accent3"/>
          </a:solidFill>
          <a:ln>
            <a:noFill/>
          </a:ln>
          <a:extLst/>
        </p:spPr>
        <p:txBody>
          <a:bodyPr vert="horz" wrap="square" lIns="182880" tIns="146304" rIns="182880" bIns="146304" numCol="1" anchor="ctr" anchorCtr="0" compatLnSpc="1">
            <a:prstTxWarp prst="textNoShape">
              <a:avLst/>
            </a:prstTxWarp>
            <a:noAutofit/>
          </a:bodyPr>
          <a:lstStyle>
            <a:lvl1pPr>
              <a:lnSpc>
                <a:spcPct val="95000"/>
              </a:lnSpc>
              <a:defRPr lang="en-US" sz="4000" kern="1200" dirty="0" smtClean="0">
                <a:gradFill>
                  <a:gsLst>
                    <a:gs pos="0">
                      <a:srgbClr val="FFFFFF"/>
                    </a:gs>
                    <a:gs pos="100000">
                      <a:srgbClr val="FFFFFF"/>
                    </a:gs>
                  </a:gsLst>
                  <a:lin ang="5400000" scaled="0"/>
                </a:gradFill>
                <a:latin typeface="Segoe UI Light"/>
                <a:ea typeface="ＭＳ Ｐゴシック" charset="0"/>
                <a:cs typeface="Segoe UI Light"/>
              </a:defRPr>
            </a:lvl1pPr>
          </a:lstStyle>
          <a:p>
            <a:pPr marL="0" lvl="0" indent="0" algn="l" defTabSz="1243266" rtl="0" eaLnBrk="1" fontAlgn="base" latinLnBrk="0" hangingPunct="1">
              <a:lnSpc>
                <a:spcPct val="100000"/>
              </a:lnSpc>
              <a:spcBef>
                <a:spcPct val="0"/>
              </a:spcBef>
              <a:spcAft>
                <a:spcPct val="0"/>
              </a:spcAft>
              <a:buFontTx/>
              <a:buNone/>
            </a:pPr>
            <a:r>
              <a:rPr lang="en-US" dirty="0"/>
              <a:t>Click to edit master title style</a:t>
            </a:r>
          </a:p>
        </p:txBody>
      </p:sp>
    </p:spTree>
    <p:extLst>
      <p:ext uri="{BB962C8B-B14F-4D97-AF65-F5344CB8AC3E}">
        <p14:creationId xmlns:p14="http://schemas.microsoft.com/office/powerpoint/2010/main" val="2667872934"/>
      </p:ext>
    </p:extLst>
  </p:cSld>
  <p:clrMapOvr>
    <a:masterClrMapping/>
  </p:clrMapOvr>
  <p:transition>
    <p:fade/>
  </p:transition>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userDrawn="1">
  <p:cSld name="Text Only Large">
    <p:spTree>
      <p:nvGrpSpPr>
        <p:cNvPr id="1" name=""/>
        <p:cNvGrpSpPr/>
        <p:nvPr/>
      </p:nvGrpSpPr>
      <p:grpSpPr>
        <a:xfrm>
          <a:off x="0" y="0"/>
          <a:ext cx="0" cy="0"/>
          <a:chOff x="0" y="0"/>
          <a:chExt cx="0" cy="0"/>
        </a:xfrm>
      </p:grpSpPr>
      <p:sp>
        <p:nvSpPr>
          <p:cNvPr id="2" name="Title 1"/>
          <p:cNvSpPr>
            <a:spLocks noGrp="1"/>
          </p:cNvSpPr>
          <p:nvPr>
            <p:ph type="title"/>
          </p:nvPr>
        </p:nvSpPr>
        <p:spPr>
          <a:xfrm>
            <a:off x="1189038" y="2125663"/>
            <a:ext cx="10058399" cy="1828800"/>
          </a:xfrm>
        </p:spPr>
        <p:txBody>
          <a:bodyPr/>
          <a:lstStyle>
            <a:lvl1pPr>
              <a:defRPr sz="4800" baseline="0"/>
            </a:lvl1pPr>
          </a:lstStyle>
          <a:p>
            <a:r>
              <a:rPr lang="en-US" dirty="0"/>
              <a:t>Click to edit Master title style</a:t>
            </a:r>
          </a:p>
        </p:txBody>
      </p:sp>
    </p:spTree>
    <p:extLst>
      <p:ext uri="{BB962C8B-B14F-4D97-AF65-F5344CB8AC3E}">
        <p14:creationId xmlns:p14="http://schemas.microsoft.com/office/powerpoint/2010/main" val="2968884271"/>
      </p:ext>
    </p:extLst>
  </p:cSld>
  <p:clrMapOvr>
    <a:masterClrMapping/>
  </p:clrMapOvr>
  <p:transition>
    <p:fade/>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userDrawn="1">
  <p:cSld name="Title and Content - 2">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383628" y="1668463"/>
            <a:ext cx="8778210" cy="5029200"/>
          </a:xfrm>
        </p:spPr>
        <p:txBody>
          <a:bodyPr wrap="square">
            <a:noAutofit/>
          </a:bodyPr>
          <a:lstStyle>
            <a:lvl3pPr>
              <a:defRPr sz="2400"/>
            </a:lvl3pPr>
            <a:lvl4pPr>
              <a:defRPr sz="2000"/>
            </a:lvl4pPr>
            <a:lvl5pPr>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1"/>
          </p:nvPr>
        </p:nvSpPr>
        <p:spPr>
          <a:xfrm>
            <a:off x="283148" y="1668463"/>
            <a:ext cx="2743200" cy="5029200"/>
          </a:xfrm>
        </p:spPr>
        <p:txBody>
          <a:bodyPr>
            <a:noAutofit/>
          </a:bodyPr>
          <a:lstStyle>
            <a:lvl1pPr marL="0" indent="0">
              <a:buNone/>
              <a:defRPr kumimoji="0" lang="en-US" sz="2400" b="0" i="0" u="none" strike="noStrike" kern="1200" cap="none" spc="0" normalizeH="0" baseline="0" dirty="0" smtClean="0">
                <a:ln>
                  <a:noFill/>
                </a:ln>
                <a:gradFill>
                  <a:gsLst>
                    <a:gs pos="100000">
                      <a:schemeClr val="tx1"/>
                    </a:gs>
                    <a:gs pos="0">
                      <a:schemeClr val="tx1"/>
                    </a:gs>
                  </a:gsLst>
                  <a:lin ang="5400000" scaled="0"/>
                </a:gradFill>
                <a:effectLst/>
                <a:uLnTx/>
                <a:uFillTx/>
                <a:latin typeface="+mn-lt"/>
                <a:ea typeface="+mj-ea"/>
                <a:cs typeface="+mj-cs"/>
              </a:defRPr>
            </a:lvl1pPr>
          </a:lstStyle>
          <a:p>
            <a:pPr marL="0" marR="0" lvl="0" indent="0" algn="l" defTabSz="914166" rtl="0" eaLnBrk="1" fontAlgn="auto" latinLnBrk="0" hangingPunct="1">
              <a:lnSpc>
                <a:spcPct val="100000"/>
              </a:lnSpc>
              <a:spcBef>
                <a:spcPct val="0"/>
              </a:spcBef>
              <a:spcAft>
                <a:spcPts val="0"/>
              </a:spcAft>
              <a:buClrTx/>
              <a:buSzTx/>
              <a:tabLst/>
              <a:defRPr/>
            </a:pPr>
            <a:r>
              <a:rPr lang="en-US" dirty="0"/>
              <a:t>Click to edit Master text styles</a:t>
            </a:r>
          </a:p>
        </p:txBody>
      </p:sp>
    </p:spTree>
    <p:extLst>
      <p:ext uri="{BB962C8B-B14F-4D97-AF65-F5344CB8AC3E}">
        <p14:creationId xmlns:p14="http://schemas.microsoft.com/office/powerpoint/2010/main" val="4056835752"/>
      </p:ext>
    </p:extLst>
  </p:cSld>
  <p:clrMapOvr>
    <a:masterClrMapping/>
  </p:clrMapOvr>
  <p:transition>
    <p:fade/>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userDrawn="1">
  <p:cSld name="4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1"/>
                    </a:gs>
                    <a:gs pos="100000">
                      <a:schemeClr val="tx1"/>
                    </a:gs>
                  </a:gsLst>
                  <a:lin ang="5400000" scaled="0"/>
                </a:gradFill>
              </a:defRPr>
            </a:lvl1pPr>
          </a:lstStyle>
          <a:p>
            <a:r>
              <a:rPr lang="en-US"/>
              <a:t>Click to edit Master title style</a:t>
            </a:r>
            <a:endParaRPr lang="en-US" dirty="0"/>
          </a:p>
        </p:txBody>
      </p:sp>
      <p:sp>
        <p:nvSpPr>
          <p:cNvPr id="3" name="Rectangle 2"/>
          <p:cNvSpPr/>
          <p:nvPr userDrawn="1"/>
        </p:nvSpPr>
        <p:spPr>
          <a:xfrm>
            <a:off x="8196408" y="95509"/>
            <a:ext cx="4083764" cy="307777"/>
          </a:xfrm>
          <a:prstGeom prst="rect">
            <a:avLst/>
          </a:prstGeom>
        </p:spPr>
        <p:txBody>
          <a:bodyPr wrap="square">
            <a:spAutoFit/>
          </a:bodyPr>
          <a:lstStyle/>
          <a:p>
            <a:pPr marL="0" marR="0" lvl="0" indent="0" algn="r" defTabSz="932597" rtl="0" eaLnBrk="1" fontAlgn="base" latinLnBrk="0" hangingPunct="1">
              <a:lnSpc>
                <a:spcPct val="100000"/>
              </a:lnSpc>
              <a:spcBef>
                <a:spcPts val="0"/>
              </a:spcBef>
              <a:spcAft>
                <a:spcPts val="1200"/>
              </a:spcAft>
              <a:buClrTx/>
              <a:buSzPts val="1400"/>
              <a:buFontTx/>
              <a:buNone/>
              <a:tabLst/>
              <a:defRPr/>
            </a:pPr>
            <a:r>
              <a:rPr kumimoji="0" lang="en-US" sz="1400" b="0" i="0" u="none" strike="noStrike" kern="1200" cap="none" spc="0" normalizeH="0" baseline="0" noProof="0" dirty="0">
                <a:ln>
                  <a:noFill/>
                </a:ln>
                <a:gradFill>
                  <a:gsLst>
                    <a:gs pos="19444">
                      <a:srgbClr val="FFFFFF">
                        <a:lumMod val="50000"/>
                      </a:srgbClr>
                    </a:gs>
                    <a:gs pos="100000">
                      <a:srgbClr val="FFFFFF">
                        <a:lumMod val="50000"/>
                      </a:srgbClr>
                    </a:gs>
                  </a:gsLst>
                  <a:lin ang="0" scaled="0"/>
                </a:gradFill>
                <a:effectLst/>
                <a:uLnTx/>
                <a:uFillTx/>
                <a:latin typeface="Segoe UI Semilight" panose="020B0402040204020203" pitchFamily="34" charset="0"/>
                <a:ea typeface="+mn-ea"/>
                <a:cs typeface="Segoe UI Semilight" panose="020B0402040204020203" pitchFamily="34" charset="0"/>
              </a:rPr>
              <a:t>Developer and app platform</a:t>
            </a:r>
          </a:p>
        </p:txBody>
      </p:sp>
    </p:spTree>
    <p:extLst>
      <p:ext uri="{BB962C8B-B14F-4D97-AF65-F5344CB8AC3E}">
        <p14:creationId xmlns:p14="http://schemas.microsoft.com/office/powerpoint/2010/main" val="1078732935"/>
      </p:ext>
    </p:extLst>
  </p:cSld>
  <p:clrMapOvr>
    <a:masterClrMapping/>
  </p:clrMapOvr>
  <p:transition>
    <p:fade/>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55008" y="1861968"/>
            <a:ext cx="5285502" cy="27823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295965" y="1861968"/>
            <a:ext cx="5285502" cy="27823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a:xfrm>
            <a:off x="855008" y="6482889"/>
            <a:ext cx="2798207" cy="372394"/>
          </a:xfrm>
          <a:prstGeom prst="rect">
            <a:avLst/>
          </a:prstGeom>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6" name="Footer Placeholder 5"/>
          <p:cNvSpPr>
            <a:spLocks noGrp="1"/>
          </p:cNvSpPr>
          <p:nvPr>
            <p:ph type="ftr" sz="quarter" idx="11"/>
          </p:nvPr>
        </p:nvSpPr>
        <p:spPr>
          <a:xfrm>
            <a:off x="4119583" y="6482889"/>
            <a:ext cx="4197310" cy="372394"/>
          </a:xfrm>
          <a:prstGeom prst="rect">
            <a:avLst/>
          </a:prstGeom>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7" name="Slide Number Placeholder 6"/>
          <p:cNvSpPr>
            <a:spLocks noGrp="1"/>
          </p:cNvSpPr>
          <p:nvPr>
            <p:ph type="sldNum" sz="quarter" idx="12"/>
          </p:nvPr>
        </p:nvSpPr>
        <p:spPr>
          <a:xfrm>
            <a:off x="8783260" y="6482889"/>
            <a:ext cx="2798207" cy="372394"/>
          </a:xfrm>
          <a:prstGeom prst="rect">
            <a:avLst/>
          </a:prstGeom>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fld id="{A96C389C-0192-4AE2-8ADE-E01FEE1F73B0}" type="slidenum">
              <a:rPr kumimoji="0" lang="en-US" sz="1800" b="0" i="0" u="none" strike="noStrike" kern="1200" cap="none" spc="0" normalizeH="0" baseline="0" noProof="0" smtClean="0">
                <a:ln>
                  <a:noFill/>
                </a:ln>
                <a:solidFill>
                  <a:srgbClr val="FFFFFF"/>
                </a:solidFill>
                <a:effectLst/>
                <a:uLnTx/>
                <a:uFillTx/>
                <a:latin typeface="Segoe UI"/>
                <a:ea typeface="+mn-ea"/>
                <a:cs typeface="+mn-cs"/>
              </a:rPr>
              <a:pPr marL="0" marR="0" lvl="0" indent="0" algn="l" defTabSz="932742" rtl="0" eaLnBrk="1" fontAlgn="auto" latinLnBrk="0" hangingPunct="1">
                <a:lnSpc>
                  <a:spcPct val="100000"/>
                </a:lnSpc>
                <a:spcBef>
                  <a:spcPts val="0"/>
                </a:spcBef>
                <a:spcAft>
                  <a:spcPts val="0"/>
                </a:spcAft>
                <a:buClrTx/>
                <a:buSzTx/>
                <a:buFontTx/>
                <a:buNone/>
                <a:tabLst/>
                <a:defRPr/>
              </a:pPr>
              <a:t>‹#›</a:t>
            </a:fld>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1706388219"/>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Title Slide - ANIMATED">
    <p:bg bwMode="auto">
      <p:bgPr>
        <a:solidFill>
          <a:schemeClr val="accent2"/>
        </a:solidFill>
        <a:effectLst/>
      </p:bgPr>
    </p:bg>
    <p:spTree>
      <p:nvGrpSpPr>
        <p:cNvPr id="1" name=""/>
        <p:cNvGrpSpPr/>
        <p:nvPr/>
      </p:nvGrpSpPr>
      <p:grpSpPr>
        <a:xfrm>
          <a:off x="0" y="0"/>
          <a:ext cx="0" cy="0"/>
          <a:chOff x="0" y="0"/>
          <a:chExt cx="0" cy="0"/>
        </a:xfrm>
      </p:grpSpPr>
      <p:sp>
        <p:nvSpPr>
          <p:cNvPr id="6" name="Rectangle 5"/>
          <p:cNvSpPr>
            <a:spLocks noChangeArrowheads="1"/>
          </p:cNvSpPr>
          <p:nvPr userDrawn="1"/>
        </p:nvSpPr>
        <p:spPr bwMode="auto">
          <a:xfrm>
            <a:off x="3175" y="4395788"/>
            <a:ext cx="12433300" cy="2601912"/>
          </a:xfrm>
          <a:prstGeom prst="rect">
            <a:avLst/>
          </a:prstGeom>
          <a:solidFill>
            <a:srgbClr val="4DA0E2"/>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altLang="en-US" sz="1800" b="0" i="0" u="none" strike="noStrike" kern="1200" cap="none" spc="0" normalizeH="0" baseline="0" noProof="0">
              <a:ln>
                <a:noFill/>
              </a:ln>
              <a:solidFill>
                <a:srgbClr val="FFFFFF"/>
              </a:solidFill>
              <a:effectLst/>
              <a:uLnTx/>
              <a:uFillTx/>
              <a:latin typeface="Segoe UI" panose="020B0502040204020203" pitchFamily="34" charset="0"/>
              <a:ea typeface="MS PGothic"/>
            </a:endParaRPr>
          </a:p>
        </p:txBody>
      </p:sp>
      <p:sp>
        <p:nvSpPr>
          <p:cNvPr id="7" name="Rectangle 7"/>
          <p:cNvSpPr>
            <a:spLocks noChangeArrowheads="1"/>
          </p:cNvSpPr>
          <p:nvPr userDrawn="1"/>
        </p:nvSpPr>
        <p:spPr bwMode="auto">
          <a:xfrm>
            <a:off x="0" y="5843588"/>
            <a:ext cx="12433300" cy="1154112"/>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altLang="en-US" sz="1800" b="0" i="0" u="none" strike="noStrike" kern="1200" cap="none" spc="0" normalizeH="0" baseline="0" noProof="0">
              <a:ln>
                <a:noFill/>
              </a:ln>
              <a:solidFill>
                <a:srgbClr val="FFFFFF"/>
              </a:solidFill>
              <a:effectLst/>
              <a:uLnTx/>
              <a:uFillTx/>
              <a:latin typeface="Segoe UI" panose="020B0502040204020203" pitchFamily="34" charset="0"/>
              <a:ea typeface="MS PGothic"/>
            </a:endParaRPr>
          </a:p>
        </p:txBody>
      </p:sp>
      <p:sp>
        <p:nvSpPr>
          <p:cNvPr id="8" name="Rectangle 8"/>
          <p:cNvSpPr>
            <a:spLocks noChangeArrowheads="1"/>
          </p:cNvSpPr>
          <p:nvPr userDrawn="1"/>
        </p:nvSpPr>
        <p:spPr bwMode="auto">
          <a:xfrm>
            <a:off x="3175" y="3409950"/>
            <a:ext cx="12430125" cy="282575"/>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altLang="en-US" sz="1800" b="0" i="0" u="none" strike="noStrike" kern="1200" cap="none" spc="0" normalizeH="0" baseline="0" noProof="0">
              <a:ln>
                <a:noFill/>
              </a:ln>
              <a:solidFill>
                <a:srgbClr val="FFFFFF"/>
              </a:solidFill>
              <a:effectLst/>
              <a:uLnTx/>
              <a:uFillTx/>
              <a:latin typeface="Segoe UI" panose="020B0502040204020203" pitchFamily="34" charset="0"/>
              <a:ea typeface="MS PGothic"/>
            </a:endParaRPr>
          </a:p>
        </p:txBody>
      </p:sp>
      <p:sp>
        <p:nvSpPr>
          <p:cNvPr id="10" name="Rectangle 9"/>
          <p:cNvSpPr/>
          <p:nvPr userDrawn="1"/>
        </p:nvSpPr>
        <p:spPr bwMode="white">
          <a:xfrm>
            <a:off x="0" y="0"/>
            <a:ext cx="12436475" cy="6994525"/>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82880" tIns="146304" rIns="182880" bIns="146304"/>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1" name="Picture 10"/>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black">
          <a:xfrm>
            <a:off x="458788" y="6181725"/>
            <a:ext cx="1552575" cy="333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Rectangle 6"/>
          <p:cNvSpPr>
            <a:spLocks noChangeArrowheads="1"/>
          </p:cNvSpPr>
          <p:nvPr userDrawn="1"/>
        </p:nvSpPr>
        <p:spPr bwMode="auto">
          <a:xfrm>
            <a:off x="3175" y="4395788"/>
            <a:ext cx="12433300" cy="26019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altLang="en-US" sz="1800" b="0" i="0" u="none" strike="noStrike" kern="1200" cap="none" spc="0" normalizeH="0" baseline="0" noProof="0">
              <a:ln>
                <a:noFill/>
              </a:ln>
              <a:solidFill>
                <a:srgbClr val="FFFFFF"/>
              </a:solidFill>
              <a:effectLst/>
              <a:uLnTx/>
              <a:uFillTx/>
              <a:latin typeface="Segoe UI" panose="020B0502040204020203" pitchFamily="34" charset="0"/>
              <a:ea typeface="MS PGothic"/>
            </a:endParaRPr>
          </a:p>
        </p:txBody>
      </p:sp>
      <p:sp>
        <p:nvSpPr>
          <p:cNvPr id="13" name="TextBox 7"/>
          <p:cNvSpPr txBox="1"/>
          <p:nvPr userDrawn="1"/>
        </p:nvSpPr>
        <p:spPr bwMode="white">
          <a:xfrm>
            <a:off x="4418866" y="6697627"/>
            <a:ext cx="3598742" cy="161583"/>
          </a:xfrm>
          <a:prstGeom prst="rect">
            <a:avLst/>
          </a:prstGeom>
          <a:noFill/>
        </p:spPr>
        <p:txBody>
          <a:bodyPr wrap="none" lIns="0" tIns="0" rIns="0" bIns="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150"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a:ea typeface="+mn-ea"/>
                <a:cs typeface="+mn-cs"/>
              </a:rPr>
              <a:t>MICROSOFT CONFIDENTIAL – INTERNAL ONLY</a:t>
            </a:r>
          </a:p>
        </p:txBody>
      </p:sp>
      <p:sp>
        <p:nvSpPr>
          <p:cNvPr id="5" name="Text Placeholder 4"/>
          <p:cNvSpPr>
            <a:spLocks noGrp="1"/>
          </p:cNvSpPr>
          <p:nvPr>
            <p:ph type="body" sz="quarter" idx="12"/>
          </p:nvPr>
        </p:nvSpPr>
        <p:spPr>
          <a:xfrm>
            <a:off x="276540" y="3954457"/>
            <a:ext cx="6399213" cy="1830388"/>
          </a:xfrm>
          <a:noFill/>
        </p:spPr>
        <p:txBody>
          <a:bodyPr tIns="109728" bIns="109728">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a:t>Click to edit Master text styles</a:t>
            </a:r>
          </a:p>
        </p:txBody>
      </p:sp>
      <p:sp>
        <p:nvSpPr>
          <p:cNvPr id="9" name="Title 1"/>
          <p:cNvSpPr>
            <a:spLocks noGrp="1"/>
          </p:cNvSpPr>
          <p:nvPr>
            <p:ph type="title"/>
          </p:nvPr>
        </p:nvSpPr>
        <p:spPr>
          <a:xfrm>
            <a:off x="274703" y="2117165"/>
            <a:ext cx="10058336" cy="1837298"/>
          </a:xfrm>
          <a:noFill/>
        </p:spPr>
        <p:txBody>
          <a:bodyPr anchorCtr="0"/>
          <a:lstStyle>
            <a:lvl1pPr>
              <a:defRPr sz="6000" spc="-100" baseline="0">
                <a:gradFill>
                  <a:gsLst>
                    <a:gs pos="3333">
                      <a:schemeClr val="tx1"/>
                    </a:gs>
                    <a:gs pos="39000">
                      <a:schemeClr val="tx1"/>
                    </a:gs>
                  </a:gsLst>
                  <a:lin ang="5400000" scaled="0"/>
                </a:gradFill>
              </a:defRPr>
            </a:lvl1pPr>
          </a:lstStyle>
          <a:p>
            <a:r>
              <a:rPr lang="en-US"/>
              <a:t>Click to edit Master title style</a:t>
            </a:r>
            <a:endParaRPr lang="en-US" dirty="0"/>
          </a:p>
        </p:txBody>
      </p:sp>
      <p:sp>
        <p:nvSpPr>
          <p:cNvPr id="17" name="Text Placeholder 16"/>
          <p:cNvSpPr>
            <a:spLocks noGrp="1"/>
          </p:cNvSpPr>
          <p:nvPr>
            <p:ph type="body" sz="quarter" idx="13"/>
          </p:nvPr>
        </p:nvSpPr>
        <p:spPr>
          <a:xfrm>
            <a:off x="274638" y="296863"/>
            <a:ext cx="3657600" cy="461665"/>
          </a:xfrm>
        </p:spPr>
        <p:txBody>
          <a:bodyPr/>
          <a:lstStyle>
            <a:lvl1pPr marL="0" indent="0">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a:t>Click to edit Master text styles</a:t>
            </a:r>
          </a:p>
        </p:txBody>
      </p:sp>
      <p:sp>
        <p:nvSpPr>
          <p:cNvPr id="15" name="Text Placeholder 16"/>
          <p:cNvSpPr>
            <a:spLocks noGrp="1"/>
          </p:cNvSpPr>
          <p:nvPr>
            <p:ph type="body" sz="quarter" idx="14"/>
          </p:nvPr>
        </p:nvSpPr>
        <p:spPr>
          <a:xfrm>
            <a:off x="8504239" y="296863"/>
            <a:ext cx="3657600" cy="461665"/>
          </a:xfrm>
        </p:spPr>
        <p:txBody>
          <a:bodyPr/>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a:t>Click to edit Master text styles</a:t>
            </a:r>
          </a:p>
        </p:txBody>
      </p:sp>
    </p:spTree>
    <p:extLst>
      <p:ext uri="{BB962C8B-B14F-4D97-AF65-F5344CB8AC3E}">
        <p14:creationId xmlns:p14="http://schemas.microsoft.com/office/powerpoint/2010/main" val="2951888409"/>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8"/>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6"/>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7"/>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0"/>
                                        </p:tgtEl>
                                        <p:attrNameLst>
                                          <p:attrName>style.visibility</p:attrName>
                                        </p:attrNameLst>
                                      </p:cBhvr>
                                      <p:to>
                                        <p:strVal val="visible"/>
                                      </p:to>
                                    </p:set>
                                  </p:childTnLst>
                                </p:cTn>
                              </p:par>
                              <p:par>
                                <p:cTn id="13" presetID="10" presetClass="entr" presetSubtype="0" fill="hold" nodeType="withEffect">
                                  <p:stCondLst>
                                    <p:cond delay="900"/>
                                  </p:stCondLst>
                                  <p:childTnLst>
                                    <p:set>
                                      <p:cBhvr>
                                        <p:cTn id="14" dur="1" fill="hold">
                                          <p:stCondLst>
                                            <p:cond delay="0"/>
                                          </p:stCondLst>
                                        </p:cTn>
                                        <p:tgtEl>
                                          <p:spTgt spid="11"/>
                                        </p:tgtEl>
                                        <p:attrNameLst>
                                          <p:attrName>style.visibility</p:attrName>
                                        </p:attrNameLst>
                                      </p:cBhvr>
                                      <p:to>
                                        <p:strVal val="visible"/>
                                      </p:to>
                                    </p:set>
                                    <p:animEffect transition="in" filter="fade">
                                      <p:cBhvr>
                                        <p:cTn id="15" dur="950"/>
                                        <p:tgtEl>
                                          <p:spTgt spid="11"/>
                                        </p:tgtEl>
                                      </p:cBhvr>
                                    </p:animEffect>
                                  </p:childTnLst>
                                </p:cTn>
                              </p:par>
                              <p:par>
                                <p:cTn id="16" presetID="63" presetClass="path" presetSubtype="0" decel="100000" fill="hold" nodeType="withEffect">
                                  <p:stCondLst>
                                    <p:cond delay="900"/>
                                  </p:stCondLst>
                                  <p:childTnLst>
                                    <p:animMotion origin="layout" path="M -0.01455 -1.34362E-6 L -3.90605E-7 -1.34362E-6 " pathEditMode="relative" rAng="0" ptsTypes="AA">
                                      <p:cBhvr>
                                        <p:cTn id="17" dur="950" fill="hold"/>
                                        <p:tgtEl>
                                          <p:spTgt spid="11"/>
                                        </p:tgtEl>
                                        <p:attrNameLst>
                                          <p:attrName>ppt_x</p:attrName>
                                          <p:attrName>ppt_y</p:attrName>
                                        </p:attrNameLst>
                                      </p:cBhvr>
                                      <p:rCtr x="728" y="0"/>
                                    </p:animMotion>
                                  </p:childTnLst>
                                </p:cTn>
                              </p:par>
                              <p:par>
                                <p:cTn id="18" presetID="6" presetClass="emph" presetSubtype="0" accel="100000" autoRev="1" fill="hold" nodeType="withEffect">
                                  <p:stCondLst>
                                    <p:cond delay="200"/>
                                  </p:stCondLst>
                                  <p:childTnLst>
                                    <p:animScale>
                                      <p:cBhvr>
                                        <p:cTn id="19" dur="500" fill="hold"/>
                                        <p:tgtEl>
                                          <p:spTgt spid="11"/>
                                        </p:tgtEl>
                                      </p:cBhvr>
                                      <p:by x="95000" y="95000"/>
                                    </p:animScale>
                                  </p:childTnLst>
                                </p:cTn>
                              </p:par>
                              <p:par>
                                <p:cTn id="20" presetID="10" presetClass="entr" presetSubtype="0" fill="hold" nodeType="withEffect">
                                  <p:stCondLst>
                                    <p:cond delay="1000"/>
                                  </p:stCondLst>
                                  <p:childTnLst>
                                    <p:set>
                                      <p:cBhvr>
                                        <p:cTn id="21" dur="1" fill="hold">
                                          <p:stCondLst>
                                            <p:cond delay="0"/>
                                          </p:stCondLst>
                                        </p:cTn>
                                        <p:tgtEl>
                                          <p:spTgt spid="13"/>
                                        </p:tgtEl>
                                        <p:attrNameLst>
                                          <p:attrName>style.visibility</p:attrName>
                                        </p:attrNameLst>
                                      </p:cBhvr>
                                      <p:to>
                                        <p:strVal val="visible"/>
                                      </p:to>
                                    </p:set>
                                    <p:animEffect transition="in" filter="fade">
                                      <p:cBhvr>
                                        <p:cTn id="22" dur="950"/>
                                        <p:tgtEl>
                                          <p:spTgt spid="13"/>
                                        </p:tgtEl>
                                      </p:cBhvr>
                                    </p:animEffect>
                                  </p:childTnLst>
                                </p:cTn>
                              </p:par>
                              <p:par>
                                <p:cTn id="23" presetID="63" presetClass="path" presetSubtype="0" decel="100000" fill="hold" nodeType="withEffect">
                                  <p:stCondLst>
                                    <p:cond delay="1000"/>
                                  </p:stCondLst>
                                  <p:childTnLst>
                                    <p:animMotion origin="layout" path="M -0.01455 -1.34362E-6 L -3.90605E-7 -1.34362E-6 " pathEditMode="relative" rAng="0" ptsTypes="AA">
                                      <p:cBhvr>
                                        <p:cTn id="24" dur="950" fill="hold"/>
                                        <p:tgtEl>
                                          <p:spTgt spid="13"/>
                                        </p:tgtEl>
                                        <p:attrNameLst>
                                          <p:attrName>ppt_x</p:attrName>
                                          <p:attrName>ppt_y</p:attrName>
                                        </p:attrNameLst>
                                      </p:cBhvr>
                                      <p:rCtr x="728" y="0"/>
                                    </p:animMotion>
                                  </p:childTnLst>
                                </p:cTn>
                              </p:par>
                              <p:par>
                                <p:cTn id="25" presetID="6" presetClass="emph" presetSubtype="0" accel="100000" autoRev="1" fill="hold" nodeType="withEffect">
                                  <p:stCondLst>
                                    <p:cond delay="300"/>
                                  </p:stCondLst>
                                  <p:childTnLst>
                                    <p:animScale>
                                      <p:cBhvr>
                                        <p:cTn id="26" dur="500" fill="hold"/>
                                        <p:tgtEl>
                                          <p:spTgt spid="13"/>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7" grpId="0" animBg="1"/>
      <p:bldP spid="8" grpId="0" animBg="1"/>
      <p:bldP spid="10" grpId="0" animBg="1"/>
    </p:bldLst>
  </p:timing>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1_Title Slide - STATIC">
    <p:bg>
      <p:bgPr>
        <a:solidFill>
          <a:schemeClr val="accent2"/>
        </a:solidFill>
        <a:effectLst/>
      </p:bgPr>
    </p:bg>
    <p:spTree>
      <p:nvGrpSpPr>
        <p:cNvPr id="1" name=""/>
        <p:cNvGrpSpPr/>
        <p:nvPr/>
      </p:nvGrpSpPr>
      <p:grpSpPr>
        <a:xfrm>
          <a:off x="0" y="0"/>
          <a:ext cx="0" cy="0"/>
          <a:chOff x="0" y="0"/>
          <a:chExt cx="0" cy="0"/>
        </a:xfrm>
      </p:grpSpPr>
      <p:pic>
        <p:nvPicPr>
          <p:cNvPr id="6" name="Picture 4"/>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black">
          <a:xfrm>
            <a:off x="458788" y="6181725"/>
            <a:ext cx="1552575" cy="333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Rectangle 6"/>
          <p:cNvSpPr>
            <a:spLocks noChangeArrowheads="1"/>
          </p:cNvSpPr>
          <p:nvPr userDrawn="1"/>
        </p:nvSpPr>
        <p:spPr bwMode="auto">
          <a:xfrm>
            <a:off x="3175" y="4395788"/>
            <a:ext cx="12433300" cy="26019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altLang="en-US" sz="1800" b="0" i="0" u="none" strike="noStrike" kern="1200" cap="none" spc="0" normalizeH="0" baseline="0" noProof="0">
              <a:ln>
                <a:noFill/>
              </a:ln>
              <a:solidFill>
                <a:srgbClr val="FFFFFF"/>
              </a:solidFill>
              <a:effectLst/>
              <a:uLnTx/>
              <a:uFillTx/>
              <a:latin typeface="Segoe UI" panose="020B0502040204020203" pitchFamily="34" charset="0"/>
              <a:ea typeface="MS PGothic"/>
            </a:endParaRPr>
          </a:p>
        </p:txBody>
      </p:sp>
      <p:sp>
        <p:nvSpPr>
          <p:cNvPr id="8" name="TextBox 7"/>
          <p:cNvSpPr txBox="1"/>
          <p:nvPr userDrawn="1"/>
        </p:nvSpPr>
        <p:spPr bwMode="white">
          <a:xfrm>
            <a:off x="4454934" y="6697627"/>
            <a:ext cx="3526606" cy="161583"/>
          </a:xfrm>
          <a:prstGeom prst="rect">
            <a:avLst/>
          </a:prstGeom>
          <a:noFill/>
        </p:spPr>
        <p:txBody>
          <a:bodyPr wrap="none" lIns="0" tIns="0" rIns="0" bIns="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150"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a:ea typeface="+mn-ea"/>
                <a:cs typeface="+mn-cs"/>
              </a:rPr>
              <a:t>MICROSOFT CONFIDENTIAL – INTERNAL ONLY</a:t>
            </a:r>
          </a:p>
        </p:txBody>
      </p:sp>
      <p:sp>
        <p:nvSpPr>
          <p:cNvPr id="5" name="Text Placeholder 4"/>
          <p:cNvSpPr>
            <a:spLocks noGrp="1"/>
          </p:cNvSpPr>
          <p:nvPr>
            <p:ph type="body" sz="quarter" idx="12"/>
          </p:nvPr>
        </p:nvSpPr>
        <p:spPr>
          <a:xfrm>
            <a:off x="276540" y="3954457"/>
            <a:ext cx="6399213" cy="1830388"/>
          </a:xfrm>
          <a:noFill/>
        </p:spPr>
        <p:txBody>
          <a:bodyPr tIns="109728" bIns="109728">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a:t>Click to edit Master text styles</a:t>
            </a:r>
          </a:p>
        </p:txBody>
      </p:sp>
      <p:sp>
        <p:nvSpPr>
          <p:cNvPr id="9" name="Title 1"/>
          <p:cNvSpPr>
            <a:spLocks noGrp="1"/>
          </p:cNvSpPr>
          <p:nvPr>
            <p:ph type="title"/>
          </p:nvPr>
        </p:nvSpPr>
        <p:spPr>
          <a:xfrm>
            <a:off x="274703" y="2117165"/>
            <a:ext cx="10058336" cy="1837298"/>
          </a:xfrm>
          <a:noFill/>
        </p:spPr>
        <p:txBody>
          <a:bodyPr anchorCtr="0"/>
          <a:lstStyle>
            <a:lvl1pPr>
              <a:defRPr sz="6000" spc="-100" baseline="0">
                <a:gradFill>
                  <a:gsLst>
                    <a:gs pos="3333">
                      <a:schemeClr val="tx1"/>
                    </a:gs>
                    <a:gs pos="39000">
                      <a:schemeClr val="tx1"/>
                    </a:gs>
                  </a:gsLst>
                  <a:lin ang="5400000" scaled="0"/>
                </a:gradFill>
              </a:defRPr>
            </a:lvl1pPr>
          </a:lstStyle>
          <a:p>
            <a:r>
              <a:rPr lang="en-US"/>
              <a:t>Click to edit Master title style</a:t>
            </a:r>
            <a:endParaRPr lang="en-US" dirty="0"/>
          </a:p>
        </p:txBody>
      </p:sp>
      <p:sp>
        <p:nvSpPr>
          <p:cNvPr id="15" name="Text Placeholder 16"/>
          <p:cNvSpPr>
            <a:spLocks noGrp="1"/>
          </p:cNvSpPr>
          <p:nvPr>
            <p:ph type="body" sz="quarter" idx="13"/>
          </p:nvPr>
        </p:nvSpPr>
        <p:spPr>
          <a:xfrm>
            <a:off x="274638" y="296863"/>
            <a:ext cx="3657600" cy="461665"/>
          </a:xfrm>
        </p:spPr>
        <p:txBody>
          <a:bodyPr/>
          <a:lstStyle>
            <a:lvl1pPr marL="0" indent="0">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a:t>Click to edit Master text styles</a:t>
            </a:r>
          </a:p>
        </p:txBody>
      </p:sp>
      <p:sp>
        <p:nvSpPr>
          <p:cNvPr id="10" name="Text Placeholder 16"/>
          <p:cNvSpPr>
            <a:spLocks noGrp="1"/>
          </p:cNvSpPr>
          <p:nvPr>
            <p:ph type="body" sz="quarter" idx="14"/>
          </p:nvPr>
        </p:nvSpPr>
        <p:spPr>
          <a:xfrm>
            <a:off x="8504239" y="296863"/>
            <a:ext cx="3657600" cy="461665"/>
          </a:xfrm>
        </p:spPr>
        <p:txBody>
          <a:bodyPr/>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a:t>Click to edit Master text styles</a:t>
            </a:r>
          </a:p>
        </p:txBody>
      </p:sp>
    </p:spTree>
    <p:extLst>
      <p:ext uri="{BB962C8B-B14F-4D97-AF65-F5344CB8AC3E}">
        <p14:creationId xmlns:p14="http://schemas.microsoft.com/office/powerpoint/2010/main" val="500707725"/>
      </p:ext>
    </p:extLst>
  </p:cSld>
  <p:clrMapOvr>
    <a:masterClrMapping/>
  </p:clrMapOvr>
  <p:transition spd="med">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215941221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5" name="TextBox 7"/>
          <p:cNvSpPr txBox="1"/>
          <p:nvPr userDrawn="1"/>
        </p:nvSpPr>
        <p:spPr bwMode="white">
          <a:xfrm>
            <a:off x="4454934" y="6697627"/>
            <a:ext cx="3526606" cy="161583"/>
          </a:xfrm>
          <a:prstGeom prst="rect">
            <a:avLst/>
          </a:prstGeom>
          <a:noFill/>
        </p:spPr>
        <p:txBody>
          <a:bodyPr wrap="none" lIns="0" tIns="0" rIns="0" bIns="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150"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a:ea typeface="+mn-ea"/>
                <a:cs typeface="+mn-cs"/>
              </a:rPr>
              <a:t>MICROSOFT CONFIDENTIAL – INTERNAL ONLY</a:t>
            </a:r>
          </a:p>
        </p:txBody>
      </p:sp>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74639" y="1212849"/>
            <a:ext cx="11889564" cy="2059025"/>
          </a:xfrm>
        </p:spPr>
        <p:txBody>
          <a:bodyPr/>
          <a:lstStyle>
            <a:lvl1pPr marL="0" indent="0">
              <a:buNone/>
              <a:defRPr/>
            </a:lvl1pPr>
            <a:lvl2pPr marL="28575" indent="0">
              <a:buNone/>
              <a:defRPr sz="2000"/>
            </a:lvl2pPr>
            <a:lvl3pPr marL="223838" indent="0">
              <a:buNone/>
              <a:defRPr sz="2000"/>
            </a:lvl3pPr>
            <a:lvl4pPr marL="476250" indent="0">
              <a:buNone/>
              <a:defRPr sz="1800"/>
            </a:lvl4pPr>
            <a:lvl5pPr marL="739775" indent="0">
              <a:buNone/>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76750745"/>
      </p:ext>
    </p:extLst>
  </p:cSld>
  <p:clrMapOvr>
    <a:masterClrMapping/>
  </p:clrMapOvr>
  <p:transition>
    <p:fade/>
  </p:transition>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5" name="TextBox 7"/>
          <p:cNvSpPr txBox="1"/>
          <p:nvPr userDrawn="1"/>
        </p:nvSpPr>
        <p:spPr bwMode="white">
          <a:xfrm>
            <a:off x="4454934" y="6697627"/>
            <a:ext cx="3526606" cy="161583"/>
          </a:xfrm>
          <a:prstGeom prst="rect">
            <a:avLst/>
          </a:prstGeom>
          <a:noFill/>
        </p:spPr>
        <p:txBody>
          <a:bodyPr wrap="none" lIns="0" tIns="0" rIns="0" bIns="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150"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a:ea typeface="+mn-ea"/>
                <a:cs typeface="+mn-cs"/>
              </a:rPr>
              <a:t>MICROSOFT CONFIDENTIAL – INTERNAL ONLY</a:t>
            </a:r>
          </a:p>
        </p:txBody>
      </p:sp>
      <p:sp>
        <p:nvSpPr>
          <p:cNvPr id="4" name="Text Placeholder 3"/>
          <p:cNvSpPr>
            <a:spLocks noGrp="1"/>
          </p:cNvSpPr>
          <p:nvPr>
            <p:ph type="body" sz="quarter" idx="10"/>
          </p:nvPr>
        </p:nvSpPr>
        <p:spPr>
          <a:xfrm>
            <a:off x="274638" y="1212850"/>
            <a:ext cx="11887200" cy="2228302"/>
          </a:xfrm>
        </p:spPr>
        <p:txBody>
          <a:bodyPr/>
          <a:lstStyle>
            <a:lvl3pPr>
              <a:defRPr sz="24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4274834"/>
      </p:ext>
    </p:extLst>
  </p:cSld>
  <p:clrMapOvr>
    <a:masterClrMapping/>
  </p:clrMapOvr>
  <p:transition>
    <p:fade/>
  </p:transition>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6" name="TextBox 7"/>
          <p:cNvSpPr txBox="1"/>
          <p:nvPr userDrawn="1"/>
        </p:nvSpPr>
        <p:spPr bwMode="white">
          <a:xfrm>
            <a:off x="4454934" y="6697627"/>
            <a:ext cx="3526606" cy="161583"/>
          </a:xfrm>
          <a:prstGeom prst="rect">
            <a:avLst/>
          </a:prstGeom>
          <a:noFill/>
        </p:spPr>
        <p:txBody>
          <a:bodyPr wrap="none" lIns="0" tIns="0" rIns="0" bIns="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150"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a:ea typeface="+mn-ea"/>
                <a:cs typeface="+mn-cs"/>
              </a:rPr>
              <a:t>MICROSOFT CONFIDENTIAL – INTERNAL ONLY</a:t>
            </a:r>
          </a:p>
        </p:txBody>
      </p:sp>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93540668"/>
      </p:ext>
    </p:extLst>
  </p:cSld>
  <p:clrMapOvr>
    <a:masterClrMapping/>
  </p:clrMapOvr>
  <p:transition>
    <p:fade/>
  </p:transition>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6" name="TextBox 7"/>
          <p:cNvSpPr txBox="1"/>
          <p:nvPr userDrawn="1"/>
        </p:nvSpPr>
        <p:spPr bwMode="white">
          <a:xfrm>
            <a:off x="4454934" y="6697627"/>
            <a:ext cx="3526606" cy="161583"/>
          </a:xfrm>
          <a:prstGeom prst="rect">
            <a:avLst/>
          </a:prstGeom>
          <a:noFill/>
        </p:spPr>
        <p:txBody>
          <a:bodyPr wrap="none" lIns="0" tIns="0" rIns="0" bIns="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150"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a:ea typeface="+mn-ea"/>
                <a:cs typeface="+mn-cs"/>
              </a:rPr>
              <a:t>MICROSOFT CONFIDENTIAL – INTERNAL ONLY</a:t>
            </a:r>
          </a:p>
        </p:txBody>
      </p:sp>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536079"/>
          </a:xfrm>
        </p:spPr>
        <p:txBody>
          <a:bodyPr/>
          <a:lstStyle>
            <a:lvl1pPr marL="287338" indent="-287338">
              <a:spcBef>
                <a:spcPts val="1224"/>
              </a:spcBef>
              <a:buClr>
                <a:schemeClr val="tx1"/>
              </a:buClr>
              <a:buFont typeface="Wingdings" panose="05000000000000000000" pitchFamily="2" charset="2"/>
              <a:buChar char="§"/>
              <a:defRPr sz="36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536079"/>
          </a:xfrm>
        </p:spPr>
        <p:txBody>
          <a:bodyPr/>
          <a:lstStyle>
            <a:lvl1pPr marL="287338" indent="-287338">
              <a:spcBef>
                <a:spcPts val="1224"/>
              </a:spcBef>
              <a:buClr>
                <a:schemeClr val="tx1"/>
              </a:buClr>
              <a:buFont typeface="Wingdings" panose="05000000000000000000" pitchFamily="2" charset="2"/>
              <a:buChar char="§"/>
              <a:defRPr sz="36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81049270"/>
      </p:ext>
    </p:extLst>
  </p:cSld>
  <p:clrMapOvr>
    <a:masterClrMapping/>
  </p:clrMapOvr>
  <p:transition>
    <p:fade/>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extBox 7"/>
          <p:cNvSpPr txBox="1"/>
          <p:nvPr userDrawn="1"/>
        </p:nvSpPr>
        <p:spPr bwMode="white">
          <a:xfrm>
            <a:off x="4454934" y="6697627"/>
            <a:ext cx="3526606" cy="161583"/>
          </a:xfrm>
          <a:prstGeom prst="rect">
            <a:avLst/>
          </a:prstGeom>
          <a:noFill/>
        </p:spPr>
        <p:txBody>
          <a:bodyPr wrap="none" lIns="0" tIns="0" rIns="0" bIns="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150"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a:ea typeface="+mn-ea"/>
                <a:cs typeface="+mn-cs"/>
              </a:rPr>
              <a:t>MICROSOFT CONFIDENTIAL – INTERNAL ONLY</a:t>
            </a:r>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4171718"/>
      </p:ext>
    </p:extLst>
  </p:cSld>
  <p:clrMapOvr>
    <a:masterClrMapping/>
  </p:clrMapOvr>
  <p:transition>
    <p:fad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Big Idea Layout">
    <p:spTree>
      <p:nvGrpSpPr>
        <p:cNvPr id="1" name=""/>
        <p:cNvGrpSpPr/>
        <p:nvPr/>
      </p:nvGrpSpPr>
      <p:grpSpPr>
        <a:xfrm>
          <a:off x="0" y="0"/>
          <a:ext cx="0" cy="0"/>
          <a:chOff x="0" y="0"/>
          <a:chExt cx="0" cy="0"/>
        </a:xfrm>
      </p:grpSpPr>
      <p:sp>
        <p:nvSpPr>
          <p:cNvPr id="3" name="TextBox 7"/>
          <p:cNvSpPr txBox="1"/>
          <p:nvPr userDrawn="1"/>
        </p:nvSpPr>
        <p:spPr bwMode="white">
          <a:xfrm>
            <a:off x="4454934" y="6697627"/>
            <a:ext cx="3526606" cy="161583"/>
          </a:xfrm>
          <a:prstGeom prst="rect">
            <a:avLst/>
          </a:prstGeom>
          <a:noFill/>
        </p:spPr>
        <p:txBody>
          <a:bodyPr wrap="none" lIns="0" tIns="0" rIns="0" bIns="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150"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a:ea typeface="+mn-ea"/>
                <a:cs typeface="+mn-cs"/>
              </a:rPr>
              <a:t>MICROSOFT CONFIDENTIAL – INTERNAL ONLY</a:t>
            </a:r>
          </a:p>
        </p:txBody>
      </p:sp>
      <p:sp>
        <p:nvSpPr>
          <p:cNvPr id="2" name="Title 1"/>
          <p:cNvSpPr>
            <a:spLocks noGrp="1"/>
          </p:cNvSpPr>
          <p:nvPr>
            <p:ph type="title"/>
          </p:nvPr>
        </p:nvSpPr>
        <p:spPr>
          <a:xfrm>
            <a:off x="282576" y="1211263"/>
            <a:ext cx="11889564" cy="917575"/>
          </a:xfrm>
        </p:spPr>
        <p:txBody>
          <a:bodyPr/>
          <a:lstStyle>
            <a:lvl1pPr>
              <a:defRPr sz="7200" baseline="0"/>
            </a:lvl1pPr>
          </a:lstStyle>
          <a:p>
            <a:r>
              <a:rPr lang="en-US"/>
              <a:t>Click to edit Master title style</a:t>
            </a:r>
            <a:endParaRPr lang="en-US" dirty="0"/>
          </a:p>
        </p:txBody>
      </p:sp>
    </p:spTree>
    <p:extLst>
      <p:ext uri="{BB962C8B-B14F-4D97-AF65-F5344CB8AC3E}">
        <p14:creationId xmlns:p14="http://schemas.microsoft.com/office/powerpoint/2010/main" val="60215055"/>
      </p:ext>
    </p:extLst>
  </p:cSld>
  <p:clrMapOvr>
    <a:masterClrMapping/>
  </p:clrMapOvr>
  <p:transition>
    <p:fade/>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Fact Layout">
    <p:spTree>
      <p:nvGrpSpPr>
        <p:cNvPr id="1" name=""/>
        <p:cNvGrpSpPr/>
        <p:nvPr/>
      </p:nvGrpSpPr>
      <p:grpSpPr>
        <a:xfrm>
          <a:off x="0" y="0"/>
          <a:ext cx="0" cy="0"/>
          <a:chOff x="0" y="0"/>
          <a:chExt cx="0" cy="0"/>
        </a:xfrm>
      </p:grpSpPr>
      <p:sp>
        <p:nvSpPr>
          <p:cNvPr id="3" name="TextBox 7"/>
          <p:cNvSpPr txBox="1"/>
          <p:nvPr userDrawn="1"/>
        </p:nvSpPr>
        <p:spPr bwMode="white">
          <a:xfrm>
            <a:off x="4454934" y="6697627"/>
            <a:ext cx="3526606" cy="161583"/>
          </a:xfrm>
          <a:prstGeom prst="rect">
            <a:avLst/>
          </a:prstGeom>
          <a:noFill/>
        </p:spPr>
        <p:txBody>
          <a:bodyPr wrap="none" lIns="0" tIns="0" rIns="0" bIns="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150"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a:ea typeface="+mn-ea"/>
                <a:cs typeface="+mn-cs"/>
              </a:rPr>
              <a:t>MICROSOFT CONFIDENTIAL – INTERNAL ONLY</a:t>
            </a:r>
          </a:p>
        </p:txBody>
      </p:sp>
      <p:sp>
        <p:nvSpPr>
          <p:cNvPr id="2" name="Title 1"/>
          <p:cNvSpPr>
            <a:spLocks noGrp="1"/>
          </p:cNvSpPr>
          <p:nvPr>
            <p:ph type="title"/>
          </p:nvPr>
        </p:nvSpPr>
        <p:spPr>
          <a:xfrm>
            <a:off x="2113225" y="2125663"/>
            <a:ext cx="8219813" cy="1828800"/>
          </a:xfrm>
        </p:spPr>
        <p:txBody>
          <a:bodyPr/>
          <a:lstStyle>
            <a:lvl1pPr>
              <a:defRPr sz="6000" baseline="0"/>
            </a:lvl1pPr>
          </a:lstStyle>
          <a:p>
            <a:r>
              <a:rPr lang="en-US"/>
              <a:t>Click to edit Master title style</a:t>
            </a:r>
            <a:endParaRPr lang="en-US" dirty="0"/>
          </a:p>
        </p:txBody>
      </p:sp>
    </p:spTree>
    <p:extLst>
      <p:ext uri="{BB962C8B-B14F-4D97-AF65-F5344CB8AC3E}">
        <p14:creationId xmlns:p14="http://schemas.microsoft.com/office/powerpoint/2010/main" val="769716523"/>
      </p:ext>
    </p:extLst>
  </p:cSld>
  <p:clrMapOvr>
    <a:masterClrMapping/>
  </p:clrMapOvr>
  <p:transition>
    <p:fade/>
  </p:transition>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Fact Layout_Accent Color 1">
    <p:bg>
      <p:bgPr>
        <a:solidFill>
          <a:schemeClr val="accent1"/>
        </a:solidFill>
        <a:effectLst/>
      </p:bgPr>
    </p:bg>
    <p:spTree>
      <p:nvGrpSpPr>
        <p:cNvPr id="1" name=""/>
        <p:cNvGrpSpPr/>
        <p:nvPr/>
      </p:nvGrpSpPr>
      <p:grpSpPr>
        <a:xfrm>
          <a:off x="0" y="0"/>
          <a:ext cx="0" cy="0"/>
          <a:chOff x="0" y="0"/>
          <a:chExt cx="0" cy="0"/>
        </a:xfrm>
      </p:grpSpPr>
      <p:sp>
        <p:nvSpPr>
          <p:cNvPr id="3" name="TextBox 7"/>
          <p:cNvSpPr txBox="1"/>
          <p:nvPr userDrawn="1"/>
        </p:nvSpPr>
        <p:spPr bwMode="white">
          <a:xfrm>
            <a:off x="4454934" y="6697627"/>
            <a:ext cx="3526606" cy="161583"/>
          </a:xfrm>
          <a:prstGeom prst="rect">
            <a:avLst/>
          </a:prstGeom>
          <a:noFill/>
        </p:spPr>
        <p:txBody>
          <a:bodyPr wrap="none" lIns="0" tIns="0" rIns="0" bIns="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150"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a:ea typeface="+mn-ea"/>
                <a:cs typeface="+mn-cs"/>
              </a:rPr>
              <a:t>MICROSOFT CONFIDENTIAL – INTERNAL ONLY</a:t>
            </a:r>
          </a:p>
        </p:txBody>
      </p:sp>
      <p:sp>
        <p:nvSpPr>
          <p:cNvPr id="2" name="Title 1"/>
          <p:cNvSpPr>
            <a:spLocks noGrp="1"/>
          </p:cNvSpPr>
          <p:nvPr>
            <p:ph type="title"/>
          </p:nvPr>
        </p:nvSpPr>
        <p:spPr>
          <a:xfrm>
            <a:off x="2113225" y="2125663"/>
            <a:ext cx="8219813" cy="1828800"/>
          </a:xfrm>
        </p:spPr>
        <p:txBody>
          <a:bodyPr/>
          <a:lstStyle>
            <a:lvl1pPr>
              <a:defRPr sz="6000" baseline="0"/>
            </a:lvl1pPr>
          </a:lstStyle>
          <a:p>
            <a:r>
              <a:rPr lang="en-US"/>
              <a:t>Click to edit Master title style</a:t>
            </a:r>
            <a:endParaRPr lang="en-US" dirty="0"/>
          </a:p>
        </p:txBody>
      </p:sp>
    </p:spTree>
    <p:extLst>
      <p:ext uri="{BB962C8B-B14F-4D97-AF65-F5344CB8AC3E}">
        <p14:creationId xmlns:p14="http://schemas.microsoft.com/office/powerpoint/2010/main" val="1876562196"/>
      </p:ext>
    </p:extLst>
  </p:cSld>
  <p:clrMapOvr>
    <a:masterClrMapping/>
  </p:clrMapOvr>
  <p:transition>
    <p:fade/>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Quote Layout">
    <p:spTree>
      <p:nvGrpSpPr>
        <p:cNvPr id="1" name=""/>
        <p:cNvGrpSpPr/>
        <p:nvPr/>
      </p:nvGrpSpPr>
      <p:grpSpPr>
        <a:xfrm>
          <a:off x="0" y="0"/>
          <a:ext cx="0" cy="0"/>
          <a:chOff x="0" y="0"/>
          <a:chExt cx="0" cy="0"/>
        </a:xfrm>
      </p:grpSpPr>
      <p:sp>
        <p:nvSpPr>
          <p:cNvPr id="5" name="TextBox 7"/>
          <p:cNvSpPr txBox="1"/>
          <p:nvPr userDrawn="1"/>
        </p:nvSpPr>
        <p:spPr bwMode="white">
          <a:xfrm>
            <a:off x="4418866" y="6697627"/>
            <a:ext cx="3598742" cy="161583"/>
          </a:xfrm>
          <a:prstGeom prst="rect">
            <a:avLst/>
          </a:prstGeom>
          <a:noFill/>
        </p:spPr>
        <p:txBody>
          <a:bodyPr wrap="none" lIns="0" tIns="0" rIns="0" bIns="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150"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a:ea typeface="+mn-ea"/>
                <a:cs typeface="+mn-cs"/>
              </a:rPr>
              <a:t>MICROSOFT CONFIDENTIAL – INTERNAL ONLY</a:t>
            </a:r>
          </a:p>
        </p:txBody>
      </p:sp>
      <p:sp>
        <p:nvSpPr>
          <p:cNvPr id="3" name="Title 1"/>
          <p:cNvSpPr>
            <a:spLocks noGrp="1"/>
          </p:cNvSpPr>
          <p:nvPr>
            <p:ph type="title"/>
          </p:nvPr>
        </p:nvSpPr>
        <p:spPr>
          <a:xfrm>
            <a:off x="1189038" y="1201806"/>
            <a:ext cx="10058399" cy="917575"/>
          </a:xfrm>
        </p:spPr>
        <p:txBody>
          <a:bodyPr/>
          <a:lstStyle>
            <a:lvl1pPr marL="233363" indent="-233363">
              <a:defRPr sz="6000" baseline="0"/>
            </a:lvl1pPr>
          </a:lstStyle>
          <a:p>
            <a:r>
              <a:rPr lang="en-US"/>
              <a:t>Click to edit Master title style</a:t>
            </a:r>
            <a:endParaRPr lang="en-US" dirty="0"/>
          </a:p>
        </p:txBody>
      </p:sp>
      <p:sp>
        <p:nvSpPr>
          <p:cNvPr id="4" name="Text Placeholder 3"/>
          <p:cNvSpPr>
            <a:spLocks noGrp="1"/>
          </p:cNvSpPr>
          <p:nvPr>
            <p:ph type="body" sz="quarter" idx="10"/>
          </p:nvPr>
        </p:nvSpPr>
        <p:spPr>
          <a:xfrm>
            <a:off x="5761038" y="5126038"/>
            <a:ext cx="5486400" cy="1071062"/>
          </a:xfrm>
        </p:spPr>
        <p:txBody>
          <a:bodyPr/>
          <a:lstStyle>
            <a:lvl1pPr marL="0" indent="0">
              <a:spcBef>
                <a:spcPts val="0"/>
              </a:spcBef>
              <a:buNone/>
              <a:defRPr sz="3200" baseline="0">
                <a:latin typeface="+mj-lt"/>
              </a:defRPr>
            </a:lvl1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297339641"/>
      </p:ext>
    </p:extLst>
  </p:cSld>
  <p:clrMapOvr>
    <a:masterClrMapping/>
  </p:clrMapOvr>
  <p:transition>
    <p:fade/>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Quote Layout_Accent Color 2">
    <p:bg>
      <p:bgPr>
        <a:solidFill>
          <a:schemeClr val="accent2"/>
        </a:solidFill>
        <a:effectLst/>
      </p:bgPr>
    </p:bg>
    <p:spTree>
      <p:nvGrpSpPr>
        <p:cNvPr id="1" name=""/>
        <p:cNvGrpSpPr/>
        <p:nvPr/>
      </p:nvGrpSpPr>
      <p:grpSpPr>
        <a:xfrm>
          <a:off x="0" y="0"/>
          <a:ext cx="0" cy="0"/>
          <a:chOff x="0" y="0"/>
          <a:chExt cx="0" cy="0"/>
        </a:xfrm>
      </p:grpSpPr>
      <p:sp>
        <p:nvSpPr>
          <p:cNvPr id="5" name="TextBox 7"/>
          <p:cNvSpPr txBox="1"/>
          <p:nvPr userDrawn="1"/>
        </p:nvSpPr>
        <p:spPr bwMode="white">
          <a:xfrm>
            <a:off x="4418866" y="6697627"/>
            <a:ext cx="3598742" cy="161583"/>
          </a:xfrm>
          <a:prstGeom prst="rect">
            <a:avLst/>
          </a:prstGeom>
          <a:noFill/>
        </p:spPr>
        <p:txBody>
          <a:bodyPr wrap="none" lIns="0" tIns="0" rIns="0" bIns="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150"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a:ea typeface="+mn-ea"/>
                <a:cs typeface="+mn-cs"/>
              </a:rPr>
              <a:t>MICROSOFT CONFIDENTIAL – INTERNAL ONLY</a:t>
            </a:r>
          </a:p>
        </p:txBody>
      </p:sp>
      <p:sp>
        <p:nvSpPr>
          <p:cNvPr id="3" name="Title 1"/>
          <p:cNvSpPr>
            <a:spLocks noGrp="1"/>
          </p:cNvSpPr>
          <p:nvPr>
            <p:ph type="title"/>
          </p:nvPr>
        </p:nvSpPr>
        <p:spPr>
          <a:xfrm>
            <a:off x="1189038" y="2125663"/>
            <a:ext cx="10058399" cy="917575"/>
          </a:xfrm>
        </p:spPr>
        <p:txBody>
          <a:bodyPr/>
          <a:lstStyle>
            <a:lvl1pPr marL="282575" indent="-282575">
              <a:tabLst>
                <a:tab pos="282575" algn="l"/>
              </a:tabLst>
              <a:defRPr sz="6000" baseline="0"/>
            </a:lvl1pPr>
          </a:lstStyle>
          <a:p>
            <a:r>
              <a:rPr lang="en-US"/>
              <a:t>Click to edit Master title style</a:t>
            </a:r>
            <a:endParaRPr lang="en-US" dirty="0"/>
          </a:p>
        </p:txBody>
      </p:sp>
      <p:sp>
        <p:nvSpPr>
          <p:cNvPr id="4" name="Text Placeholder 3"/>
          <p:cNvSpPr>
            <a:spLocks noGrp="1"/>
          </p:cNvSpPr>
          <p:nvPr>
            <p:ph type="body" sz="quarter" idx="10"/>
          </p:nvPr>
        </p:nvSpPr>
        <p:spPr>
          <a:xfrm>
            <a:off x="5761038" y="4868847"/>
            <a:ext cx="5486400" cy="1071062"/>
          </a:xfrm>
        </p:spPr>
        <p:txBody>
          <a:bodyPr/>
          <a:lstStyle>
            <a:lvl1pPr marL="0" indent="0">
              <a:spcBef>
                <a:spcPts val="0"/>
              </a:spcBef>
              <a:buNone/>
              <a:defRPr sz="3200" baseline="0">
                <a:latin typeface="+mj-lt"/>
              </a:defRPr>
            </a:lvl1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73696741"/>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07535725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Big Idea &amp; 3 Points">
    <p:spTree>
      <p:nvGrpSpPr>
        <p:cNvPr id="1" name=""/>
        <p:cNvGrpSpPr/>
        <p:nvPr/>
      </p:nvGrpSpPr>
      <p:grpSpPr>
        <a:xfrm>
          <a:off x="0" y="0"/>
          <a:ext cx="0" cy="0"/>
          <a:chOff x="0" y="0"/>
          <a:chExt cx="0" cy="0"/>
        </a:xfrm>
      </p:grpSpPr>
      <p:sp>
        <p:nvSpPr>
          <p:cNvPr id="5" name="TextBox 7"/>
          <p:cNvSpPr txBox="1"/>
          <p:nvPr userDrawn="1"/>
        </p:nvSpPr>
        <p:spPr bwMode="white">
          <a:xfrm>
            <a:off x="4418866" y="6697627"/>
            <a:ext cx="3598742" cy="161583"/>
          </a:xfrm>
          <a:prstGeom prst="rect">
            <a:avLst/>
          </a:prstGeom>
          <a:noFill/>
        </p:spPr>
        <p:txBody>
          <a:bodyPr wrap="none" lIns="0" tIns="0" rIns="0" bIns="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150"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a:ea typeface="+mn-ea"/>
                <a:cs typeface="+mn-cs"/>
              </a:rPr>
              <a:t>MICROSOFT CONFIDENTIAL – INTERNAL ONLY</a:t>
            </a:r>
          </a:p>
        </p:txBody>
      </p:sp>
      <p:sp>
        <p:nvSpPr>
          <p:cNvPr id="6" name="Text Placeholder 5"/>
          <p:cNvSpPr>
            <a:spLocks noGrp="1"/>
          </p:cNvSpPr>
          <p:nvPr>
            <p:ph type="body" sz="quarter" idx="10"/>
          </p:nvPr>
        </p:nvSpPr>
        <p:spPr>
          <a:xfrm>
            <a:off x="282576" y="2430462"/>
            <a:ext cx="11887200" cy="932563"/>
          </a:xfrm>
        </p:spPr>
        <p:txBody>
          <a:bodyPr/>
          <a:lstStyle>
            <a:lvl1pPr marL="0" indent="0">
              <a:buNone/>
              <a:defRPr sz="5400">
                <a:gradFill>
                  <a:gsLst>
                    <a:gs pos="3333">
                      <a:schemeClr val="tx1"/>
                    </a:gs>
                    <a:gs pos="3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Click to edit Master text styles</a:t>
            </a:r>
          </a:p>
        </p:txBody>
      </p:sp>
      <p:sp>
        <p:nvSpPr>
          <p:cNvPr id="4" name="Title 1"/>
          <p:cNvSpPr>
            <a:spLocks noGrp="1"/>
          </p:cNvSpPr>
          <p:nvPr>
            <p:ph type="title"/>
          </p:nvPr>
        </p:nvSpPr>
        <p:spPr>
          <a:xfrm>
            <a:off x="282576" y="1211263"/>
            <a:ext cx="11889564" cy="917575"/>
          </a:xfrm>
        </p:spPr>
        <p:txBody>
          <a:bodyPr/>
          <a:lstStyle>
            <a:lvl1pPr>
              <a:defRPr sz="7200" baseline="0">
                <a:gradFill>
                  <a:gsLst>
                    <a:gs pos="1250">
                      <a:schemeClr val="tx1"/>
                    </a:gs>
                    <a:gs pos="100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1593584077"/>
      </p:ext>
    </p:extLst>
  </p:cSld>
  <p:clrMapOvr>
    <a:masterClrMapping/>
  </p:clrMapOvr>
  <p:transition>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userDrawn="1">
  <p:cSld name="Color Shape &amp; Color Background">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846638" y="3040063"/>
            <a:ext cx="7315203" cy="914400"/>
          </a:xfrm>
        </p:spPr>
        <p:txBody>
          <a:bodyPr lIns="182880" tIns="146304" rIns="182880" bIns="146304" anchor="ctr">
            <a:noAutofit/>
          </a:bodyPr>
          <a:lstStyle>
            <a:lvl1pPr>
              <a:lnSpc>
                <a:spcPct val="95000"/>
              </a:lnSpc>
              <a:spcBef>
                <a:spcPts val="0"/>
              </a:spcBef>
              <a:spcAft>
                <a:spcPts val="1632"/>
              </a:spcAft>
              <a:defRPr lang="en-US" sz="3600" kern="1200" dirty="0" smtClean="0">
                <a:gradFill>
                  <a:gsLst>
                    <a:gs pos="28302">
                      <a:schemeClr val="tx1">
                        <a:lumMod val="75000"/>
                        <a:lumOff val="25000"/>
                      </a:schemeClr>
                    </a:gs>
                    <a:gs pos="67000">
                      <a:schemeClr val="tx1">
                        <a:lumMod val="75000"/>
                        <a:lumOff val="25000"/>
                      </a:schemeClr>
                    </a:gs>
                  </a:gsLst>
                  <a:lin ang="5400000" scaled="0"/>
                </a:gradFill>
                <a:latin typeface="+mj-lt"/>
                <a:ea typeface="+mn-ea"/>
                <a:cs typeface="+mn-cs"/>
              </a:defRPr>
            </a:lvl1pPr>
            <a:lvl2pPr>
              <a:lnSpc>
                <a:spcPct val="100000"/>
              </a:lnSpc>
              <a:spcBef>
                <a:spcPts val="816"/>
              </a:spcBef>
              <a:defRPr sz="1900">
                <a:solidFill>
                  <a:srgbClr val="FFFFFF"/>
                </a:solidFill>
              </a:defRPr>
            </a:lvl2pPr>
            <a:lvl3pPr>
              <a:lnSpc>
                <a:spcPct val="100000"/>
              </a:lnSpc>
              <a:spcBef>
                <a:spcPts val="816"/>
              </a:spcBef>
              <a:defRPr sz="1900">
                <a:solidFill>
                  <a:srgbClr val="FFFFFF"/>
                </a:solidFill>
              </a:defRPr>
            </a:lvl3pPr>
            <a:lvl4pPr>
              <a:lnSpc>
                <a:spcPct val="100000"/>
              </a:lnSpc>
              <a:spcBef>
                <a:spcPts val="816"/>
              </a:spcBef>
              <a:defRPr sz="1900">
                <a:solidFill>
                  <a:srgbClr val="FFFFFF"/>
                </a:solidFill>
              </a:defRPr>
            </a:lvl4pPr>
            <a:lvl5pPr>
              <a:lnSpc>
                <a:spcPct val="100000"/>
              </a:lnSpc>
              <a:spcBef>
                <a:spcPts val="816"/>
              </a:spcBef>
              <a:defRPr sz="1900">
                <a:solidFill>
                  <a:srgbClr val="FFFFFF"/>
                </a:solidFill>
              </a:defRPr>
            </a:lvl5pPr>
          </a:lstStyle>
          <a:p>
            <a:pPr lvl="0"/>
            <a:r>
              <a:rPr lang="en-US" dirty="0"/>
              <a:t>Click to edit Master text styles</a:t>
            </a:r>
          </a:p>
        </p:txBody>
      </p:sp>
      <p:sp>
        <p:nvSpPr>
          <p:cNvPr id="15" name="Title 1"/>
          <p:cNvSpPr>
            <a:spLocks noGrp="1"/>
          </p:cNvSpPr>
          <p:nvPr>
            <p:ph type="ctrTitle"/>
          </p:nvPr>
        </p:nvSpPr>
        <p:spPr>
          <a:xfrm>
            <a:off x="274638" y="1537563"/>
            <a:ext cx="3931941" cy="3919398"/>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chemeClr val="accent3"/>
          </a:solidFill>
          <a:ln>
            <a:noFill/>
          </a:ln>
          <a:extLst/>
        </p:spPr>
        <p:txBody>
          <a:bodyPr lIns="182880" tIns="146304" rIns="182880" bIns="146304" numCol="1" anchor="ctr" anchorCtr="0" compatLnSpc="1">
            <a:prstTxWarp prst="textNoShape">
              <a:avLst/>
            </a:prstTxWarp>
          </a:bodyPr>
          <a:lstStyle>
            <a:lvl1pPr>
              <a:lnSpc>
                <a:spcPct val="95000"/>
              </a:lnSpc>
              <a:defRPr lang="en-US" sz="4000" kern="1200" dirty="0" smtClean="0">
                <a:gradFill>
                  <a:gsLst>
                    <a:gs pos="0">
                      <a:srgbClr val="FFFFFF"/>
                    </a:gs>
                    <a:gs pos="100000">
                      <a:srgbClr val="FFFFFF"/>
                    </a:gs>
                  </a:gsLst>
                  <a:lin ang="5400000" scaled="0"/>
                </a:gradFill>
                <a:latin typeface="Segoe UI Light"/>
                <a:ea typeface="ＭＳ Ｐゴシック" charset="0"/>
                <a:cs typeface="Segoe UI Light"/>
              </a:defRPr>
            </a:lvl1pPr>
          </a:lstStyle>
          <a:p>
            <a:pPr lvl="0"/>
            <a:r>
              <a:rPr lang="en-US"/>
              <a:t>Click to edit Master title style</a:t>
            </a:r>
            <a:endParaRPr lang="en-US" dirty="0"/>
          </a:p>
        </p:txBody>
      </p:sp>
    </p:spTree>
    <p:extLst>
      <p:ext uri="{BB962C8B-B14F-4D97-AF65-F5344CB8AC3E}">
        <p14:creationId xmlns:p14="http://schemas.microsoft.com/office/powerpoint/2010/main" val="2233542078"/>
      </p:ext>
    </p:extLst>
  </p:cSld>
  <p:clrMapOvr>
    <a:masterClrMapping/>
  </p:clrMapOvr>
  <p:transition>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userDrawn="1">
  <p:cSld name="Text Only Large">
    <p:spTree>
      <p:nvGrpSpPr>
        <p:cNvPr id="1" name=""/>
        <p:cNvGrpSpPr/>
        <p:nvPr/>
      </p:nvGrpSpPr>
      <p:grpSpPr>
        <a:xfrm>
          <a:off x="0" y="0"/>
          <a:ext cx="0" cy="0"/>
          <a:chOff x="0" y="0"/>
          <a:chExt cx="0" cy="0"/>
        </a:xfrm>
      </p:grpSpPr>
      <p:sp>
        <p:nvSpPr>
          <p:cNvPr id="2" name="Title 1"/>
          <p:cNvSpPr>
            <a:spLocks noGrp="1"/>
          </p:cNvSpPr>
          <p:nvPr>
            <p:ph type="title"/>
          </p:nvPr>
        </p:nvSpPr>
        <p:spPr>
          <a:xfrm>
            <a:off x="1189038" y="2125663"/>
            <a:ext cx="10058399" cy="1828800"/>
          </a:xfrm>
        </p:spPr>
        <p:txBody>
          <a:bodyPr/>
          <a:lstStyle>
            <a:lvl1pPr>
              <a:defRPr sz="4800" baseline="0"/>
            </a:lvl1pPr>
          </a:lstStyle>
          <a:p>
            <a:r>
              <a:rPr lang="en-US" dirty="0"/>
              <a:t>Click to edit Master title style</a:t>
            </a:r>
          </a:p>
        </p:txBody>
      </p:sp>
    </p:spTree>
    <p:extLst>
      <p:ext uri="{BB962C8B-B14F-4D97-AF65-F5344CB8AC3E}">
        <p14:creationId xmlns:p14="http://schemas.microsoft.com/office/powerpoint/2010/main" val="545082382"/>
      </p:ext>
    </p:extLst>
  </p:cSld>
  <p:clrMapOvr>
    <a:masterClrMapping/>
  </p:clrMapOvr>
  <p:transition>
    <p:fade/>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userDrawn="1">
  <p:cSld name="Title and Content - 2">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383628" y="1668463"/>
            <a:ext cx="8778210" cy="5029200"/>
          </a:xfrm>
        </p:spPr>
        <p:txBody>
          <a:bodyPr>
            <a:noAutofit/>
          </a:bodyPr>
          <a:lstStyle>
            <a:lvl3pPr>
              <a:defRPr sz="2400"/>
            </a:lvl3pPr>
            <a:lvl4pPr>
              <a:defRPr sz="2000"/>
            </a:lvl4pPr>
            <a:lvl5pPr>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1"/>
          </p:nvPr>
        </p:nvSpPr>
        <p:spPr>
          <a:xfrm>
            <a:off x="283148" y="1668463"/>
            <a:ext cx="2743200" cy="5029200"/>
          </a:xfrm>
        </p:spPr>
        <p:txBody>
          <a:bodyPr>
            <a:noAutofit/>
          </a:bodyPr>
          <a:lstStyle>
            <a:lvl1pPr marL="0" indent="0">
              <a:buNone/>
              <a:defRPr kumimoji="0" lang="en-US" sz="2400" b="0" i="0" u="none" strike="noStrike" kern="1200" cap="none" spc="0" normalizeH="0" baseline="0" dirty="0" smtClean="0">
                <a:ln>
                  <a:noFill/>
                </a:ln>
                <a:gradFill>
                  <a:gsLst>
                    <a:gs pos="100000">
                      <a:schemeClr val="tx1"/>
                    </a:gs>
                    <a:gs pos="0">
                      <a:schemeClr val="tx1"/>
                    </a:gs>
                  </a:gsLst>
                  <a:lin ang="5400000" scaled="0"/>
                </a:gradFill>
                <a:effectLst/>
                <a:uLnTx/>
                <a:uFillTx/>
                <a:latin typeface="+mn-lt"/>
                <a:ea typeface="+mj-ea"/>
                <a:cs typeface="+mj-cs"/>
              </a:defRPr>
            </a:lvl1pPr>
          </a:lstStyle>
          <a:p>
            <a:pPr lvl="0"/>
            <a:r>
              <a:rPr lang="en-US" dirty="0"/>
              <a:t>Click to edit Master text styles</a:t>
            </a:r>
          </a:p>
        </p:txBody>
      </p:sp>
    </p:spTree>
    <p:extLst>
      <p:ext uri="{BB962C8B-B14F-4D97-AF65-F5344CB8AC3E}">
        <p14:creationId xmlns:p14="http://schemas.microsoft.com/office/powerpoint/2010/main" val="1434505904"/>
      </p:ext>
    </p:extLst>
  </p:cSld>
  <p:clrMapOvr>
    <a:masterClrMapping/>
  </p:clrMapOvr>
  <p:transition>
    <p:fade/>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userDrawn="1">
  <p:cSld name="4_Title Only">
    <p:spTree>
      <p:nvGrpSpPr>
        <p:cNvPr id="1" name=""/>
        <p:cNvGrpSpPr/>
        <p:nvPr/>
      </p:nvGrpSpPr>
      <p:grpSpPr>
        <a:xfrm>
          <a:off x="0" y="0"/>
          <a:ext cx="0" cy="0"/>
          <a:chOff x="0" y="0"/>
          <a:chExt cx="0" cy="0"/>
        </a:xfrm>
      </p:grpSpPr>
      <p:sp>
        <p:nvSpPr>
          <p:cNvPr id="3" name="Rectangle 2"/>
          <p:cNvSpPr/>
          <p:nvPr userDrawn="1"/>
        </p:nvSpPr>
        <p:spPr>
          <a:xfrm>
            <a:off x="8196408" y="95509"/>
            <a:ext cx="4083764" cy="307777"/>
          </a:xfrm>
          <a:prstGeom prst="rect">
            <a:avLst/>
          </a:prstGeom>
        </p:spPr>
        <p:txBody>
          <a:bodyPr>
            <a:spAutoFit/>
          </a:bodyPr>
          <a:lstStyle/>
          <a:p>
            <a:pPr marL="0" marR="0" lvl="0" indent="0" algn="r" defTabSz="932597" rtl="0" eaLnBrk="1" fontAlgn="base" latinLnBrk="0" hangingPunct="1">
              <a:lnSpc>
                <a:spcPct val="100000"/>
              </a:lnSpc>
              <a:spcBef>
                <a:spcPts val="0"/>
              </a:spcBef>
              <a:spcAft>
                <a:spcPts val="1200"/>
              </a:spcAft>
              <a:buClrTx/>
              <a:buSzPts val="1400"/>
              <a:buFontTx/>
              <a:buNone/>
              <a:tabLst/>
              <a:defRPr/>
            </a:pPr>
            <a:r>
              <a:rPr kumimoji="0" lang="en-US" sz="1400" b="0" i="0" u="none" strike="noStrike" kern="1200" cap="none" spc="0" normalizeH="0" baseline="0" noProof="0" dirty="0">
                <a:ln>
                  <a:noFill/>
                </a:ln>
                <a:gradFill>
                  <a:gsLst>
                    <a:gs pos="19444">
                      <a:srgbClr val="FFFFFF">
                        <a:lumMod val="50000"/>
                      </a:srgbClr>
                    </a:gs>
                    <a:gs pos="100000">
                      <a:srgbClr val="FFFFFF">
                        <a:lumMod val="50000"/>
                      </a:srgbClr>
                    </a:gs>
                  </a:gsLst>
                  <a:lin ang="0" scaled="0"/>
                </a:gradFill>
                <a:effectLst/>
                <a:uLnTx/>
                <a:uFillTx/>
                <a:latin typeface="Segoe UI Semilight" panose="020B0402040204020203" pitchFamily="34" charset="0"/>
                <a:ea typeface="MS PGothic"/>
                <a:cs typeface="Segoe UI Semilight" panose="020B0402040204020203" pitchFamily="34" charset="0"/>
              </a:rPr>
              <a:t>Developer and app platform</a:t>
            </a:r>
          </a:p>
        </p:txBody>
      </p:sp>
      <p:sp>
        <p:nvSpPr>
          <p:cNvPr id="2" name="Title 1"/>
          <p:cNvSpPr>
            <a:spLocks noGrp="1"/>
          </p:cNvSpPr>
          <p:nvPr>
            <p:ph type="title"/>
          </p:nvPr>
        </p:nvSpPr>
        <p:spPr/>
        <p:txBody>
          <a:bodyPr/>
          <a:lstStyle>
            <a:lvl1pPr>
              <a:defRPr>
                <a:gradFill>
                  <a:gsLst>
                    <a:gs pos="1250">
                      <a:schemeClr val="tx1"/>
                    </a:gs>
                    <a:gs pos="100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3226668499"/>
      </p:ext>
    </p:extLst>
  </p:cSld>
  <p:clrMapOvr>
    <a:masterClrMapping/>
  </p:clrMapOvr>
  <p:transition>
    <p:fad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55008" y="1861968"/>
            <a:ext cx="5285502" cy="27823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295965" y="1861968"/>
            <a:ext cx="5285502" cy="27823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a:xfrm>
            <a:off x="855663" y="6483350"/>
            <a:ext cx="2797175" cy="371475"/>
          </a:xfrm>
          <a:prstGeom prst="rect">
            <a:avLst/>
          </a:prstGeom>
        </p:spPr>
        <p:txBody>
          <a:bodyPr/>
          <a:lstStyle>
            <a:lvl1pPr defTabSz="932742" eaLnBrk="1" fontAlgn="auto" hangingPunct="1">
              <a:spcBef>
                <a:spcPts val="0"/>
              </a:spcBef>
              <a:spcAft>
                <a:spcPts val="0"/>
              </a:spcAft>
              <a:defRPr>
                <a:solidFill>
                  <a:srgbClr val="FFFFFF"/>
                </a:solidFill>
                <a:latin typeface="Segoe UI"/>
                <a:ea typeface="+mn-ea"/>
                <a:cs typeface="+mn-cs"/>
              </a:defRPr>
            </a:lvl1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6" name="Footer Placeholder 5"/>
          <p:cNvSpPr>
            <a:spLocks noGrp="1"/>
          </p:cNvSpPr>
          <p:nvPr>
            <p:ph type="ftr" sz="quarter" idx="11"/>
          </p:nvPr>
        </p:nvSpPr>
        <p:spPr>
          <a:xfrm>
            <a:off x="4119563" y="6483350"/>
            <a:ext cx="4197350" cy="371475"/>
          </a:xfrm>
          <a:prstGeom prst="rect">
            <a:avLst/>
          </a:prstGeom>
        </p:spPr>
        <p:txBody>
          <a:bodyPr/>
          <a:lstStyle>
            <a:lvl1pPr defTabSz="932742" eaLnBrk="1" fontAlgn="auto" hangingPunct="1">
              <a:spcBef>
                <a:spcPts val="0"/>
              </a:spcBef>
              <a:spcAft>
                <a:spcPts val="0"/>
              </a:spcAft>
              <a:defRPr>
                <a:solidFill>
                  <a:srgbClr val="FFFFFF"/>
                </a:solidFill>
                <a:latin typeface="Segoe UI"/>
                <a:ea typeface="+mn-ea"/>
                <a:cs typeface="+mn-cs"/>
              </a:defRPr>
            </a:lvl1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7" name="Slide Number Placeholder 6"/>
          <p:cNvSpPr>
            <a:spLocks noGrp="1"/>
          </p:cNvSpPr>
          <p:nvPr>
            <p:ph type="sldNum" sz="quarter" idx="12"/>
          </p:nvPr>
        </p:nvSpPr>
        <p:spPr>
          <a:xfrm>
            <a:off x="8783638" y="6483350"/>
            <a:ext cx="2797175" cy="371475"/>
          </a:xfrm>
          <a:prstGeom prst="rect">
            <a:avLst/>
          </a:prstGeom>
        </p:spPr>
        <p:txBody>
          <a:bodyPr/>
          <a:lstStyle>
            <a:lvl1pPr defTabSz="932742" eaLnBrk="1" fontAlgn="auto" hangingPunct="1">
              <a:spcBef>
                <a:spcPts val="0"/>
              </a:spcBef>
              <a:spcAft>
                <a:spcPts val="0"/>
              </a:spcAft>
              <a:defRPr>
                <a:solidFill>
                  <a:srgbClr val="FFFFFF"/>
                </a:solidFill>
                <a:latin typeface="Segoe UI"/>
                <a:ea typeface="+mn-ea"/>
                <a:cs typeface="+mn-cs"/>
              </a:defRPr>
            </a:lvl1pPr>
          </a:lstStyle>
          <a:p>
            <a:pPr marL="0" marR="0" lvl="0" indent="0" algn="l" defTabSz="932742" rtl="0" eaLnBrk="1" fontAlgn="auto" latinLnBrk="0" hangingPunct="1">
              <a:lnSpc>
                <a:spcPct val="100000"/>
              </a:lnSpc>
              <a:spcBef>
                <a:spcPts val="0"/>
              </a:spcBef>
              <a:spcAft>
                <a:spcPts val="0"/>
              </a:spcAft>
              <a:buClrTx/>
              <a:buSzTx/>
              <a:buFontTx/>
              <a:buNone/>
              <a:tabLst/>
              <a:defRPr/>
            </a:pPr>
            <a:fld id="{5586B516-D321-458B-AB19-D3A7112E8BB7}" type="slidenum">
              <a:rPr kumimoji="0" lang="en-US" sz="1800" b="0" i="0" u="none" strike="noStrike" kern="1200" cap="none" spc="0" normalizeH="0" baseline="0" noProof="0">
                <a:ln>
                  <a:noFill/>
                </a:ln>
                <a:solidFill>
                  <a:srgbClr val="FFFFFF"/>
                </a:solidFill>
                <a:effectLst/>
                <a:uLnTx/>
                <a:uFillTx/>
                <a:latin typeface="Segoe UI"/>
                <a:ea typeface="+mn-ea"/>
                <a:cs typeface="+mn-cs"/>
              </a:rPr>
              <a:pPr marL="0" marR="0" lvl="0" indent="0" algn="l" defTabSz="932742" rtl="0" eaLnBrk="1" fontAlgn="auto" latinLnBrk="0" hangingPunct="1">
                <a:lnSpc>
                  <a:spcPct val="100000"/>
                </a:lnSpc>
                <a:spcBef>
                  <a:spcPts val="0"/>
                </a:spcBef>
                <a:spcAft>
                  <a:spcPts val="0"/>
                </a:spcAft>
                <a:buClrTx/>
                <a:buSzTx/>
                <a:buFontTx/>
                <a:buNone/>
                <a:tabLst/>
                <a:defRPr/>
              </a:pPr>
              <a:t>‹#›</a:t>
            </a:fld>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313302650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76253691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47227168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189526804"/>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7845078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5934457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954457"/>
            <a:ext cx="6399213" cy="1830388"/>
          </a:xfrm>
          <a:noFill/>
        </p:spPr>
        <p:txBody>
          <a:bodyPr lIns="146304" tIns="109728" rIns="146304" bIns="109728">
            <a:no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2" y="2117165"/>
            <a:ext cx="8229535" cy="1828800"/>
          </a:xfrm>
          <a:noFill/>
        </p:spPr>
        <p:txBody>
          <a:bodyPr lIns="146304" tIns="91440" rIns="146304" bIns="91440" anchor="t" anchorCtr="0"/>
          <a:lstStyle>
            <a:lvl1pPr>
              <a:defRPr sz="5400" spc="-100" baseline="0">
                <a:gradFill>
                  <a:gsLst>
                    <a:gs pos="3333">
                      <a:schemeClr val="tx2"/>
                    </a:gs>
                    <a:gs pos="39000">
                      <a:schemeClr val="tx2"/>
                    </a:gs>
                  </a:gsLst>
                  <a:lin ang="5400000" scaled="0"/>
                </a:gradFill>
              </a:defRPr>
            </a:lvl1pPr>
          </a:lstStyle>
          <a:p>
            <a:r>
              <a:rPr lang="en-US" dirty="0"/>
              <a:t>Presentation title</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7580" y="6121924"/>
            <a:ext cx="1828800" cy="391754"/>
          </a:xfrm>
          <a:prstGeom prst="rect">
            <a:avLst/>
          </a:prstGeom>
        </p:spPr>
      </p:pic>
    </p:spTree>
    <p:extLst>
      <p:ext uri="{BB962C8B-B14F-4D97-AF65-F5344CB8AC3E}">
        <p14:creationId xmlns:p14="http://schemas.microsoft.com/office/powerpoint/2010/main" val="288605353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9692830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562577389"/>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2888"/>
            <a:ext cx="11856403"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2014 Microsoft Corporation. All rights reserved. </a:t>
            </a:r>
          </a:p>
        </p:txBody>
      </p:sp>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9230" y="3145040"/>
            <a:ext cx="3288506" cy="704444"/>
          </a:xfrm>
          <a:prstGeom prst="rect">
            <a:avLst/>
          </a:prstGeom>
        </p:spPr>
      </p:pic>
    </p:spTree>
    <p:extLst>
      <p:ext uri="{BB962C8B-B14F-4D97-AF65-F5344CB8AC3E}">
        <p14:creationId xmlns:p14="http://schemas.microsoft.com/office/powerpoint/2010/main" val="3928358739"/>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53099696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2_Title Only_3">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2241638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titleOnly">
  <p:cSld name="Title and Stag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282634291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Title Slide 2_Option 3 - Org ID tile">
    <p:bg>
      <p:bgPr>
        <a:solidFill>
          <a:srgbClr val="0078D7"/>
        </a:solidFill>
        <a:effectLst/>
      </p:bgPr>
    </p:bg>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57580" y="6234298"/>
            <a:ext cx="1097269" cy="209971"/>
          </a:xfrm>
          <a:prstGeom prst="rect">
            <a:avLst/>
          </a:prstGeom>
        </p:spPr>
      </p:pic>
      <p:pic>
        <p:nvPicPr>
          <p:cNvPr id="2" name="Picture 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779159" y="1622735"/>
            <a:ext cx="3194624" cy="4297702"/>
          </a:xfrm>
          <a:prstGeom prst="rect">
            <a:avLst/>
          </a:prstGeom>
        </p:spPr>
      </p:pic>
      <p:sp>
        <p:nvSpPr>
          <p:cNvPr id="8" name="Title 1"/>
          <p:cNvSpPr>
            <a:spLocks noGrp="1"/>
          </p:cNvSpPr>
          <p:nvPr>
            <p:ph type="title" hasCustomPrompt="1"/>
          </p:nvPr>
        </p:nvSpPr>
        <p:spPr>
          <a:xfrm>
            <a:off x="274702" y="1759920"/>
            <a:ext cx="8046632" cy="1828786"/>
          </a:xfrm>
          <a:noFill/>
        </p:spPr>
        <p:txBody>
          <a:bodyPr lIns="146304" tIns="91440" rIns="146304" bIns="91440" anchor="t" anchorCtr="0"/>
          <a:lstStyle>
            <a:lvl1pPr>
              <a:defRPr sz="5399" spc="-100" baseline="0">
                <a:solidFill>
                  <a:schemeClr val="tx1"/>
                </a:solidFill>
              </a:defRPr>
            </a:lvl1pPr>
          </a:lstStyle>
          <a:p>
            <a:r>
              <a:rPr lang="en-US" dirty="0"/>
              <a:t>Lorem ipsum</a:t>
            </a:r>
          </a:p>
        </p:txBody>
      </p:sp>
    </p:spTree>
    <p:extLst>
      <p:ext uri="{BB962C8B-B14F-4D97-AF65-F5344CB8AC3E}">
        <p14:creationId xmlns:p14="http://schemas.microsoft.com/office/powerpoint/2010/main" val="206864866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1_Insert Photo">
    <p:spTree>
      <p:nvGrpSpPr>
        <p:cNvPr id="1" name=""/>
        <p:cNvGrpSpPr/>
        <p:nvPr/>
      </p:nvGrpSpPr>
      <p:grpSpPr>
        <a:xfrm>
          <a:off x="0" y="0"/>
          <a:ext cx="0" cy="0"/>
          <a:chOff x="0" y="0"/>
          <a:chExt cx="0" cy="0"/>
        </a:xfrm>
      </p:grpSpPr>
      <p:pic>
        <p:nvPicPr>
          <p:cNvPr id="41" name="Picture Placeholder 4"/>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a:xfrm>
            <a:off x="0" y="0"/>
            <a:ext cx="12436475" cy="3049864"/>
          </a:xfrm>
          <a:prstGeom prst="rect">
            <a:avLst/>
          </a:prstGeom>
        </p:spPr>
      </p:pic>
      <p:sp>
        <p:nvSpPr>
          <p:cNvPr id="20" name="Picture Placeholder 144"/>
          <p:cNvSpPr>
            <a:spLocks noGrp="1"/>
          </p:cNvSpPr>
          <p:nvPr>
            <p:ph type="pic" sz="quarter" idx="20" hasCustomPrompt="1"/>
          </p:nvPr>
        </p:nvSpPr>
        <p:spPr>
          <a:xfrm>
            <a:off x="0" y="1"/>
            <a:ext cx="12436475" cy="3049864"/>
          </a:xfrm>
          <a:prstGeom prst="rect">
            <a:avLst/>
          </a:prstGeom>
        </p:spPr>
        <p:txBody>
          <a:bodyPr anchor="ctr" anchorCtr="0">
            <a:noAutofit/>
          </a:bodyPr>
          <a:lstStyle>
            <a:lvl1pPr marL="0" indent="0" algn="ctr">
              <a:buNone/>
              <a:defRPr>
                <a:solidFill>
                  <a:schemeClr val="bg1"/>
                </a:solidFill>
              </a:defRPr>
            </a:lvl1pPr>
          </a:lstStyle>
          <a:p>
            <a:r>
              <a:rPr lang="en-US" dirty="0"/>
              <a:t>Drag picture here</a:t>
            </a:r>
          </a:p>
        </p:txBody>
      </p:sp>
      <p:sp>
        <p:nvSpPr>
          <p:cNvPr id="14" name="Rectangle 13"/>
          <p:cNvSpPr/>
          <p:nvPr userDrawn="1"/>
        </p:nvSpPr>
        <p:spPr>
          <a:xfrm>
            <a:off x="0" y="5802865"/>
            <a:ext cx="12436475" cy="119166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sp>
        <p:nvSpPr>
          <p:cNvPr id="21" name="Title 1"/>
          <p:cNvSpPr>
            <a:spLocks noGrp="1"/>
          </p:cNvSpPr>
          <p:nvPr>
            <p:ph type="ctrTitle"/>
          </p:nvPr>
        </p:nvSpPr>
        <p:spPr>
          <a:xfrm>
            <a:off x="512760" y="3472661"/>
            <a:ext cx="3783477" cy="2106407"/>
          </a:xfrm>
          <a:prstGeom prst="rect">
            <a:avLst/>
          </a:prstGeom>
        </p:spPr>
        <p:txBody>
          <a:bodyPr lIns="0" tIns="0" rIns="0" bIns="0" anchor="t" anchorCtr="0">
            <a:noAutofit/>
          </a:bodyPr>
          <a:lstStyle>
            <a:lvl1pPr algn="l">
              <a:defRPr sz="3264" b="1">
                <a:solidFill>
                  <a:schemeClr val="tx1">
                    <a:lumMod val="50000"/>
                    <a:lumOff val="50000"/>
                  </a:schemeClr>
                </a:solidFill>
                <a:latin typeface="+mj-lt"/>
              </a:defRPr>
            </a:lvl1pPr>
          </a:lstStyle>
          <a:p>
            <a:r>
              <a:rPr lang="en-US" dirty="0"/>
              <a:t>Click to edit Master title style</a:t>
            </a:r>
          </a:p>
        </p:txBody>
      </p:sp>
      <p:sp>
        <p:nvSpPr>
          <p:cNvPr id="22" name="Text Placeholder 132"/>
          <p:cNvSpPr>
            <a:spLocks noGrp="1"/>
          </p:cNvSpPr>
          <p:nvPr>
            <p:ph type="body" sz="quarter" idx="11"/>
          </p:nvPr>
        </p:nvSpPr>
        <p:spPr>
          <a:xfrm>
            <a:off x="4428139" y="3472661"/>
            <a:ext cx="7379680" cy="2106407"/>
          </a:xfrm>
          <a:prstGeom prst="rect">
            <a:avLst/>
          </a:prstGeom>
        </p:spPr>
        <p:txBody>
          <a:bodyPr lIns="0" tIns="0" rIns="0" bIns="0">
            <a:noAutofit/>
          </a:bodyPr>
          <a:lstStyle>
            <a:lvl1pPr marL="0" indent="0">
              <a:lnSpc>
                <a:spcPts val="1836"/>
              </a:lnSpc>
              <a:buNone/>
              <a:defRPr sz="1224">
                <a:solidFill>
                  <a:schemeClr val="bg2">
                    <a:lumMod val="25000"/>
                  </a:schemeClr>
                </a:solidFill>
              </a:defRPr>
            </a:lvl1pPr>
          </a:lstStyle>
          <a:p>
            <a:pPr lvl="0"/>
            <a:r>
              <a:rPr lang="en-US" dirty="0"/>
              <a:t>Click to edit Master text styles</a:t>
            </a:r>
          </a:p>
        </p:txBody>
      </p:sp>
      <p:sp>
        <p:nvSpPr>
          <p:cNvPr id="44" name="Text Placeholder 136"/>
          <p:cNvSpPr>
            <a:spLocks noGrp="1"/>
          </p:cNvSpPr>
          <p:nvPr>
            <p:ph type="body" sz="quarter" idx="28"/>
          </p:nvPr>
        </p:nvSpPr>
        <p:spPr>
          <a:xfrm>
            <a:off x="10317754" y="6462281"/>
            <a:ext cx="864517" cy="390572"/>
          </a:xfrm>
          <a:prstGeom prst="rect">
            <a:avLst/>
          </a:prstGeom>
        </p:spPr>
        <p:txBody>
          <a:bodyPr lIns="0" tIns="0" rIns="0" bIns="0">
            <a:noAutofit/>
          </a:bodyPr>
          <a:lstStyle>
            <a:lvl1pPr marL="0" marR="0" indent="0" algn="ctr" defTabSz="932597" rtl="0" eaLnBrk="1" fontAlgn="auto" latinLnBrk="0" hangingPunct="1">
              <a:lnSpc>
                <a:spcPct val="90000"/>
              </a:lnSpc>
              <a:spcBef>
                <a:spcPts val="0"/>
              </a:spcBef>
              <a:spcAft>
                <a:spcPts val="0"/>
              </a:spcAft>
              <a:buClrTx/>
              <a:buSzTx/>
              <a:buFont typeface="Arial" panose="020B0604020202020204" pitchFamily="34" charset="0"/>
              <a:buNone/>
              <a:tabLst/>
              <a:defRPr sz="816" b="0">
                <a:solidFill>
                  <a:schemeClr val="bg1">
                    <a:lumMod val="50000"/>
                  </a:schemeClr>
                </a:solidFill>
              </a:defRPr>
            </a:lvl1pPr>
            <a:lvl2pPr marL="466298" indent="0">
              <a:buNone/>
              <a:defRPr sz="816"/>
            </a:lvl2pPr>
            <a:lvl3pPr marL="932597" indent="0">
              <a:buNone/>
              <a:defRPr sz="816"/>
            </a:lvl3pPr>
            <a:lvl4pPr marL="1398895" indent="0">
              <a:buNone/>
              <a:defRPr sz="816"/>
            </a:lvl4pPr>
            <a:lvl5pPr marL="1865193" indent="0">
              <a:buNone/>
              <a:defRPr sz="816"/>
            </a:lvl5pPr>
          </a:lstStyle>
          <a:p>
            <a:pPr lvl="0"/>
            <a:r>
              <a:rPr lang="en-US" dirty="0"/>
              <a:t>Click to edit Master text styles</a:t>
            </a:r>
          </a:p>
        </p:txBody>
      </p:sp>
      <p:sp>
        <p:nvSpPr>
          <p:cNvPr id="30" name="Text Placeholder 136"/>
          <p:cNvSpPr>
            <a:spLocks noGrp="1"/>
          </p:cNvSpPr>
          <p:nvPr>
            <p:ph type="body" sz="quarter" idx="35"/>
          </p:nvPr>
        </p:nvSpPr>
        <p:spPr>
          <a:xfrm>
            <a:off x="11242291" y="6452861"/>
            <a:ext cx="857362" cy="390572"/>
          </a:xfrm>
          <a:prstGeom prst="rect">
            <a:avLst/>
          </a:prstGeom>
        </p:spPr>
        <p:txBody>
          <a:bodyPr lIns="0" tIns="0" rIns="0" bIns="0">
            <a:noAutofit/>
          </a:bodyPr>
          <a:lstStyle>
            <a:lvl1pPr marL="0" marR="0" indent="0" algn="ctr" defTabSz="932597" rtl="0" eaLnBrk="1" fontAlgn="auto" latinLnBrk="0" hangingPunct="1">
              <a:lnSpc>
                <a:spcPct val="90000"/>
              </a:lnSpc>
              <a:spcBef>
                <a:spcPts val="0"/>
              </a:spcBef>
              <a:spcAft>
                <a:spcPts val="0"/>
              </a:spcAft>
              <a:buClrTx/>
              <a:buSzTx/>
              <a:buFont typeface="Arial" panose="020B0604020202020204" pitchFamily="34" charset="0"/>
              <a:buNone/>
              <a:tabLst/>
              <a:defRPr sz="816" b="0">
                <a:solidFill>
                  <a:schemeClr val="bg1">
                    <a:lumMod val="50000"/>
                  </a:schemeClr>
                </a:solidFill>
              </a:defRPr>
            </a:lvl1pPr>
            <a:lvl2pPr marL="466298" indent="0">
              <a:buNone/>
              <a:defRPr sz="816"/>
            </a:lvl2pPr>
            <a:lvl3pPr marL="932597" indent="0">
              <a:buNone/>
              <a:defRPr sz="816"/>
            </a:lvl3pPr>
            <a:lvl4pPr marL="1398895" indent="0">
              <a:buNone/>
              <a:defRPr sz="816"/>
            </a:lvl4pPr>
            <a:lvl5pPr marL="1865193" indent="0">
              <a:buNone/>
              <a:defRPr sz="816"/>
            </a:lvl5pPr>
          </a:lstStyle>
          <a:p>
            <a:pPr lvl="0"/>
            <a:r>
              <a:rPr lang="en-US" dirty="0"/>
              <a:t>Click to edit Master text styles</a:t>
            </a:r>
          </a:p>
        </p:txBody>
      </p:sp>
      <p:cxnSp>
        <p:nvCxnSpPr>
          <p:cNvPr id="31" name="Straight Connector 30"/>
          <p:cNvCxnSpPr/>
          <p:nvPr userDrawn="1"/>
        </p:nvCxnSpPr>
        <p:spPr>
          <a:xfrm>
            <a:off x="10064594" y="6048969"/>
            <a:ext cx="0" cy="647641"/>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40" name="Picture Placeholder 144"/>
          <p:cNvSpPr>
            <a:spLocks noGrp="1"/>
          </p:cNvSpPr>
          <p:nvPr>
            <p:ph type="pic" sz="quarter" idx="36" hasCustomPrompt="1"/>
          </p:nvPr>
        </p:nvSpPr>
        <p:spPr>
          <a:xfrm>
            <a:off x="206559" y="6001866"/>
            <a:ext cx="2106035" cy="850988"/>
          </a:xfrm>
          <a:prstGeom prst="rect">
            <a:avLst/>
          </a:prstGeom>
        </p:spPr>
        <p:txBody>
          <a:bodyPr anchor="ctr" anchorCtr="0">
            <a:noAutofit/>
          </a:bodyPr>
          <a:lstStyle>
            <a:lvl1pPr marL="0" indent="0" algn="ctr">
              <a:buNone/>
              <a:defRPr sz="1632">
                <a:solidFill>
                  <a:srgbClr val="7030A0"/>
                </a:solidFill>
              </a:defRPr>
            </a:lvl1pPr>
          </a:lstStyle>
          <a:p>
            <a:r>
              <a:rPr lang="en-US" dirty="0"/>
              <a:t>Drag logo here</a:t>
            </a:r>
          </a:p>
        </p:txBody>
      </p:sp>
      <p:sp>
        <p:nvSpPr>
          <p:cNvPr id="23" name="Text Placeholder 136"/>
          <p:cNvSpPr>
            <a:spLocks noGrp="1"/>
          </p:cNvSpPr>
          <p:nvPr>
            <p:ph type="body" sz="quarter" idx="29"/>
          </p:nvPr>
        </p:nvSpPr>
        <p:spPr>
          <a:xfrm>
            <a:off x="8719305" y="6304304"/>
            <a:ext cx="1008466" cy="473190"/>
          </a:xfrm>
          <a:prstGeom prst="rect">
            <a:avLst/>
          </a:prstGeom>
        </p:spPr>
        <p:txBody>
          <a:bodyPr lIns="0" tIns="0" rIns="0" bIns="0">
            <a:noAutofit/>
          </a:bodyPr>
          <a:lstStyle>
            <a:lvl1pPr marL="0" marR="0" indent="0" algn="l" defTabSz="932597" rtl="0" eaLnBrk="1" fontAlgn="auto" latinLnBrk="0" hangingPunct="1">
              <a:lnSpc>
                <a:spcPct val="90000"/>
              </a:lnSpc>
              <a:spcBef>
                <a:spcPts val="0"/>
              </a:spcBef>
              <a:spcAft>
                <a:spcPts val="0"/>
              </a:spcAft>
              <a:buClrTx/>
              <a:buSzTx/>
              <a:buFont typeface="Arial" panose="020B0604020202020204" pitchFamily="34" charset="0"/>
              <a:buNone/>
              <a:tabLst/>
              <a:defRPr sz="1020" b="0">
                <a:solidFill>
                  <a:schemeClr val="bg1">
                    <a:lumMod val="50000"/>
                  </a:schemeClr>
                </a:solidFill>
              </a:defRPr>
            </a:lvl1pPr>
            <a:lvl2pPr marL="466298" indent="0">
              <a:buNone/>
              <a:defRPr sz="816"/>
            </a:lvl2pPr>
            <a:lvl3pPr marL="932597" indent="0">
              <a:buNone/>
              <a:defRPr sz="816"/>
            </a:lvl3pPr>
            <a:lvl4pPr marL="1398895" indent="0">
              <a:buNone/>
              <a:defRPr sz="816"/>
            </a:lvl4pPr>
            <a:lvl5pPr marL="1865193" indent="0">
              <a:buNone/>
              <a:defRPr sz="816"/>
            </a:lvl5pPr>
          </a:lstStyle>
          <a:p>
            <a:pPr lvl="0"/>
            <a:r>
              <a:rPr lang="en-US" dirty="0"/>
              <a:t>Click to edit Master text styles</a:t>
            </a:r>
          </a:p>
        </p:txBody>
      </p:sp>
      <p:sp>
        <p:nvSpPr>
          <p:cNvPr id="24" name="Text Placeholder 136"/>
          <p:cNvSpPr>
            <a:spLocks noGrp="1"/>
          </p:cNvSpPr>
          <p:nvPr>
            <p:ph type="body" sz="quarter" idx="31"/>
          </p:nvPr>
        </p:nvSpPr>
        <p:spPr>
          <a:xfrm>
            <a:off x="7390456" y="6304304"/>
            <a:ext cx="821575" cy="473190"/>
          </a:xfrm>
          <a:prstGeom prst="rect">
            <a:avLst/>
          </a:prstGeom>
        </p:spPr>
        <p:txBody>
          <a:bodyPr lIns="0" tIns="0" rIns="0" bIns="0">
            <a:noAutofit/>
          </a:bodyPr>
          <a:lstStyle>
            <a:lvl1pPr marL="0" marR="0" indent="0" algn="l" defTabSz="932597" rtl="0" eaLnBrk="1" fontAlgn="auto" latinLnBrk="0" hangingPunct="1">
              <a:lnSpc>
                <a:spcPct val="90000"/>
              </a:lnSpc>
              <a:spcBef>
                <a:spcPts val="0"/>
              </a:spcBef>
              <a:spcAft>
                <a:spcPts val="0"/>
              </a:spcAft>
              <a:buClrTx/>
              <a:buSzTx/>
              <a:buFont typeface="Arial" panose="020B0604020202020204" pitchFamily="34" charset="0"/>
              <a:buNone/>
              <a:tabLst/>
              <a:defRPr sz="1020" b="0">
                <a:solidFill>
                  <a:schemeClr val="bg1">
                    <a:lumMod val="50000"/>
                  </a:schemeClr>
                </a:solidFill>
              </a:defRPr>
            </a:lvl1pPr>
            <a:lvl2pPr marL="466298" indent="0">
              <a:buNone/>
              <a:defRPr sz="816"/>
            </a:lvl2pPr>
            <a:lvl3pPr marL="932597" indent="0">
              <a:buNone/>
              <a:defRPr sz="816"/>
            </a:lvl3pPr>
            <a:lvl4pPr marL="1398895" indent="0">
              <a:buNone/>
              <a:defRPr sz="816"/>
            </a:lvl4pPr>
            <a:lvl5pPr marL="1865193" indent="0">
              <a:buNone/>
              <a:defRPr sz="816"/>
            </a:lvl5pPr>
          </a:lstStyle>
          <a:p>
            <a:pPr lvl="0"/>
            <a:r>
              <a:rPr lang="en-US" dirty="0"/>
              <a:t>Click to edit Master text styles</a:t>
            </a:r>
          </a:p>
        </p:txBody>
      </p:sp>
      <p:sp>
        <p:nvSpPr>
          <p:cNvPr id="25" name="Text Placeholder 136"/>
          <p:cNvSpPr>
            <a:spLocks noGrp="1"/>
          </p:cNvSpPr>
          <p:nvPr>
            <p:ph type="body" sz="quarter" idx="32"/>
          </p:nvPr>
        </p:nvSpPr>
        <p:spPr>
          <a:xfrm>
            <a:off x="6066439" y="6300818"/>
            <a:ext cx="1008466" cy="473190"/>
          </a:xfrm>
          <a:prstGeom prst="rect">
            <a:avLst/>
          </a:prstGeom>
        </p:spPr>
        <p:txBody>
          <a:bodyPr lIns="0" tIns="0" rIns="0" bIns="0">
            <a:noAutofit/>
          </a:bodyPr>
          <a:lstStyle>
            <a:lvl1pPr marL="0" marR="0" indent="0" algn="l" defTabSz="932597" rtl="0" eaLnBrk="1" fontAlgn="auto" latinLnBrk="0" hangingPunct="1">
              <a:lnSpc>
                <a:spcPct val="90000"/>
              </a:lnSpc>
              <a:spcBef>
                <a:spcPts val="0"/>
              </a:spcBef>
              <a:spcAft>
                <a:spcPts val="0"/>
              </a:spcAft>
              <a:buClrTx/>
              <a:buSzTx/>
              <a:buFont typeface="Arial" panose="020B0604020202020204" pitchFamily="34" charset="0"/>
              <a:buNone/>
              <a:tabLst/>
              <a:defRPr sz="1020" b="0">
                <a:solidFill>
                  <a:schemeClr val="bg1">
                    <a:lumMod val="50000"/>
                  </a:schemeClr>
                </a:solidFill>
              </a:defRPr>
            </a:lvl1pPr>
            <a:lvl2pPr marL="466298" indent="0">
              <a:buNone/>
              <a:defRPr sz="816"/>
            </a:lvl2pPr>
            <a:lvl3pPr marL="932597" indent="0">
              <a:buNone/>
              <a:defRPr sz="816"/>
            </a:lvl3pPr>
            <a:lvl4pPr marL="1398895" indent="0">
              <a:buNone/>
              <a:defRPr sz="816"/>
            </a:lvl4pPr>
            <a:lvl5pPr marL="1865193" indent="0">
              <a:buNone/>
              <a:defRPr sz="816"/>
            </a:lvl5pPr>
          </a:lstStyle>
          <a:p>
            <a:pPr lvl="0"/>
            <a:r>
              <a:rPr lang="en-US" dirty="0"/>
              <a:t>Click to edit Master text styles</a:t>
            </a:r>
          </a:p>
        </p:txBody>
      </p:sp>
      <p:sp>
        <p:nvSpPr>
          <p:cNvPr id="26" name="Text Placeholder 136"/>
          <p:cNvSpPr>
            <a:spLocks noGrp="1"/>
          </p:cNvSpPr>
          <p:nvPr>
            <p:ph type="body" sz="quarter" idx="33"/>
          </p:nvPr>
        </p:nvSpPr>
        <p:spPr>
          <a:xfrm>
            <a:off x="4514560" y="6304304"/>
            <a:ext cx="1008466" cy="473190"/>
          </a:xfrm>
          <a:prstGeom prst="rect">
            <a:avLst/>
          </a:prstGeom>
        </p:spPr>
        <p:txBody>
          <a:bodyPr lIns="0" tIns="0" rIns="0" bIns="0">
            <a:noAutofit/>
          </a:bodyPr>
          <a:lstStyle>
            <a:lvl1pPr marL="0" marR="0" indent="0" algn="l" defTabSz="932597" rtl="0" eaLnBrk="1" fontAlgn="auto" latinLnBrk="0" hangingPunct="1">
              <a:lnSpc>
                <a:spcPct val="90000"/>
              </a:lnSpc>
              <a:spcBef>
                <a:spcPts val="0"/>
              </a:spcBef>
              <a:spcAft>
                <a:spcPts val="0"/>
              </a:spcAft>
              <a:buClrTx/>
              <a:buSzTx/>
              <a:buFont typeface="Arial" panose="020B0604020202020204" pitchFamily="34" charset="0"/>
              <a:buNone/>
              <a:tabLst/>
              <a:defRPr sz="1020" b="0">
                <a:solidFill>
                  <a:schemeClr val="bg1">
                    <a:lumMod val="50000"/>
                  </a:schemeClr>
                </a:solidFill>
              </a:defRPr>
            </a:lvl1pPr>
            <a:lvl2pPr marL="466298" indent="0">
              <a:buNone/>
              <a:defRPr sz="816"/>
            </a:lvl2pPr>
            <a:lvl3pPr marL="932597" indent="0">
              <a:buNone/>
              <a:defRPr sz="816"/>
            </a:lvl3pPr>
            <a:lvl4pPr marL="1398895" indent="0">
              <a:buNone/>
              <a:defRPr sz="816"/>
            </a:lvl4pPr>
            <a:lvl5pPr marL="1865193" indent="0">
              <a:buNone/>
              <a:defRPr sz="816"/>
            </a:lvl5pPr>
          </a:lstStyle>
          <a:p>
            <a:pPr lvl="0"/>
            <a:r>
              <a:rPr lang="en-US" dirty="0"/>
              <a:t>Click to edit Master text styles</a:t>
            </a:r>
          </a:p>
        </p:txBody>
      </p:sp>
      <p:sp>
        <p:nvSpPr>
          <p:cNvPr id="27" name="Text Placeholder 136"/>
          <p:cNvSpPr>
            <a:spLocks noGrp="1"/>
          </p:cNvSpPr>
          <p:nvPr>
            <p:ph type="body" sz="quarter" idx="34"/>
          </p:nvPr>
        </p:nvSpPr>
        <p:spPr>
          <a:xfrm>
            <a:off x="2558333" y="6304304"/>
            <a:ext cx="1528745" cy="473190"/>
          </a:xfrm>
          <a:prstGeom prst="rect">
            <a:avLst/>
          </a:prstGeom>
        </p:spPr>
        <p:txBody>
          <a:bodyPr lIns="0" tIns="0" rIns="0" bIns="0">
            <a:noAutofit/>
          </a:bodyPr>
          <a:lstStyle>
            <a:lvl1pPr marL="0" marR="0" indent="0" algn="l" defTabSz="932597" rtl="0" eaLnBrk="1" fontAlgn="auto" latinLnBrk="0" hangingPunct="1">
              <a:lnSpc>
                <a:spcPct val="90000"/>
              </a:lnSpc>
              <a:spcBef>
                <a:spcPts val="0"/>
              </a:spcBef>
              <a:spcAft>
                <a:spcPts val="0"/>
              </a:spcAft>
              <a:buClrTx/>
              <a:buSzTx/>
              <a:buFont typeface="Arial" panose="020B0604020202020204" pitchFamily="34" charset="0"/>
              <a:buNone/>
              <a:tabLst/>
              <a:defRPr sz="1020" b="0">
                <a:solidFill>
                  <a:schemeClr val="bg1">
                    <a:lumMod val="50000"/>
                  </a:schemeClr>
                </a:solidFill>
              </a:defRPr>
            </a:lvl1pPr>
            <a:lvl2pPr marL="466298" indent="0">
              <a:buNone/>
              <a:defRPr sz="816"/>
            </a:lvl2pPr>
            <a:lvl3pPr marL="932597" indent="0">
              <a:buNone/>
              <a:defRPr sz="816"/>
            </a:lvl3pPr>
            <a:lvl4pPr marL="1398895" indent="0">
              <a:buNone/>
              <a:defRPr sz="816"/>
            </a:lvl4pPr>
            <a:lvl5pPr marL="1865193" indent="0">
              <a:buNone/>
              <a:defRPr sz="816"/>
            </a:lvl5pPr>
          </a:lstStyle>
          <a:p>
            <a:pPr lvl="0"/>
            <a:r>
              <a:rPr lang="en-US" dirty="0"/>
              <a:t>Click to edit Master text styles</a:t>
            </a:r>
          </a:p>
        </p:txBody>
      </p:sp>
      <p:sp>
        <p:nvSpPr>
          <p:cNvPr id="28" name="TextBox 27"/>
          <p:cNvSpPr txBox="1"/>
          <p:nvPr userDrawn="1"/>
        </p:nvSpPr>
        <p:spPr>
          <a:xfrm>
            <a:off x="2558333" y="6034189"/>
            <a:ext cx="1517376" cy="160091"/>
          </a:xfrm>
          <a:prstGeom prst="rect">
            <a:avLst/>
          </a:prstGeom>
          <a:noFill/>
        </p:spPr>
        <p:txBody>
          <a:bodyPr wrap="square" lIns="0" tIns="0" rIns="0" bIns="0" rtlCol="0">
            <a:spAutoFit/>
          </a:bodyPr>
          <a:lstStyle/>
          <a:p>
            <a:pPr marL="0" marR="0" indent="0" algn="l" defTabSz="932597" rtl="0" eaLnBrk="1" fontAlgn="auto" latinLnBrk="0" hangingPunct="1">
              <a:lnSpc>
                <a:spcPct val="100000"/>
              </a:lnSpc>
              <a:spcBef>
                <a:spcPts val="0"/>
              </a:spcBef>
              <a:spcAft>
                <a:spcPts val="0"/>
              </a:spcAft>
              <a:buClrTx/>
              <a:buSzTx/>
              <a:buFontTx/>
              <a:buNone/>
              <a:tabLst/>
              <a:defRPr/>
            </a:pPr>
            <a:r>
              <a:rPr lang="en-US" sz="1020" b="1" dirty="0">
                <a:solidFill>
                  <a:schemeClr val="bg1">
                    <a:lumMod val="50000"/>
                  </a:schemeClr>
                </a:solidFill>
              </a:rPr>
              <a:t>Products and Services</a:t>
            </a:r>
          </a:p>
        </p:txBody>
      </p:sp>
      <p:sp>
        <p:nvSpPr>
          <p:cNvPr id="29" name="TextBox 28"/>
          <p:cNvSpPr txBox="1"/>
          <p:nvPr userDrawn="1"/>
        </p:nvSpPr>
        <p:spPr>
          <a:xfrm>
            <a:off x="4509647" y="6040858"/>
            <a:ext cx="1272055" cy="160091"/>
          </a:xfrm>
          <a:prstGeom prst="rect">
            <a:avLst/>
          </a:prstGeom>
          <a:noFill/>
        </p:spPr>
        <p:txBody>
          <a:bodyPr wrap="square" lIns="0" tIns="0" rIns="0" bIns="0" rtlCol="0">
            <a:spAutoFit/>
          </a:bodyPr>
          <a:lstStyle/>
          <a:p>
            <a:pPr marL="0" marR="0" indent="0" algn="l" defTabSz="932597" rtl="0" eaLnBrk="1" fontAlgn="auto" latinLnBrk="0" hangingPunct="1">
              <a:lnSpc>
                <a:spcPct val="100000"/>
              </a:lnSpc>
              <a:spcBef>
                <a:spcPts val="0"/>
              </a:spcBef>
              <a:spcAft>
                <a:spcPts val="0"/>
              </a:spcAft>
              <a:buClrTx/>
              <a:buSzTx/>
              <a:buFontTx/>
              <a:buNone/>
              <a:tabLst/>
              <a:defRPr/>
            </a:pPr>
            <a:r>
              <a:rPr lang="en-US" sz="1020" b="1" dirty="0">
                <a:solidFill>
                  <a:schemeClr val="bg1">
                    <a:lumMod val="50000"/>
                  </a:schemeClr>
                </a:solidFill>
              </a:rPr>
              <a:t>Organization Size</a:t>
            </a:r>
          </a:p>
        </p:txBody>
      </p:sp>
      <p:sp>
        <p:nvSpPr>
          <p:cNvPr id="32" name="TextBox 31"/>
          <p:cNvSpPr txBox="1"/>
          <p:nvPr userDrawn="1"/>
        </p:nvSpPr>
        <p:spPr>
          <a:xfrm>
            <a:off x="6066439" y="6031968"/>
            <a:ext cx="1008466" cy="160091"/>
          </a:xfrm>
          <a:prstGeom prst="rect">
            <a:avLst/>
          </a:prstGeom>
          <a:noFill/>
        </p:spPr>
        <p:txBody>
          <a:bodyPr wrap="square" lIns="0" tIns="0" rIns="0" bIns="0" rtlCol="0">
            <a:spAutoFit/>
          </a:bodyPr>
          <a:lstStyle/>
          <a:p>
            <a:pPr marL="0" marR="0" indent="0" algn="l" defTabSz="932597" rtl="0" eaLnBrk="1" fontAlgn="auto" latinLnBrk="0" hangingPunct="1">
              <a:lnSpc>
                <a:spcPct val="100000"/>
              </a:lnSpc>
              <a:spcBef>
                <a:spcPts val="0"/>
              </a:spcBef>
              <a:spcAft>
                <a:spcPts val="0"/>
              </a:spcAft>
              <a:buClrTx/>
              <a:buSzTx/>
              <a:buFontTx/>
              <a:buNone/>
              <a:tabLst/>
              <a:defRPr/>
            </a:pPr>
            <a:r>
              <a:rPr lang="en-US" sz="1020" b="1" dirty="0">
                <a:solidFill>
                  <a:schemeClr val="bg1">
                    <a:lumMod val="50000"/>
                  </a:schemeClr>
                </a:solidFill>
              </a:rPr>
              <a:t>Industry</a:t>
            </a:r>
          </a:p>
        </p:txBody>
      </p:sp>
      <p:sp>
        <p:nvSpPr>
          <p:cNvPr id="33" name="TextBox 32"/>
          <p:cNvSpPr txBox="1"/>
          <p:nvPr userDrawn="1"/>
        </p:nvSpPr>
        <p:spPr>
          <a:xfrm>
            <a:off x="7374017" y="6032750"/>
            <a:ext cx="1008466" cy="160091"/>
          </a:xfrm>
          <a:prstGeom prst="rect">
            <a:avLst/>
          </a:prstGeom>
          <a:noFill/>
        </p:spPr>
        <p:txBody>
          <a:bodyPr wrap="square" lIns="0" tIns="0" rIns="0" bIns="0" rtlCol="0">
            <a:spAutoFit/>
          </a:bodyPr>
          <a:lstStyle/>
          <a:p>
            <a:pPr marL="0" marR="0" indent="0" algn="l" defTabSz="932597" rtl="0" eaLnBrk="1" fontAlgn="auto" latinLnBrk="0" hangingPunct="1">
              <a:lnSpc>
                <a:spcPct val="100000"/>
              </a:lnSpc>
              <a:spcBef>
                <a:spcPts val="0"/>
              </a:spcBef>
              <a:spcAft>
                <a:spcPts val="0"/>
              </a:spcAft>
              <a:buClrTx/>
              <a:buSzTx/>
              <a:buFontTx/>
              <a:buNone/>
              <a:tabLst/>
              <a:defRPr/>
            </a:pPr>
            <a:r>
              <a:rPr lang="en-US" sz="1020" b="1" dirty="0">
                <a:solidFill>
                  <a:schemeClr val="bg1">
                    <a:lumMod val="50000"/>
                  </a:schemeClr>
                </a:solidFill>
              </a:rPr>
              <a:t>Country</a:t>
            </a:r>
          </a:p>
        </p:txBody>
      </p:sp>
      <p:sp>
        <p:nvSpPr>
          <p:cNvPr id="39" name="TextBox 38"/>
          <p:cNvSpPr txBox="1"/>
          <p:nvPr userDrawn="1"/>
        </p:nvSpPr>
        <p:spPr>
          <a:xfrm>
            <a:off x="8719305" y="6042299"/>
            <a:ext cx="1008466" cy="160091"/>
          </a:xfrm>
          <a:prstGeom prst="rect">
            <a:avLst/>
          </a:prstGeom>
          <a:noFill/>
        </p:spPr>
        <p:txBody>
          <a:bodyPr wrap="square" lIns="0" tIns="0" rIns="0" bIns="0" rtlCol="0">
            <a:spAutoFit/>
          </a:bodyPr>
          <a:lstStyle/>
          <a:p>
            <a:pPr marL="0" marR="0" indent="0" algn="l" defTabSz="932597" rtl="0" eaLnBrk="1" fontAlgn="auto" latinLnBrk="0" hangingPunct="1">
              <a:lnSpc>
                <a:spcPct val="100000"/>
              </a:lnSpc>
              <a:spcBef>
                <a:spcPts val="0"/>
              </a:spcBef>
              <a:spcAft>
                <a:spcPts val="0"/>
              </a:spcAft>
              <a:buClrTx/>
              <a:buSzTx/>
              <a:buFontTx/>
              <a:buNone/>
              <a:tabLst/>
              <a:defRPr/>
            </a:pPr>
            <a:r>
              <a:rPr lang="en-US" sz="1020" b="1" dirty="0">
                <a:solidFill>
                  <a:schemeClr val="bg1">
                    <a:lumMod val="50000"/>
                  </a:schemeClr>
                </a:solidFill>
              </a:rPr>
              <a:t>Business Need</a:t>
            </a:r>
          </a:p>
        </p:txBody>
      </p:sp>
    </p:spTree>
    <p:extLst>
      <p:ext uri="{BB962C8B-B14F-4D97-AF65-F5344CB8AC3E}">
        <p14:creationId xmlns:p14="http://schemas.microsoft.com/office/powerpoint/2010/main" val="337380453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2_Insert Photo">
    <p:spTree>
      <p:nvGrpSpPr>
        <p:cNvPr id="1" name=""/>
        <p:cNvGrpSpPr/>
        <p:nvPr/>
      </p:nvGrpSpPr>
      <p:grpSpPr>
        <a:xfrm>
          <a:off x="0" y="0"/>
          <a:ext cx="0" cy="0"/>
          <a:chOff x="0" y="0"/>
          <a:chExt cx="0" cy="0"/>
        </a:xfrm>
      </p:grpSpPr>
      <p:pic>
        <p:nvPicPr>
          <p:cNvPr id="41" name="Picture Placeholder 4"/>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a:xfrm>
            <a:off x="0" y="0"/>
            <a:ext cx="12436475" cy="3049864"/>
          </a:xfrm>
          <a:prstGeom prst="rect">
            <a:avLst/>
          </a:prstGeom>
        </p:spPr>
      </p:pic>
      <p:sp>
        <p:nvSpPr>
          <p:cNvPr id="20" name="Picture Placeholder 144"/>
          <p:cNvSpPr>
            <a:spLocks noGrp="1"/>
          </p:cNvSpPr>
          <p:nvPr>
            <p:ph type="pic" sz="quarter" idx="20" hasCustomPrompt="1"/>
          </p:nvPr>
        </p:nvSpPr>
        <p:spPr>
          <a:xfrm>
            <a:off x="0" y="1"/>
            <a:ext cx="12436475" cy="3049864"/>
          </a:xfrm>
          <a:prstGeom prst="rect">
            <a:avLst/>
          </a:prstGeom>
        </p:spPr>
        <p:txBody>
          <a:bodyPr anchor="ctr" anchorCtr="0">
            <a:noAutofit/>
          </a:bodyPr>
          <a:lstStyle>
            <a:lvl1pPr marL="0" indent="0" algn="ctr">
              <a:buNone/>
              <a:defRPr>
                <a:solidFill>
                  <a:schemeClr val="bg1"/>
                </a:solidFill>
              </a:defRPr>
            </a:lvl1pPr>
          </a:lstStyle>
          <a:p>
            <a:r>
              <a:rPr lang="en-US" dirty="0"/>
              <a:t>Drag picture here</a:t>
            </a:r>
          </a:p>
        </p:txBody>
      </p:sp>
      <p:sp>
        <p:nvSpPr>
          <p:cNvPr id="14" name="Rectangle 13"/>
          <p:cNvSpPr/>
          <p:nvPr userDrawn="1"/>
        </p:nvSpPr>
        <p:spPr>
          <a:xfrm>
            <a:off x="0" y="5802865"/>
            <a:ext cx="12436475" cy="119166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sp>
        <p:nvSpPr>
          <p:cNvPr id="21" name="Title 1"/>
          <p:cNvSpPr>
            <a:spLocks noGrp="1"/>
          </p:cNvSpPr>
          <p:nvPr>
            <p:ph type="ctrTitle"/>
          </p:nvPr>
        </p:nvSpPr>
        <p:spPr>
          <a:xfrm>
            <a:off x="512760" y="3472661"/>
            <a:ext cx="3783477" cy="2106407"/>
          </a:xfrm>
          <a:prstGeom prst="rect">
            <a:avLst/>
          </a:prstGeom>
        </p:spPr>
        <p:txBody>
          <a:bodyPr lIns="0" tIns="0" rIns="0" bIns="0" anchor="t" anchorCtr="0">
            <a:noAutofit/>
          </a:bodyPr>
          <a:lstStyle>
            <a:lvl1pPr algn="l">
              <a:defRPr sz="3264" b="1">
                <a:solidFill>
                  <a:schemeClr val="tx1">
                    <a:lumMod val="50000"/>
                    <a:lumOff val="50000"/>
                  </a:schemeClr>
                </a:solidFill>
                <a:latin typeface="+mj-lt"/>
              </a:defRPr>
            </a:lvl1pPr>
          </a:lstStyle>
          <a:p>
            <a:r>
              <a:rPr lang="en-US" dirty="0"/>
              <a:t>Click to edit Master title style</a:t>
            </a:r>
          </a:p>
        </p:txBody>
      </p:sp>
      <p:sp>
        <p:nvSpPr>
          <p:cNvPr id="22" name="Text Placeholder 132"/>
          <p:cNvSpPr>
            <a:spLocks noGrp="1"/>
          </p:cNvSpPr>
          <p:nvPr>
            <p:ph type="body" sz="quarter" idx="11"/>
          </p:nvPr>
        </p:nvSpPr>
        <p:spPr>
          <a:xfrm>
            <a:off x="4428139" y="3472661"/>
            <a:ext cx="7379680" cy="2106407"/>
          </a:xfrm>
          <a:prstGeom prst="rect">
            <a:avLst/>
          </a:prstGeom>
        </p:spPr>
        <p:txBody>
          <a:bodyPr lIns="0" tIns="0" rIns="0" bIns="0">
            <a:noAutofit/>
          </a:bodyPr>
          <a:lstStyle>
            <a:lvl1pPr marL="0" indent="0">
              <a:lnSpc>
                <a:spcPts val="1836"/>
              </a:lnSpc>
              <a:buNone/>
              <a:defRPr sz="1224">
                <a:solidFill>
                  <a:schemeClr val="bg2">
                    <a:lumMod val="25000"/>
                  </a:schemeClr>
                </a:solidFill>
              </a:defRPr>
            </a:lvl1pPr>
          </a:lstStyle>
          <a:p>
            <a:pPr lvl="0"/>
            <a:r>
              <a:rPr lang="en-US" dirty="0"/>
              <a:t>Click to edit Master text styles</a:t>
            </a:r>
          </a:p>
        </p:txBody>
      </p:sp>
      <p:sp>
        <p:nvSpPr>
          <p:cNvPr id="30" name="Text Placeholder 136"/>
          <p:cNvSpPr>
            <a:spLocks noGrp="1"/>
          </p:cNvSpPr>
          <p:nvPr>
            <p:ph type="body" sz="quarter" idx="35"/>
          </p:nvPr>
        </p:nvSpPr>
        <p:spPr>
          <a:xfrm>
            <a:off x="11152551" y="6427359"/>
            <a:ext cx="857362" cy="390572"/>
          </a:xfrm>
          <a:prstGeom prst="rect">
            <a:avLst/>
          </a:prstGeom>
        </p:spPr>
        <p:txBody>
          <a:bodyPr lIns="0" tIns="0" rIns="0" bIns="0">
            <a:noAutofit/>
          </a:bodyPr>
          <a:lstStyle>
            <a:lvl1pPr marL="0" marR="0" indent="0" algn="ctr" defTabSz="932597" rtl="0" eaLnBrk="1" fontAlgn="auto" latinLnBrk="0" hangingPunct="1">
              <a:lnSpc>
                <a:spcPct val="90000"/>
              </a:lnSpc>
              <a:spcBef>
                <a:spcPts val="0"/>
              </a:spcBef>
              <a:spcAft>
                <a:spcPts val="0"/>
              </a:spcAft>
              <a:buClrTx/>
              <a:buSzTx/>
              <a:buFont typeface="Arial" panose="020B0604020202020204" pitchFamily="34" charset="0"/>
              <a:buNone/>
              <a:tabLst/>
              <a:defRPr sz="816" b="0">
                <a:solidFill>
                  <a:schemeClr val="bg1">
                    <a:lumMod val="50000"/>
                  </a:schemeClr>
                </a:solidFill>
              </a:defRPr>
            </a:lvl1pPr>
            <a:lvl2pPr marL="466298" indent="0">
              <a:buNone/>
              <a:defRPr sz="816"/>
            </a:lvl2pPr>
            <a:lvl3pPr marL="932597" indent="0">
              <a:buNone/>
              <a:defRPr sz="816"/>
            </a:lvl3pPr>
            <a:lvl4pPr marL="1398895" indent="0">
              <a:buNone/>
              <a:defRPr sz="816"/>
            </a:lvl4pPr>
            <a:lvl5pPr marL="1865193" indent="0">
              <a:buNone/>
              <a:defRPr sz="816"/>
            </a:lvl5pPr>
          </a:lstStyle>
          <a:p>
            <a:pPr lvl="0"/>
            <a:r>
              <a:rPr lang="en-US" dirty="0"/>
              <a:t>Click to edit Master text styles</a:t>
            </a:r>
          </a:p>
        </p:txBody>
      </p:sp>
      <p:cxnSp>
        <p:nvCxnSpPr>
          <p:cNvPr id="31" name="Straight Connector 30"/>
          <p:cNvCxnSpPr/>
          <p:nvPr userDrawn="1"/>
        </p:nvCxnSpPr>
        <p:spPr>
          <a:xfrm>
            <a:off x="10734466" y="6031968"/>
            <a:ext cx="0" cy="647641"/>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40" name="Picture Placeholder 144"/>
          <p:cNvSpPr>
            <a:spLocks noGrp="1"/>
          </p:cNvSpPr>
          <p:nvPr>
            <p:ph type="pic" sz="quarter" idx="36" hasCustomPrompt="1"/>
          </p:nvPr>
        </p:nvSpPr>
        <p:spPr>
          <a:xfrm>
            <a:off x="206559" y="6001866"/>
            <a:ext cx="2106035" cy="850988"/>
          </a:xfrm>
          <a:prstGeom prst="rect">
            <a:avLst/>
          </a:prstGeom>
        </p:spPr>
        <p:txBody>
          <a:bodyPr anchor="ctr" anchorCtr="0">
            <a:noAutofit/>
          </a:bodyPr>
          <a:lstStyle>
            <a:lvl1pPr marL="0" indent="0" algn="ctr">
              <a:buNone/>
              <a:defRPr sz="1632">
                <a:solidFill>
                  <a:srgbClr val="7030A0"/>
                </a:solidFill>
              </a:defRPr>
            </a:lvl1pPr>
          </a:lstStyle>
          <a:p>
            <a:r>
              <a:rPr lang="en-US" dirty="0"/>
              <a:t>Drag logo here</a:t>
            </a:r>
          </a:p>
        </p:txBody>
      </p:sp>
      <p:sp>
        <p:nvSpPr>
          <p:cNvPr id="36" name="Text Placeholder 136"/>
          <p:cNvSpPr>
            <a:spLocks noGrp="1"/>
          </p:cNvSpPr>
          <p:nvPr>
            <p:ph type="body" sz="quarter" idx="29"/>
          </p:nvPr>
        </p:nvSpPr>
        <p:spPr>
          <a:xfrm>
            <a:off x="9340555" y="6304303"/>
            <a:ext cx="1008466" cy="473190"/>
          </a:xfrm>
          <a:prstGeom prst="rect">
            <a:avLst/>
          </a:prstGeom>
        </p:spPr>
        <p:txBody>
          <a:bodyPr lIns="0" tIns="0" rIns="0" bIns="0">
            <a:noAutofit/>
          </a:bodyPr>
          <a:lstStyle>
            <a:lvl1pPr marL="0" marR="0" indent="0" algn="l" defTabSz="932597" rtl="0" eaLnBrk="1" fontAlgn="auto" latinLnBrk="0" hangingPunct="1">
              <a:lnSpc>
                <a:spcPct val="90000"/>
              </a:lnSpc>
              <a:spcBef>
                <a:spcPts val="0"/>
              </a:spcBef>
              <a:spcAft>
                <a:spcPts val="0"/>
              </a:spcAft>
              <a:buClrTx/>
              <a:buSzTx/>
              <a:buFont typeface="Arial" panose="020B0604020202020204" pitchFamily="34" charset="0"/>
              <a:buNone/>
              <a:tabLst/>
              <a:defRPr sz="1020" b="0">
                <a:solidFill>
                  <a:schemeClr val="bg1">
                    <a:lumMod val="50000"/>
                  </a:schemeClr>
                </a:solidFill>
              </a:defRPr>
            </a:lvl1pPr>
            <a:lvl2pPr marL="466298" indent="0">
              <a:buNone/>
              <a:defRPr sz="816"/>
            </a:lvl2pPr>
            <a:lvl3pPr marL="932597" indent="0">
              <a:buNone/>
              <a:defRPr sz="816"/>
            </a:lvl3pPr>
            <a:lvl4pPr marL="1398895" indent="0">
              <a:buNone/>
              <a:defRPr sz="816"/>
            </a:lvl4pPr>
            <a:lvl5pPr marL="1865193" indent="0">
              <a:buNone/>
              <a:defRPr sz="816"/>
            </a:lvl5pPr>
          </a:lstStyle>
          <a:p>
            <a:pPr lvl="0"/>
            <a:r>
              <a:rPr lang="en-US" dirty="0"/>
              <a:t>Click to edit Master text styles</a:t>
            </a:r>
          </a:p>
        </p:txBody>
      </p:sp>
      <p:sp>
        <p:nvSpPr>
          <p:cNvPr id="37" name="Text Placeholder 136"/>
          <p:cNvSpPr>
            <a:spLocks noGrp="1"/>
          </p:cNvSpPr>
          <p:nvPr>
            <p:ph type="body" sz="quarter" idx="31"/>
          </p:nvPr>
        </p:nvSpPr>
        <p:spPr>
          <a:xfrm>
            <a:off x="7936028" y="6304304"/>
            <a:ext cx="821575" cy="473190"/>
          </a:xfrm>
          <a:prstGeom prst="rect">
            <a:avLst/>
          </a:prstGeom>
        </p:spPr>
        <p:txBody>
          <a:bodyPr lIns="0" tIns="0" rIns="0" bIns="0">
            <a:noAutofit/>
          </a:bodyPr>
          <a:lstStyle>
            <a:lvl1pPr marL="0" marR="0" indent="0" algn="l" defTabSz="932597" rtl="0" eaLnBrk="1" fontAlgn="auto" latinLnBrk="0" hangingPunct="1">
              <a:lnSpc>
                <a:spcPct val="90000"/>
              </a:lnSpc>
              <a:spcBef>
                <a:spcPts val="0"/>
              </a:spcBef>
              <a:spcAft>
                <a:spcPts val="0"/>
              </a:spcAft>
              <a:buClrTx/>
              <a:buSzTx/>
              <a:buFont typeface="Arial" panose="020B0604020202020204" pitchFamily="34" charset="0"/>
              <a:buNone/>
              <a:tabLst/>
              <a:defRPr sz="1020" b="0">
                <a:solidFill>
                  <a:schemeClr val="bg1">
                    <a:lumMod val="50000"/>
                  </a:schemeClr>
                </a:solidFill>
              </a:defRPr>
            </a:lvl1pPr>
            <a:lvl2pPr marL="466298" indent="0">
              <a:buNone/>
              <a:defRPr sz="816"/>
            </a:lvl2pPr>
            <a:lvl3pPr marL="932597" indent="0">
              <a:buNone/>
              <a:defRPr sz="816"/>
            </a:lvl3pPr>
            <a:lvl4pPr marL="1398895" indent="0">
              <a:buNone/>
              <a:defRPr sz="816"/>
            </a:lvl4pPr>
            <a:lvl5pPr marL="1865193" indent="0">
              <a:buNone/>
              <a:defRPr sz="816"/>
            </a:lvl5pPr>
          </a:lstStyle>
          <a:p>
            <a:pPr lvl="0"/>
            <a:r>
              <a:rPr lang="en-US" dirty="0"/>
              <a:t>Click to edit Master text styles</a:t>
            </a:r>
          </a:p>
        </p:txBody>
      </p:sp>
      <p:sp>
        <p:nvSpPr>
          <p:cNvPr id="38" name="Text Placeholder 136"/>
          <p:cNvSpPr>
            <a:spLocks noGrp="1"/>
          </p:cNvSpPr>
          <p:nvPr>
            <p:ph type="body" sz="quarter" idx="32"/>
          </p:nvPr>
        </p:nvSpPr>
        <p:spPr>
          <a:xfrm>
            <a:off x="6473947" y="6300818"/>
            <a:ext cx="897454" cy="473190"/>
          </a:xfrm>
          <a:prstGeom prst="rect">
            <a:avLst/>
          </a:prstGeom>
        </p:spPr>
        <p:txBody>
          <a:bodyPr lIns="0" tIns="0" rIns="0" bIns="0">
            <a:noAutofit/>
          </a:bodyPr>
          <a:lstStyle>
            <a:lvl1pPr marL="0" marR="0" indent="0" algn="l" defTabSz="932597" rtl="0" eaLnBrk="1" fontAlgn="auto" latinLnBrk="0" hangingPunct="1">
              <a:lnSpc>
                <a:spcPct val="90000"/>
              </a:lnSpc>
              <a:spcBef>
                <a:spcPts val="0"/>
              </a:spcBef>
              <a:spcAft>
                <a:spcPts val="0"/>
              </a:spcAft>
              <a:buClrTx/>
              <a:buSzTx/>
              <a:buFont typeface="Arial" panose="020B0604020202020204" pitchFamily="34" charset="0"/>
              <a:buNone/>
              <a:tabLst/>
              <a:defRPr sz="1020" b="0">
                <a:solidFill>
                  <a:schemeClr val="bg1">
                    <a:lumMod val="50000"/>
                  </a:schemeClr>
                </a:solidFill>
              </a:defRPr>
            </a:lvl1pPr>
            <a:lvl2pPr marL="466298" indent="0">
              <a:buNone/>
              <a:defRPr sz="816"/>
            </a:lvl2pPr>
            <a:lvl3pPr marL="932597" indent="0">
              <a:buNone/>
              <a:defRPr sz="816"/>
            </a:lvl3pPr>
            <a:lvl4pPr marL="1398895" indent="0">
              <a:buNone/>
              <a:defRPr sz="816"/>
            </a:lvl4pPr>
            <a:lvl5pPr marL="1865193" indent="0">
              <a:buNone/>
              <a:defRPr sz="816"/>
            </a:lvl5pPr>
          </a:lstStyle>
          <a:p>
            <a:pPr lvl="0"/>
            <a:r>
              <a:rPr lang="en-US" dirty="0"/>
              <a:t>Click to edit Master text styles</a:t>
            </a:r>
          </a:p>
        </p:txBody>
      </p:sp>
      <p:sp>
        <p:nvSpPr>
          <p:cNvPr id="42" name="Text Placeholder 136"/>
          <p:cNvSpPr>
            <a:spLocks noGrp="1"/>
          </p:cNvSpPr>
          <p:nvPr>
            <p:ph type="body" sz="quarter" idx="33"/>
          </p:nvPr>
        </p:nvSpPr>
        <p:spPr>
          <a:xfrm>
            <a:off x="4781278" y="6304304"/>
            <a:ext cx="1008466" cy="473190"/>
          </a:xfrm>
          <a:prstGeom prst="rect">
            <a:avLst/>
          </a:prstGeom>
        </p:spPr>
        <p:txBody>
          <a:bodyPr lIns="0" tIns="0" rIns="0" bIns="0">
            <a:noAutofit/>
          </a:bodyPr>
          <a:lstStyle>
            <a:lvl1pPr marL="0" marR="0" indent="0" algn="l" defTabSz="932597" rtl="0" eaLnBrk="1" fontAlgn="auto" latinLnBrk="0" hangingPunct="1">
              <a:lnSpc>
                <a:spcPct val="90000"/>
              </a:lnSpc>
              <a:spcBef>
                <a:spcPts val="0"/>
              </a:spcBef>
              <a:spcAft>
                <a:spcPts val="0"/>
              </a:spcAft>
              <a:buClrTx/>
              <a:buSzTx/>
              <a:buFont typeface="Arial" panose="020B0604020202020204" pitchFamily="34" charset="0"/>
              <a:buNone/>
              <a:tabLst/>
              <a:defRPr sz="1020" b="0">
                <a:solidFill>
                  <a:schemeClr val="bg1">
                    <a:lumMod val="50000"/>
                  </a:schemeClr>
                </a:solidFill>
              </a:defRPr>
            </a:lvl1pPr>
            <a:lvl2pPr marL="466298" indent="0">
              <a:buNone/>
              <a:defRPr sz="816"/>
            </a:lvl2pPr>
            <a:lvl3pPr marL="932597" indent="0">
              <a:buNone/>
              <a:defRPr sz="816"/>
            </a:lvl3pPr>
            <a:lvl4pPr marL="1398895" indent="0">
              <a:buNone/>
              <a:defRPr sz="816"/>
            </a:lvl4pPr>
            <a:lvl5pPr marL="1865193" indent="0">
              <a:buNone/>
              <a:defRPr sz="816"/>
            </a:lvl5pPr>
          </a:lstStyle>
          <a:p>
            <a:pPr lvl="0"/>
            <a:r>
              <a:rPr lang="en-US" dirty="0"/>
              <a:t>Click to edit Master text styles</a:t>
            </a:r>
          </a:p>
        </p:txBody>
      </p:sp>
      <p:sp>
        <p:nvSpPr>
          <p:cNvPr id="43" name="Text Placeholder 136"/>
          <p:cNvSpPr>
            <a:spLocks noGrp="1"/>
          </p:cNvSpPr>
          <p:nvPr>
            <p:ph type="body" sz="quarter" idx="34"/>
          </p:nvPr>
        </p:nvSpPr>
        <p:spPr>
          <a:xfrm>
            <a:off x="2558332" y="6304304"/>
            <a:ext cx="1964555" cy="473190"/>
          </a:xfrm>
          <a:prstGeom prst="rect">
            <a:avLst/>
          </a:prstGeom>
        </p:spPr>
        <p:txBody>
          <a:bodyPr lIns="0" tIns="0" rIns="0" bIns="0">
            <a:noAutofit/>
          </a:bodyPr>
          <a:lstStyle>
            <a:lvl1pPr marL="0" marR="0" indent="0" algn="l" defTabSz="932597" rtl="0" eaLnBrk="1" fontAlgn="auto" latinLnBrk="0" hangingPunct="1">
              <a:lnSpc>
                <a:spcPct val="90000"/>
              </a:lnSpc>
              <a:spcBef>
                <a:spcPts val="0"/>
              </a:spcBef>
              <a:spcAft>
                <a:spcPts val="0"/>
              </a:spcAft>
              <a:buClrTx/>
              <a:buSzTx/>
              <a:buFont typeface="Arial" panose="020B0604020202020204" pitchFamily="34" charset="0"/>
              <a:buNone/>
              <a:tabLst/>
              <a:defRPr sz="1020" b="0">
                <a:solidFill>
                  <a:schemeClr val="bg1">
                    <a:lumMod val="50000"/>
                  </a:schemeClr>
                </a:solidFill>
              </a:defRPr>
            </a:lvl1pPr>
            <a:lvl2pPr marL="466298" indent="0">
              <a:buNone/>
              <a:defRPr sz="816"/>
            </a:lvl2pPr>
            <a:lvl3pPr marL="932597" indent="0">
              <a:buNone/>
              <a:defRPr sz="816"/>
            </a:lvl3pPr>
            <a:lvl4pPr marL="1398895" indent="0">
              <a:buNone/>
              <a:defRPr sz="816"/>
            </a:lvl4pPr>
            <a:lvl5pPr marL="1865193" indent="0">
              <a:buNone/>
              <a:defRPr sz="816"/>
            </a:lvl5pPr>
          </a:lstStyle>
          <a:p>
            <a:pPr lvl="0"/>
            <a:r>
              <a:rPr lang="en-US" dirty="0"/>
              <a:t>Click to edit Master text styles</a:t>
            </a:r>
          </a:p>
        </p:txBody>
      </p:sp>
      <p:sp>
        <p:nvSpPr>
          <p:cNvPr id="45" name="TextBox 44"/>
          <p:cNvSpPr txBox="1"/>
          <p:nvPr userDrawn="1"/>
        </p:nvSpPr>
        <p:spPr>
          <a:xfrm>
            <a:off x="2558333" y="6034189"/>
            <a:ext cx="1517376" cy="160091"/>
          </a:xfrm>
          <a:prstGeom prst="rect">
            <a:avLst/>
          </a:prstGeom>
          <a:noFill/>
        </p:spPr>
        <p:txBody>
          <a:bodyPr wrap="square" lIns="0" tIns="0" rIns="0" bIns="0" rtlCol="0">
            <a:spAutoFit/>
          </a:bodyPr>
          <a:lstStyle/>
          <a:p>
            <a:pPr marL="0" marR="0" indent="0" algn="l" defTabSz="932597" rtl="0" eaLnBrk="1" fontAlgn="auto" latinLnBrk="0" hangingPunct="1">
              <a:lnSpc>
                <a:spcPct val="100000"/>
              </a:lnSpc>
              <a:spcBef>
                <a:spcPts val="0"/>
              </a:spcBef>
              <a:spcAft>
                <a:spcPts val="0"/>
              </a:spcAft>
              <a:buClrTx/>
              <a:buSzTx/>
              <a:buFontTx/>
              <a:buNone/>
              <a:tabLst/>
              <a:defRPr/>
            </a:pPr>
            <a:r>
              <a:rPr lang="en-US" sz="1020" b="1" dirty="0">
                <a:solidFill>
                  <a:schemeClr val="bg1">
                    <a:lumMod val="50000"/>
                  </a:schemeClr>
                </a:solidFill>
              </a:rPr>
              <a:t>Products and Services</a:t>
            </a:r>
          </a:p>
        </p:txBody>
      </p:sp>
      <p:sp>
        <p:nvSpPr>
          <p:cNvPr id="46" name="TextBox 45"/>
          <p:cNvSpPr txBox="1"/>
          <p:nvPr userDrawn="1"/>
        </p:nvSpPr>
        <p:spPr>
          <a:xfrm>
            <a:off x="4776365" y="6040858"/>
            <a:ext cx="1272055" cy="160091"/>
          </a:xfrm>
          <a:prstGeom prst="rect">
            <a:avLst/>
          </a:prstGeom>
          <a:noFill/>
        </p:spPr>
        <p:txBody>
          <a:bodyPr wrap="square" lIns="0" tIns="0" rIns="0" bIns="0" rtlCol="0">
            <a:spAutoFit/>
          </a:bodyPr>
          <a:lstStyle/>
          <a:p>
            <a:pPr marL="0" marR="0" indent="0" algn="l" defTabSz="932597" rtl="0" eaLnBrk="1" fontAlgn="auto" latinLnBrk="0" hangingPunct="1">
              <a:lnSpc>
                <a:spcPct val="100000"/>
              </a:lnSpc>
              <a:spcBef>
                <a:spcPts val="0"/>
              </a:spcBef>
              <a:spcAft>
                <a:spcPts val="0"/>
              </a:spcAft>
              <a:buClrTx/>
              <a:buSzTx/>
              <a:buFontTx/>
              <a:buNone/>
              <a:tabLst/>
              <a:defRPr/>
            </a:pPr>
            <a:r>
              <a:rPr lang="en-US" sz="1020" b="1" dirty="0">
                <a:solidFill>
                  <a:schemeClr val="bg1">
                    <a:lumMod val="50000"/>
                  </a:schemeClr>
                </a:solidFill>
              </a:rPr>
              <a:t>Organization Size</a:t>
            </a:r>
          </a:p>
        </p:txBody>
      </p:sp>
      <p:sp>
        <p:nvSpPr>
          <p:cNvPr id="47" name="TextBox 46"/>
          <p:cNvSpPr txBox="1"/>
          <p:nvPr userDrawn="1"/>
        </p:nvSpPr>
        <p:spPr>
          <a:xfrm>
            <a:off x="6473947" y="6031968"/>
            <a:ext cx="1008466" cy="160091"/>
          </a:xfrm>
          <a:prstGeom prst="rect">
            <a:avLst/>
          </a:prstGeom>
          <a:noFill/>
        </p:spPr>
        <p:txBody>
          <a:bodyPr wrap="square" lIns="0" tIns="0" rIns="0" bIns="0" rtlCol="0">
            <a:spAutoFit/>
          </a:bodyPr>
          <a:lstStyle/>
          <a:p>
            <a:pPr marL="0" marR="0" indent="0" algn="l" defTabSz="932597" rtl="0" eaLnBrk="1" fontAlgn="auto" latinLnBrk="0" hangingPunct="1">
              <a:lnSpc>
                <a:spcPct val="100000"/>
              </a:lnSpc>
              <a:spcBef>
                <a:spcPts val="0"/>
              </a:spcBef>
              <a:spcAft>
                <a:spcPts val="0"/>
              </a:spcAft>
              <a:buClrTx/>
              <a:buSzTx/>
              <a:buFontTx/>
              <a:buNone/>
              <a:tabLst/>
              <a:defRPr/>
            </a:pPr>
            <a:r>
              <a:rPr lang="en-US" sz="1020" b="1" dirty="0">
                <a:solidFill>
                  <a:schemeClr val="bg1">
                    <a:lumMod val="50000"/>
                  </a:schemeClr>
                </a:solidFill>
              </a:rPr>
              <a:t>Industry</a:t>
            </a:r>
          </a:p>
        </p:txBody>
      </p:sp>
      <p:sp>
        <p:nvSpPr>
          <p:cNvPr id="48" name="TextBox 47"/>
          <p:cNvSpPr txBox="1"/>
          <p:nvPr userDrawn="1"/>
        </p:nvSpPr>
        <p:spPr>
          <a:xfrm>
            <a:off x="7919590" y="6032750"/>
            <a:ext cx="1008466" cy="160091"/>
          </a:xfrm>
          <a:prstGeom prst="rect">
            <a:avLst/>
          </a:prstGeom>
          <a:noFill/>
        </p:spPr>
        <p:txBody>
          <a:bodyPr wrap="square" lIns="0" tIns="0" rIns="0" bIns="0" rtlCol="0">
            <a:spAutoFit/>
          </a:bodyPr>
          <a:lstStyle/>
          <a:p>
            <a:pPr marL="0" marR="0" indent="0" algn="l" defTabSz="932597" rtl="0" eaLnBrk="1" fontAlgn="auto" latinLnBrk="0" hangingPunct="1">
              <a:lnSpc>
                <a:spcPct val="100000"/>
              </a:lnSpc>
              <a:spcBef>
                <a:spcPts val="0"/>
              </a:spcBef>
              <a:spcAft>
                <a:spcPts val="0"/>
              </a:spcAft>
              <a:buClrTx/>
              <a:buSzTx/>
              <a:buFontTx/>
              <a:buNone/>
              <a:tabLst/>
              <a:defRPr/>
            </a:pPr>
            <a:r>
              <a:rPr lang="en-US" sz="1020" b="1" dirty="0">
                <a:solidFill>
                  <a:schemeClr val="bg1">
                    <a:lumMod val="50000"/>
                  </a:schemeClr>
                </a:solidFill>
              </a:rPr>
              <a:t>Country</a:t>
            </a:r>
          </a:p>
        </p:txBody>
      </p:sp>
      <p:sp>
        <p:nvSpPr>
          <p:cNvPr id="49" name="TextBox 48"/>
          <p:cNvSpPr txBox="1"/>
          <p:nvPr userDrawn="1"/>
        </p:nvSpPr>
        <p:spPr>
          <a:xfrm>
            <a:off x="9340555" y="6042298"/>
            <a:ext cx="1008466" cy="160091"/>
          </a:xfrm>
          <a:prstGeom prst="rect">
            <a:avLst/>
          </a:prstGeom>
          <a:noFill/>
        </p:spPr>
        <p:txBody>
          <a:bodyPr wrap="square" lIns="0" tIns="0" rIns="0" bIns="0" rtlCol="0">
            <a:spAutoFit/>
          </a:bodyPr>
          <a:lstStyle/>
          <a:p>
            <a:pPr marL="0" marR="0" indent="0" algn="l" defTabSz="932597" rtl="0" eaLnBrk="1" fontAlgn="auto" latinLnBrk="0" hangingPunct="1">
              <a:lnSpc>
                <a:spcPct val="100000"/>
              </a:lnSpc>
              <a:spcBef>
                <a:spcPts val="0"/>
              </a:spcBef>
              <a:spcAft>
                <a:spcPts val="0"/>
              </a:spcAft>
              <a:buClrTx/>
              <a:buSzTx/>
              <a:buFontTx/>
              <a:buNone/>
              <a:tabLst/>
              <a:defRPr/>
            </a:pPr>
            <a:r>
              <a:rPr lang="en-US" sz="1020" b="1" dirty="0">
                <a:solidFill>
                  <a:schemeClr val="bg1">
                    <a:lumMod val="50000"/>
                  </a:schemeClr>
                </a:solidFill>
              </a:rPr>
              <a:t>Business Need</a:t>
            </a:r>
          </a:p>
        </p:txBody>
      </p:sp>
    </p:spTree>
    <p:extLst>
      <p:ext uri="{BB962C8B-B14F-4D97-AF65-F5344CB8AC3E}">
        <p14:creationId xmlns:p14="http://schemas.microsoft.com/office/powerpoint/2010/main" val="3444491388"/>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Slide Photo_Option">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a:extLst>
              <a:ext uri="{28A0092B-C50C-407E-A947-70E740481C1C}">
                <a14:useLocalDpi xmlns:a14="http://schemas.microsoft.com/office/drawing/2010/main" val="0"/>
              </a:ext>
            </a:extLst>
          </a:blip>
          <a:srcRect l="2944" t="1853" r="1090"/>
          <a:stretch/>
        </p:blipFill>
        <p:spPr>
          <a:xfrm flipH="1">
            <a:off x="0" y="2"/>
            <a:ext cx="12434704" cy="6994521"/>
          </a:xfrm>
          <a:prstGeom prst="rect">
            <a:avLst/>
          </a:prstGeom>
        </p:spPr>
      </p:pic>
      <p:sp>
        <p:nvSpPr>
          <p:cNvPr id="2" name="Rectangle 1"/>
          <p:cNvSpPr/>
          <p:nvPr userDrawn="1"/>
        </p:nvSpPr>
        <p:spPr bwMode="auto">
          <a:xfrm>
            <a:off x="274638" y="2119163"/>
            <a:ext cx="6400800" cy="3664099"/>
          </a:xfrm>
          <a:prstGeom prst="rect">
            <a:avLst/>
          </a:prstGeom>
          <a:solidFill>
            <a:srgbClr val="0078D7">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74702" y="2119178"/>
            <a:ext cx="6402388" cy="1828800"/>
          </a:xfrm>
          <a:noFill/>
        </p:spPr>
        <p:txBody>
          <a:bodyPr lIns="146304" tIns="91440" rIns="146304" bIns="91440" anchor="t" anchorCtr="0"/>
          <a:lstStyle>
            <a:lvl1pPr>
              <a:defRPr sz="5400" spc="-100" baseline="0">
                <a:gradFill>
                  <a:gsLst>
                    <a:gs pos="57576">
                      <a:srgbClr val="FFFFFF"/>
                    </a:gs>
                    <a:gs pos="3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73050" y="3954463"/>
            <a:ext cx="6402388" cy="1828800"/>
          </a:xfrm>
        </p:spPr>
        <p:txBody>
          <a:bodyPr tIns="109728" bIns="109728">
            <a:noAutofit/>
          </a:bodyPr>
          <a:lstStyle>
            <a:lvl1pPr marL="0" indent="0">
              <a:spcBef>
                <a:spcPts val="0"/>
              </a:spcBef>
              <a:buNone/>
              <a:defRPr sz="3200">
                <a:gradFill>
                  <a:gsLst>
                    <a:gs pos="57576">
                      <a:srgbClr val="FFFFFF"/>
                    </a:gs>
                    <a:gs pos="35000">
                      <a:srgbClr val="FFFFFF"/>
                    </a:gs>
                  </a:gsLst>
                  <a:lin ang="5400000" scaled="0"/>
                </a:gradFill>
              </a:defRPr>
            </a:lvl1pPr>
          </a:lstStyle>
          <a:p>
            <a:pPr lvl="0"/>
            <a:r>
              <a:rPr lang="en-US" dirty="0"/>
              <a:t>Speaker Name</a:t>
            </a:r>
          </a:p>
        </p:txBody>
      </p:sp>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invGray">
          <a:xfrm>
            <a:off x="457580" y="479425"/>
            <a:ext cx="1828800" cy="391754"/>
          </a:xfrm>
          <a:prstGeom prst="rect">
            <a:avLst/>
          </a:prstGeom>
        </p:spPr>
      </p:pic>
    </p:spTree>
    <p:extLst>
      <p:ext uri="{BB962C8B-B14F-4D97-AF65-F5344CB8AC3E}">
        <p14:creationId xmlns:p14="http://schemas.microsoft.com/office/powerpoint/2010/main" val="13681652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74816850"/>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400" spc="-100"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1" y="3955786"/>
            <a:ext cx="7315137" cy="1828007"/>
          </a:xfrm>
          <a:noFill/>
        </p:spPr>
        <p:txBody>
          <a:bodyPr lIns="146304" tIns="109728" rIns="146304" bIns="109728">
            <a:noAutofit/>
          </a:bodyPr>
          <a:lstStyle>
            <a:lvl1pPr marL="0" indent="0">
              <a:spcBef>
                <a:spcPts val="0"/>
              </a:spcBef>
              <a:buNone/>
              <a:defRPr sz="3200"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7580" y="6120853"/>
            <a:ext cx="1828800" cy="393896"/>
          </a:xfrm>
          <a:prstGeom prst="rect">
            <a:avLst/>
          </a:prstGeom>
        </p:spPr>
      </p:pic>
    </p:spTree>
    <p:extLst>
      <p:ext uri="{BB962C8B-B14F-4D97-AF65-F5344CB8AC3E}">
        <p14:creationId xmlns:p14="http://schemas.microsoft.com/office/powerpoint/2010/main" val="258823187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531337368"/>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03268474"/>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47959926"/>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179946700"/>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2189335521"/>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1181862"/>
          </a:xfrm>
          <a:noFill/>
        </p:spPr>
        <p:txBody>
          <a:bodyPr tIns="91440" bIns="91440" anchor="t" anchorCtr="0">
            <a:spAutoFit/>
          </a:bodyPr>
          <a:lstStyle>
            <a:lvl1pPr>
              <a:defRPr sz="7200"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63"/>
            <a:ext cx="10058401" cy="794064"/>
          </a:xfrm>
          <a:noFill/>
        </p:spPr>
        <p:txBody>
          <a:bodyPr lIns="182880" tIns="146304" rIns="182880" bIns="146304">
            <a:sp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89760253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1181862"/>
          </a:xfrm>
          <a:noFill/>
        </p:spPr>
        <p:txBody>
          <a:bodyPr tIns="91440" bIns="91440" anchor="t" anchorCtr="0">
            <a:spAutoFit/>
          </a:bodyPr>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202582599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728849011"/>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68934554"/>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843985228"/>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908698505"/>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266291156"/>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41426"/>
            <a:ext cx="5486399" cy="2012859"/>
          </a:xfrm>
        </p:spPr>
        <p:txBody>
          <a:bodyPr>
            <a:spAutoFit/>
          </a:bodyPr>
          <a:lstStyle>
            <a:lvl1pPr>
              <a:defRPr sz="660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92587"/>
          </a:xfr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2366974557"/>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311556723"/>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25675349"/>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50159915"/>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32390786"/>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29962453"/>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6"/>
            <a:ext cx="11887199"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2014 Microsoft Corporation. All rights reserved. </a:t>
            </a:r>
          </a:p>
        </p:txBody>
      </p:sp>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9230" y="3145040"/>
            <a:ext cx="3288506" cy="704445"/>
          </a:xfrm>
          <a:prstGeom prst="rect">
            <a:avLst/>
          </a:prstGeom>
        </p:spPr>
      </p:pic>
    </p:spTree>
    <p:extLst>
      <p:ext uri="{BB962C8B-B14F-4D97-AF65-F5344CB8AC3E}">
        <p14:creationId xmlns:p14="http://schemas.microsoft.com/office/powerpoint/2010/main" val="17293980"/>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482969643"/>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gradFill>
                  <a:gsLst>
                    <a:gs pos="1250">
                      <a:schemeClr val="tx2"/>
                    </a:gs>
                    <a:gs pos="99000">
                      <a:schemeClr val="tx2"/>
                    </a:gs>
                  </a:gsLst>
                  <a:lin ang="5400000" scaled="0"/>
                </a:gradFill>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229941979"/>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start screen">
    <p:bg>
      <p:bgPr>
        <a:solidFill>
          <a:srgbClr val="0078D7"/>
        </a:soli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852480" y="6030461"/>
            <a:ext cx="1097269" cy="209971"/>
          </a:xfrm>
          <a:prstGeom prst="rect">
            <a:avLst/>
          </a:prstGeom>
        </p:spPr>
      </p:pic>
      <p:pic>
        <p:nvPicPr>
          <p:cNvPr id="2" name="Picture 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242985" y="662653"/>
            <a:ext cx="10461592" cy="5205888"/>
          </a:xfrm>
          <a:prstGeom prst="rect">
            <a:avLst/>
          </a:prstGeom>
        </p:spPr>
      </p:pic>
    </p:spTree>
    <p:extLst>
      <p:ext uri="{BB962C8B-B14F-4D97-AF65-F5344CB8AC3E}">
        <p14:creationId xmlns:p14="http://schemas.microsoft.com/office/powerpoint/2010/main" val="320285843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Bangalore title">
    <p:bg>
      <p:bgPr>
        <a:solidFill>
          <a:srgbClr val="0078D7"/>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1759921"/>
            <a:ext cx="5943535" cy="2011665"/>
          </a:xfrm>
          <a:noFill/>
        </p:spPr>
        <p:txBody>
          <a:bodyPr lIns="146304" tIns="91440" rIns="146304" bIns="91440" anchor="t" anchorCtr="0"/>
          <a:lstStyle>
            <a:lvl1pPr>
              <a:defRPr sz="5400" spc="-100"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2" y="3680140"/>
            <a:ext cx="4846268" cy="1009740"/>
          </a:xfrm>
          <a:noFill/>
        </p:spPr>
        <p:txBody>
          <a:bodyPr lIns="146304" tIns="109728" rIns="146304" bIns="109728">
            <a:noAutofit/>
          </a:bodyPr>
          <a:lstStyle>
            <a:lvl1pPr marL="0" indent="0">
              <a:spcBef>
                <a:spcPts val="0"/>
              </a:spcBef>
              <a:buNone/>
              <a:defRPr sz="3200"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11" name="Pictur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57579" y="6234297"/>
            <a:ext cx="1097269" cy="209971"/>
          </a:xfrm>
          <a:prstGeom prst="rect">
            <a:avLst/>
          </a:prstGeom>
        </p:spPr>
      </p:pic>
      <p:pic>
        <p:nvPicPr>
          <p:cNvPr id="3" name="Picture 2"/>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106071" y="1394165"/>
            <a:ext cx="7376710" cy="3670791"/>
          </a:xfrm>
          <a:prstGeom prst="rect">
            <a:avLst/>
          </a:prstGeom>
        </p:spPr>
      </p:pic>
    </p:spTree>
    <p:extLst>
      <p:ext uri="{BB962C8B-B14F-4D97-AF65-F5344CB8AC3E}">
        <p14:creationId xmlns:p14="http://schemas.microsoft.com/office/powerpoint/2010/main" val="233918294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1_Title Slide 2_Option 1 - Preferred">
    <p:bg>
      <p:bgPr>
        <a:solidFill>
          <a:srgbClr val="0078D7"/>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1759921"/>
            <a:ext cx="8046632" cy="1828786"/>
          </a:xfrm>
          <a:noFill/>
        </p:spPr>
        <p:txBody>
          <a:bodyPr lIns="146304" tIns="91440" rIns="146304" bIns="91440" anchor="t" anchorCtr="0"/>
          <a:lstStyle>
            <a:lvl1pPr>
              <a:defRPr sz="5400" spc="-100" baseline="0">
                <a:solidFill>
                  <a:schemeClr val="tx1"/>
                </a:solidFill>
              </a:defRPr>
            </a:lvl1pPr>
          </a:lstStyle>
          <a:p>
            <a:r>
              <a:rPr lang="en-US" dirty="0"/>
              <a:t>Lorem ipsum</a:t>
            </a:r>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57579" y="6234297"/>
            <a:ext cx="1097269" cy="209971"/>
          </a:xfrm>
          <a:prstGeom prst="rect">
            <a:avLst/>
          </a:prstGeom>
        </p:spPr>
      </p:pic>
      <p:pic>
        <p:nvPicPr>
          <p:cNvPr id="2" name="Picture 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229895" y="936970"/>
            <a:ext cx="4096468" cy="5120584"/>
          </a:xfrm>
          <a:prstGeom prst="rect">
            <a:avLst/>
          </a:prstGeom>
        </p:spPr>
      </p:pic>
    </p:spTree>
    <p:extLst>
      <p:ext uri="{BB962C8B-B14F-4D97-AF65-F5344CB8AC3E}">
        <p14:creationId xmlns:p14="http://schemas.microsoft.com/office/powerpoint/2010/main" val="284617527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2_Title Slide 2_Option 1 - Preferred">
    <p:bg>
      <p:bgPr>
        <a:solidFill>
          <a:srgbClr val="0078D7"/>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1759921"/>
            <a:ext cx="8046632" cy="1828786"/>
          </a:xfrm>
          <a:noFill/>
        </p:spPr>
        <p:txBody>
          <a:bodyPr lIns="146304" tIns="91440" rIns="146304" bIns="91440" anchor="t" anchorCtr="0"/>
          <a:lstStyle>
            <a:lvl1pPr>
              <a:defRPr sz="5400" spc="-100" baseline="0">
                <a:solidFill>
                  <a:schemeClr val="tx1"/>
                </a:solidFill>
              </a:defRPr>
            </a:lvl1pPr>
          </a:lstStyle>
          <a:p>
            <a:r>
              <a:rPr lang="en-US" dirty="0"/>
              <a:t>Lorem ipsum</a:t>
            </a:r>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57579" y="6234297"/>
            <a:ext cx="1097269" cy="209971"/>
          </a:xfrm>
          <a:prstGeom prst="rect">
            <a:avLst/>
          </a:prstGeom>
        </p:spPr>
      </p:pic>
      <p:pic>
        <p:nvPicPr>
          <p:cNvPr id="2" name="Picture 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949749" y="1079500"/>
            <a:ext cx="5715000" cy="5915025"/>
          </a:xfrm>
          <a:prstGeom prst="rect">
            <a:avLst/>
          </a:prstGeom>
        </p:spPr>
      </p:pic>
    </p:spTree>
    <p:extLst>
      <p:ext uri="{BB962C8B-B14F-4D97-AF65-F5344CB8AC3E}">
        <p14:creationId xmlns:p14="http://schemas.microsoft.com/office/powerpoint/2010/main" val="319385203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tle Slide 2_Option 3 - Org ID tile">
    <p:bg>
      <p:bgPr>
        <a:solidFill>
          <a:srgbClr val="0078D7"/>
        </a:solidFill>
        <a:effectLst/>
      </p:bgPr>
    </p:bg>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57579" y="6234297"/>
            <a:ext cx="1097269" cy="209971"/>
          </a:xfrm>
          <a:prstGeom prst="rect">
            <a:avLst/>
          </a:prstGeom>
        </p:spPr>
      </p:pic>
      <p:pic>
        <p:nvPicPr>
          <p:cNvPr id="2" name="Picture 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779159" y="1622735"/>
            <a:ext cx="3194624" cy="4297702"/>
          </a:xfrm>
          <a:prstGeom prst="rect">
            <a:avLst/>
          </a:prstGeom>
        </p:spPr>
      </p:pic>
      <p:sp>
        <p:nvSpPr>
          <p:cNvPr id="8" name="Title 1"/>
          <p:cNvSpPr>
            <a:spLocks noGrp="1"/>
          </p:cNvSpPr>
          <p:nvPr>
            <p:ph type="title" hasCustomPrompt="1"/>
          </p:nvPr>
        </p:nvSpPr>
        <p:spPr>
          <a:xfrm>
            <a:off x="274702" y="1759921"/>
            <a:ext cx="8046632" cy="1828786"/>
          </a:xfrm>
          <a:noFill/>
        </p:spPr>
        <p:txBody>
          <a:bodyPr lIns="146304" tIns="91440" rIns="146304" bIns="91440" anchor="t" anchorCtr="0"/>
          <a:lstStyle>
            <a:lvl1pPr>
              <a:defRPr sz="5400" spc="-100" baseline="0">
                <a:solidFill>
                  <a:schemeClr val="tx1"/>
                </a:solidFill>
              </a:defRPr>
            </a:lvl1pPr>
          </a:lstStyle>
          <a:p>
            <a:r>
              <a:rPr lang="en-US" dirty="0"/>
              <a:t>Lorem ipsum</a:t>
            </a:r>
          </a:p>
        </p:txBody>
      </p:sp>
    </p:spTree>
    <p:extLst>
      <p:ext uri="{BB962C8B-B14F-4D97-AF65-F5344CB8AC3E}">
        <p14:creationId xmlns:p14="http://schemas.microsoft.com/office/powerpoint/2010/main" val="212222239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82058458"/>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0078D7"/>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328781505"/>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506424273"/>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009066617"/>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rgbClr val="0078D7"/>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702" y="1759921"/>
            <a:ext cx="8046632" cy="1828786"/>
          </a:xfrm>
          <a:noFill/>
        </p:spPr>
        <p:txBody>
          <a:bodyPr lIns="146304" tIns="91440" rIns="146304" bIns="91440" anchor="t" anchorCtr="0"/>
          <a:lstStyle>
            <a:lvl1pPr>
              <a:defRPr sz="5400" spc="-100" baseline="0">
                <a:solidFill>
                  <a:schemeClr val="tx1"/>
                </a:solidFill>
              </a:defRPr>
            </a:lvl1pPr>
          </a:lstStyle>
          <a:p>
            <a:r>
              <a:rPr lang="en-US" dirty="0"/>
              <a:t>Lorem ipsum</a:t>
            </a:r>
          </a:p>
        </p:txBody>
      </p:sp>
    </p:spTree>
    <p:extLst>
      <p:ext uri="{BB962C8B-B14F-4D97-AF65-F5344CB8AC3E}">
        <p14:creationId xmlns:p14="http://schemas.microsoft.com/office/powerpoint/2010/main" val="4211739345"/>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53196831"/>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Blank">
    <p:bg>
      <p:bgPr>
        <a:solidFill>
          <a:srgbClr val="0078D7"/>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3863066"/>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3153943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1_Title &amp;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98286078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4159530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1_Title and Content">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2492295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4814221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1_Two Column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4856870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0778561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1_Two Column Bullet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3253814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1_Title Only">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5010220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68534032"/>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Developer Code Layou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1287"/>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49143804"/>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002050"/>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6"/>
            <a:ext cx="11887199"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2014 Microsoft Corporation. All rights reserved. </a:t>
            </a:r>
          </a:p>
        </p:txBody>
      </p:sp>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9230" y="3145040"/>
            <a:ext cx="3288506" cy="704445"/>
          </a:xfrm>
          <a:prstGeom prst="rect">
            <a:avLst/>
          </a:prstGeom>
        </p:spPr>
      </p:pic>
    </p:spTree>
    <p:extLst>
      <p:ext uri="{BB962C8B-B14F-4D97-AF65-F5344CB8AC3E}">
        <p14:creationId xmlns:p14="http://schemas.microsoft.com/office/powerpoint/2010/main" val="1924594339"/>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userDrawn="1">
  <p:cSld name="Blank Accent Color 3">
    <p:bg>
      <p:bgPr>
        <a:solidFill>
          <a:srgbClr val="0078D7"/>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52398533"/>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start screen">
    <p:bg>
      <p:bgPr>
        <a:solidFill>
          <a:srgbClr val="0078D7"/>
        </a:soli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852480" y="6030461"/>
            <a:ext cx="1097269" cy="209971"/>
          </a:xfrm>
          <a:prstGeom prst="rect">
            <a:avLst/>
          </a:prstGeom>
        </p:spPr>
      </p:pic>
      <p:pic>
        <p:nvPicPr>
          <p:cNvPr id="2" name="Picture 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242985" y="662653"/>
            <a:ext cx="10461592" cy="5205888"/>
          </a:xfrm>
          <a:prstGeom prst="rect">
            <a:avLst/>
          </a:prstGeom>
        </p:spPr>
      </p:pic>
    </p:spTree>
    <p:extLst>
      <p:ext uri="{BB962C8B-B14F-4D97-AF65-F5344CB8AC3E}">
        <p14:creationId xmlns:p14="http://schemas.microsoft.com/office/powerpoint/2010/main" val="72543845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Bangalore title">
    <p:bg>
      <p:bgPr>
        <a:solidFill>
          <a:srgbClr val="0078D7"/>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1759921"/>
            <a:ext cx="5943535" cy="2011665"/>
          </a:xfrm>
          <a:noFill/>
        </p:spPr>
        <p:txBody>
          <a:bodyPr lIns="146304" tIns="91440" rIns="146304" bIns="91440" anchor="t" anchorCtr="0"/>
          <a:lstStyle>
            <a:lvl1pPr>
              <a:defRPr sz="5400" spc="-100"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2" y="3680140"/>
            <a:ext cx="4846268" cy="1009740"/>
          </a:xfrm>
          <a:noFill/>
        </p:spPr>
        <p:txBody>
          <a:bodyPr lIns="146304" tIns="109728" rIns="146304" bIns="109728">
            <a:noAutofit/>
          </a:bodyPr>
          <a:lstStyle>
            <a:lvl1pPr marL="0" indent="0">
              <a:spcBef>
                <a:spcPts val="0"/>
              </a:spcBef>
              <a:buNone/>
              <a:defRPr sz="3200"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11" name="Pictur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57579" y="6234297"/>
            <a:ext cx="1097269" cy="209971"/>
          </a:xfrm>
          <a:prstGeom prst="rect">
            <a:avLst/>
          </a:prstGeom>
        </p:spPr>
      </p:pic>
      <p:pic>
        <p:nvPicPr>
          <p:cNvPr id="3" name="Picture 2"/>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106071" y="1394165"/>
            <a:ext cx="7376710" cy="3670791"/>
          </a:xfrm>
          <a:prstGeom prst="rect">
            <a:avLst/>
          </a:prstGeom>
        </p:spPr>
      </p:pic>
    </p:spTree>
    <p:extLst>
      <p:ext uri="{BB962C8B-B14F-4D97-AF65-F5344CB8AC3E}">
        <p14:creationId xmlns:p14="http://schemas.microsoft.com/office/powerpoint/2010/main" val="70965395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1_Title Slide 2_Option 1 - Preferred">
    <p:bg>
      <p:bgPr>
        <a:solidFill>
          <a:srgbClr val="0078D7"/>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1759921"/>
            <a:ext cx="8046632" cy="1828786"/>
          </a:xfrm>
          <a:noFill/>
        </p:spPr>
        <p:txBody>
          <a:bodyPr lIns="146304" tIns="91440" rIns="146304" bIns="91440" anchor="t" anchorCtr="0"/>
          <a:lstStyle>
            <a:lvl1pPr>
              <a:defRPr sz="5400" spc="-100" baseline="0">
                <a:solidFill>
                  <a:schemeClr val="tx1"/>
                </a:solidFill>
              </a:defRPr>
            </a:lvl1pPr>
          </a:lstStyle>
          <a:p>
            <a:r>
              <a:rPr lang="en-US" dirty="0"/>
              <a:t>Lorem ipsum</a:t>
            </a:r>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57579" y="6234297"/>
            <a:ext cx="1097269" cy="209971"/>
          </a:xfrm>
          <a:prstGeom prst="rect">
            <a:avLst/>
          </a:prstGeom>
        </p:spPr>
      </p:pic>
      <p:pic>
        <p:nvPicPr>
          <p:cNvPr id="2" name="Picture 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229895" y="936970"/>
            <a:ext cx="4096468" cy="5120584"/>
          </a:xfrm>
          <a:prstGeom prst="rect">
            <a:avLst/>
          </a:prstGeom>
        </p:spPr>
      </p:pic>
    </p:spTree>
    <p:extLst>
      <p:ext uri="{BB962C8B-B14F-4D97-AF65-F5344CB8AC3E}">
        <p14:creationId xmlns:p14="http://schemas.microsoft.com/office/powerpoint/2010/main" val="425708745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2_Title Slide 2_Option 1 - Preferred">
    <p:bg>
      <p:bgPr>
        <a:solidFill>
          <a:srgbClr val="0078D7"/>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1759921"/>
            <a:ext cx="8046632" cy="1828786"/>
          </a:xfrm>
          <a:noFill/>
        </p:spPr>
        <p:txBody>
          <a:bodyPr lIns="146304" tIns="91440" rIns="146304" bIns="91440" anchor="t" anchorCtr="0"/>
          <a:lstStyle>
            <a:lvl1pPr>
              <a:defRPr sz="5400" spc="-100" baseline="0">
                <a:solidFill>
                  <a:schemeClr val="tx1"/>
                </a:solidFill>
              </a:defRPr>
            </a:lvl1pPr>
          </a:lstStyle>
          <a:p>
            <a:r>
              <a:rPr lang="en-US" dirty="0"/>
              <a:t>Lorem ipsum</a:t>
            </a:r>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57579" y="6234297"/>
            <a:ext cx="1097269" cy="209971"/>
          </a:xfrm>
          <a:prstGeom prst="rect">
            <a:avLst/>
          </a:prstGeom>
        </p:spPr>
      </p:pic>
      <p:pic>
        <p:nvPicPr>
          <p:cNvPr id="2" name="Picture 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949749" y="1079500"/>
            <a:ext cx="5715000" cy="5915025"/>
          </a:xfrm>
          <a:prstGeom prst="rect">
            <a:avLst/>
          </a:prstGeom>
        </p:spPr>
      </p:pic>
    </p:spTree>
    <p:extLst>
      <p:ext uri="{BB962C8B-B14F-4D97-AF65-F5344CB8AC3E}">
        <p14:creationId xmlns:p14="http://schemas.microsoft.com/office/powerpoint/2010/main" val="85874497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itle Slide 2_Option 3 - Org ID tile">
    <p:bg>
      <p:bgPr>
        <a:solidFill>
          <a:srgbClr val="0078D7"/>
        </a:solidFill>
        <a:effectLst/>
      </p:bgPr>
    </p:bg>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57579" y="6234297"/>
            <a:ext cx="1097269" cy="209971"/>
          </a:xfrm>
          <a:prstGeom prst="rect">
            <a:avLst/>
          </a:prstGeom>
        </p:spPr>
      </p:pic>
      <p:pic>
        <p:nvPicPr>
          <p:cNvPr id="2" name="Picture 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779159" y="1622735"/>
            <a:ext cx="3194624" cy="4297702"/>
          </a:xfrm>
          <a:prstGeom prst="rect">
            <a:avLst/>
          </a:prstGeom>
        </p:spPr>
      </p:pic>
      <p:sp>
        <p:nvSpPr>
          <p:cNvPr id="8" name="Title 1"/>
          <p:cNvSpPr>
            <a:spLocks noGrp="1"/>
          </p:cNvSpPr>
          <p:nvPr>
            <p:ph type="title" hasCustomPrompt="1"/>
          </p:nvPr>
        </p:nvSpPr>
        <p:spPr>
          <a:xfrm>
            <a:off x="274702" y="1759921"/>
            <a:ext cx="8046632" cy="1828786"/>
          </a:xfrm>
          <a:noFill/>
        </p:spPr>
        <p:txBody>
          <a:bodyPr lIns="146304" tIns="91440" rIns="146304" bIns="91440" anchor="t" anchorCtr="0"/>
          <a:lstStyle>
            <a:lvl1pPr>
              <a:defRPr sz="5400" spc="-100" baseline="0">
                <a:solidFill>
                  <a:schemeClr val="tx1"/>
                </a:solidFill>
              </a:defRPr>
            </a:lvl1pPr>
          </a:lstStyle>
          <a:p>
            <a:r>
              <a:rPr lang="en-US" dirty="0"/>
              <a:t>Lorem ipsum</a:t>
            </a:r>
          </a:p>
        </p:txBody>
      </p:sp>
    </p:spTree>
    <p:extLst>
      <p:ext uri="{BB962C8B-B14F-4D97-AF65-F5344CB8AC3E}">
        <p14:creationId xmlns:p14="http://schemas.microsoft.com/office/powerpoint/2010/main" val="32188663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944795963"/>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0078D7"/>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601714148"/>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18839873"/>
      </p:ext>
    </p:extLst>
  </p:cSld>
  <p:clrMapOvr>
    <a:masterClrMapping/>
  </p:clrMapOvr>
  <p:transitio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731040016"/>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522116298"/>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rgbClr val="0078D7"/>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702" y="1759921"/>
            <a:ext cx="8046632" cy="1828786"/>
          </a:xfrm>
          <a:noFill/>
        </p:spPr>
        <p:txBody>
          <a:bodyPr lIns="146304" tIns="91440" rIns="146304" bIns="91440" anchor="t" anchorCtr="0"/>
          <a:lstStyle>
            <a:lvl1pPr>
              <a:defRPr sz="5400" spc="-100" baseline="0">
                <a:solidFill>
                  <a:schemeClr val="tx1"/>
                </a:solidFill>
              </a:defRPr>
            </a:lvl1pPr>
          </a:lstStyle>
          <a:p>
            <a:r>
              <a:rPr lang="en-US" dirty="0"/>
              <a:t>Lorem ipsum</a:t>
            </a:r>
          </a:p>
        </p:txBody>
      </p:sp>
    </p:spTree>
    <p:extLst>
      <p:ext uri="{BB962C8B-B14F-4D97-AF65-F5344CB8AC3E}">
        <p14:creationId xmlns:p14="http://schemas.microsoft.com/office/powerpoint/2010/main" val="1492497758"/>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Blank">
    <p:bg>
      <p:bgPr>
        <a:solidFill>
          <a:srgbClr val="0078D7"/>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35625935"/>
      </p:ext>
    </p:extLst>
  </p:cSld>
  <p:clrMapOvr>
    <a:masterClrMapping/>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3717564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1_Title &amp;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94131839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69264699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1_Title and Content">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5962252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7800348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1_Two Column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7644347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198371309"/>
      </p:ext>
    </p:extLst>
  </p:cSld>
  <p:clrMapOvr>
    <a:masterClrMapping/>
  </p:clrMapOvr>
  <p:transition>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0328940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1_Two Column Bullet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3318415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1_Title Only">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20817835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Developer Code Layou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1287"/>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19324488"/>
      </p:ext>
    </p:extLst>
  </p:cSld>
  <p:clrMapOvr>
    <a:masterClrMapping/>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002050"/>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6"/>
            <a:ext cx="11887199"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marL="0" marR="0" lvl="0" indent="0" algn="l" defTabSz="932290"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 2014 Microsoft Corporation. All rights reserved. </a:t>
            </a:r>
          </a:p>
        </p:txBody>
      </p:sp>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9230" y="3145040"/>
            <a:ext cx="3288506" cy="704445"/>
          </a:xfrm>
          <a:prstGeom prst="rect">
            <a:avLst/>
          </a:prstGeom>
        </p:spPr>
      </p:pic>
    </p:spTree>
    <p:extLst>
      <p:ext uri="{BB962C8B-B14F-4D97-AF65-F5344CB8AC3E}">
        <p14:creationId xmlns:p14="http://schemas.microsoft.com/office/powerpoint/2010/main" val="3593949790"/>
      </p:ext>
    </p:extLst>
  </p:cSld>
  <p:clrMapOvr>
    <a:masterClrMapping/>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userDrawn="1">
  <p:cSld name="10_Title Slide 2_Option 2">
    <p:bg>
      <p:bgPr>
        <a:solidFill>
          <a:srgbClr val="0078D7"/>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1759921"/>
            <a:ext cx="6583608" cy="2011665"/>
          </a:xfrm>
          <a:noFill/>
        </p:spPr>
        <p:txBody>
          <a:bodyPr lIns="146304" tIns="91440" rIns="146304" bIns="91440" anchor="t" anchorCtr="0"/>
          <a:lstStyle>
            <a:lvl1pPr>
              <a:defRPr sz="5400" spc="-100"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2" y="3680140"/>
            <a:ext cx="4846268" cy="1009740"/>
          </a:xfrm>
          <a:noFill/>
        </p:spPr>
        <p:txBody>
          <a:bodyPr lIns="146304" tIns="109728" rIns="146304" bIns="109728">
            <a:noAutofit/>
          </a:bodyPr>
          <a:lstStyle>
            <a:lvl1pPr marL="0" indent="0">
              <a:spcBef>
                <a:spcPts val="0"/>
              </a:spcBef>
              <a:buNone/>
              <a:defRPr sz="3200"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11" name="Pictur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57579" y="6234297"/>
            <a:ext cx="1097269" cy="209971"/>
          </a:xfrm>
          <a:prstGeom prst="rect">
            <a:avLst/>
          </a:prstGeom>
        </p:spPr>
      </p:pic>
      <p:pic>
        <p:nvPicPr>
          <p:cNvPr id="2" name="Picture 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3997367" y="2308555"/>
            <a:ext cx="8837591" cy="4397754"/>
          </a:xfrm>
          <a:prstGeom prst="rect">
            <a:avLst/>
          </a:prstGeom>
        </p:spPr>
      </p:pic>
    </p:spTree>
    <p:extLst>
      <p:ext uri="{BB962C8B-B14F-4D97-AF65-F5344CB8AC3E}">
        <p14:creationId xmlns:p14="http://schemas.microsoft.com/office/powerpoint/2010/main" val="23194790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userDrawn="1">
  <p:cSld name="Title - Light">
    <p:bg>
      <p:bgRef idx="1001">
        <a:schemeClr val="bg1"/>
      </p:bgRef>
    </p:bg>
    <p:spTree>
      <p:nvGrpSpPr>
        <p:cNvPr id="1" name=""/>
        <p:cNvGrpSpPr/>
        <p:nvPr/>
      </p:nvGrpSpPr>
      <p:grpSpPr>
        <a:xfrm>
          <a:off x="0" y="0"/>
          <a:ext cx="0" cy="0"/>
          <a:chOff x="0" y="0"/>
          <a:chExt cx="0" cy="0"/>
        </a:xfrm>
      </p:grpSpPr>
      <p:sp>
        <p:nvSpPr>
          <p:cNvPr id="10" name="Title 1"/>
          <p:cNvSpPr>
            <a:spLocks noGrp="1"/>
          </p:cNvSpPr>
          <p:nvPr>
            <p:ph type="title"/>
          </p:nvPr>
        </p:nvSpPr>
        <p:spPr>
          <a:xfrm>
            <a:off x="406422" y="280106"/>
            <a:ext cx="11623632" cy="1165754"/>
          </a:xfrm>
          <a:prstGeom prst="rect">
            <a:avLst/>
          </a:prstGeom>
        </p:spPr>
        <p:txBody>
          <a:bodyPr/>
          <a:lstStyle>
            <a:lvl1pPr>
              <a:defRPr b="1">
                <a:solidFill>
                  <a:srgbClr val="253746"/>
                </a:solidFill>
                <a:latin typeface="+mj-lt"/>
                <a:cs typeface="Core Sans NR 35 Light"/>
              </a:defRPr>
            </a:lvl1pPr>
          </a:lstStyle>
          <a:p>
            <a:r>
              <a:rPr lang="en-US"/>
              <a:t>Click to edit Master title style</a:t>
            </a:r>
            <a:endParaRPr lang="en-US" dirty="0"/>
          </a:p>
        </p:txBody>
      </p:sp>
    </p:spTree>
    <p:extLst>
      <p:ext uri="{BB962C8B-B14F-4D97-AF65-F5344CB8AC3E}">
        <p14:creationId xmlns:p14="http://schemas.microsoft.com/office/powerpoint/2010/main" val="3676708176"/>
      </p:ext>
    </p:extLst>
  </p:cSld>
  <p:clrMapOvr>
    <a:overrideClrMapping bg1="lt1" tx1="dk1" bg2="lt2" tx2="dk2" accent1="accent1" accent2="accent2" accent3="accent3" accent4="accent4" accent5="accent5" accent6="accent6" hlink="hlink" folHlink="folHlink"/>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Walkin">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
                    </a14:imgEffect>
                  </a14:imgLayer>
                </a14:imgProps>
              </a:ext>
              <a:ext uri="{28A0092B-C50C-407E-A947-70E740481C1C}">
                <a14:useLocalDpi xmlns:a14="http://schemas.microsoft.com/office/drawing/2010/main" val="0"/>
              </a:ext>
            </a:extLst>
          </a:blip>
          <a:stretch>
            <a:fillRect/>
          </a:stretch>
        </p:blipFill>
        <p:spPr bwMode="gray">
          <a:xfrm>
            <a:off x="10426344" y="6182440"/>
            <a:ext cx="1552931" cy="332660"/>
          </a:xfrm>
          <a:prstGeom prst="rect">
            <a:avLst/>
          </a:prstGeom>
        </p:spPr>
      </p:pic>
      <p:pic>
        <p:nvPicPr>
          <p:cNvPr id="5" name="Picture 4"/>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479280" y="493939"/>
            <a:ext cx="7142451" cy="1371600"/>
          </a:xfrm>
          <a:prstGeom prst="rect">
            <a:avLst/>
          </a:prstGeom>
        </p:spPr>
      </p:pic>
    </p:spTree>
    <p:extLst>
      <p:ext uri="{BB962C8B-B14F-4D97-AF65-F5344CB8AC3E}">
        <p14:creationId xmlns:p14="http://schemas.microsoft.com/office/powerpoint/2010/main" val="2152388997"/>
      </p:ext>
    </p:extLst>
  </p:cSld>
  <p:clrMapOvr>
    <a:masterClrMapping/>
  </p:clrMapOvr>
  <p:transition>
    <p:fade/>
  </p:transition>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itle Slide - ANIMATED">
    <p:bg bwMode="auto">
      <p:bgPr>
        <a:solidFill>
          <a:schemeClr val="accent2"/>
        </a:solidFill>
        <a:effectLst/>
      </p:bgPr>
    </p:bg>
    <p:spTree>
      <p:nvGrpSpPr>
        <p:cNvPr id="1" name=""/>
        <p:cNvGrpSpPr/>
        <p:nvPr/>
      </p:nvGrpSpPr>
      <p:grpSpPr>
        <a:xfrm>
          <a:off x="0" y="0"/>
          <a:ext cx="0" cy="0"/>
          <a:chOff x="0" y="0"/>
          <a:chExt cx="0" cy="0"/>
        </a:xfrm>
      </p:grpSpPr>
      <p:sp>
        <p:nvSpPr>
          <p:cNvPr id="12" name="Rectangle 5"/>
          <p:cNvSpPr>
            <a:spLocks noChangeArrowheads="1"/>
          </p:cNvSpPr>
          <p:nvPr userDrawn="1"/>
        </p:nvSpPr>
        <p:spPr bwMode="auto">
          <a:xfrm>
            <a:off x="3175" y="4395788"/>
            <a:ext cx="12433300" cy="2601913"/>
          </a:xfrm>
          <a:prstGeom prst="rect">
            <a:avLst/>
          </a:prstGeom>
          <a:solidFill>
            <a:srgbClr val="4DA0E2"/>
          </a:solidFill>
          <a:ln>
            <a:noFill/>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0" name="Rectangle 7"/>
          <p:cNvSpPr>
            <a:spLocks noChangeArrowheads="1"/>
          </p:cNvSpPr>
          <p:nvPr userDrawn="1"/>
        </p:nvSpPr>
        <p:spPr bwMode="auto">
          <a:xfrm>
            <a:off x="0" y="5843588"/>
            <a:ext cx="12433301" cy="1154113"/>
          </a:xfrm>
          <a:prstGeom prst="rect">
            <a:avLst/>
          </a:prstGeom>
          <a:solidFill>
            <a:srgbClr val="00188F"/>
          </a:solidFill>
          <a:ln>
            <a:noFill/>
          </a:ln>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1" name="Rectangle 8"/>
          <p:cNvSpPr>
            <a:spLocks noChangeArrowheads="1"/>
          </p:cNvSpPr>
          <p:nvPr userDrawn="1"/>
        </p:nvSpPr>
        <p:spPr bwMode="auto">
          <a:xfrm>
            <a:off x="3175" y="3409950"/>
            <a:ext cx="12430127" cy="282575"/>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3" name="Rectangle 12"/>
          <p:cNvSpPr/>
          <p:nvPr userDrawn="1"/>
        </p:nvSpPr>
        <p:spPr bwMode="white">
          <a:xfrm>
            <a:off x="0" y="-318"/>
            <a:ext cx="12435840" cy="699516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6540" y="3954457"/>
            <a:ext cx="6399213" cy="1830388"/>
          </a:xfrm>
          <a:noFill/>
        </p:spPr>
        <p:txBody>
          <a:bodyPr lIns="146304" tIns="109728" rIns="146304" bIns="109728">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2117165"/>
            <a:ext cx="10058336" cy="1837298"/>
          </a:xfrm>
          <a:noFill/>
        </p:spPr>
        <p:txBody>
          <a:bodyPr lIns="146304" tIns="91440" rIns="146304" bIns="91440" anchor="t" anchorCtr="0"/>
          <a:lstStyle>
            <a:lvl1pPr>
              <a:defRPr sz="6000" spc="-100"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val="0"/>
              </a:ext>
            </a:extLst>
          </a:blip>
          <a:stretch>
            <a:fillRect/>
          </a:stretch>
        </p:blipFill>
        <p:spPr bwMode="black">
          <a:xfrm>
            <a:off x="458332" y="6182440"/>
            <a:ext cx="1552931" cy="332660"/>
          </a:xfrm>
          <a:prstGeom prst="rect">
            <a:avLst/>
          </a:prstGeom>
        </p:spPr>
      </p:pic>
      <p:sp>
        <p:nvSpPr>
          <p:cNvPr id="8" name="Rectangle 6"/>
          <p:cNvSpPr>
            <a:spLocks noChangeArrowheads="1"/>
          </p:cNvSpPr>
          <p:nvPr userDrawn="1"/>
        </p:nvSpPr>
        <p:spPr bwMode="auto">
          <a:xfrm>
            <a:off x="3175" y="4395788"/>
            <a:ext cx="12433300" cy="2601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4"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150"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a:ea typeface="+mn-ea"/>
                <a:cs typeface="+mn-cs"/>
              </a:rPr>
              <a:t>MICROSOFT CONFIDENTIAL – INTERNAL ONLY</a:t>
            </a:r>
          </a:p>
        </p:txBody>
      </p:sp>
      <p:sp>
        <p:nvSpPr>
          <p:cNvPr id="17" name="Text Placeholder 16"/>
          <p:cNvSpPr>
            <a:spLocks noGrp="1"/>
          </p:cNvSpPr>
          <p:nvPr>
            <p:ph type="body" sz="quarter" idx="13" hasCustomPrompt="1"/>
          </p:nvPr>
        </p:nvSpPr>
        <p:spPr>
          <a:xfrm>
            <a:off x="274638" y="296863"/>
            <a:ext cx="3657600" cy="461665"/>
          </a:xfrm>
        </p:spPr>
        <p:txBody>
          <a:bodyPr/>
          <a:lstStyle>
            <a:lvl1pPr marL="0" indent="0">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Session Code</a:t>
            </a:r>
          </a:p>
        </p:txBody>
      </p:sp>
      <p:sp>
        <p:nvSpPr>
          <p:cNvPr id="15" name="Text Placeholder 16"/>
          <p:cNvSpPr>
            <a:spLocks noGrp="1"/>
          </p:cNvSpPr>
          <p:nvPr>
            <p:ph type="body" sz="quarter" idx="14" hasCustomPrompt="1"/>
          </p:nvPr>
        </p:nvSpPr>
        <p:spPr>
          <a:xfrm>
            <a:off x="8504239" y="296863"/>
            <a:ext cx="3657600" cy="461665"/>
          </a:xfrm>
        </p:spPr>
        <p:txBody>
          <a:bodyPr/>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Yammer hashtag</a:t>
            </a:r>
          </a:p>
        </p:txBody>
      </p:sp>
    </p:spTree>
    <p:extLst>
      <p:ext uri="{BB962C8B-B14F-4D97-AF65-F5344CB8AC3E}">
        <p14:creationId xmlns:p14="http://schemas.microsoft.com/office/powerpoint/2010/main" val="4199897567"/>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1.34362E-6 L -3.90605E-7 -1.3436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1.34362E-6 L -3.90605E-7 -1.34362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6"/>
                                        </p:tgtEl>
                                        <p:attrNameLst>
                                          <p:attrName>style.visibility</p:attrName>
                                        </p:attrNameLst>
                                      </p:cBhvr>
                                      <p:to>
                                        <p:strVal val="visible"/>
                                      </p:to>
                                    </p:set>
                                    <p:animEffect transition="in" filter="fade">
                                      <p:cBhvr>
                                        <p:cTn id="29" dur="950"/>
                                        <p:tgtEl>
                                          <p:spTgt spid="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6"/>
                                        </p:tgtEl>
                                      </p:cBhvr>
                                      <p:by x="95000" y="95000"/>
                                    </p:animScale>
                                  </p:childTnLst>
                                </p:cTn>
                              </p:par>
                              <p:par>
                                <p:cTn id="34" presetID="10" presetClass="entr" presetSubtype="0" fill="hold" grpId="0" nodeType="withEffect">
                                  <p:stCondLst>
                                    <p:cond delay="1000"/>
                                  </p:stCondLst>
                                  <p:childTnLst>
                                    <p:set>
                                      <p:cBhvr>
                                        <p:cTn id="35" dur="1" fill="hold">
                                          <p:stCondLst>
                                            <p:cond delay="0"/>
                                          </p:stCondLst>
                                        </p:cTn>
                                        <p:tgtEl>
                                          <p:spTgt spid="14"/>
                                        </p:tgtEl>
                                        <p:attrNameLst>
                                          <p:attrName>style.visibility</p:attrName>
                                        </p:attrNameLst>
                                      </p:cBhvr>
                                      <p:to>
                                        <p:strVal val="visible"/>
                                      </p:to>
                                    </p:set>
                                    <p:animEffect transition="in" filter="fade">
                                      <p:cBhvr>
                                        <p:cTn id="36" dur="950"/>
                                        <p:tgtEl>
                                          <p:spTgt spid="14"/>
                                        </p:tgtEl>
                                      </p:cBhvr>
                                    </p:animEffect>
                                  </p:childTnLst>
                                </p:cTn>
                              </p:par>
                              <p:par>
                                <p:cTn id="37" presetID="63" presetClass="path" presetSubtype="0" decel="100000" fill="hold" grpId="1" nodeType="withEffect">
                                  <p:stCondLst>
                                    <p:cond delay="1000"/>
                                  </p:stCondLst>
                                  <p:childTnLst>
                                    <p:animMotion origin="layout" path="M -0.01455 -1.34362E-6 L -3.90605E-7 -1.34362E-6 " pathEditMode="relative" rAng="0" ptsTypes="AA">
                                      <p:cBhvr>
                                        <p:cTn id="38" dur="950" fill="hold"/>
                                        <p:tgtEl>
                                          <p:spTgt spid="14"/>
                                        </p:tgtEl>
                                        <p:attrNameLst>
                                          <p:attrName>ppt_x</p:attrName>
                                          <p:attrName>ppt_y</p:attrName>
                                        </p:attrNameLst>
                                      </p:cBhvr>
                                      <p:rCtr x="728" y="0"/>
                                    </p:animMotion>
                                  </p:childTnLst>
                                </p:cTn>
                              </p:par>
                              <p:par>
                                <p:cTn id="39" presetID="6" presetClass="emph" presetSubtype="0" accel="100000" autoRev="1" fill="hold" grpId="2" nodeType="withEffect">
                                  <p:stCondLst>
                                    <p:cond delay="300"/>
                                  </p:stCondLst>
                                  <p:childTnLst>
                                    <p:animScale>
                                      <p:cBhvr>
                                        <p:cTn id="40" dur="500" fill="hold"/>
                                        <p:tgtEl>
                                          <p:spTgt spid="14"/>
                                        </p:tgtEl>
                                      </p:cBhvr>
                                      <p:by x="95000" y="95000"/>
                                    </p:animScale>
                                  </p:childTnLst>
                                </p:cTn>
                              </p:par>
                              <p:par>
                                <p:cTn id="41" presetID="10" presetClass="entr" presetSubtype="0" fill="hold" grpId="0" nodeType="withEffect">
                                  <p:stCondLst>
                                    <p:cond delay="700"/>
                                  </p:stCondLst>
                                  <p:childTnLst>
                                    <p:set>
                                      <p:cBhvr>
                                        <p:cTn id="42" dur="1" fill="hold">
                                          <p:stCondLst>
                                            <p:cond delay="0"/>
                                          </p:stCondLst>
                                        </p:cTn>
                                        <p:tgtEl>
                                          <p:spTgt spid="17"/>
                                        </p:tgtEl>
                                        <p:attrNameLst>
                                          <p:attrName>style.visibility</p:attrName>
                                        </p:attrNameLst>
                                      </p:cBhvr>
                                      <p:to>
                                        <p:strVal val="visible"/>
                                      </p:to>
                                    </p:set>
                                    <p:animEffect transition="in" filter="fade">
                                      <p:cBhvr>
                                        <p:cTn id="43" dur="950"/>
                                        <p:tgtEl>
                                          <p:spTgt spid="17"/>
                                        </p:tgtEl>
                                      </p:cBhvr>
                                    </p:animEffect>
                                  </p:childTnLst>
                                </p:cTn>
                              </p:par>
                              <p:par>
                                <p:cTn id="44" presetID="63" presetClass="path" presetSubtype="0" decel="100000" fill="hold" grpId="1" nodeType="withEffect">
                                  <p:stCondLst>
                                    <p:cond delay="700"/>
                                  </p:stCondLst>
                                  <p:childTnLst>
                                    <p:animMotion origin="layout" path="M -0.01455 -1.34362E-6 L -3.90605E-7 -1.34362E-6 " pathEditMode="relative" rAng="0" ptsTypes="AA">
                                      <p:cBhvr>
                                        <p:cTn id="45" dur="950" fill="hold"/>
                                        <p:tgtEl>
                                          <p:spTgt spid="17"/>
                                        </p:tgtEl>
                                        <p:attrNameLst>
                                          <p:attrName>ppt_x</p:attrName>
                                          <p:attrName>ppt_y</p:attrName>
                                        </p:attrNameLst>
                                      </p:cBhvr>
                                      <p:rCtr x="728" y="0"/>
                                    </p:animMotion>
                                  </p:childTnLst>
                                </p:cTn>
                              </p:par>
                              <p:par>
                                <p:cTn id="46" presetID="6" presetClass="emph" presetSubtype="0" accel="100000" autoRev="1" fill="hold" grpId="2" nodeType="withEffect">
                                  <p:stCondLst>
                                    <p:cond delay="0"/>
                                  </p:stCondLst>
                                  <p:childTnLst>
                                    <p:animScale>
                                      <p:cBhvr>
                                        <p:cTn id="47" dur="500" fill="hold"/>
                                        <p:tgtEl>
                                          <p:spTgt spid="17"/>
                                        </p:tgtEl>
                                      </p:cBhvr>
                                      <p:by x="95000" y="95000"/>
                                    </p:animScale>
                                  </p:childTnLst>
                                </p:cTn>
                              </p:par>
                              <p:par>
                                <p:cTn id="48" presetID="10" presetClass="entr" presetSubtype="0" fill="hold" grpId="0" nodeType="withEffect">
                                  <p:stCondLst>
                                    <p:cond delay="700"/>
                                  </p:stCondLst>
                                  <p:childTnLst>
                                    <p:set>
                                      <p:cBhvr>
                                        <p:cTn id="49" dur="1" fill="hold">
                                          <p:stCondLst>
                                            <p:cond delay="0"/>
                                          </p:stCondLst>
                                        </p:cTn>
                                        <p:tgtEl>
                                          <p:spTgt spid="15"/>
                                        </p:tgtEl>
                                        <p:attrNameLst>
                                          <p:attrName>style.visibility</p:attrName>
                                        </p:attrNameLst>
                                      </p:cBhvr>
                                      <p:to>
                                        <p:strVal val="visible"/>
                                      </p:to>
                                    </p:set>
                                    <p:animEffect transition="in" filter="fade">
                                      <p:cBhvr>
                                        <p:cTn id="50" dur="950"/>
                                        <p:tgtEl>
                                          <p:spTgt spid="15"/>
                                        </p:tgtEl>
                                      </p:cBhvr>
                                    </p:animEffect>
                                  </p:childTnLst>
                                </p:cTn>
                              </p:par>
                              <p:par>
                                <p:cTn id="51" presetID="63" presetClass="path" presetSubtype="0" decel="100000" fill="hold" grpId="1" nodeType="withEffect">
                                  <p:stCondLst>
                                    <p:cond delay="700"/>
                                  </p:stCondLst>
                                  <p:childTnLst>
                                    <p:animMotion origin="layout" path="M -0.01455 -1.34362E-6 L -3.90605E-7 -1.34362E-6 " pathEditMode="relative" rAng="0" ptsTypes="AA">
                                      <p:cBhvr>
                                        <p:cTn id="52" dur="950" fill="hold"/>
                                        <p:tgtEl>
                                          <p:spTgt spid="15"/>
                                        </p:tgtEl>
                                        <p:attrNameLst>
                                          <p:attrName>ppt_x</p:attrName>
                                          <p:attrName>ppt_y</p:attrName>
                                        </p:attrNameLst>
                                      </p:cBhvr>
                                      <p:rCtr x="728" y="0"/>
                                    </p:animMotion>
                                  </p:childTnLst>
                                </p:cTn>
                              </p:par>
                              <p:par>
                                <p:cTn id="53" presetID="6" presetClass="emph" presetSubtype="0" accel="100000" autoRev="1" fill="hold" grpId="2" nodeType="withEffect">
                                  <p:stCondLst>
                                    <p:cond delay="0"/>
                                  </p:stCondLst>
                                  <p:childTnLst>
                                    <p:animScale>
                                      <p:cBhvr>
                                        <p:cTn id="54" dur="500" fill="hold"/>
                                        <p:tgtEl>
                                          <p:spTgt spid="15"/>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1.34362E-6 L -3.90605E-7 -1.34362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P spid="14" grpId="0"/>
      <p:bldP spid="14" grpId="1"/>
      <p:bldP spid="14" grpId="2"/>
      <p:bldP spid="17" grpId="0">
        <p:tmplLst>
          <p:tmpl>
            <p:tnLst>
              <p:par>
                <p:cTn presetID="10" presetClass="entr" presetSubtype="0" fill="hold" nodeType="withEffect">
                  <p:stCondLst>
                    <p:cond delay="700"/>
                  </p:stCondLst>
                  <p:childTnLst>
                    <p:set>
                      <p:cBhvr>
                        <p:cTn dur="1" fill="hold">
                          <p:stCondLst>
                            <p:cond delay="0"/>
                          </p:stCondLst>
                        </p:cTn>
                        <p:tgtEl>
                          <p:spTgt spid="17"/>
                        </p:tgtEl>
                        <p:attrNameLst>
                          <p:attrName>style.visibility</p:attrName>
                        </p:attrNameLst>
                      </p:cBhvr>
                      <p:to>
                        <p:strVal val="visible"/>
                      </p:to>
                    </p:set>
                    <p:animEffect transition="in" filter="fade">
                      <p:cBhvr>
                        <p:cTn dur="950"/>
                        <p:tgtEl>
                          <p:spTgt spid="17"/>
                        </p:tgtEl>
                      </p:cBhvr>
                    </p:animEffect>
                  </p:childTnLst>
                </p:cTn>
              </p:par>
            </p:tnLst>
          </p:tmpl>
        </p:tmplLst>
      </p:bldP>
      <p:bldP spid="17" grpId="1"/>
      <p:bldP spid="17" grpId="2"/>
      <p:bldP spid="15" grpId="0">
        <p:tmplLst>
          <p:tmpl>
            <p:tnLst>
              <p:par>
                <p:cTn presetID="10" presetClass="entr" presetSubtype="0" fill="hold" nodeType="withEffect">
                  <p:stCondLst>
                    <p:cond delay="700"/>
                  </p:stCondLst>
                  <p:childTnLst>
                    <p:set>
                      <p:cBhvr>
                        <p:cTn dur="1" fill="hold">
                          <p:stCondLst>
                            <p:cond delay="0"/>
                          </p:stCondLst>
                        </p:cTn>
                        <p:tgtEl>
                          <p:spTgt spid="15"/>
                        </p:tgtEl>
                        <p:attrNameLst>
                          <p:attrName>style.visibility</p:attrName>
                        </p:attrNameLst>
                      </p:cBhvr>
                      <p:to>
                        <p:strVal val="visible"/>
                      </p:to>
                    </p:set>
                    <p:animEffect transition="in" filter="fade">
                      <p:cBhvr>
                        <p:cTn dur="950"/>
                        <p:tgtEl>
                          <p:spTgt spid="15"/>
                        </p:tgtEl>
                      </p:cBhvr>
                    </p:animEffect>
                  </p:childTnLst>
                </p:cTn>
              </p:par>
            </p:tnLst>
          </p:tmpl>
        </p:tmplLst>
      </p:bldP>
      <p:bldP spid="15" grpId="1"/>
      <p:bldP spid="15" grpId="2"/>
    </p:bldLst>
  </p:timing>
  <p:extLst mod="1">
    <p:ext uri="{DCECCB84-F9BA-43D5-87BE-67443E8EF086}">
      <p15:sldGuideLst xmlns:p15="http://schemas.microsoft.com/office/powerpoint/2012/main">
        <p15:guide id="4" orient="horz" pos="4406">
          <p15:clr>
            <a:srgbClr val="C35EA4"/>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1_Title Slide - STATIC">
    <p:bg>
      <p:bgPr>
        <a:solidFill>
          <a:schemeClr val="accent2"/>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954457"/>
            <a:ext cx="6399213" cy="1830388"/>
          </a:xfrm>
          <a:noFill/>
        </p:spPr>
        <p:txBody>
          <a:bodyPr lIns="146304" tIns="109728" rIns="146304" bIns="109728">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2117165"/>
            <a:ext cx="10058336" cy="1837298"/>
          </a:xfrm>
          <a:noFill/>
        </p:spPr>
        <p:txBody>
          <a:bodyPr lIns="146304" tIns="91440" rIns="146304" bIns="91440" anchor="t" anchorCtr="0"/>
          <a:lstStyle>
            <a:lvl1pPr>
              <a:defRPr sz="6000" spc="-100"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val="0"/>
              </a:ext>
            </a:extLst>
          </a:blip>
          <a:stretch>
            <a:fillRect/>
          </a:stretch>
        </p:blipFill>
        <p:spPr bwMode="black">
          <a:xfrm>
            <a:off x="458332" y="6182440"/>
            <a:ext cx="1552931" cy="332660"/>
          </a:xfrm>
          <a:prstGeom prst="rect">
            <a:avLst/>
          </a:prstGeom>
        </p:spPr>
      </p:pic>
      <p:sp>
        <p:nvSpPr>
          <p:cNvPr id="8" name="Rectangle 6"/>
          <p:cNvSpPr>
            <a:spLocks noChangeArrowheads="1"/>
          </p:cNvSpPr>
          <p:nvPr userDrawn="1"/>
        </p:nvSpPr>
        <p:spPr bwMode="auto">
          <a:xfrm>
            <a:off x="3175" y="4395788"/>
            <a:ext cx="12433300" cy="2601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4" name="TextBox 7"/>
          <p:cNvSpPr txBox="1"/>
          <p:nvPr userDrawn="1"/>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150"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a:ea typeface="+mn-ea"/>
                <a:cs typeface="+mn-cs"/>
              </a:rPr>
              <a:t>MICROSOFT CONFIDENTIAL – INTERNAL ONLY</a:t>
            </a:r>
          </a:p>
        </p:txBody>
      </p:sp>
      <p:sp>
        <p:nvSpPr>
          <p:cNvPr id="15" name="Text Placeholder 16"/>
          <p:cNvSpPr>
            <a:spLocks noGrp="1"/>
          </p:cNvSpPr>
          <p:nvPr>
            <p:ph type="body" sz="quarter" idx="13" hasCustomPrompt="1"/>
          </p:nvPr>
        </p:nvSpPr>
        <p:spPr>
          <a:xfrm>
            <a:off x="274638" y="296863"/>
            <a:ext cx="3657600" cy="461665"/>
          </a:xfrm>
        </p:spPr>
        <p:txBody>
          <a:bodyPr/>
          <a:lstStyle>
            <a:lvl1pPr marL="0" indent="0">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Session Code</a:t>
            </a:r>
          </a:p>
        </p:txBody>
      </p:sp>
      <p:sp>
        <p:nvSpPr>
          <p:cNvPr id="10" name="Text Placeholder 16"/>
          <p:cNvSpPr>
            <a:spLocks noGrp="1"/>
          </p:cNvSpPr>
          <p:nvPr>
            <p:ph type="body" sz="quarter" idx="14" hasCustomPrompt="1"/>
          </p:nvPr>
        </p:nvSpPr>
        <p:spPr>
          <a:xfrm>
            <a:off x="8504239" y="296863"/>
            <a:ext cx="3657600" cy="461665"/>
          </a:xfrm>
        </p:spPr>
        <p:txBody>
          <a:bodyPr/>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Yammer hashtag</a:t>
            </a:r>
          </a:p>
        </p:txBody>
      </p:sp>
    </p:spTree>
    <p:extLst>
      <p:ext uri="{BB962C8B-B14F-4D97-AF65-F5344CB8AC3E}">
        <p14:creationId xmlns:p14="http://schemas.microsoft.com/office/powerpoint/2010/main" val="29028924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image" Target="../media/image1.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6.xml"/><Relationship Id="rId13" Type="http://schemas.openxmlformats.org/officeDocument/2006/relationships/slideLayout" Target="../slideLayouts/slideLayout41.xml"/><Relationship Id="rId18" Type="http://schemas.openxmlformats.org/officeDocument/2006/relationships/slideLayout" Target="../slideLayouts/slideLayout46.xml"/><Relationship Id="rId3" Type="http://schemas.openxmlformats.org/officeDocument/2006/relationships/slideLayout" Target="../slideLayouts/slideLayout31.xml"/><Relationship Id="rId21" Type="http://schemas.openxmlformats.org/officeDocument/2006/relationships/slideLayout" Target="../slideLayouts/slideLayout49.xml"/><Relationship Id="rId7" Type="http://schemas.openxmlformats.org/officeDocument/2006/relationships/slideLayout" Target="../slideLayouts/slideLayout35.xml"/><Relationship Id="rId12" Type="http://schemas.openxmlformats.org/officeDocument/2006/relationships/slideLayout" Target="../slideLayouts/slideLayout40.xml"/><Relationship Id="rId17" Type="http://schemas.openxmlformats.org/officeDocument/2006/relationships/slideLayout" Target="../slideLayouts/slideLayout45.xml"/><Relationship Id="rId2" Type="http://schemas.openxmlformats.org/officeDocument/2006/relationships/slideLayout" Target="../slideLayouts/slideLayout30.xml"/><Relationship Id="rId16" Type="http://schemas.openxmlformats.org/officeDocument/2006/relationships/slideLayout" Target="../slideLayouts/slideLayout44.xml"/><Relationship Id="rId20" Type="http://schemas.openxmlformats.org/officeDocument/2006/relationships/slideLayout" Target="../slideLayouts/slideLayout48.xml"/><Relationship Id="rId1" Type="http://schemas.openxmlformats.org/officeDocument/2006/relationships/slideLayout" Target="../slideLayouts/slideLayout29.xml"/><Relationship Id="rId6" Type="http://schemas.openxmlformats.org/officeDocument/2006/relationships/slideLayout" Target="../slideLayouts/slideLayout34.xml"/><Relationship Id="rId11" Type="http://schemas.openxmlformats.org/officeDocument/2006/relationships/slideLayout" Target="../slideLayouts/slideLayout39.xml"/><Relationship Id="rId5" Type="http://schemas.openxmlformats.org/officeDocument/2006/relationships/slideLayout" Target="../slideLayouts/slideLayout33.xml"/><Relationship Id="rId15" Type="http://schemas.openxmlformats.org/officeDocument/2006/relationships/slideLayout" Target="../slideLayouts/slideLayout43.xml"/><Relationship Id="rId23" Type="http://schemas.openxmlformats.org/officeDocument/2006/relationships/image" Target="../media/image1.png"/><Relationship Id="rId10" Type="http://schemas.openxmlformats.org/officeDocument/2006/relationships/slideLayout" Target="../slideLayouts/slideLayout38.xml"/><Relationship Id="rId19" Type="http://schemas.openxmlformats.org/officeDocument/2006/relationships/slideLayout" Target="../slideLayouts/slideLayout47.xml"/><Relationship Id="rId4" Type="http://schemas.openxmlformats.org/officeDocument/2006/relationships/slideLayout" Target="../slideLayouts/slideLayout32.xml"/><Relationship Id="rId9" Type="http://schemas.openxmlformats.org/officeDocument/2006/relationships/slideLayout" Target="../slideLayouts/slideLayout37.xml"/><Relationship Id="rId14" Type="http://schemas.openxmlformats.org/officeDocument/2006/relationships/slideLayout" Target="../slideLayouts/slideLayout42.xml"/><Relationship Id="rId22"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7.xml"/><Relationship Id="rId13" Type="http://schemas.openxmlformats.org/officeDocument/2006/relationships/slideLayout" Target="../slideLayouts/slideLayout62.xml"/><Relationship Id="rId18" Type="http://schemas.openxmlformats.org/officeDocument/2006/relationships/slideLayout" Target="../slideLayouts/slideLayout67.xml"/><Relationship Id="rId3" Type="http://schemas.openxmlformats.org/officeDocument/2006/relationships/slideLayout" Target="../slideLayouts/slideLayout52.xml"/><Relationship Id="rId21" Type="http://schemas.openxmlformats.org/officeDocument/2006/relationships/slideLayout" Target="../slideLayouts/slideLayout70.xml"/><Relationship Id="rId7" Type="http://schemas.openxmlformats.org/officeDocument/2006/relationships/slideLayout" Target="../slideLayouts/slideLayout56.xml"/><Relationship Id="rId12" Type="http://schemas.openxmlformats.org/officeDocument/2006/relationships/slideLayout" Target="../slideLayouts/slideLayout61.xml"/><Relationship Id="rId17" Type="http://schemas.openxmlformats.org/officeDocument/2006/relationships/slideLayout" Target="../slideLayouts/slideLayout66.xml"/><Relationship Id="rId25" Type="http://schemas.openxmlformats.org/officeDocument/2006/relationships/image" Target="../media/image1.png"/><Relationship Id="rId2" Type="http://schemas.openxmlformats.org/officeDocument/2006/relationships/slideLayout" Target="../slideLayouts/slideLayout51.xml"/><Relationship Id="rId16" Type="http://schemas.openxmlformats.org/officeDocument/2006/relationships/slideLayout" Target="../slideLayouts/slideLayout65.xml"/><Relationship Id="rId20" Type="http://schemas.openxmlformats.org/officeDocument/2006/relationships/slideLayout" Target="../slideLayouts/slideLayout69.xml"/><Relationship Id="rId1" Type="http://schemas.openxmlformats.org/officeDocument/2006/relationships/slideLayout" Target="../slideLayouts/slideLayout50.xml"/><Relationship Id="rId6" Type="http://schemas.openxmlformats.org/officeDocument/2006/relationships/slideLayout" Target="../slideLayouts/slideLayout55.xml"/><Relationship Id="rId11" Type="http://schemas.openxmlformats.org/officeDocument/2006/relationships/slideLayout" Target="../slideLayouts/slideLayout60.xml"/><Relationship Id="rId24" Type="http://schemas.openxmlformats.org/officeDocument/2006/relationships/theme" Target="../theme/theme3.xml"/><Relationship Id="rId5" Type="http://schemas.openxmlformats.org/officeDocument/2006/relationships/slideLayout" Target="../slideLayouts/slideLayout54.xml"/><Relationship Id="rId15" Type="http://schemas.openxmlformats.org/officeDocument/2006/relationships/slideLayout" Target="../slideLayouts/slideLayout64.xml"/><Relationship Id="rId23" Type="http://schemas.openxmlformats.org/officeDocument/2006/relationships/slideLayout" Target="../slideLayouts/slideLayout72.xml"/><Relationship Id="rId10" Type="http://schemas.openxmlformats.org/officeDocument/2006/relationships/slideLayout" Target="../slideLayouts/slideLayout59.xml"/><Relationship Id="rId19" Type="http://schemas.openxmlformats.org/officeDocument/2006/relationships/slideLayout" Target="../slideLayouts/slideLayout68.xml"/><Relationship Id="rId4" Type="http://schemas.openxmlformats.org/officeDocument/2006/relationships/slideLayout" Target="../slideLayouts/slideLayout53.xml"/><Relationship Id="rId9" Type="http://schemas.openxmlformats.org/officeDocument/2006/relationships/slideLayout" Target="../slideLayouts/slideLayout58.xml"/><Relationship Id="rId14" Type="http://schemas.openxmlformats.org/officeDocument/2006/relationships/slideLayout" Target="../slideLayouts/slideLayout63.xml"/><Relationship Id="rId22" Type="http://schemas.openxmlformats.org/officeDocument/2006/relationships/slideLayout" Target="../slideLayouts/slideLayout71.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80.xml"/><Relationship Id="rId13" Type="http://schemas.openxmlformats.org/officeDocument/2006/relationships/slideLayout" Target="../slideLayouts/slideLayout85.xml"/><Relationship Id="rId18" Type="http://schemas.openxmlformats.org/officeDocument/2006/relationships/slideLayout" Target="../slideLayouts/slideLayout90.xml"/><Relationship Id="rId26" Type="http://schemas.openxmlformats.org/officeDocument/2006/relationships/image" Target="../media/image1.png"/><Relationship Id="rId3" Type="http://schemas.openxmlformats.org/officeDocument/2006/relationships/slideLayout" Target="../slideLayouts/slideLayout75.xml"/><Relationship Id="rId21" Type="http://schemas.openxmlformats.org/officeDocument/2006/relationships/slideLayout" Target="../slideLayouts/slideLayout93.xml"/><Relationship Id="rId7" Type="http://schemas.openxmlformats.org/officeDocument/2006/relationships/slideLayout" Target="../slideLayouts/slideLayout79.xml"/><Relationship Id="rId12" Type="http://schemas.openxmlformats.org/officeDocument/2006/relationships/slideLayout" Target="../slideLayouts/slideLayout84.xml"/><Relationship Id="rId17" Type="http://schemas.openxmlformats.org/officeDocument/2006/relationships/slideLayout" Target="../slideLayouts/slideLayout89.xml"/><Relationship Id="rId25" Type="http://schemas.openxmlformats.org/officeDocument/2006/relationships/theme" Target="../theme/theme4.xml"/><Relationship Id="rId2" Type="http://schemas.openxmlformats.org/officeDocument/2006/relationships/slideLayout" Target="../slideLayouts/slideLayout74.xml"/><Relationship Id="rId16" Type="http://schemas.openxmlformats.org/officeDocument/2006/relationships/slideLayout" Target="../slideLayouts/slideLayout88.xml"/><Relationship Id="rId20" Type="http://schemas.openxmlformats.org/officeDocument/2006/relationships/slideLayout" Target="../slideLayouts/slideLayout92.xml"/><Relationship Id="rId1" Type="http://schemas.openxmlformats.org/officeDocument/2006/relationships/slideLayout" Target="../slideLayouts/slideLayout73.xml"/><Relationship Id="rId6" Type="http://schemas.openxmlformats.org/officeDocument/2006/relationships/slideLayout" Target="../slideLayouts/slideLayout78.xml"/><Relationship Id="rId11" Type="http://schemas.openxmlformats.org/officeDocument/2006/relationships/slideLayout" Target="../slideLayouts/slideLayout83.xml"/><Relationship Id="rId24" Type="http://schemas.openxmlformats.org/officeDocument/2006/relationships/slideLayout" Target="../slideLayouts/slideLayout96.xml"/><Relationship Id="rId5" Type="http://schemas.openxmlformats.org/officeDocument/2006/relationships/slideLayout" Target="../slideLayouts/slideLayout77.xml"/><Relationship Id="rId15" Type="http://schemas.openxmlformats.org/officeDocument/2006/relationships/slideLayout" Target="../slideLayouts/slideLayout87.xml"/><Relationship Id="rId23" Type="http://schemas.openxmlformats.org/officeDocument/2006/relationships/slideLayout" Target="../slideLayouts/slideLayout95.xml"/><Relationship Id="rId10" Type="http://schemas.openxmlformats.org/officeDocument/2006/relationships/slideLayout" Target="../slideLayouts/slideLayout82.xml"/><Relationship Id="rId19" Type="http://schemas.openxmlformats.org/officeDocument/2006/relationships/slideLayout" Target="../slideLayouts/slideLayout91.xml"/><Relationship Id="rId4" Type="http://schemas.openxmlformats.org/officeDocument/2006/relationships/slideLayout" Target="../slideLayouts/slideLayout76.xml"/><Relationship Id="rId9" Type="http://schemas.openxmlformats.org/officeDocument/2006/relationships/slideLayout" Target="../slideLayouts/slideLayout81.xml"/><Relationship Id="rId14" Type="http://schemas.openxmlformats.org/officeDocument/2006/relationships/slideLayout" Target="../slideLayouts/slideLayout86.xml"/><Relationship Id="rId22" Type="http://schemas.openxmlformats.org/officeDocument/2006/relationships/slideLayout" Target="../slideLayouts/slideLayout9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04.xml"/><Relationship Id="rId13" Type="http://schemas.openxmlformats.org/officeDocument/2006/relationships/slideLayout" Target="../slideLayouts/slideLayout109.xml"/><Relationship Id="rId18" Type="http://schemas.openxmlformats.org/officeDocument/2006/relationships/slideLayout" Target="../slideLayouts/slideLayout114.xml"/><Relationship Id="rId26" Type="http://schemas.openxmlformats.org/officeDocument/2006/relationships/slideLayout" Target="../slideLayouts/slideLayout122.xml"/><Relationship Id="rId3" Type="http://schemas.openxmlformats.org/officeDocument/2006/relationships/slideLayout" Target="../slideLayouts/slideLayout99.xml"/><Relationship Id="rId21" Type="http://schemas.openxmlformats.org/officeDocument/2006/relationships/slideLayout" Target="../slideLayouts/slideLayout117.xml"/><Relationship Id="rId7" Type="http://schemas.openxmlformats.org/officeDocument/2006/relationships/slideLayout" Target="../slideLayouts/slideLayout103.xml"/><Relationship Id="rId12" Type="http://schemas.openxmlformats.org/officeDocument/2006/relationships/slideLayout" Target="../slideLayouts/slideLayout108.xml"/><Relationship Id="rId17" Type="http://schemas.openxmlformats.org/officeDocument/2006/relationships/slideLayout" Target="../slideLayouts/slideLayout113.xml"/><Relationship Id="rId25" Type="http://schemas.openxmlformats.org/officeDocument/2006/relationships/slideLayout" Target="../slideLayouts/slideLayout121.xml"/><Relationship Id="rId33" Type="http://schemas.openxmlformats.org/officeDocument/2006/relationships/image" Target="../media/image1.png"/><Relationship Id="rId2" Type="http://schemas.openxmlformats.org/officeDocument/2006/relationships/slideLayout" Target="../slideLayouts/slideLayout98.xml"/><Relationship Id="rId16" Type="http://schemas.openxmlformats.org/officeDocument/2006/relationships/slideLayout" Target="../slideLayouts/slideLayout112.xml"/><Relationship Id="rId20" Type="http://schemas.openxmlformats.org/officeDocument/2006/relationships/slideLayout" Target="../slideLayouts/slideLayout116.xml"/><Relationship Id="rId29" Type="http://schemas.openxmlformats.org/officeDocument/2006/relationships/slideLayout" Target="../slideLayouts/slideLayout125.xml"/><Relationship Id="rId1" Type="http://schemas.openxmlformats.org/officeDocument/2006/relationships/slideLayout" Target="../slideLayouts/slideLayout97.xml"/><Relationship Id="rId6" Type="http://schemas.openxmlformats.org/officeDocument/2006/relationships/slideLayout" Target="../slideLayouts/slideLayout102.xml"/><Relationship Id="rId11" Type="http://schemas.openxmlformats.org/officeDocument/2006/relationships/slideLayout" Target="../slideLayouts/slideLayout107.xml"/><Relationship Id="rId24" Type="http://schemas.openxmlformats.org/officeDocument/2006/relationships/slideLayout" Target="../slideLayouts/slideLayout120.xml"/><Relationship Id="rId32" Type="http://schemas.openxmlformats.org/officeDocument/2006/relationships/theme" Target="../theme/theme5.xml"/><Relationship Id="rId5" Type="http://schemas.openxmlformats.org/officeDocument/2006/relationships/slideLayout" Target="../slideLayouts/slideLayout101.xml"/><Relationship Id="rId15" Type="http://schemas.openxmlformats.org/officeDocument/2006/relationships/slideLayout" Target="../slideLayouts/slideLayout111.xml"/><Relationship Id="rId23" Type="http://schemas.openxmlformats.org/officeDocument/2006/relationships/slideLayout" Target="../slideLayouts/slideLayout119.xml"/><Relationship Id="rId28" Type="http://schemas.openxmlformats.org/officeDocument/2006/relationships/slideLayout" Target="../slideLayouts/slideLayout124.xml"/><Relationship Id="rId10" Type="http://schemas.openxmlformats.org/officeDocument/2006/relationships/slideLayout" Target="../slideLayouts/slideLayout106.xml"/><Relationship Id="rId19" Type="http://schemas.openxmlformats.org/officeDocument/2006/relationships/slideLayout" Target="../slideLayouts/slideLayout115.xml"/><Relationship Id="rId31" Type="http://schemas.openxmlformats.org/officeDocument/2006/relationships/slideLayout" Target="../slideLayouts/slideLayout127.xml"/><Relationship Id="rId4" Type="http://schemas.openxmlformats.org/officeDocument/2006/relationships/slideLayout" Target="../slideLayouts/slideLayout100.xml"/><Relationship Id="rId9" Type="http://schemas.openxmlformats.org/officeDocument/2006/relationships/slideLayout" Target="../slideLayouts/slideLayout105.xml"/><Relationship Id="rId14" Type="http://schemas.openxmlformats.org/officeDocument/2006/relationships/slideLayout" Target="../slideLayouts/slideLayout110.xml"/><Relationship Id="rId22" Type="http://schemas.openxmlformats.org/officeDocument/2006/relationships/slideLayout" Target="../slideLayouts/slideLayout118.xml"/><Relationship Id="rId27" Type="http://schemas.openxmlformats.org/officeDocument/2006/relationships/slideLayout" Target="../slideLayouts/slideLayout123.xml"/><Relationship Id="rId30" Type="http://schemas.openxmlformats.org/officeDocument/2006/relationships/slideLayout" Target="../slideLayouts/slideLayout126.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35.xml"/><Relationship Id="rId13" Type="http://schemas.openxmlformats.org/officeDocument/2006/relationships/slideLayout" Target="../slideLayouts/slideLayout140.xml"/><Relationship Id="rId18" Type="http://schemas.openxmlformats.org/officeDocument/2006/relationships/slideLayout" Target="../slideLayouts/slideLayout145.xml"/><Relationship Id="rId3" Type="http://schemas.openxmlformats.org/officeDocument/2006/relationships/slideLayout" Target="../slideLayouts/slideLayout130.xml"/><Relationship Id="rId7" Type="http://schemas.openxmlformats.org/officeDocument/2006/relationships/slideLayout" Target="../slideLayouts/slideLayout134.xml"/><Relationship Id="rId12" Type="http://schemas.openxmlformats.org/officeDocument/2006/relationships/slideLayout" Target="../slideLayouts/slideLayout139.xml"/><Relationship Id="rId17" Type="http://schemas.openxmlformats.org/officeDocument/2006/relationships/slideLayout" Target="../slideLayouts/slideLayout144.xml"/><Relationship Id="rId2" Type="http://schemas.openxmlformats.org/officeDocument/2006/relationships/slideLayout" Target="../slideLayouts/slideLayout129.xml"/><Relationship Id="rId16" Type="http://schemas.openxmlformats.org/officeDocument/2006/relationships/slideLayout" Target="../slideLayouts/slideLayout143.xml"/><Relationship Id="rId20" Type="http://schemas.openxmlformats.org/officeDocument/2006/relationships/image" Target="../media/image19.png"/><Relationship Id="rId1" Type="http://schemas.openxmlformats.org/officeDocument/2006/relationships/slideLayout" Target="../slideLayouts/slideLayout128.xml"/><Relationship Id="rId6" Type="http://schemas.openxmlformats.org/officeDocument/2006/relationships/slideLayout" Target="../slideLayouts/slideLayout133.xml"/><Relationship Id="rId11" Type="http://schemas.openxmlformats.org/officeDocument/2006/relationships/slideLayout" Target="../slideLayouts/slideLayout138.xml"/><Relationship Id="rId5" Type="http://schemas.openxmlformats.org/officeDocument/2006/relationships/slideLayout" Target="../slideLayouts/slideLayout132.xml"/><Relationship Id="rId15" Type="http://schemas.openxmlformats.org/officeDocument/2006/relationships/slideLayout" Target="../slideLayouts/slideLayout142.xml"/><Relationship Id="rId10" Type="http://schemas.openxmlformats.org/officeDocument/2006/relationships/slideLayout" Target="../slideLayouts/slideLayout137.xml"/><Relationship Id="rId19" Type="http://schemas.openxmlformats.org/officeDocument/2006/relationships/theme" Target="../theme/theme6.xml"/><Relationship Id="rId4" Type="http://schemas.openxmlformats.org/officeDocument/2006/relationships/slideLayout" Target="../slideLayouts/slideLayout131.xml"/><Relationship Id="rId9" Type="http://schemas.openxmlformats.org/officeDocument/2006/relationships/slideLayout" Target="../slideLayouts/slideLayout136.xml"/><Relationship Id="rId14" Type="http://schemas.openxmlformats.org/officeDocument/2006/relationships/slideLayout" Target="../slideLayouts/slideLayout14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30"/>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1790270825"/>
      </p:ext>
    </p:extLst>
  </p:cSld>
  <p:clrMap bg1="lt1" tx1="dk1" bg2="lt2" tx2="dk2" accent1="accent1" accent2="accent2" accent3="accent3" accent4="accent4" accent5="accent5" accent6="accent6" hlink="hlink" folHlink="folHlink"/>
  <p:sldLayoutIdLst>
    <p:sldLayoutId id="2147484170" r:id="rId1"/>
    <p:sldLayoutId id="2147484167" r:id="rId2"/>
    <p:sldLayoutId id="2147484087" r:id="rId3"/>
    <p:sldLayoutId id="2147484098" r:id="rId4"/>
    <p:sldLayoutId id="2147484107" r:id="rId5"/>
    <p:sldLayoutId id="2147484086" r:id="rId6"/>
    <p:sldLayoutId id="2147484099" r:id="rId7"/>
    <p:sldLayoutId id="2147484100" r:id="rId8"/>
    <p:sldLayoutId id="2147484106" r:id="rId9"/>
    <p:sldLayoutId id="2147484089" r:id="rId10"/>
    <p:sldLayoutId id="2147484092" r:id="rId11"/>
    <p:sldLayoutId id="2147484105" r:id="rId12"/>
    <p:sldLayoutId id="2147484182" r:id="rId13"/>
    <p:sldLayoutId id="2147484130" r:id="rId14"/>
    <p:sldLayoutId id="2147484101" r:id="rId15"/>
    <p:sldLayoutId id="2147484102" r:id="rId16"/>
    <p:sldLayoutId id="2147484093" r:id="rId17"/>
    <p:sldLayoutId id="2147484127" r:id="rId18"/>
    <p:sldLayoutId id="2147484128" r:id="rId19"/>
    <p:sldLayoutId id="2147484129" r:id="rId20"/>
    <p:sldLayoutId id="2147484094" r:id="rId21"/>
    <p:sldLayoutId id="2147484195" r:id="rId22"/>
    <p:sldLayoutId id="2147484096" r:id="rId23"/>
    <p:sldLayoutId id="2147484367" r:id="rId24"/>
    <p:sldLayoutId id="2147484369" r:id="rId25"/>
    <p:sldLayoutId id="2147484370" r:id="rId26"/>
    <p:sldLayoutId id="2147484371" r:id="rId27"/>
    <p:sldLayoutId id="2147484372" r:id="rId28"/>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userDrawn="1"/>
        </p:nvPicPr>
        <p:blipFill>
          <a:blip r:embed="rId23"/>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3588427678"/>
      </p:ext>
    </p:extLst>
  </p:cSld>
  <p:clrMap bg1="dk1" tx1="lt1" bg2="dk2" tx2="lt2" accent1="accent1" accent2="accent2" accent3="accent3" accent4="accent4" accent5="accent5" accent6="accent6" hlink="hlink" folHlink="folHlink"/>
  <p:sldLayoutIdLst>
    <p:sldLayoutId id="2147484266" r:id="rId1"/>
    <p:sldLayoutId id="2147484236" r:id="rId2"/>
    <p:sldLayoutId id="2147484240" r:id="rId3"/>
    <p:sldLayoutId id="2147484241" r:id="rId4"/>
    <p:sldLayoutId id="2147484244" r:id="rId5"/>
    <p:sldLayoutId id="2147484245" r:id="rId6"/>
    <p:sldLayoutId id="2147484247" r:id="rId7"/>
    <p:sldLayoutId id="2147484249" r:id="rId8"/>
    <p:sldLayoutId id="2147484250" r:id="rId9"/>
    <p:sldLayoutId id="2147484264" r:id="rId10"/>
    <p:sldLayoutId id="2147484251" r:id="rId11"/>
    <p:sldLayoutId id="2147484252" r:id="rId12"/>
    <p:sldLayoutId id="2147484253" r:id="rId13"/>
    <p:sldLayoutId id="2147484254" r:id="rId14"/>
    <p:sldLayoutId id="2147484256" r:id="rId15"/>
    <p:sldLayoutId id="2147484257" r:id="rId16"/>
    <p:sldLayoutId id="2147484258" r:id="rId17"/>
    <p:sldLayoutId id="2147484259" r:id="rId18"/>
    <p:sldLayoutId id="2147484260" r:id="rId19"/>
    <p:sldLayoutId id="2147484261" r:id="rId20"/>
    <p:sldLayoutId id="2147484263" r:id="rId21"/>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accent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p:nvPicPr>
        <p:blipFill>
          <a:blip r:embed="rId25"/>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3174085090"/>
      </p:ext>
    </p:extLst>
  </p:cSld>
  <p:clrMap bg1="dk1" tx1="lt1" bg2="dk2" tx2="lt2" accent1="accent1" accent2="accent2" accent3="accent3" accent4="accent4" accent5="accent5" accent6="accent6" hlink="hlink" folHlink="folHlink"/>
  <p:sldLayoutIdLst>
    <p:sldLayoutId id="2147484268" r:id="rId1"/>
    <p:sldLayoutId id="2147484269" r:id="rId2"/>
    <p:sldLayoutId id="2147484270" r:id="rId3"/>
    <p:sldLayoutId id="2147484271" r:id="rId4"/>
    <p:sldLayoutId id="2147484272" r:id="rId5"/>
    <p:sldLayoutId id="2147484273" r:id="rId6"/>
    <p:sldLayoutId id="2147484274" r:id="rId7"/>
    <p:sldLayoutId id="2147484275" r:id="rId8"/>
    <p:sldLayoutId id="2147484276" r:id="rId9"/>
    <p:sldLayoutId id="2147484277" r:id="rId10"/>
    <p:sldLayoutId id="2147484278" r:id="rId11"/>
    <p:sldLayoutId id="2147484279" r:id="rId12"/>
    <p:sldLayoutId id="2147484280" r:id="rId13"/>
    <p:sldLayoutId id="2147484281" r:id="rId14"/>
    <p:sldLayoutId id="2147484282" r:id="rId15"/>
    <p:sldLayoutId id="2147484283" r:id="rId16"/>
    <p:sldLayoutId id="2147484284" r:id="rId17"/>
    <p:sldLayoutId id="2147484285" r:id="rId18"/>
    <p:sldLayoutId id="2147484286" r:id="rId19"/>
    <p:sldLayoutId id="2147484287" r:id="rId20"/>
    <p:sldLayoutId id="2147484288" r:id="rId21"/>
    <p:sldLayoutId id="2147484289" r:id="rId22"/>
    <p:sldLayoutId id="2147484290" r:id="rId23"/>
  </p:sldLayoutIdLst>
  <p:transition>
    <p:fade/>
  </p:transition>
  <p:hf sldNum="0" hdr="0" dt="0"/>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accent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p:nvPicPr>
        <p:blipFill>
          <a:blip r:embed="rId26"/>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3487687309"/>
      </p:ext>
    </p:extLst>
  </p:cSld>
  <p:clrMap bg1="dk1" tx1="lt1" bg2="dk2" tx2="lt2" accent1="accent1" accent2="accent2" accent3="accent3" accent4="accent4" accent5="accent5" accent6="accent6" hlink="hlink" folHlink="folHlink"/>
  <p:sldLayoutIdLst>
    <p:sldLayoutId id="2147484292" r:id="rId1"/>
    <p:sldLayoutId id="2147484293" r:id="rId2"/>
    <p:sldLayoutId id="2147484294" r:id="rId3"/>
    <p:sldLayoutId id="2147484295" r:id="rId4"/>
    <p:sldLayoutId id="2147484296" r:id="rId5"/>
    <p:sldLayoutId id="2147484297" r:id="rId6"/>
    <p:sldLayoutId id="2147484298" r:id="rId7"/>
    <p:sldLayoutId id="2147484299" r:id="rId8"/>
    <p:sldLayoutId id="2147484300" r:id="rId9"/>
    <p:sldLayoutId id="2147484301" r:id="rId10"/>
    <p:sldLayoutId id="2147484302" r:id="rId11"/>
    <p:sldLayoutId id="2147484303" r:id="rId12"/>
    <p:sldLayoutId id="2147484304" r:id="rId13"/>
    <p:sldLayoutId id="2147484305" r:id="rId14"/>
    <p:sldLayoutId id="2147484306" r:id="rId15"/>
    <p:sldLayoutId id="2147484307" r:id="rId16"/>
    <p:sldLayoutId id="2147484308" r:id="rId17"/>
    <p:sldLayoutId id="2147484309" r:id="rId18"/>
    <p:sldLayoutId id="2147484310" r:id="rId19"/>
    <p:sldLayoutId id="2147484311" r:id="rId20"/>
    <p:sldLayoutId id="2147484312" r:id="rId21"/>
    <p:sldLayoutId id="2147484313" r:id="rId22"/>
    <p:sldLayoutId id="2147484314" r:id="rId23"/>
    <p:sldLayoutId id="2147484315" r:id="rId24"/>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228302"/>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6" name="Picture 5"/>
          <p:cNvPicPr>
            <a:picLocks noChangeAspect="1"/>
          </p:cNvPicPr>
          <p:nvPr userDrawn="1"/>
        </p:nvPicPr>
        <p:blipFill>
          <a:blip r:embed="rId33"/>
          <a:stretch>
            <a:fillRect/>
          </a:stretch>
        </p:blipFill>
        <p:spPr>
          <a:xfrm rot="5400000">
            <a:off x="9489149" y="3050513"/>
            <a:ext cx="6995160" cy="894134"/>
          </a:xfrm>
          <a:prstGeom prst="rect">
            <a:avLst/>
          </a:prstGeom>
        </p:spPr>
      </p:pic>
    </p:spTree>
    <p:extLst>
      <p:ext uri="{BB962C8B-B14F-4D97-AF65-F5344CB8AC3E}">
        <p14:creationId xmlns:p14="http://schemas.microsoft.com/office/powerpoint/2010/main" val="1477634367"/>
      </p:ext>
    </p:extLst>
  </p:cSld>
  <p:clrMap bg1="dk1" tx1="lt1" bg2="dk2" tx2="lt2" accent1="accent1" accent2="accent2" accent3="accent3" accent4="accent4" accent5="accent5" accent6="accent6" hlink="hlink" folHlink="folHlink"/>
  <p:sldLayoutIdLst>
    <p:sldLayoutId id="2147484317" r:id="rId1"/>
    <p:sldLayoutId id="2147484318" r:id="rId2"/>
    <p:sldLayoutId id="2147484319" r:id="rId3"/>
    <p:sldLayoutId id="2147484320" r:id="rId4"/>
    <p:sldLayoutId id="2147484321" r:id="rId5"/>
    <p:sldLayoutId id="2147484322" r:id="rId6"/>
    <p:sldLayoutId id="2147484323" r:id="rId7"/>
    <p:sldLayoutId id="2147484324" r:id="rId8"/>
    <p:sldLayoutId id="2147484325" r:id="rId9"/>
    <p:sldLayoutId id="2147484326" r:id="rId10"/>
    <p:sldLayoutId id="2147484327" r:id="rId11"/>
    <p:sldLayoutId id="2147484328" r:id="rId12"/>
    <p:sldLayoutId id="2147484329" r:id="rId13"/>
    <p:sldLayoutId id="2147484330" r:id="rId14"/>
    <p:sldLayoutId id="2147484331" r:id="rId15"/>
    <p:sldLayoutId id="2147484332" r:id="rId16"/>
    <p:sldLayoutId id="2147484333" r:id="rId17"/>
    <p:sldLayoutId id="2147484334" r:id="rId18"/>
    <p:sldLayoutId id="2147484335" r:id="rId19"/>
    <p:sldLayoutId id="2147484336" r:id="rId20"/>
    <p:sldLayoutId id="2147484337" r:id="rId21"/>
    <p:sldLayoutId id="2147484338" r:id="rId22"/>
    <p:sldLayoutId id="2147484339" r:id="rId23"/>
    <p:sldLayoutId id="2147484340" r:id="rId24"/>
    <p:sldLayoutId id="2147484341" r:id="rId25"/>
    <p:sldLayoutId id="2147484342" r:id="rId26"/>
    <p:sldLayoutId id="2147484343" r:id="rId27"/>
    <p:sldLayoutId id="2147484344" r:id="rId28"/>
    <p:sldLayoutId id="2147484345" r:id="rId29"/>
    <p:sldLayoutId id="2147484346" r:id="rId30"/>
    <p:sldLayoutId id="2147484347" r:id="rId31"/>
  </p:sldLayoutIdLst>
  <p:transition>
    <p:fade/>
  </p:transition>
  <p:hf sldNum="0" hdr="0" dt="0"/>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8" y="295275"/>
            <a:ext cx="11888787"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38" y="1212850"/>
            <a:ext cx="11887200" cy="222885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8196" name="Picture 5"/>
          <p:cNvPicPr>
            <a:picLocks noChangeAspect="1"/>
          </p:cNvPicPr>
          <p:nvPr userDrawn="1"/>
        </p:nvPicPr>
        <p:blipFill>
          <a:blip r:embed="rId20">
            <a:extLst>
              <a:ext uri="{28A0092B-C50C-407E-A947-70E740481C1C}">
                <a14:useLocalDpi xmlns:a14="http://schemas.microsoft.com/office/drawing/2010/main" val="0"/>
              </a:ext>
            </a:extLst>
          </a:blip>
          <a:srcRect/>
          <a:stretch>
            <a:fillRect/>
          </a:stretch>
        </p:blipFill>
        <p:spPr bwMode="auto">
          <a:xfrm>
            <a:off x="12539663" y="0"/>
            <a:ext cx="893762" cy="6994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649082245"/>
      </p:ext>
    </p:extLst>
  </p:cSld>
  <p:clrMap bg1="dk1" tx1="lt1" bg2="dk2" tx2="lt2" accent1="accent1" accent2="accent2" accent3="accent3" accent4="accent4" accent5="accent5" accent6="accent6" hlink="hlink" folHlink="folHlink"/>
  <p:sldLayoutIdLst>
    <p:sldLayoutId id="2147484349" r:id="rId1"/>
    <p:sldLayoutId id="2147484350" r:id="rId2"/>
    <p:sldLayoutId id="2147484351" r:id="rId3"/>
    <p:sldLayoutId id="2147484352" r:id="rId4"/>
    <p:sldLayoutId id="2147484353" r:id="rId5"/>
    <p:sldLayoutId id="2147484354" r:id="rId6"/>
    <p:sldLayoutId id="2147484355" r:id="rId7"/>
    <p:sldLayoutId id="2147484356" r:id="rId8"/>
    <p:sldLayoutId id="2147484357" r:id="rId9"/>
    <p:sldLayoutId id="2147484358" r:id="rId10"/>
    <p:sldLayoutId id="2147484359" r:id="rId11"/>
    <p:sldLayoutId id="2147484360" r:id="rId12"/>
    <p:sldLayoutId id="2147484361" r:id="rId13"/>
    <p:sldLayoutId id="2147484362" r:id="rId14"/>
    <p:sldLayoutId id="2147484363" r:id="rId15"/>
    <p:sldLayoutId id="2147484364" r:id="rId16"/>
    <p:sldLayoutId id="2147484365" r:id="rId17"/>
    <p:sldLayoutId id="2147484366" r:id="rId18"/>
  </p:sldLayoutIdLst>
  <p:transition>
    <p:fade/>
  </p:transition>
  <p:hf sldNum="0" hdr="0" dt="0"/>
  <p:txStyles>
    <p:titleStyle>
      <a:lvl1pPr algn="l" defTabSz="931863" rtl="0" fontAlgn="base">
        <a:lnSpc>
          <a:spcPct val="90000"/>
        </a:lnSpc>
        <a:spcBef>
          <a:spcPct val="0"/>
        </a:spcBef>
        <a:spcAft>
          <a:spcPct val="0"/>
        </a:spcAft>
        <a:defRPr lang="en-US" sz="5400" kern="1200" spc="-102" dirty="0">
          <a:ln w="3175">
            <a:noFill/>
          </a:ln>
          <a:gradFill>
            <a:gsLst>
              <a:gs pos="1250">
                <a:schemeClr val="tx1"/>
              </a:gs>
              <a:gs pos="100000">
                <a:schemeClr val="tx1"/>
              </a:gs>
            </a:gsLst>
            <a:lin ang="5400000" scaled="0"/>
          </a:gradFill>
          <a:latin typeface="+mj-lt"/>
          <a:ea typeface="+mn-ea"/>
          <a:cs typeface="Segoe UI" pitchFamily="34" charset="0"/>
        </a:defRPr>
      </a:lvl1pPr>
      <a:lvl2pPr algn="l" defTabSz="931863" rtl="0" fontAlgn="base">
        <a:lnSpc>
          <a:spcPct val="90000"/>
        </a:lnSpc>
        <a:spcBef>
          <a:spcPct val="0"/>
        </a:spcBef>
        <a:spcAft>
          <a:spcPct val="0"/>
        </a:spcAft>
        <a:defRPr sz="5400">
          <a:solidFill>
            <a:schemeClr val="tx1"/>
          </a:solidFill>
          <a:latin typeface="Segoe UI Light" panose="020B0502040204020203" pitchFamily="34" charset="0"/>
          <a:cs typeface="Segoe UI" panose="020B0502040204020203" pitchFamily="34" charset="0"/>
        </a:defRPr>
      </a:lvl2pPr>
      <a:lvl3pPr algn="l" defTabSz="931863" rtl="0" fontAlgn="base">
        <a:lnSpc>
          <a:spcPct val="90000"/>
        </a:lnSpc>
        <a:spcBef>
          <a:spcPct val="0"/>
        </a:spcBef>
        <a:spcAft>
          <a:spcPct val="0"/>
        </a:spcAft>
        <a:defRPr sz="5400">
          <a:solidFill>
            <a:schemeClr val="tx1"/>
          </a:solidFill>
          <a:latin typeface="Segoe UI Light" panose="020B0502040204020203" pitchFamily="34" charset="0"/>
          <a:cs typeface="Segoe UI" panose="020B0502040204020203" pitchFamily="34" charset="0"/>
        </a:defRPr>
      </a:lvl3pPr>
      <a:lvl4pPr algn="l" defTabSz="931863" rtl="0" fontAlgn="base">
        <a:lnSpc>
          <a:spcPct val="90000"/>
        </a:lnSpc>
        <a:spcBef>
          <a:spcPct val="0"/>
        </a:spcBef>
        <a:spcAft>
          <a:spcPct val="0"/>
        </a:spcAft>
        <a:defRPr sz="5400">
          <a:solidFill>
            <a:schemeClr val="tx1"/>
          </a:solidFill>
          <a:latin typeface="Segoe UI Light" panose="020B0502040204020203" pitchFamily="34" charset="0"/>
          <a:cs typeface="Segoe UI" panose="020B0502040204020203" pitchFamily="34" charset="0"/>
        </a:defRPr>
      </a:lvl4pPr>
      <a:lvl5pPr algn="l" defTabSz="931863" rtl="0" fontAlgn="base">
        <a:lnSpc>
          <a:spcPct val="90000"/>
        </a:lnSpc>
        <a:spcBef>
          <a:spcPct val="0"/>
        </a:spcBef>
        <a:spcAft>
          <a:spcPct val="0"/>
        </a:spcAft>
        <a:defRPr sz="5400">
          <a:solidFill>
            <a:schemeClr val="tx1"/>
          </a:solidFill>
          <a:latin typeface="Segoe UI Light" panose="020B0502040204020203" pitchFamily="34" charset="0"/>
          <a:cs typeface="Segoe UI" panose="020B0502040204020203" pitchFamily="34" charset="0"/>
        </a:defRPr>
      </a:lvl5pPr>
      <a:lvl6pPr marL="457200" algn="l" defTabSz="931863" rtl="0" fontAlgn="base">
        <a:lnSpc>
          <a:spcPct val="90000"/>
        </a:lnSpc>
        <a:spcBef>
          <a:spcPct val="0"/>
        </a:spcBef>
        <a:spcAft>
          <a:spcPct val="0"/>
        </a:spcAft>
        <a:defRPr sz="5400">
          <a:solidFill>
            <a:schemeClr val="tx1"/>
          </a:solidFill>
          <a:latin typeface="Segoe UI Light" panose="020B0502040204020203" pitchFamily="34" charset="0"/>
          <a:cs typeface="Segoe UI" panose="020B0502040204020203" pitchFamily="34" charset="0"/>
        </a:defRPr>
      </a:lvl6pPr>
      <a:lvl7pPr marL="914400" algn="l" defTabSz="931863" rtl="0" fontAlgn="base">
        <a:lnSpc>
          <a:spcPct val="90000"/>
        </a:lnSpc>
        <a:spcBef>
          <a:spcPct val="0"/>
        </a:spcBef>
        <a:spcAft>
          <a:spcPct val="0"/>
        </a:spcAft>
        <a:defRPr sz="5400">
          <a:solidFill>
            <a:schemeClr val="tx1"/>
          </a:solidFill>
          <a:latin typeface="Segoe UI Light" panose="020B0502040204020203" pitchFamily="34" charset="0"/>
          <a:cs typeface="Segoe UI" panose="020B0502040204020203" pitchFamily="34" charset="0"/>
        </a:defRPr>
      </a:lvl7pPr>
      <a:lvl8pPr marL="1371600" algn="l" defTabSz="931863" rtl="0" fontAlgn="base">
        <a:lnSpc>
          <a:spcPct val="90000"/>
        </a:lnSpc>
        <a:spcBef>
          <a:spcPct val="0"/>
        </a:spcBef>
        <a:spcAft>
          <a:spcPct val="0"/>
        </a:spcAft>
        <a:defRPr sz="5400">
          <a:solidFill>
            <a:schemeClr val="tx1"/>
          </a:solidFill>
          <a:latin typeface="Segoe UI Light" panose="020B0502040204020203" pitchFamily="34" charset="0"/>
          <a:cs typeface="Segoe UI" panose="020B0502040204020203" pitchFamily="34" charset="0"/>
        </a:defRPr>
      </a:lvl8pPr>
      <a:lvl9pPr marL="1828800" algn="l" defTabSz="931863" rtl="0" fontAlgn="base">
        <a:lnSpc>
          <a:spcPct val="90000"/>
        </a:lnSpc>
        <a:spcBef>
          <a:spcPct val="0"/>
        </a:spcBef>
        <a:spcAft>
          <a:spcPct val="0"/>
        </a:spcAft>
        <a:defRPr sz="5400">
          <a:solidFill>
            <a:schemeClr val="tx1"/>
          </a:solidFill>
          <a:latin typeface="Segoe UI Light" panose="020B0502040204020203" pitchFamily="34" charset="0"/>
          <a:cs typeface="Segoe UI" panose="020B0502040204020203" pitchFamily="34" charset="0"/>
        </a:defRPr>
      </a:lvl9pPr>
    </p:titleStyle>
    <p:bodyStyle>
      <a:lvl1pPr marL="342900" indent="-342900" algn="l" defTabSz="931863" rtl="0" fontAlgn="base">
        <a:lnSpc>
          <a:spcPct val="90000"/>
        </a:lnSpc>
        <a:spcBef>
          <a:spcPct val="20000"/>
        </a:spcBef>
        <a:spcAft>
          <a:spcPct val="0"/>
        </a:spcAft>
        <a:buClr>
          <a:schemeClr val="tx1"/>
        </a:buClr>
        <a:buSzPct val="90000"/>
        <a:buFont typeface="Wingdings" panose="05000000000000000000" pitchFamily="2" charset="2"/>
        <a:buChar char="§"/>
        <a:defRPr sz="4000" kern="1200">
          <a:gradFill>
            <a:gsLst>
              <a:gs pos="1250">
                <a:schemeClr val="tx1"/>
              </a:gs>
              <a:gs pos="100000">
                <a:schemeClr val="tx1"/>
              </a:gs>
            </a:gsLst>
            <a:lin ang="5400000" scaled="0"/>
          </a:gradFill>
          <a:latin typeface="+mj-lt"/>
          <a:ea typeface="+mn-ea"/>
          <a:cs typeface="+mn-cs"/>
        </a:defRPr>
      </a:lvl1pPr>
      <a:lvl2pPr marL="584200" indent="-241300" algn="l" defTabSz="931863" rtl="0" fontAlgn="base">
        <a:lnSpc>
          <a:spcPct val="90000"/>
        </a:lnSpc>
        <a:spcBef>
          <a:spcPct val="20000"/>
        </a:spcBef>
        <a:spcAft>
          <a:spcPct val="0"/>
        </a:spcAft>
        <a:buClr>
          <a:schemeClr val="tx1"/>
        </a:buClr>
        <a:buSzPct val="90000"/>
        <a:buFont typeface="Wingdings" panose="05000000000000000000" pitchFamily="2" charset="2"/>
        <a:buChar char="§"/>
        <a:defRPr sz="2400" kern="1200">
          <a:gradFill>
            <a:gsLst>
              <a:gs pos="1250">
                <a:schemeClr val="tx1"/>
              </a:gs>
              <a:gs pos="100000">
                <a:schemeClr val="tx1"/>
              </a:gs>
            </a:gsLst>
            <a:lin ang="5400000" scaled="0"/>
          </a:gradFill>
          <a:latin typeface="+mn-lt"/>
          <a:ea typeface="+mn-ea"/>
          <a:cs typeface="+mn-cs"/>
        </a:defRPr>
      </a:lvl2pPr>
      <a:lvl3pPr marL="800100" indent="-228600" algn="l" defTabSz="931863" rtl="0" fontAlgn="base">
        <a:lnSpc>
          <a:spcPct val="90000"/>
        </a:lnSpc>
        <a:spcBef>
          <a:spcPct val="20000"/>
        </a:spcBef>
        <a:spcAft>
          <a:spcPct val="0"/>
        </a:spcAft>
        <a:buClr>
          <a:schemeClr val="tx1"/>
        </a:buClr>
        <a:buSzPct val="90000"/>
        <a:buFont typeface="Wingdings" panose="05000000000000000000" pitchFamily="2" charset="2"/>
        <a:buChar char="§"/>
        <a:defRPr sz="2400" kern="1200">
          <a:gradFill>
            <a:gsLst>
              <a:gs pos="1250">
                <a:schemeClr val="tx1"/>
              </a:gs>
              <a:gs pos="100000">
                <a:schemeClr val="tx1"/>
              </a:gs>
            </a:gsLst>
            <a:lin ang="5400000" scaled="0"/>
          </a:gradFill>
          <a:latin typeface="+mn-lt"/>
          <a:ea typeface="+mn-ea"/>
          <a:cs typeface="+mn-cs"/>
        </a:defRPr>
      </a:lvl3pPr>
      <a:lvl4pPr marL="1028700" indent="-228600" algn="l" defTabSz="931863" rtl="0" fontAlgn="base">
        <a:lnSpc>
          <a:spcPct val="90000"/>
        </a:lnSpc>
        <a:spcBef>
          <a:spcPct val="20000"/>
        </a:spcBef>
        <a:spcAft>
          <a:spcPct val="0"/>
        </a:spcAft>
        <a:buClr>
          <a:schemeClr val="tx1"/>
        </a:buClr>
        <a:buSzPct val="90000"/>
        <a:buFont typeface="Wingdings" panose="05000000000000000000" pitchFamily="2" charset="2"/>
        <a:buChar char="§"/>
        <a:defRPr sz="2000" kern="1200">
          <a:gradFill>
            <a:gsLst>
              <a:gs pos="1250">
                <a:schemeClr val="tx1"/>
              </a:gs>
              <a:gs pos="100000">
                <a:schemeClr val="tx1"/>
              </a:gs>
            </a:gsLst>
            <a:lin ang="5400000" scaled="0"/>
          </a:gradFill>
          <a:latin typeface="+mn-lt"/>
          <a:ea typeface="+mn-ea"/>
          <a:cs typeface="+mn-cs"/>
        </a:defRPr>
      </a:lvl4pPr>
      <a:lvl5pPr marL="1257300" indent="-228600" algn="l" defTabSz="931863" rtl="0" fontAlgn="base">
        <a:lnSpc>
          <a:spcPct val="90000"/>
        </a:lnSpc>
        <a:spcBef>
          <a:spcPct val="20000"/>
        </a:spcBef>
        <a:spcAft>
          <a:spcPct val="0"/>
        </a:spcAft>
        <a:buClr>
          <a:schemeClr val="tx1"/>
        </a:buClr>
        <a:buSzPct val="90000"/>
        <a:buFont typeface="Wingdings" panose="05000000000000000000" pitchFamily="2" charset="2"/>
        <a:buChar char="§"/>
        <a:defRPr sz="2000" kern="120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21.emf"/><Relationship Id="rId2" Type="http://schemas.openxmlformats.org/officeDocument/2006/relationships/notesSlide" Target="../notesSlides/notesSlide10.xml"/><Relationship Id="rId1" Type="http://schemas.openxmlformats.org/officeDocument/2006/relationships/slideLayout" Target="../slideLayouts/slideLayout3.xml"/><Relationship Id="rId6" Type="http://schemas.openxmlformats.org/officeDocument/2006/relationships/image" Target="../media/image25.png"/><Relationship Id="rId5" Type="http://schemas.openxmlformats.org/officeDocument/2006/relationships/image" Target="../media/image23.emf"/><Relationship Id="rId4" Type="http://schemas.openxmlformats.org/officeDocument/2006/relationships/image" Target="../media/image22.emf"/></Relationships>
</file>

<file path=ppt/slides/_rels/slide11.xml.rels><?xml version="1.0" encoding="UTF-8" standalone="yes"?>
<Relationships xmlns="http://schemas.openxmlformats.org/package/2006/relationships"><Relationship Id="rId3" Type="http://schemas.openxmlformats.org/officeDocument/2006/relationships/image" Target="../media/image21.emf"/><Relationship Id="rId2" Type="http://schemas.openxmlformats.org/officeDocument/2006/relationships/notesSlide" Target="../notesSlides/notesSlide11.xml"/><Relationship Id="rId1" Type="http://schemas.openxmlformats.org/officeDocument/2006/relationships/slideLayout" Target="../slideLayouts/slideLayout3.xml"/><Relationship Id="rId6" Type="http://schemas.openxmlformats.org/officeDocument/2006/relationships/image" Target="../media/image25.png"/><Relationship Id="rId5" Type="http://schemas.openxmlformats.org/officeDocument/2006/relationships/image" Target="../media/image23.emf"/><Relationship Id="rId4" Type="http://schemas.openxmlformats.org/officeDocument/2006/relationships/image" Target="../media/image22.emf"/></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4.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15.xml"/><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16.xml"/><Relationship Id="rId1" Type="http://schemas.openxmlformats.org/officeDocument/2006/relationships/slideLayout" Target="../slideLayouts/slideLayout18.xml"/><Relationship Id="rId4" Type="http://schemas.microsoft.com/office/2007/relationships/hdphoto" Target="../media/hdphoto2.wdp"/></Relationships>
</file>

<file path=ppt/slides/_rels/slide17.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17.xml"/><Relationship Id="rId1" Type="http://schemas.openxmlformats.org/officeDocument/2006/relationships/slideLayout" Target="../slideLayouts/slideLayout6.xml"/><Relationship Id="rId4" Type="http://schemas.openxmlformats.org/officeDocument/2006/relationships/image" Target="../media/image29.png"/></Relationships>
</file>

<file path=ppt/slides/_rels/slide18.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18.xml"/><Relationship Id="rId1" Type="http://schemas.openxmlformats.org/officeDocument/2006/relationships/slideLayout" Target="../slideLayouts/slideLayout6.xml"/></Relationships>
</file>

<file path=ppt/slides/_rels/slide19.xml.rels><?xml version="1.0" encoding="UTF-8" standalone="yes"?>
<Relationships xmlns="http://schemas.openxmlformats.org/package/2006/relationships"><Relationship Id="rId3" Type="http://schemas.openxmlformats.org/officeDocument/2006/relationships/image" Target="../media/image31.jpg"/><Relationship Id="rId2" Type="http://schemas.openxmlformats.org/officeDocument/2006/relationships/notesSlide" Target="../notesSlides/notesSlide19.xml"/><Relationship Id="rId1" Type="http://schemas.openxmlformats.org/officeDocument/2006/relationships/slideLayout" Target="../slideLayouts/slideLayout6.xml"/><Relationship Id="rId6" Type="http://schemas.openxmlformats.org/officeDocument/2006/relationships/image" Target="../media/image34.png"/><Relationship Id="rId5" Type="http://schemas.openxmlformats.org/officeDocument/2006/relationships/image" Target="../media/image33.jpg"/><Relationship Id="rId4" Type="http://schemas.openxmlformats.org/officeDocument/2006/relationships/image" Target="../media/image32.jp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8" Type="http://schemas.openxmlformats.org/officeDocument/2006/relationships/image" Target="../media/image39.png"/><Relationship Id="rId3" Type="http://schemas.openxmlformats.org/officeDocument/2006/relationships/image" Target="../media/image35.png"/><Relationship Id="rId7" Type="http://schemas.openxmlformats.org/officeDocument/2006/relationships/image" Target="../media/image38.png"/><Relationship Id="rId2" Type="http://schemas.openxmlformats.org/officeDocument/2006/relationships/notesSlide" Target="../notesSlides/notesSlide20.xml"/><Relationship Id="rId1" Type="http://schemas.openxmlformats.org/officeDocument/2006/relationships/slideLayout" Target="../slideLayouts/slideLayout17.xml"/><Relationship Id="rId6" Type="http://schemas.openxmlformats.org/officeDocument/2006/relationships/image" Target="../media/image37.png"/><Relationship Id="rId5" Type="http://schemas.openxmlformats.org/officeDocument/2006/relationships/image" Target="../media/image36.png"/><Relationship Id="rId4" Type="http://schemas.microsoft.com/office/2007/relationships/hdphoto" Target="../media/hdphoto3.wdp"/></Relationships>
</file>

<file path=ppt/slides/_rels/slide21.xml.rels><?xml version="1.0" encoding="UTF-8" standalone="yes"?>
<Relationships xmlns="http://schemas.openxmlformats.org/package/2006/relationships"><Relationship Id="rId8" Type="http://schemas.openxmlformats.org/officeDocument/2006/relationships/image" Target="../media/image45.jpg"/><Relationship Id="rId3" Type="http://schemas.openxmlformats.org/officeDocument/2006/relationships/image" Target="../media/image40.png"/><Relationship Id="rId7" Type="http://schemas.openxmlformats.org/officeDocument/2006/relationships/image" Target="../media/image44.png"/><Relationship Id="rId2" Type="http://schemas.openxmlformats.org/officeDocument/2006/relationships/notesSlide" Target="../notesSlides/notesSlide21.xml"/><Relationship Id="rId1" Type="http://schemas.openxmlformats.org/officeDocument/2006/relationships/slideLayout" Target="../slideLayouts/slideLayout6.xml"/><Relationship Id="rId6" Type="http://schemas.openxmlformats.org/officeDocument/2006/relationships/image" Target="../media/image43.png"/><Relationship Id="rId11" Type="http://schemas.openxmlformats.org/officeDocument/2006/relationships/image" Target="../media/image48.jpg"/><Relationship Id="rId5" Type="http://schemas.openxmlformats.org/officeDocument/2006/relationships/image" Target="../media/image42.png"/><Relationship Id="rId10" Type="http://schemas.openxmlformats.org/officeDocument/2006/relationships/image" Target="../media/image47.jpg"/><Relationship Id="rId4" Type="http://schemas.openxmlformats.org/officeDocument/2006/relationships/image" Target="../media/image41.png"/><Relationship Id="rId9" Type="http://schemas.openxmlformats.org/officeDocument/2006/relationships/image" Target="../media/image46.jpg"/></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26.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6.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14.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3.xml"/></Relationships>
</file>

<file path=ppt/slides/_rels/slide26.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26.xml"/><Relationship Id="rId1" Type="http://schemas.openxmlformats.org/officeDocument/2006/relationships/slideLayout" Target="../slideLayouts/slideLayout3.xml"/></Relationships>
</file>

<file path=ppt/slides/_rels/slide27.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27.xml"/><Relationship Id="rId1" Type="http://schemas.openxmlformats.org/officeDocument/2006/relationships/slideLayout" Target="../slideLayouts/slideLayout11.xml"/></Relationships>
</file>

<file path=ppt/slides/_rels/slide28.xml.rels><?xml version="1.0" encoding="UTF-8" standalone="yes"?>
<Relationships xmlns="http://schemas.openxmlformats.org/package/2006/relationships"><Relationship Id="rId3" Type="http://schemas.openxmlformats.org/officeDocument/2006/relationships/image" Target="../media/image51.png"/><Relationship Id="rId7" Type="http://schemas.openxmlformats.org/officeDocument/2006/relationships/image" Target="../media/image49.png"/><Relationship Id="rId2" Type="http://schemas.openxmlformats.org/officeDocument/2006/relationships/notesSlide" Target="../notesSlides/notesSlide28.xml"/><Relationship Id="rId1" Type="http://schemas.openxmlformats.org/officeDocument/2006/relationships/slideLayout" Target="../slideLayouts/slideLayout3.xml"/><Relationship Id="rId6" Type="http://schemas.openxmlformats.org/officeDocument/2006/relationships/image" Target="../media/image54.png"/><Relationship Id="rId5" Type="http://schemas.openxmlformats.org/officeDocument/2006/relationships/image" Target="../media/image53.png"/><Relationship Id="rId4" Type="http://schemas.openxmlformats.org/officeDocument/2006/relationships/image" Target="../media/image52.png"/></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4.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14.xml"/></Relationships>
</file>

<file path=ppt/slides/_rels/slide31.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31.xml"/><Relationship Id="rId1" Type="http://schemas.openxmlformats.org/officeDocument/2006/relationships/slideLayout" Target="../slideLayouts/slideLayout3.xml"/><Relationship Id="rId4" Type="http://schemas.openxmlformats.org/officeDocument/2006/relationships/image" Target="../media/image56.png"/></Relationships>
</file>

<file path=ppt/slides/_rels/slide32.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32.xml"/><Relationship Id="rId1" Type="http://schemas.openxmlformats.org/officeDocument/2006/relationships/slideLayout" Target="../slideLayouts/slideLayout3.xml"/></Relationships>
</file>

<file path=ppt/slides/_rels/slide33.xml.rels><?xml version="1.0" encoding="UTF-8" standalone="yes"?>
<Relationships xmlns="http://schemas.openxmlformats.org/package/2006/relationships"><Relationship Id="rId3" Type="http://schemas.openxmlformats.org/officeDocument/2006/relationships/image" Target="../media/image58.png"/><Relationship Id="rId7" Type="http://schemas.openxmlformats.org/officeDocument/2006/relationships/image" Target="../media/image62.svg"/><Relationship Id="rId2" Type="http://schemas.openxmlformats.org/officeDocument/2006/relationships/notesSlide" Target="../notesSlides/notesSlide33.xml"/><Relationship Id="rId1" Type="http://schemas.openxmlformats.org/officeDocument/2006/relationships/slideLayout" Target="../slideLayouts/slideLayout24.xml"/><Relationship Id="rId6" Type="http://schemas.openxmlformats.org/officeDocument/2006/relationships/image" Target="../media/image61.png"/><Relationship Id="rId5" Type="http://schemas.openxmlformats.org/officeDocument/2006/relationships/image" Target="../media/image60.png"/><Relationship Id="rId4" Type="http://schemas.openxmlformats.org/officeDocument/2006/relationships/image" Target="../media/image59.png"/></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25.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25.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14.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14.xml"/></Relationships>
</file>

<file path=ppt/slides/_rels/slide39.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notesSlide" Target="../notesSlides/notesSlide39.xml"/><Relationship Id="rId1" Type="http://schemas.openxmlformats.org/officeDocument/2006/relationships/slideLayout" Target="../slideLayouts/slideLayout11.xml"/></Relationships>
</file>

<file path=ppt/slides/_rels/slide4.xml.rels><?xml version="1.0" encoding="UTF-8" standalone="yes"?>
<Relationships xmlns="http://schemas.openxmlformats.org/package/2006/relationships"><Relationship Id="rId3" Type="http://schemas.openxmlformats.org/officeDocument/2006/relationships/image" Target="../media/image20.emf"/><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3.xml"/></Relationships>
</file>

<file path=ppt/slides/_rels/slide41.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notesSlide" Target="../notesSlides/notesSlide41.xml"/><Relationship Id="rId1" Type="http://schemas.openxmlformats.org/officeDocument/2006/relationships/slideLayout" Target="../slideLayouts/slideLayout3.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3.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14.xml"/></Relationships>
</file>

<file path=ppt/slides/_rels/slide44.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notesSlide" Target="../notesSlides/notesSlide44.xml"/><Relationship Id="rId1" Type="http://schemas.openxmlformats.org/officeDocument/2006/relationships/slideLayout" Target="../slideLayouts/slideLayout3.xml"/></Relationships>
</file>

<file path=ppt/slides/_rels/slide45.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notesSlide" Target="../notesSlides/notesSlide45.xml"/><Relationship Id="rId1" Type="http://schemas.openxmlformats.org/officeDocument/2006/relationships/slideLayout" Target="../slideLayouts/slideLayout3.xml"/></Relationships>
</file>

<file path=ppt/slides/_rels/slide46.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notesSlide" Target="../notesSlides/notesSlide46.xml"/><Relationship Id="rId1" Type="http://schemas.openxmlformats.org/officeDocument/2006/relationships/slideLayout" Target="../slideLayouts/slideLayout3.xml"/></Relationships>
</file>

<file path=ppt/slides/_rels/slide47.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notesSlide" Target="../notesSlides/notesSlide47.xml"/><Relationship Id="rId1" Type="http://schemas.openxmlformats.org/officeDocument/2006/relationships/slideLayout" Target="../slideLayouts/slideLayout3.xml"/></Relationships>
</file>

<file path=ppt/slides/_rels/slide48.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notesSlide" Target="../notesSlides/notesSlide48.xml"/><Relationship Id="rId1" Type="http://schemas.openxmlformats.org/officeDocument/2006/relationships/slideLayout" Target="../slideLayouts/slideLayout3.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14.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4.xml"/></Relationships>
</file>

<file path=ppt/slides/_rels/slide50.xml.rels><?xml version="1.0" encoding="UTF-8" standalone="yes"?>
<Relationships xmlns="http://schemas.openxmlformats.org/package/2006/relationships"><Relationship Id="rId3" Type="http://schemas.openxmlformats.org/officeDocument/2006/relationships/image" Target="../media/image70.emf"/><Relationship Id="rId2" Type="http://schemas.openxmlformats.org/officeDocument/2006/relationships/notesSlide" Target="../notesSlides/notesSlide50.xml"/><Relationship Id="rId1" Type="http://schemas.openxmlformats.org/officeDocument/2006/relationships/slideLayout" Target="../slideLayouts/slideLayout3.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51.xml"/><Relationship Id="rId1" Type="http://schemas.openxmlformats.org/officeDocument/2006/relationships/slideLayout" Target="../slideLayouts/slideLayout11.xml"/></Relationships>
</file>

<file path=ppt/slides/_rels/slide52.xml.rels><?xml version="1.0" encoding="UTF-8" standalone="yes"?>
<Relationships xmlns="http://schemas.openxmlformats.org/package/2006/relationships"><Relationship Id="rId3" Type="http://schemas.openxmlformats.org/officeDocument/2006/relationships/image" Target="../media/image20.emf"/><Relationship Id="rId2" Type="http://schemas.openxmlformats.org/officeDocument/2006/relationships/notesSlide" Target="../notesSlides/notesSlide52.xml"/><Relationship Id="rId1" Type="http://schemas.openxmlformats.org/officeDocument/2006/relationships/slideLayout" Target="../slideLayouts/slideLayout3.xml"/><Relationship Id="rId6" Type="http://schemas.openxmlformats.org/officeDocument/2006/relationships/image" Target="../media/image73.emf"/><Relationship Id="rId5" Type="http://schemas.openxmlformats.org/officeDocument/2006/relationships/image" Target="../media/image72.emf"/><Relationship Id="rId4" Type="http://schemas.openxmlformats.org/officeDocument/2006/relationships/image" Target="../media/image71.emf"/></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53.xml"/><Relationship Id="rId1" Type="http://schemas.openxmlformats.org/officeDocument/2006/relationships/slideLayout" Target="../slideLayouts/slideLayout14.xml"/></Relationships>
</file>

<file path=ppt/slides/_rels/slide54.xml.rels><?xml version="1.0" encoding="UTF-8" standalone="yes"?>
<Relationships xmlns="http://schemas.openxmlformats.org/package/2006/relationships"><Relationship Id="rId3" Type="http://schemas.openxmlformats.org/officeDocument/2006/relationships/image" Target="../media/image74.jpeg"/><Relationship Id="rId7" Type="http://schemas.openxmlformats.org/officeDocument/2006/relationships/image" Target="../media/image77.emf"/><Relationship Id="rId2" Type="http://schemas.openxmlformats.org/officeDocument/2006/relationships/notesSlide" Target="../notesSlides/notesSlide54.xml"/><Relationship Id="rId1" Type="http://schemas.openxmlformats.org/officeDocument/2006/relationships/slideLayout" Target="../slideLayouts/slideLayout27.xml"/><Relationship Id="rId6" Type="http://schemas.openxmlformats.org/officeDocument/2006/relationships/image" Target="../media/image76.emf"/><Relationship Id="rId5" Type="http://schemas.openxmlformats.org/officeDocument/2006/relationships/hyperlink" Target="https://aka.ms/hegoxv" TargetMode="External"/><Relationship Id="rId4" Type="http://schemas.openxmlformats.org/officeDocument/2006/relationships/image" Target="../media/image75.png"/></Relationships>
</file>

<file path=ppt/slides/_rels/slide55.xml.rels><?xml version="1.0" encoding="UTF-8" standalone="yes"?>
<Relationships xmlns="http://schemas.openxmlformats.org/package/2006/relationships"><Relationship Id="rId3" Type="http://schemas.openxmlformats.org/officeDocument/2006/relationships/image" Target="../media/image78.png"/><Relationship Id="rId7" Type="http://schemas.openxmlformats.org/officeDocument/2006/relationships/image" Target="../media/image80.jpg"/><Relationship Id="rId2" Type="http://schemas.openxmlformats.org/officeDocument/2006/relationships/notesSlide" Target="../notesSlides/notesSlide55.xml"/><Relationship Id="rId1" Type="http://schemas.openxmlformats.org/officeDocument/2006/relationships/slideLayout" Target="../slideLayouts/slideLayout28.xml"/><Relationship Id="rId6" Type="http://schemas.openxmlformats.org/officeDocument/2006/relationships/image" Target="../media/image79.jpg"/><Relationship Id="rId5" Type="http://schemas.openxmlformats.org/officeDocument/2006/relationships/image" Target="../media/image76.emf"/><Relationship Id="rId4" Type="http://schemas.openxmlformats.org/officeDocument/2006/relationships/hyperlink" Target="https://customers.microsoft.com/en-us/story/asos-retail-and-consumer-goods-azure" TargetMode="External"/></Relationships>
</file>

<file path=ppt/slides/_rels/slide56.xml.rels><?xml version="1.0" encoding="UTF-8" standalone="yes"?>
<Relationships xmlns="http://schemas.openxmlformats.org/package/2006/relationships"><Relationship Id="rId8" Type="http://schemas.openxmlformats.org/officeDocument/2006/relationships/image" Target="../media/image76.emf"/><Relationship Id="rId3" Type="http://schemas.openxmlformats.org/officeDocument/2006/relationships/image" Target="../media/image81.jpeg"/><Relationship Id="rId7" Type="http://schemas.openxmlformats.org/officeDocument/2006/relationships/hyperlink" Target="https://customers.microsoft.com/doclink/real-madrid" TargetMode="External"/><Relationship Id="rId2" Type="http://schemas.openxmlformats.org/officeDocument/2006/relationships/notesSlide" Target="../notesSlides/notesSlide56.xml"/><Relationship Id="rId1" Type="http://schemas.openxmlformats.org/officeDocument/2006/relationships/slideLayout" Target="../slideLayouts/slideLayout27.xml"/><Relationship Id="rId6" Type="http://schemas.openxmlformats.org/officeDocument/2006/relationships/image" Target="../media/image75.png"/><Relationship Id="rId5" Type="http://schemas.microsoft.com/office/2007/relationships/hdphoto" Target="../media/hdphoto4.wdp"/><Relationship Id="rId4" Type="http://schemas.openxmlformats.org/officeDocument/2006/relationships/image" Target="../media/image82.png"/></Relationships>
</file>

<file path=ppt/slides/_rels/slide57.xml.rels><?xml version="1.0" encoding="UTF-8" standalone="yes"?>
<Relationships xmlns="http://schemas.openxmlformats.org/package/2006/relationships"><Relationship Id="rId3" Type="http://schemas.openxmlformats.org/officeDocument/2006/relationships/hyperlink" Target="https://mva.microsoft.com/en-us/training-courses/building-microservices-applications-on-azure-service-fabric-16747?l=tbuZM46yC_5206218965" TargetMode="External"/><Relationship Id="rId7" Type="http://schemas.openxmlformats.org/officeDocument/2006/relationships/hyperlink" Target="https://channel9.msdn.com/Events/Build/2014/3-633" TargetMode="External"/><Relationship Id="rId2" Type="http://schemas.openxmlformats.org/officeDocument/2006/relationships/notesSlide" Target="../notesSlides/notesSlide57.xml"/><Relationship Id="rId1" Type="http://schemas.openxmlformats.org/officeDocument/2006/relationships/slideLayout" Target="../slideLayouts/slideLayout3.xml"/><Relationship Id="rId6" Type="http://schemas.openxmlformats.org/officeDocument/2006/relationships/hyperlink" Target="https://channel9.msdn.com/Events/Build/2015/2-642" TargetMode="External"/><Relationship Id="rId5" Type="http://schemas.openxmlformats.org/officeDocument/2006/relationships/hyperlink" Target="https://channel9.msdn.com/Series/FailSafe/Episode-7-Design-for-Scalability" TargetMode="External"/><Relationship Id="rId4" Type="http://schemas.openxmlformats.org/officeDocument/2006/relationships/hyperlink" Target="https://channel9.msdn.com/Series/FailSafe/Episode-3-Scalability-and-Deployment?wt.mc_id=EntriesInArea" TargetMode="External"/></Relationships>
</file>

<file path=ppt/slides/_rels/slide58.xml.rels><?xml version="1.0" encoding="UTF-8" standalone="yes"?>
<Relationships xmlns="http://schemas.openxmlformats.org/package/2006/relationships"><Relationship Id="rId3" Type="http://schemas.openxmlformats.org/officeDocument/2006/relationships/hyperlink" Target="https://github.com/mspnp/azure-guidance/blob/master/Scalability-checklist.md" TargetMode="External"/><Relationship Id="rId7" Type="http://schemas.openxmlformats.org/officeDocument/2006/relationships/hyperlink" Target="https://github.com/mspnp/azure-guidance/blob/master/CDN.md" TargetMode="External"/><Relationship Id="rId2" Type="http://schemas.openxmlformats.org/officeDocument/2006/relationships/notesSlide" Target="../notesSlides/notesSlide58.xml"/><Relationship Id="rId1" Type="http://schemas.openxmlformats.org/officeDocument/2006/relationships/slideLayout" Target="../slideLayouts/slideLayout4.xml"/><Relationship Id="rId6" Type="http://schemas.openxmlformats.org/officeDocument/2006/relationships/hyperlink" Target="https://github.com/mspnp/azure-guidance/blob/master/Caching.md" TargetMode="External"/><Relationship Id="rId5" Type="http://schemas.openxmlformats.org/officeDocument/2006/relationships/hyperlink" Target="https://github.com/mspnp/azure-guidance/blob/master/Data-partitioning.md" TargetMode="External"/><Relationship Id="rId4" Type="http://schemas.openxmlformats.org/officeDocument/2006/relationships/hyperlink" Target="https://github.com/mspnp/azure-guidance/blob/master/Auto-scaling.md" TargetMode="External"/></Relationships>
</file>

<file path=ppt/slides/_rels/slide59.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tags" Target="../tags/tag2.xml"/><Relationship Id="rId1" Type="http://schemas.openxmlformats.org/officeDocument/2006/relationships/tags" Target="../tags/tag1.xml"/><Relationship Id="rId4" Type="http://schemas.openxmlformats.org/officeDocument/2006/relationships/notesSlide" Target="../notesSlides/notesSlide59.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3.xml"/></Relationships>
</file>

<file path=ppt/slides/_rels/slide60.xml.rels><?xml version="1.0" encoding="UTF-8" standalone="yes"?>
<Relationships xmlns="http://schemas.openxmlformats.org/package/2006/relationships"><Relationship Id="rId2" Type="http://schemas.openxmlformats.org/officeDocument/2006/relationships/notesSlide" Target="../notesSlides/notesSlide60.xml"/><Relationship Id="rId1" Type="http://schemas.openxmlformats.org/officeDocument/2006/relationships/slideLayout" Target="../slideLayouts/slideLayout22.xml"/></Relationships>
</file>

<file path=ppt/slides/_rels/slide7.xml.rels><?xml version="1.0" encoding="UTF-8" standalone="yes"?>
<Relationships xmlns="http://schemas.openxmlformats.org/package/2006/relationships"><Relationship Id="rId3" Type="http://schemas.openxmlformats.org/officeDocument/2006/relationships/image" Target="../media/image21.emf"/><Relationship Id="rId2" Type="http://schemas.openxmlformats.org/officeDocument/2006/relationships/notesSlide" Target="../notesSlides/notesSlide7.xml"/><Relationship Id="rId1" Type="http://schemas.openxmlformats.org/officeDocument/2006/relationships/slideLayout" Target="../slideLayouts/slideLayout3.xml"/><Relationship Id="rId5" Type="http://schemas.openxmlformats.org/officeDocument/2006/relationships/image" Target="../media/image23.emf"/><Relationship Id="rId4" Type="http://schemas.openxmlformats.org/officeDocument/2006/relationships/image" Target="../media/image22.emf"/></Relationships>
</file>

<file path=ppt/slides/_rels/slide8.xml.rels><?xml version="1.0" encoding="UTF-8" standalone="yes"?>
<Relationships xmlns="http://schemas.openxmlformats.org/package/2006/relationships"><Relationship Id="rId3" Type="http://schemas.openxmlformats.org/officeDocument/2006/relationships/image" Target="../media/image21.emf"/><Relationship Id="rId2" Type="http://schemas.openxmlformats.org/officeDocument/2006/relationships/notesSlide" Target="../notesSlides/notesSlide8.xml"/><Relationship Id="rId1" Type="http://schemas.openxmlformats.org/officeDocument/2006/relationships/slideLayout" Target="../slideLayouts/slideLayout3.xml"/><Relationship Id="rId5" Type="http://schemas.openxmlformats.org/officeDocument/2006/relationships/image" Target="../media/image23.emf"/><Relationship Id="rId4" Type="http://schemas.openxmlformats.org/officeDocument/2006/relationships/image" Target="../media/image22.emf"/></Relationships>
</file>

<file path=ppt/slides/_rels/slide9.xml.rels><?xml version="1.0" encoding="UTF-8" standalone="yes"?>
<Relationships xmlns="http://schemas.openxmlformats.org/package/2006/relationships"><Relationship Id="rId3" Type="http://schemas.openxmlformats.org/officeDocument/2006/relationships/image" Target="../media/image21.emf"/><Relationship Id="rId2" Type="http://schemas.openxmlformats.org/officeDocument/2006/relationships/notesSlide" Target="../notesSlides/notesSlide9.xml"/><Relationship Id="rId1" Type="http://schemas.openxmlformats.org/officeDocument/2006/relationships/slideLayout" Target="../slideLayouts/slideLayout3.xml"/><Relationship Id="rId6" Type="http://schemas.openxmlformats.org/officeDocument/2006/relationships/image" Target="../media/image24.emf"/><Relationship Id="rId5" Type="http://schemas.openxmlformats.org/officeDocument/2006/relationships/image" Target="../media/image20.emf"/><Relationship Id="rId4" Type="http://schemas.openxmlformats.org/officeDocument/2006/relationships/image" Target="../media/image22.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74702" y="2119178"/>
            <a:ext cx="6402388" cy="2292474"/>
          </a:xfrm>
        </p:spPr>
        <p:txBody>
          <a:bodyPr/>
          <a:lstStyle/>
          <a:p>
            <a:r>
              <a:rPr lang="en-US" sz="4000" dirty="0"/>
              <a:t>Technical Deep Dive: Creating Apps for the Intelligent Cloud </a:t>
            </a:r>
            <a:br>
              <a:rPr lang="en-US" sz="4000" dirty="0"/>
            </a:br>
            <a:r>
              <a:rPr lang="en-US" sz="4000" dirty="0"/>
              <a:t>– Architecting for Scale</a:t>
            </a:r>
          </a:p>
        </p:txBody>
      </p:sp>
      <p:sp>
        <p:nvSpPr>
          <p:cNvPr id="5" name="Text Placeholder 4"/>
          <p:cNvSpPr>
            <a:spLocks noGrp="1"/>
          </p:cNvSpPr>
          <p:nvPr>
            <p:ph type="body" sz="quarter" idx="14"/>
          </p:nvPr>
        </p:nvSpPr>
        <p:spPr>
          <a:xfrm>
            <a:off x="274702" y="3954457"/>
            <a:ext cx="6402388" cy="1828780"/>
          </a:xfrm>
        </p:spPr>
        <p:txBody>
          <a:bodyPr vert="horz" wrap="square" lIns="146304" tIns="109728" rIns="146304" bIns="109728" rtlCol="0" anchor="t">
            <a:noAutofit/>
          </a:bodyPr>
          <a:lstStyle/>
          <a:p>
            <a:endParaRPr lang="en-US" dirty="0"/>
          </a:p>
          <a:p>
            <a:endParaRPr lang="en-US" dirty="0"/>
          </a:p>
          <a:p>
            <a:r>
              <a:rPr lang="en-US" sz="2400" dirty="0"/>
              <a:t>&lt;Name &amp; Alias of the presenters&gt;</a:t>
            </a:r>
          </a:p>
        </p:txBody>
      </p:sp>
    </p:spTree>
    <p:extLst>
      <p:ext uri="{BB962C8B-B14F-4D97-AF65-F5344CB8AC3E}">
        <p14:creationId xmlns:p14="http://schemas.microsoft.com/office/powerpoint/2010/main" val="8402708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Background processing decoupling</a:t>
            </a:r>
          </a:p>
        </p:txBody>
      </p:sp>
      <p:grpSp>
        <p:nvGrpSpPr>
          <p:cNvPr id="4" name="Group 3"/>
          <p:cNvGrpSpPr/>
          <p:nvPr/>
        </p:nvGrpSpPr>
        <p:grpSpPr>
          <a:xfrm>
            <a:off x="4815053" y="3136477"/>
            <a:ext cx="1541791" cy="1039753"/>
            <a:chOff x="5936247" y="1565661"/>
            <a:chExt cx="1541791" cy="1039753"/>
          </a:xfrm>
        </p:grpSpPr>
        <p:sp>
          <p:nvSpPr>
            <p:cNvPr id="5" name="Rectangle 4"/>
            <p:cNvSpPr/>
            <p:nvPr/>
          </p:nvSpPr>
          <p:spPr bwMode="auto">
            <a:xfrm>
              <a:off x="5936247" y="1565661"/>
              <a:ext cx="1541791" cy="1039753"/>
            </a:xfrm>
            <a:prstGeom prst="rect">
              <a:avLst/>
            </a:prstGeom>
            <a:solidFill>
              <a:schemeClr val="bg1"/>
            </a:solidFill>
            <a:ln w="25400">
              <a:solidFill>
                <a:srgbClr val="00B0F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pic>
          <p:nvPicPr>
            <p:cNvPr id="6" name="Picture 5"/>
            <p:cNvPicPr>
              <a:picLocks noChangeAspect="1"/>
            </p:cNvPicPr>
            <p:nvPr/>
          </p:nvPicPr>
          <p:blipFill>
            <a:blip r:embed="rId3"/>
            <a:stretch>
              <a:fillRect/>
            </a:stretch>
          </p:blipFill>
          <p:spPr>
            <a:xfrm>
              <a:off x="5984011" y="1618316"/>
              <a:ext cx="618547" cy="223455"/>
            </a:xfrm>
            <a:prstGeom prst="rect">
              <a:avLst/>
            </a:prstGeom>
          </p:spPr>
        </p:pic>
        <p:sp>
          <p:nvSpPr>
            <p:cNvPr id="7" name="TextBox 6"/>
            <p:cNvSpPr txBox="1"/>
            <p:nvPr/>
          </p:nvSpPr>
          <p:spPr>
            <a:xfrm>
              <a:off x="5995590" y="1896307"/>
              <a:ext cx="954836" cy="166199"/>
            </a:xfrm>
            <a:prstGeom prst="rect">
              <a:avLst/>
            </a:prstGeom>
            <a:noFill/>
          </p:spPr>
          <p:txBody>
            <a:bodyPr wrap="square" lIns="0" tIns="0" rIns="0" bIns="0" rtlCol="0">
              <a:spAutoFit/>
            </a:bodyPr>
            <a:lstStyle/>
            <a:p>
              <a:pPr>
                <a:lnSpc>
                  <a:spcPct val="90000"/>
                </a:lnSpc>
                <a:spcBef>
                  <a:spcPct val="20000"/>
                </a:spcBef>
                <a:buSzPct val="80000"/>
              </a:pPr>
              <a:r>
                <a:rPr lang="en-US" sz="1200" dirty="0">
                  <a:gradFill>
                    <a:gsLst>
                      <a:gs pos="0">
                        <a:srgbClr val="292929">
                          <a:lumMod val="90000"/>
                          <a:lumOff val="10000"/>
                        </a:srgbClr>
                      </a:gs>
                      <a:gs pos="86000">
                        <a:srgbClr val="292929">
                          <a:lumMod val="90000"/>
                          <a:lumOff val="10000"/>
                        </a:srgbClr>
                      </a:gs>
                    </a:gsLst>
                    <a:lin ang="5400000" scaled="0"/>
                  </a:gradFill>
                </a:rPr>
                <a:t>Web Server</a:t>
              </a:r>
            </a:p>
          </p:txBody>
        </p:sp>
        <p:pic>
          <p:nvPicPr>
            <p:cNvPr id="8" name="Picture 7"/>
            <p:cNvPicPr>
              <a:picLocks noChangeAspect="1"/>
            </p:cNvPicPr>
            <p:nvPr/>
          </p:nvPicPr>
          <p:blipFill>
            <a:blip r:embed="rId4"/>
            <a:stretch>
              <a:fillRect/>
            </a:stretch>
          </p:blipFill>
          <p:spPr>
            <a:xfrm>
              <a:off x="6814725" y="1596166"/>
              <a:ext cx="271402" cy="269628"/>
            </a:xfrm>
            <a:prstGeom prst="rect">
              <a:avLst/>
            </a:prstGeom>
          </p:spPr>
        </p:pic>
        <p:sp>
          <p:nvSpPr>
            <p:cNvPr id="9" name="Flowchart: Process 8"/>
            <p:cNvSpPr/>
            <p:nvPr/>
          </p:nvSpPr>
          <p:spPr bwMode="auto">
            <a:xfrm>
              <a:off x="5995590" y="2150559"/>
              <a:ext cx="1326187" cy="317340"/>
            </a:xfrm>
            <a:prstGeom prst="flowChartProcess">
              <a:avLst/>
            </a:prstGeom>
            <a:solidFill>
              <a:srgbClr val="7030A0"/>
            </a:solidFill>
            <a:ln>
              <a:solidFill>
                <a:srgbClr val="5E5E5E"/>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200" dirty="0">
                  <a:gradFill>
                    <a:gsLst>
                      <a:gs pos="0">
                        <a:srgbClr val="FFFFFF"/>
                      </a:gs>
                      <a:gs pos="100000">
                        <a:srgbClr val="FFFFFF"/>
                      </a:gs>
                    </a:gsLst>
                    <a:lin ang="5400000" scaled="0"/>
                  </a:gradFill>
                </a:rPr>
                <a:t>Site (W3WP.EXE)</a:t>
              </a:r>
            </a:p>
          </p:txBody>
        </p:sp>
      </p:grpSp>
      <p:grpSp>
        <p:nvGrpSpPr>
          <p:cNvPr id="16" name="Group 15"/>
          <p:cNvGrpSpPr/>
          <p:nvPr/>
        </p:nvGrpSpPr>
        <p:grpSpPr>
          <a:xfrm>
            <a:off x="10600555" y="3142411"/>
            <a:ext cx="1575916" cy="998617"/>
            <a:chOff x="8945948" y="1949969"/>
            <a:chExt cx="1575916" cy="998617"/>
          </a:xfrm>
        </p:grpSpPr>
        <p:sp>
          <p:nvSpPr>
            <p:cNvPr id="17" name="Rectangle 16"/>
            <p:cNvSpPr/>
            <p:nvPr/>
          </p:nvSpPr>
          <p:spPr bwMode="auto">
            <a:xfrm>
              <a:off x="8945948" y="1949969"/>
              <a:ext cx="1575916" cy="998617"/>
            </a:xfrm>
            <a:prstGeom prst="rect">
              <a:avLst/>
            </a:prstGeom>
            <a:solidFill>
              <a:schemeClr val="bg1"/>
            </a:solidFill>
            <a:ln w="25400">
              <a:solidFill>
                <a:srgbClr val="00B0F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pic>
          <p:nvPicPr>
            <p:cNvPr id="18" name="Picture 17"/>
            <p:cNvPicPr>
              <a:picLocks noChangeAspect="1"/>
            </p:cNvPicPr>
            <p:nvPr/>
          </p:nvPicPr>
          <p:blipFill>
            <a:blip r:embed="rId3"/>
            <a:stretch>
              <a:fillRect/>
            </a:stretch>
          </p:blipFill>
          <p:spPr>
            <a:xfrm>
              <a:off x="8982842" y="2002625"/>
              <a:ext cx="618547" cy="223455"/>
            </a:xfrm>
            <a:prstGeom prst="rect">
              <a:avLst/>
            </a:prstGeom>
          </p:spPr>
        </p:pic>
        <p:sp>
          <p:nvSpPr>
            <p:cNvPr id="19" name="TextBox 18"/>
            <p:cNvSpPr txBox="1"/>
            <p:nvPr/>
          </p:nvSpPr>
          <p:spPr>
            <a:xfrm>
              <a:off x="8982842" y="2677316"/>
              <a:ext cx="1442402" cy="166199"/>
            </a:xfrm>
            <a:prstGeom prst="rect">
              <a:avLst/>
            </a:prstGeom>
            <a:noFill/>
          </p:spPr>
          <p:txBody>
            <a:bodyPr wrap="square" lIns="0" tIns="0" rIns="0" bIns="0" rtlCol="0">
              <a:spAutoFit/>
            </a:bodyPr>
            <a:lstStyle/>
            <a:p>
              <a:pPr>
                <a:lnSpc>
                  <a:spcPct val="90000"/>
                </a:lnSpc>
                <a:spcBef>
                  <a:spcPct val="20000"/>
                </a:spcBef>
                <a:buSzPct val="80000"/>
              </a:pPr>
              <a:r>
                <a:rPr lang="en-US" sz="1200" dirty="0">
                  <a:gradFill>
                    <a:gsLst>
                      <a:gs pos="0">
                        <a:srgbClr val="292929">
                          <a:lumMod val="90000"/>
                          <a:lumOff val="10000"/>
                        </a:srgbClr>
                      </a:gs>
                      <a:gs pos="86000">
                        <a:srgbClr val="292929">
                          <a:lumMod val="90000"/>
                          <a:lumOff val="10000"/>
                        </a:srgbClr>
                      </a:gs>
                    </a:gsLst>
                    <a:lin ang="5400000" scaled="0"/>
                  </a:gradFill>
                </a:rPr>
                <a:t>Web Site Database</a:t>
              </a:r>
            </a:p>
          </p:txBody>
        </p:sp>
        <p:sp>
          <p:nvSpPr>
            <p:cNvPr id="20" name="Flowchart: Magnetic Disk 19"/>
            <p:cNvSpPr/>
            <p:nvPr/>
          </p:nvSpPr>
          <p:spPr bwMode="auto">
            <a:xfrm>
              <a:off x="9931799" y="1979974"/>
              <a:ext cx="439435" cy="587862"/>
            </a:xfrm>
            <a:prstGeom prst="flowChartMagneticDisk">
              <a:avLst/>
            </a:prstGeom>
            <a:solidFill>
              <a:schemeClr val="bg1"/>
            </a:solidFill>
            <a:ln>
              <a:solidFill>
                <a:srgbClr val="5E5E5E"/>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grpSp>
      <p:grpSp>
        <p:nvGrpSpPr>
          <p:cNvPr id="21" name="Group 20"/>
          <p:cNvGrpSpPr/>
          <p:nvPr/>
        </p:nvGrpSpPr>
        <p:grpSpPr>
          <a:xfrm>
            <a:off x="1830066" y="3398813"/>
            <a:ext cx="954836" cy="717372"/>
            <a:chOff x="1207714" y="2472755"/>
            <a:chExt cx="954836" cy="717372"/>
          </a:xfrm>
        </p:grpSpPr>
        <p:pic>
          <p:nvPicPr>
            <p:cNvPr id="22" name="Picture 21"/>
            <p:cNvPicPr>
              <a:picLocks noChangeAspect="1"/>
            </p:cNvPicPr>
            <p:nvPr/>
          </p:nvPicPr>
          <p:blipFill>
            <a:blip r:embed="rId5"/>
            <a:stretch>
              <a:fillRect/>
            </a:stretch>
          </p:blipFill>
          <p:spPr>
            <a:xfrm>
              <a:off x="1298541" y="2472755"/>
              <a:ext cx="773183" cy="516741"/>
            </a:xfrm>
            <a:prstGeom prst="rect">
              <a:avLst/>
            </a:prstGeom>
          </p:spPr>
        </p:pic>
        <p:sp>
          <p:nvSpPr>
            <p:cNvPr id="23" name="TextBox 22"/>
            <p:cNvSpPr txBox="1"/>
            <p:nvPr/>
          </p:nvSpPr>
          <p:spPr>
            <a:xfrm>
              <a:off x="1207714" y="3023928"/>
              <a:ext cx="954836" cy="166199"/>
            </a:xfrm>
            <a:prstGeom prst="rect">
              <a:avLst/>
            </a:prstGeom>
            <a:noFill/>
          </p:spPr>
          <p:txBody>
            <a:bodyPr wrap="square" lIns="0" tIns="0" rIns="0" bIns="0" rtlCol="0">
              <a:spAutoFit/>
            </a:bodyPr>
            <a:lstStyle/>
            <a:p>
              <a:pPr>
                <a:lnSpc>
                  <a:spcPct val="90000"/>
                </a:lnSpc>
                <a:spcBef>
                  <a:spcPct val="20000"/>
                </a:spcBef>
                <a:buSzPct val="80000"/>
              </a:pPr>
              <a:r>
                <a:rPr lang="en-US" sz="1200" dirty="0">
                  <a:gradFill>
                    <a:gsLst>
                      <a:gs pos="0">
                        <a:srgbClr val="292929">
                          <a:lumMod val="90000"/>
                          <a:lumOff val="10000"/>
                        </a:srgbClr>
                      </a:gs>
                      <a:gs pos="86000">
                        <a:srgbClr val="292929">
                          <a:lumMod val="90000"/>
                          <a:lumOff val="10000"/>
                        </a:srgbClr>
                      </a:gs>
                    </a:gsLst>
                    <a:lin ang="5400000" scaled="0"/>
                  </a:gradFill>
                </a:rPr>
                <a:t>Load Balancer </a:t>
              </a:r>
            </a:p>
          </p:txBody>
        </p:sp>
      </p:grpSp>
      <p:cxnSp>
        <p:nvCxnSpPr>
          <p:cNvPr id="24" name="Elbow Connector 23"/>
          <p:cNvCxnSpPr>
            <a:stCxn id="22" idx="3"/>
            <a:endCxn id="5" idx="1"/>
          </p:cNvCxnSpPr>
          <p:nvPr/>
        </p:nvCxnSpPr>
        <p:spPr>
          <a:xfrm flipV="1">
            <a:off x="2694076" y="3656354"/>
            <a:ext cx="2120977" cy="830"/>
          </a:xfrm>
          <a:prstGeom prst="bentConnector3">
            <a:avLst>
              <a:gd name="adj1" fmla="val 50000"/>
            </a:avLst>
          </a:prstGeom>
          <a:ln w="25400">
            <a:solidFill>
              <a:srgbClr val="BAD80A"/>
            </a:solidFill>
            <a:tailEnd type="triangle"/>
          </a:ln>
        </p:spPr>
        <p:style>
          <a:lnRef idx="1">
            <a:schemeClr val="accent1"/>
          </a:lnRef>
          <a:fillRef idx="0">
            <a:schemeClr val="accent1"/>
          </a:fillRef>
          <a:effectRef idx="0">
            <a:schemeClr val="accent1"/>
          </a:effectRef>
          <a:fontRef idx="minor">
            <a:schemeClr val="tx1"/>
          </a:fontRef>
        </p:style>
      </p:cxnSp>
      <p:cxnSp>
        <p:nvCxnSpPr>
          <p:cNvPr id="25" name="Elbow Connector 24"/>
          <p:cNvCxnSpPr>
            <a:stCxn id="5" idx="3"/>
            <a:endCxn id="17" idx="1"/>
          </p:cNvCxnSpPr>
          <p:nvPr/>
        </p:nvCxnSpPr>
        <p:spPr>
          <a:xfrm flipV="1">
            <a:off x="6356844" y="3641720"/>
            <a:ext cx="4243711" cy="14634"/>
          </a:xfrm>
          <a:prstGeom prst="bentConnector3">
            <a:avLst>
              <a:gd name="adj1" fmla="val 50000"/>
            </a:avLst>
          </a:prstGeom>
          <a:ln w="25400">
            <a:solidFill>
              <a:srgbClr val="BAD80A"/>
            </a:solidFill>
            <a:tailEnd type="triangle"/>
          </a:ln>
        </p:spPr>
        <p:style>
          <a:lnRef idx="1">
            <a:schemeClr val="accent1"/>
          </a:lnRef>
          <a:fillRef idx="0">
            <a:schemeClr val="accent1"/>
          </a:fillRef>
          <a:effectRef idx="0">
            <a:schemeClr val="accent1"/>
          </a:effectRef>
          <a:fontRef idx="minor">
            <a:schemeClr val="tx1"/>
          </a:fontRef>
        </p:style>
      </p:cxnSp>
      <p:cxnSp>
        <p:nvCxnSpPr>
          <p:cNvPr id="46" name="Elbow Connector 45"/>
          <p:cNvCxnSpPr>
            <a:stCxn id="40" idx="3"/>
            <a:endCxn id="17" idx="0"/>
          </p:cNvCxnSpPr>
          <p:nvPr/>
        </p:nvCxnSpPr>
        <p:spPr>
          <a:xfrm>
            <a:off x="10802180" y="1973606"/>
            <a:ext cx="586333" cy="1168805"/>
          </a:xfrm>
          <a:prstGeom prst="bentConnector2">
            <a:avLst/>
          </a:prstGeom>
          <a:ln w="25400">
            <a:solidFill>
              <a:srgbClr val="BAD80A"/>
            </a:solidFill>
            <a:tailEnd type="triangle"/>
          </a:ln>
        </p:spPr>
        <p:style>
          <a:lnRef idx="1">
            <a:schemeClr val="accent1"/>
          </a:lnRef>
          <a:fillRef idx="0">
            <a:schemeClr val="accent1"/>
          </a:fillRef>
          <a:effectRef idx="0">
            <a:schemeClr val="accent1"/>
          </a:effectRef>
          <a:fontRef idx="minor">
            <a:schemeClr val="tx1"/>
          </a:fontRef>
        </p:style>
      </p:cxnSp>
      <p:grpSp>
        <p:nvGrpSpPr>
          <p:cNvPr id="103" name="Group 102"/>
          <p:cNvGrpSpPr/>
          <p:nvPr/>
        </p:nvGrpSpPr>
        <p:grpSpPr>
          <a:xfrm>
            <a:off x="6856448" y="2393615"/>
            <a:ext cx="1509901" cy="814266"/>
            <a:chOff x="6856448" y="2393615"/>
            <a:chExt cx="1509901" cy="814266"/>
          </a:xfrm>
        </p:grpSpPr>
        <p:sp>
          <p:nvSpPr>
            <p:cNvPr id="45" name="Flowchart: Direct Access Storage 44"/>
            <p:cNvSpPr/>
            <p:nvPr/>
          </p:nvSpPr>
          <p:spPr bwMode="auto">
            <a:xfrm>
              <a:off x="6983241" y="2812676"/>
              <a:ext cx="1298570" cy="395205"/>
            </a:xfrm>
            <a:prstGeom prst="flowChartMagneticDrum">
              <a:avLst/>
            </a:prstGeom>
            <a:solidFill>
              <a:schemeClr val="bg2">
                <a:lumMod val="60000"/>
                <a:lumOff val="40000"/>
              </a:schemeClr>
            </a:solid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72" name="TextBox 71"/>
            <p:cNvSpPr txBox="1"/>
            <p:nvPr/>
          </p:nvSpPr>
          <p:spPr>
            <a:xfrm>
              <a:off x="6856448" y="2393615"/>
              <a:ext cx="1509901" cy="489365"/>
            </a:xfrm>
            <a:prstGeom prst="rect">
              <a:avLst/>
            </a:prstGeom>
            <a:noFill/>
          </p:spPr>
          <p:txBody>
            <a:bodyPr wrap="none" lIns="182880" tIns="146304" rIns="182880" bIns="146304" rtlCol="0">
              <a:spAutoFit/>
            </a:bodyPr>
            <a:lstStyle/>
            <a:p>
              <a:pPr>
                <a:lnSpc>
                  <a:spcPct val="90000"/>
                </a:lnSpc>
                <a:spcAft>
                  <a:spcPts val="600"/>
                </a:spcAft>
              </a:pPr>
              <a:r>
                <a:rPr lang="en-US" sz="1400" dirty="0">
                  <a:gradFill>
                    <a:gsLst>
                      <a:gs pos="2917">
                        <a:schemeClr val="tx1"/>
                      </a:gs>
                      <a:gs pos="30000">
                        <a:schemeClr val="tx1"/>
                      </a:gs>
                    </a:gsLst>
                    <a:lin ang="5400000" scaled="0"/>
                  </a:gradFill>
                </a:rPr>
                <a:t>request queue</a:t>
              </a:r>
            </a:p>
          </p:txBody>
        </p:sp>
        <p:grpSp>
          <p:nvGrpSpPr>
            <p:cNvPr id="92" name="Group 91"/>
            <p:cNvGrpSpPr/>
            <p:nvPr/>
          </p:nvGrpSpPr>
          <p:grpSpPr>
            <a:xfrm>
              <a:off x="7304586" y="2858316"/>
              <a:ext cx="421237" cy="274317"/>
              <a:chOff x="2694075" y="5234603"/>
              <a:chExt cx="421237" cy="274317"/>
            </a:xfrm>
          </p:grpSpPr>
          <p:sp>
            <p:nvSpPr>
              <p:cNvPr id="87" name="Rectangle 86"/>
              <p:cNvSpPr/>
              <p:nvPr/>
            </p:nvSpPr>
            <p:spPr bwMode="auto">
              <a:xfrm>
                <a:off x="2694075" y="5234603"/>
                <a:ext cx="421237" cy="274317"/>
              </a:xfrm>
              <a:prstGeom prst="rect">
                <a:avLst/>
              </a:prstGeom>
              <a:solidFill>
                <a:schemeClr val="accent5">
                  <a:lumMod val="40000"/>
                  <a:lumOff val="60000"/>
                </a:schemeClr>
              </a:solidFill>
              <a:ln>
                <a:solidFill>
                  <a:schemeClr val="tx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89" name="Straight Connector 88"/>
              <p:cNvCxnSpPr/>
              <p:nvPr/>
            </p:nvCxnSpPr>
            <p:spPr>
              <a:xfrm flipH="1">
                <a:off x="2694075" y="5234603"/>
                <a:ext cx="421237" cy="274317"/>
              </a:xfrm>
              <a:prstGeom prst="line">
                <a:avLst/>
              </a:prstGeom>
              <a:ln>
                <a:solidFill>
                  <a:schemeClr val="tx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2694075" y="5234603"/>
                <a:ext cx="421237" cy="258370"/>
              </a:xfrm>
              <a:prstGeom prst="line">
                <a:avLst/>
              </a:prstGeom>
              <a:ln>
                <a:solidFill>
                  <a:schemeClr val="tx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grpSp>
      <p:grpSp>
        <p:nvGrpSpPr>
          <p:cNvPr id="104" name="Group 103"/>
          <p:cNvGrpSpPr/>
          <p:nvPr/>
        </p:nvGrpSpPr>
        <p:grpSpPr>
          <a:xfrm>
            <a:off x="6893526" y="4038644"/>
            <a:ext cx="1631729" cy="895734"/>
            <a:chOff x="6893526" y="4038644"/>
            <a:chExt cx="1631729" cy="895734"/>
          </a:xfrm>
        </p:grpSpPr>
        <p:sp>
          <p:nvSpPr>
            <p:cNvPr id="70" name="Flowchart: Direct Access Storage 69"/>
            <p:cNvSpPr/>
            <p:nvPr/>
          </p:nvSpPr>
          <p:spPr bwMode="auto">
            <a:xfrm>
              <a:off x="7011556" y="4038644"/>
              <a:ext cx="1298570" cy="395205"/>
            </a:xfrm>
            <a:prstGeom prst="flowChartMagneticDrum">
              <a:avLst/>
            </a:prstGeom>
            <a:solidFill>
              <a:schemeClr val="bg2">
                <a:lumMod val="60000"/>
                <a:lumOff val="40000"/>
              </a:schemeClr>
            </a:solid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73" name="TextBox 72"/>
            <p:cNvSpPr txBox="1"/>
            <p:nvPr/>
          </p:nvSpPr>
          <p:spPr>
            <a:xfrm>
              <a:off x="6893526" y="4445013"/>
              <a:ext cx="1631729" cy="489365"/>
            </a:xfrm>
            <a:prstGeom prst="rect">
              <a:avLst/>
            </a:prstGeom>
            <a:noFill/>
          </p:spPr>
          <p:txBody>
            <a:bodyPr wrap="none" lIns="182880" tIns="146304" rIns="182880" bIns="146304" rtlCol="0">
              <a:spAutoFit/>
            </a:bodyPr>
            <a:lstStyle/>
            <a:p>
              <a:pPr>
                <a:lnSpc>
                  <a:spcPct val="90000"/>
                </a:lnSpc>
                <a:spcAft>
                  <a:spcPts val="600"/>
                </a:spcAft>
              </a:pPr>
              <a:r>
                <a:rPr lang="en-US" sz="1400" dirty="0">
                  <a:gradFill>
                    <a:gsLst>
                      <a:gs pos="2917">
                        <a:schemeClr val="tx1"/>
                      </a:gs>
                      <a:gs pos="30000">
                        <a:schemeClr val="tx1"/>
                      </a:gs>
                    </a:gsLst>
                    <a:lin ang="5400000" scaled="0"/>
                  </a:gradFill>
                </a:rPr>
                <a:t>response queue</a:t>
              </a:r>
            </a:p>
          </p:txBody>
        </p:sp>
        <p:grpSp>
          <p:nvGrpSpPr>
            <p:cNvPr id="97" name="Group 96"/>
            <p:cNvGrpSpPr/>
            <p:nvPr/>
          </p:nvGrpSpPr>
          <p:grpSpPr>
            <a:xfrm>
              <a:off x="7387999" y="4082532"/>
              <a:ext cx="421237" cy="274317"/>
              <a:chOff x="2694075" y="5234603"/>
              <a:chExt cx="421237" cy="274317"/>
            </a:xfrm>
          </p:grpSpPr>
          <p:sp>
            <p:nvSpPr>
              <p:cNvPr id="98" name="Rectangle 97"/>
              <p:cNvSpPr/>
              <p:nvPr/>
            </p:nvSpPr>
            <p:spPr bwMode="auto">
              <a:xfrm>
                <a:off x="2694075" y="5234603"/>
                <a:ext cx="421237" cy="274317"/>
              </a:xfrm>
              <a:prstGeom prst="rect">
                <a:avLst/>
              </a:prstGeom>
              <a:solidFill>
                <a:schemeClr val="accent5">
                  <a:lumMod val="40000"/>
                  <a:lumOff val="60000"/>
                </a:schemeClr>
              </a:solidFill>
              <a:ln>
                <a:solidFill>
                  <a:schemeClr val="tx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99" name="Straight Connector 98"/>
              <p:cNvCxnSpPr/>
              <p:nvPr/>
            </p:nvCxnSpPr>
            <p:spPr>
              <a:xfrm flipH="1">
                <a:off x="2694075" y="5234603"/>
                <a:ext cx="421237" cy="274317"/>
              </a:xfrm>
              <a:prstGeom prst="line">
                <a:avLst/>
              </a:prstGeom>
              <a:ln>
                <a:solidFill>
                  <a:schemeClr val="tx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0" name="Straight Connector 99"/>
              <p:cNvCxnSpPr/>
              <p:nvPr/>
            </p:nvCxnSpPr>
            <p:spPr>
              <a:xfrm>
                <a:off x="2694075" y="5234603"/>
                <a:ext cx="421237" cy="258370"/>
              </a:xfrm>
              <a:prstGeom prst="line">
                <a:avLst/>
              </a:prstGeom>
              <a:ln>
                <a:solidFill>
                  <a:schemeClr val="tx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grpSp>
      <p:grpSp>
        <p:nvGrpSpPr>
          <p:cNvPr id="107" name="Group 106"/>
          <p:cNvGrpSpPr/>
          <p:nvPr/>
        </p:nvGrpSpPr>
        <p:grpSpPr>
          <a:xfrm>
            <a:off x="9260389" y="1392543"/>
            <a:ext cx="1556180" cy="1100939"/>
            <a:chOff x="8922338" y="1387363"/>
            <a:chExt cx="1556180" cy="1100939"/>
          </a:xfrm>
        </p:grpSpPr>
        <p:grpSp>
          <p:nvGrpSpPr>
            <p:cNvPr id="39" name="Group 38"/>
            <p:cNvGrpSpPr/>
            <p:nvPr/>
          </p:nvGrpSpPr>
          <p:grpSpPr>
            <a:xfrm>
              <a:off x="8922338" y="1448549"/>
              <a:ext cx="1541791" cy="1039753"/>
              <a:chOff x="5969622" y="1572860"/>
              <a:chExt cx="1541791" cy="1039753"/>
            </a:xfrm>
          </p:grpSpPr>
          <p:sp>
            <p:nvSpPr>
              <p:cNvPr id="40" name="Rectangle 39"/>
              <p:cNvSpPr/>
              <p:nvPr/>
            </p:nvSpPr>
            <p:spPr bwMode="auto">
              <a:xfrm>
                <a:off x="5969622" y="1572860"/>
                <a:ext cx="1541791" cy="1039753"/>
              </a:xfrm>
              <a:prstGeom prst="rect">
                <a:avLst/>
              </a:prstGeom>
              <a:solidFill>
                <a:schemeClr val="bg1"/>
              </a:solidFill>
              <a:ln w="25400">
                <a:solidFill>
                  <a:srgbClr val="00B0F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pic>
            <p:nvPicPr>
              <p:cNvPr id="41" name="Picture 40"/>
              <p:cNvPicPr>
                <a:picLocks noChangeAspect="1"/>
              </p:cNvPicPr>
              <p:nvPr/>
            </p:nvPicPr>
            <p:blipFill>
              <a:blip r:embed="rId3"/>
              <a:stretch>
                <a:fillRect/>
              </a:stretch>
            </p:blipFill>
            <p:spPr>
              <a:xfrm>
                <a:off x="5984011" y="1618316"/>
                <a:ext cx="618547" cy="223455"/>
              </a:xfrm>
              <a:prstGeom prst="rect">
                <a:avLst/>
              </a:prstGeom>
            </p:spPr>
          </p:pic>
          <p:sp>
            <p:nvSpPr>
              <p:cNvPr id="42" name="TextBox 41"/>
              <p:cNvSpPr txBox="1"/>
              <p:nvPr/>
            </p:nvSpPr>
            <p:spPr>
              <a:xfrm>
                <a:off x="5995590" y="1896307"/>
                <a:ext cx="954836" cy="166199"/>
              </a:xfrm>
              <a:prstGeom prst="rect">
                <a:avLst/>
              </a:prstGeom>
              <a:noFill/>
            </p:spPr>
            <p:txBody>
              <a:bodyPr wrap="square" lIns="0" tIns="0" rIns="0" bIns="0" rtlCol="0">
                <a:spAutoFit/>
              </a:bodyPr>
              <a:lstStyle/>
              <a:p>
                <a:pPr>
                  <a:lnSpc>
                    <a:spcPct val="90000"/>
                  </a:lnSpc>
                  <a:spcBef>
                    <a:spcPct val="20000"/>
                  </a:spcBef>
                  <a:buSzPct val="80000"/>
                </a:pPr>
                <a:r>
                  <a:rPr lang="en-US" sz="1200" dirty="0">
                    <a:gradFill>
                      <a:gsLst>
                        <a:gs pos="0">
                          <a:srgbClr val="292929">
                            <a:lumMod val="90000"/>
                            <a:lumOff val="10000"/>
                          </a:srgbClr>
                        </a:gs>
                        <a:gs pos="86000">
                          <a:srgbClr val="292929">
                            <a:lumMod val="90000"/>
                            <a:lumOff val="10000"/>
                          </a:srgbClr>
                        </a:gs>
                      </a:gsLst>
                      <a:lin ang="5400000" scaled="0"/>
                    </a:gradFill>
                  </a:rPr>
                  <a:t>Worker</a:t>
                </a:r>
              </a:p>
            </p:txBody>
          </p:sp>
          <p:sp>
            <p:nvSpPr>
              <p:cNvPr id="44" name="Flowchart: Process 43"/>
              <p:cNvSpPr/>
              <p:nvPr/>
            </p:nvSpPr>
            <p:spPr bwMode="auto">
              <a:xfrm>
                <a:off x="5995590" y="2150559"/>
                <a:ext cx="1326187" cy="317340"/>
              </a:xfrm>
              <a:prstGeom prst="flowChartProcess">
                <a:avLst/>
              </a:prstGeom>
              <a:solidFill>
                <a:srgbClr val="7030A0"/>
              </a:solidFill>
              <a:ln>
                <a:solidFill>
                  <a:srgbClr val="5E5E5E"/>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200" dirty="0">
                    <a:gradFill>
                      <a:gsLst>
                        <a:gs pos="0">
                          <a:srgbClr val="FFFFFF"/>
                        </a:gs>
                        <a:gs pos="100000">
                          <a:srgbClr val="FFFFFF"/>
                        </a:gs>
                      </a:gsLst>
                      <a:lin ang="5400000" scaled="0"/>
                    </a:gradFill>
                  </a:rPr>
                  <a:t>Worker process</a:t>
                </a:r>
              </a:p>
            </p:txBody>
          </p:sp>
        </p:grpSp>
        <p:pic>
          <p:nvPicPr>
            <p:cNvPr id="106" name="Picture 105"/>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9843912" y="1387363"/>
              <a:ext cx="634606" cy="634606"/>
            </a:xfrm>
            <a:prstGeom prst="rect">
              <a:avLst/>
            </a:prstGeom>
          </p:spPr>
        </p:pic>
      </p:grpSp>
      <p:cxnSp>
        <p:nvCxnSpPr>
          <p:cNvPr id="28" name="Straight Arrow Connector 27"/>
          <p:cNvCxnSpPr>
            <a:stCxn id="40" idx="1"/>
            <a:endCxn id="70" idx="4"/>
          </p:cNvCxnSpPr>
          <p:nvPr/>
        </p:nvCxnSpPr>
        <p:spPr>
          <a:xfrm flipH="1">
            <a:off x="8310126" y="1973606"/>
            <a:ext cx="950263" cy="2262641"/>
          </a:xfrm>
          <a:prstGeom prst="straightConnector1">
            <a:avLst/>
          </a:prstGeom>
          <a:ln w="25400">
            <a:solidFill>
              <a:srgbClr val="107C10"/>
            </a:solidFill>
            <a:tailEnd type="triangle"/>
          </a:ln>
        </p:spPr>
        <p:style>
          <a:lnRef idx="1">
            <a:schemeClr val="accent1"/>
          </a:lnRef>
          <a:fillRef idx="0">
            <a:schemeClr val="accent1"/>
          </a:fillRef>
          <a:effectRef idx="0">
            <a:schemeClr val="accent1"/>
          </a:effectRef>
          <a:fontRef idx="minor">
            <a:schemeClr val="tx1"/>
          </a:fontRef>
        </p:style>
      </p:cxnSp>
      <p:cxnSp>
        <p:nvCxnSpPr>
          <p:cNvPr id="94" name="Straight Arrow Connector 93"/>
          <p:cNvCxnSpPr>
            <a:stCxn id="45" idx="4"/>
            <a:endCxn id="40" idx="1"/>
          </p:cNvCxnSpPr>
          <p:nvPr/>
        </p:nvCxnSpPr>
        <p:spPr>
          <a:xfrm flipV="1">
            <a:off x="8281811" y="1973606"/>
            <a:ext cx="978578" cy="1036673"/>
          </a:xfrm>
          <a:prstGeom prst="straightConnector1">
            <a:avLst/>
          </a:prstGeom>
          <a:ln w="25400">
            <a:solidFill>
              <a:srgbClr val="BAD80A"/>
            </a:solidFill>
            <a:tailEnd type="triangle"/>
          </a:ln>
        </p:spPr>
        <p:style>
          <a:lnRef idx="1">
            <a:schemeClr val="accent1"/>
          </a:lnRef>
          <a:fillRef idx="0">
            <a:schemeClr val="accent1"/>
          </a:fillRef>
          <a:effectRef idx="0">
            <a:schemeClr val="accent1"/>
          </a:effectRef>
          <a:fontRef idx="minor">
            <a:schemeClr val="tx1"/>
          </a:fontRef>
        </p:style>
      </p:cxnSp>
      <p:cxnSp>
        <p:nvCxnSpPr>
          <p:cNvPr id="105" name="Straight Arrow Connector 104"/>
          <p:cNvCxnSpPr>
            <a:stCxn id="5" idx="3"/>
            <a:endCxn id="45" idx="1"/>
          </p:cNvCxnSpPr>
          <p:nvPr/>
        </p:nvCxnSpPr>
        <p:spPr>
          <a:xfrm flipV="1">
            <a:off x="6356844" y="3010279"/>
            <a:ext cx="626397" cy="646075"/>
          </a:xfrm>
          <a:prstGeom prst="straightConnector1">
            <a:avLst/>
          </a:prstGeom>
          <a:ln w="25400">
            <a:solidFill>
              <a:srgbClr val="BAD80A"/>
            </a:solidFill>
            <a:tailEnd type="triangle"/>
          </a:ln>
        </p:spPr>
        <p:style>
          <a:lnRef idx="1">
            <a:schemeClr val="accent1"/>
          </a:lnRef>
          <a:fillRef idx="0">
            <a:schemeClr val="accent1"/>
          </a:fillRef>
          <a:effectRef idx="0">
            <a:schemeClr val="accent1"/>
          </a:effectRef>
          <a:fontRef idx="minor">
            <a:schemeClr val="tx1"/>
          </a:fontRef>
        </p:style>
      </p:cxnSp>
      <p:cxnSp>
        <p:nvCxnSpPr>
          <p:cNvPr id="114" name="Straight Arrow Connector 113"/>
          <p:cNvCxnSpPr>
            <a:stCxn id="70" idx="1"/>
            <a:endCxn id="5" idx="3"/>
          </p:cNvCxnSpPr>
          <p:nvPr/>
        </p:nvCxnSpPr>
        <p:spPr>
          <a:xfrm flipH="1" flipV="1">
            <a:off x="6356844" y="3656354"/>
            <a:ext cx="654712" cy="579893"/>
          </a:xfrm>
          <a:prstGeom prst="straightConnector1">
            <a:avLst/>
          </a:prstGeom>
          <a:ln w="25400">
            <a:solidFill>
              <a:srgbClr val="107C10"/>
            </a:solidFill>
            <a:tailEnd type="triangle"/>
          </a:ln>
        </p:spPr>
        <p:style>
          <a:lnRef idx="1">
            <a:schemeClr val="accent1"/>
          </a:lnRef>
          <a:fillRef idx="0">
            <a:schemeClr val="accent1"/>
          </a:fillRef>
          <a:effectRef idx="0">
            <a:schemeClr val="accent1"/>
          </a:effectRef>
          <a:fontRef idx="minor">
            <a:schemeClr val="tx1"/>
          </a:fontRef>
        </p:style>
      </p:cxnSp>
      <p:sp>
        <p:nvSpPr>
          <p:cNvPr id="124" name="Rectangle 123"/>
          <p:cNvSpPr/>
          <p:nvPr/>
        </p:nvSpPr>
        <p:spPr bwMode="auto">
          <a:xfrm>
            <a:off x="4815053" y="3128698"/>
            <a:ext cx="1528661" cy="1009248"/>
          </a:xfrm>
          <a:prstGeom prst="rect">
            <a:avLst/>
          </a:prstGeom>
          <a:solidFill>
            <a:srgbClr val="FF0000">
              <a:alpha val="21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367058283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2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xit" presetSubtype="0" fill="hold" grpId="1" nodeType="clickEffect">
                                  <p:stCondLst>
                                    <p:cond delay="0"/>
                                  </p:stCondLst>
                                  <p:childTnLst>
                                    <p:set>
                                      <p:cBhvr>
                                        <p:cTn id="10" dur="1" fill="hold">
                                          <p:stCondLst>
                                            <p:cond delay="0"/>
                                          </p:stCondLst>
                                        </p:cTn>
                                        <p:tgtEl>
                                          <p:spTgt spid="124"/>
                                        </p:tgtEl>
                                        <p:attrNameLst>
                                          <p:attrName>style.visibility</p:attrName>
                                        </p:attrNameLst>
                                      </p:cBhvr>
                                      <p:to>
                                        <p:strVal val="hidden"/>
                                      </p:to>
                                    </p:set>
                                  </p:childTnLst>
                                </p:cTn>
                              </p:par>
                              <p:par>
                                <p:cTn id="11" presetID="1" presetClass="entr" presetSubtype="0" fill="hold" nodeType="withEffect">
                                  <p:stCondLst>
                                    <p:cond delay="0"/>
                                  </p:stCondLst>
                                  <p:childTnLst>
                                    <p:set>
                                      <p:cBhvr>
                                        <p:cTn id="12" dur="1" fill="hold">
                                          <p:stCondLst>
                                            <p:cond delay="0"/>
                                          </p:stCondLst>
                                        </p:cTn>
                                        <p:tgtEl>
                                          <p:spTgt spid="104"/>
                                        </p:tgtEl>
                                        <p:attrNameLst>
                                          <p:attrName>style.visibility</p:attrName>
                                        </p:attrNameLst>
                                      </p:cBhvr>
                                      <p:to>
                                        <p:strVal val="visible"/>
                                      </p:to>
                                    </p:set>
                                  </p:childTnLst>
                                </p:cTn>
                              </p:par>
                            </p:childTnLst>
                          </p:cTn>
                        </p:par>
                        <p:par>
                          <p:cTn id="13" fill="hold">
                            <p:stCondLst>
                              <p:cond delay="0"/>
                            </p:stCondLst>
                            <p:childTnLst>
                              <p:par>
                                <p:cTn id="14" presetID="1" presetClass="entr" presetSubtype="0" fill="hold" nodeType="afterEffect">
                                  <p:stCondLst>
                                    <p:cond delay="0"/>
                                  </p:stCondLst>
                                  <p:childTnLst>
                                    <p:set>
                                      <p:cBhvr>
                                        <p:cTn id="15" dur="1" fill="hold">
                                          <p:stCondLst>
                                            <p:cond delay="0"/>
                                          </p:stCondLst>
                                        </p:cTn>
                                        <p:tgtEl>
                                          <p:spTgt spid="103"/>
                                        </p:tgtEl>
                                        <p:attrNameLst>
                                          <p:attrName>style.visibility</p:attrName>
                                        </p:attrNameLst>
                                      </p:cBhvr>
                                      <p:to>
                                        <p:strVal val="visible"/>
                                      </p:to>
                                    </p:set>
                                  </p:childTnLst>
                                </p:cTn>
                              </p:par>
                            </p:childTnLst>
                          </p:cTn>
                        </p:par>
                        <p:par>
                          <p:cTn id="16" fill="hold">
                            <p:stCondLst>
                              <p:cond delay="0"/>
                            </p:stCondLst>
                            <p:childTnLst>
                              <p:par>
                                <p:cTn id="17" presetID="1" presetClass="entr" presetSubtype="0" fill="hold" nodeType="afterEffect">
                                  <p:stCondLst>
                                    <p:cond delay="0"/>
                                  </p:stCondLst>
                                  <p:childTnLst>
                                    <p:set>
                                      <p:cBhvr>
                                        <p:cTn id="18" dur="1" fill="hold">
                                          <p:stCondLst>
                                            <p:cond delay="0"/>
                                          </p:stCondLst>
                                        </p:cTn>
                                        <p:tgtEl>
                                          <p:spTgt spid="46"/>
                                        </p:tgtEl>
                                        <p:attrNameLst>
                                          <p:attrName>style.visibility</p:attrName>
                                        </p:attrNameLst>
                                      </p:cBhvr>
                                      <p:to>
                                        <p:strVal val="visible"/>
                                      </p:to>
                                    </p:set>
                                  </p:childTnLst>
                                </p:cTn>
                              </p:par>
                            </p:childTnLst>
                          </p:cTn>
                        </p:par>
                        <p:par>
                          <p:cTn id="19" fill="hold">
                            <p:stCondLst>
                              <p:cond delay="0"/>
                            </p:stCondLst>
                            <p:childTnLst>
                              <p:par>
                                <p:cTn id="20" presetID="1" presetClass="entr" presetSubtype="0" fill="hold" nodeType="afterEffect">
                                  <p:stCondLst>
                                    <p:cond delay="0"/>
                                  </p:stCondLst>
                                  <p:childTnLst>
                                    <p:set>
                                      <p:cBhvr>
                                        <p:cTn id="21" dur="1" fill="hold">
                                          <p:stCondLst>
                                            <p:cond delay="0"/>
                                          </p:stCondLst>
                                        </p:cTn>
                                        <p:tgtEl>
                                          <p:spTgt spid="107"/>
                                        </p:tgtEl>
                                        <p:attrNameLst>
                                          <p:attrName>style.visibility</p:attrName>
                                        </p:attrNameLst>
                                      </p:cBhvr>
                                      <p:to>
                                        <p:strVal val="visible"/>
                                      </p:to>
                                    </p:set>
                                  </p:childTnLst>
                                </p:cTn>
                              </p:par>
                            </p:childTnLst>
                          </p:cTn>
                        </p:par>
                        <p:par>
                          <p:cTn id="22" fill="hold">
                            <p:stCondLst>
                              <p:cond delay="0"/>
                            </p:stCondLst>
                            <p:childTnLst>
                              <p:par>
                                <p:cTn id="23" presetID="1" presetClass="entr" presetSubtype="0" fill="hold" nodeType="afterEffect">
                                  <p:stCondLst>
                                    <p:cond delay="0"/>
                                  </p:stCondLst>
                                  <p:childTnLst>
                                    <p:set>
                                      <p:cBhvr>
                                        <p:cTn id="24" dur="1" fill="hold">
                                          <p:stCondLst>
                                            <p:cond delay="0"/>
                                          </p:stCondLst>
                                        </p:cTn>
                                        <p:tgtEl>
                                          <p:spTgt spid="94"/>
                                        </p:tgtEl>
                                        <p:attrNameLst>
                                          <p:attrName>style.visibility</p:attrName>
                                        </p:attrNameLst>
                                      </p:cBhvr>
                                      <p:to>
                                        <p:strVal val="visible"/>
                                      </p:to>
                                    </p:set>
                                  </p:childTnLst>
                                </p:cTn>
                              </p:par>
                            </p:childTnLst>
                          </p:cTn>
                        </p:par>
                        <p:par>
                          <p:cTn id="25" fill="hold">
                            <p:stCondLst>
                              <p:cond delay="0"/>
                            </p:stCondLst>
                            <p:childTnLst>
                              <p:par>
                                <p:cTn id="26" presetID="1" presetClass="entr" presetSubtype="0" fill="hold" nodeType="afterEffect">
                                  <p:stCondLst>
                                    <p:cond delay="0"/>
                                  </p:stCondLst>
                                  <p:childTnLst>
                                    <p:set>
                                      <p:cBhvr>
                                        <p:cTn id="27" dur="1" fill="hold">
                                          <p:stCondLst>
                                            <p:cond delay="0"/>
                                          </p:stCondLst>
                                        </p:cTn>
                                        <p:tgtEl>
                                          <p:spTgt spid="28"/>
                                        </p:tgtEl>
                                        <p:attrNameLst>
                                          <p:attrName>style.visibility</p:attrName>
                                        </p:attrNameLst>
                                      </p:cBhvr>
                                      <p:to>
                                        <p:strVal val="visible"/>
                                      </p:to>
                                    </p:set>
                                  </p:childTnLst>
                                </p:cTn>
                              </p:par>
                            </p:childTnLst>
                          </p:cTn>
                        </p:par>
                        <p:par>
                          <p:cTn id="28" fill="hold">
                            <p:stCondLst>
                              <p:cond delay="0"/>
                            </p:stCondLst>
                            <p:childTnLst>
                              <p:par>
                                <p:cTn id="29" presetID="1" presetClass="entr" presetSubtype="0" fill="hold" nodeType="afterEffect">
                                  <p:stCondLst>
                                    <p:cond delay="0"/>
                                  </p:stCondLst>
                                  <p:childTnLst>
                                    <p:set>
                                      <p:cBhvr>
                                        <p:cTn id="30" dur="1" fill="hold">
                                          <p:stCondLst>
                                            <p:cond delay="0"/>
                                          </p:stCondLst>
                                        </p:cTn>
                                        <p:tgtEl>
                                          <p:spTgt spid="105"/>
                                        </p:tgtEl>
                                        <p:attrNameLst>
                                          <p:attrName>style.visibility</p:attrName>
                                        </p:attrNameLst>
                                      </p:cBhvr>
                                      <p:to>
                                        <p:strVal val="visible"/>
                                      </p:to>
                                    </p:set>
                                  </p:childTnLst>
                                </p:cTn>
                              </p:par>
                            </p:childTnLst>
                          </p:cTn>
                        </p:par>
                        <p:par>
                          <p:cTn id="31" fill="hold">
                            <p:stCondLst>
                              <p:cond delay="0"/>
                            </p:stCondLst>
                            <p:childTnLst>
                              <p:par>
                                <p:cTn id="32" presetID="1" presetClass="entr" presetSubtype="0" fill="hold" nodeType="afterEffect">
                                  <p:stCondLst>
                                    <p:cond delay="0"/>
                                  </p:stCondLst>
                                  <p:childTnLst>
                                    <p:set>
                                      <p:cBhvr>
                                        <p:cTn id="33" dur="1" fill="hold">
                                          <p:stCondLst>
                                            <p:cond delay="0"/>
                                          </p:stCondLst>
                                        </p:cTn>
                                        <p:tgtEl>
                                          <p:spTgt spid="11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4" grpId="0" animBg="1"/>
      <p:bldP spid="124" grpId="1"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Background processing decoupling &amp; scaling </a:t>
            </a:r>
          </a:p>
        </p:txBody>
      </p:sp>
      <p:grpSp>
        <p:nvGrpSpPr>
          <p:cNvPr id="4" name="Group 3"/>
          <p:cNvGrpSpPr/>
          <p:nvPr/>
        </p:nvGrpSpPr>
        <p:grpSpPr>
          <a:xfrm>
            <a:off x="4815053" y="3136477"/>
            <a:ext cx="1541791" cy="1039753"/>
            <a:chOff x="5936247" y="1565661"/>
            <a:chExt cx="1541791" cy="1039753"/>
          </a:xfrm>
        </p:grpSpPr>
        <p:sp>
          <p:nvSpPr>
            <p:cNvPr id="5" name="Rectangle 4"/>
            <p:cNvSpPr/>
            <p:nvPr/>
          </p:nvSpPr>
          <p:spPr bwMode="auto">
            <a:xfrm>
              <a:off x="5936247" y="1565661"/>
              <a:ext cx="1541791" cy="1039753"/>
            </a:xfrm>
            <a:prstGeom prst="rect">
              <a:avLst/>
            </a:prstGeom>
            <a:solidFill>
              <a:schemeClr val="bg1"/>
            </a:solidFill>
            <a:ln w="25400">
              <a:solidFill>
                <a:srgbClr val="00B0F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pic>
          <p:nvPicPr>
            <p:cNvPr id="6" name="Picture 5"/>
            <p:cNvPicPr>
              <a:picLocks noChangeAspect="1"/>
            </p:cNvPicPr>
            <p:nvPr/>
          </p:nvPicPr>
          <p:blipFill>
            <a:blip r:embed="rId3"/>
            <a:stretch>
              <a:fillRect/>
            </a:stretch>
          </p:blipFill>
          <p:spPr>
            <a:xfrm>
              <a:off x="5984011" y="1618316"/>
              <a:ext cx="618547" cy="223455"/>
            </a:xfrm>
            <a:prstGeom prst="rect">
              <a:avLst/>
            </a:prstGeom>
          </p:spPr>
        </p:pic>
        <p:sp>
          <p:nvSpPr>
            <p:cNvPr id="7" name="TextBox 6"/>
            <p:cNvSpPr txBox="1"/>
            <p:nvPr/>
          </p:nvSpPr>
          <p:spPr>
            <a:xfrm>
              <a:off x="5995590" y="1896307"/>
              <a:ext cx="954836" cy="166199"/>
            </a:xfrm>
            <a:prstGeom prst="rect">
              <a:avLst/>
            </a:prstGeom>
            <a:noFill/>
          </p:spPr>
          <p:txBody>
            <a:bodyPr wrap="square" lIns="0" tIns="0" rIns="0" bIns="0" rtlCol="0">
              <a:spAutoFit/>
            </a:bodyPr>
            <a:lstStyle/>
            <a:p>
              <a:pPr>
                <a:lnSpc>
                  <a:spcPct val="90000"/>
                </a:lnSpc>
                <a:spcBef>
                  <a:spcPct val="20000"/>
                </a:spcBef>
                <a:buSzPct val="80000"/>
              </a:pPr>
              <a:r>
                <a:rPr lang="en-US" sz="1200" dirty="0">
                  <a:gradFill>
                    <a:gsLst>
                      <a:gs pos="0">
                        <a:srgbClr val="292929">
                          <a:lumMod val="90000"/>
                          <a:lumOff val="10000"/>
                        </a:srgbClr>
                      </a:gs>
                      <a:gs pos="86000">
                        <a:srgbClr val="292929">
                          <a:lumMod val="90000"/>
                          <a:lumOff val="10000"/>
                        </a:srgbClr>
                      </a:gs>
                    </a:gsLst>
                    <a:lin ang="5400000" scaled="0"/>
                  </a:gradFill>
                </a:rPr>
                <a:t>Web Server</a:t>
              </a:r>
            </a:p>
          </p:txBody>
        </p:sp>
        <p:pic>
          <p:nvPicPr>
            <p:cNvPr id="8" name="Picture 7"/>
            <p:cNvPicPr>
              <a:picLocks noChangeAspect="1"/>
            </p:cNvPicPr>
            <p:nvPr/>
          </p:nvPicPr>
          <p:blipFill>
            <a:blip r:embed="rId4"/>
            <a:stretch>
              <a:fillRect/>
            </a:stretch>
          </p:blipFill>
          <p:spPr>
            <a:xfrm>
              <a:off x="6814725" y="1596166"/>
              <a:ext cx="271402" cy="269628"/>
            </a:xfrm>
            <a:prstGeom prst="rect">
              <a:avLst/>
            </a:prstGeom>
          </p:spPr>
        </p:pic>
        <p:sp>
          <p:nvSpPr>
            <p:cNvPr id="9" name="Flowchart: Process 8"/>
            <p:cNvSpPr/>
            <p:nvPr/>
          </p:nvSpPr>
          <p:spPr bwMode="auto">
            <a:xfrm>
              <a:off x="5995590" y="2150559"/>
              <a:ext cx="1326187" cy="317340"/>
            </a:xfrm>
            <a:prstGeom prst="flowChartProcess">
              <a:avLst/>
            </a:prstGeom>
            <a:solidFill>
              <a:srgbClr val="7030A0"/>
            </a:solidFill>
            <a:ln>
              <a:solidFill>
                <a:srgbClr val="5E5E5E"/>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200" dirty="0">
                  <a:gradFill>
                    <a:gsLst>
                      <a:gs pos="0">
                        <a:srgbClr val="FFFFFF"/>
                      </a:gs>
                      <a:gs pos="100000">
                        <a:srgbClr val="FFFFFF"/>
                      </a:gs>
                    </a:gsLst>
                    <a:lin ang="5400000" scaled="0"/>
                  </a:gradFill>
                </a:rPr>
                <a:t>Site (W3WP.EXE)</a:t>
              </a:r>
            </a:p>
          </p:txBody>
        </p:sp>
      </p:grpSp>
      <p:grpSp>
        <p:nvGrpSpPr>
          <p:cNvPr id="16" name="Group 15"/>
          <p:cNvGrpSpPr/>
          <p:nvPr/>
        </p:nvGrpSpPr>
        <p:grpSpPr>
          <a:xfrm>
            <a:off x="10600555" y="3142411"/>
            <a:ext cx="1575916" cy="998617"/>
            <a:chOff x="8945948" y="1949969"/>
            <a:chExt cx="1575916" cy="998617"/>
          </a:xfrm>
        </p:grpSpPr>
        <p:sp>
          <p:nvSpPr>
            <p:cNvPr id="17" name="Rectangle 16"/>
            <p:cNvSpPr/>
            <p:nvPr/>
          </p:nvSpPr>
          <p:spPr bwMode="auto">
            <a:xfrm>
              <a:off x="8945948" y="1949969"/>
              <a:ext cx="1575916" cy="998617"/>
            </a:xfrm>
            <a:prstGeom prst="rect">
              <a:avLst/>
            </a:prstGeom>
            <a:solidFill>
              <a:schemeClr val="bg1"/>
            </a:solidFill>
            <a:ln w="25400">
              <a:solidFill>
                <a:srgbClr val="00B0F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pic>
          <p:nvPicPr>
            <p:cNvPr id="18" name="Picture 17"/>
            <p:cNvPicPr>
              <a:picLocks noChangeAspect="1"/>
            </p:cNvPicPr>
            <p:nvPr/>
          </p:nvPicPr>
          <p:blipFill>
            <a:blip r:embed="rId3"/>
            <a:stretch>
              <a:fillRect/>
            </a:stretch>
          </p:blipFill>
          <p:spPr>
            <a:xfrm>
              <a:off x="8982842" y="2002625"/>
              <a:ext cx="618547" cy="223455"/>
            </a:xfrm>
            <a:prstGeom prst="rect">
              <a:avLst/>
            </a:prstGeom>
          </p:spPr>
        </p:pic>
        <p:sp>
          <p:nvSpPr>
            <p:cNvPr id="19" name="TextBox 18"/>
            <p:cNvSpPr txBox="1"/>
            <p:nvPr/>
          </p:nvSpPr>
          <p:spPr>
            <a:xfrm>
              <a:off x="8982842" y="2677316"/>
              <a:ext cx="1442402" cy="166199"/>
            </a:xfrm>
            <a:prstGeom prst="rect">
              <a:avLst/>
            </a:prstGeom>
            <a:noFill/>
          </p:spPr>
          <p:txBody>
            <a:bodyPr wrap="square" lIns="0" tIns="0" rIns="0" bIns="0" rtlCol="0">
              <a:spAutoFit/>
            </a:bodyPr>
            <a:lstStyle/>
            <a:p>
              <a:pPr>
                <a:lnSpc>
                  <a:spcPct val="90000"/>
                </a:lnSpc>
                <a:spcBef>
                  <a:spcPct val="20000"/>
                </a:spcBef>
                <a:buSzPct val="80000"/>
              </a:pPr>
              <a:r>
                <a:rPr lang="en-US" sz="1200" dirty="0">
                  <a:gradFill>
                    <a:gsLst>
                      <a:gs pos="0">
                        <a:srgbClr val="292929">
                          <a:lumMod val="90000"/>
                          <a:lumOff val="10000"/>
                        </a:srgbClr>
                      </a:gs>
                      <a:gs pos="86000">
                        <a:srgbClr val="292929">
                          <a:lumMod val="90000"/>
                          <a:lumOff val="10000"/>
                        </a:srgbClr>
                      </a:gs>
                    </a:gsLst>
                    <a:lin ang="5400000" scaled="0"/>
                  </a:gradFill>
                </a:rPr>
                <a:t>Web Site Database</a:t>
              </a:r>
            </a:p>
          </p:txBody>
        </p:sp>
        <p:sp>
          <p:nvSpPr>
            <p:cNvPr id="20" name="Flowchart: Magnetic Disk 19"/>
            <p:cNvSpPr/>
            <p:nvPr/>
          </p:nvSpPr>
          <p:spPr bwMode="auto">
            <a:xfrm>
              <a:off x="9931799" y="1979974"/>
              <a:ext cx="439435" cy="587862"/>
            </a:xfrm>
            <a:prstGeom prst="flowChartMagneticDisk">
              <a:avLst/>
            </a:prstGeom>
            <a:solidFill>
              <a:schemeClr val="bg1"/>
            </a:solidFill>
            <a:ln>
              <a:solidFill>
                <a:srgbClr val="5E5E5E"/>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grpSp>
      <p:grpSp>
        <p:nvGrpSpPr>
          <p:cNvPr id="21" name="Group 20"/>
          <p:cNvGrpSpPr/>
          <p:nvPr/>
        </p:nvGrpSpPr>
        <p:grpSpPr>
          <a:xfrm>
            <a:off x="1830066" y="3398813"/>
            <a:ext cx="954836" cy="717372"/>
            <a:chOff x="1207714" y="2472755"/>
            <a:chExt cx="954836" cy="717372"/>
          </a:xfrm>
        </p:grpSpPr>
        <p:pic>
          <p:nvPicPr>
            <p:cNvPr id="22" name="Picture 21"/>
            <p:cNvPicPr>
              <a:picLocks noChangeAspect="1"/>
            </p:cNvPicPr>
            <p:nvPr/>
          </p:nvPicPr>
          <p:blipFill>
            <a:blip r:embed="rId5"/>
            <a:stretch>
              <a:fillRect/>
            </a:stretch>
          </p:blipFill>
          <p:spPr>
            <a:xfrm>
              <a:off x="1298541" y="2472755"/>
              <a:ext cx="773183" cy="516741"/>
            </a:xfrm>
            <a:prstGeom prst="rect">
              <a:avLst/>
            </a:prstGeom>
          </p:spPr>
        </p:pic>
        <p:sp>
          <p:nvSpPr>
            <p:cNvPr id="23" name="TextBox 22"/>
            <p:cNvSpPr txBox="1"/>
            <p:nvPr/>
          </p:nvSpPr>
          <p:spPr>
            <a:xfrm>
              <a:off x="1207714" y="3023928"/>
              <a:ext cx="954836" cy="166199"/>
            </a:xfrm>
            <a:prstGeom prst="rect">
              <a:avLst/>
            </a:prstGeom>
            <a:noFill/>
          </p:spPr>
          <p:txBody>
            <a:bodyPr wrap="square" lIns="0" tIns="0" rIns="0" bIns="0" rtlCol="0">
              <a:spAutoFit/>
            </a:bodyPr>
            <a:lstStyle/>
            <a:p>
              <a:pPr>
                <a:lnSpc>
                  <a:spcPct val="90000"/>
                </a:lnSpc>
                <a:spcBef>
                  <a:spcPct val="20000"/>
                </a:spcBef>
                <a:buSzPct val="80000"/>
              </a:pPr>
              <a:r>
                <a:rPr lang="en-US" sz="1200" dirty="0">
                  <a:gradFill>
                    <a:gsLst>
                      <a:gs pos="0">
                        <a:srgbClr val="292929">
                          <a:lumMod val="90000"/>
                          <a:lumOff val="10000"/>
                        </a:srgbClr>
                      </a:gs>
                      <a:gs pos="86000">
                        <a:srgbClr val="292929">
                          <a:lumMod val="90000"/>
                          <a:lumOff val="10000"/>
                        </a:srgbClr>
                      </a:gs>
                    </a:gsLst>
                    <a:lin ang="5400000" scaled="0"/>
                  </a:gradFill>
                </a:rPr>
                <a:t>Load Balancer </a:t>
              </a:r>
            </a:p>
          </p:txBody>
        </p:sp>
      </p:grpSp>
      <p:cxnSp>
        <p:nvCxnSpPr>
          <p:cNvPr id="24" name="Elbow Connector 23"/>
          <p:cNvCxnSpPr>
            <a:stCxn id="22" idx="3"/>
            <a:endCxn id="5" idx="1"/>
          </p:cNvCxnSpPr>
          <p:nvPr/>
        </p:nvCxnSpPr>
        <p:spPr>
          <a:xfrm flipV="1">
            <a:off x="2694076" y="3656354"/>
            <a:ext cx="2120977" cy="830"/>
          </a:xfrm>
          <a:prstGeom prst="bentConnector3">
            <a:avLst>
              <a:gd name="adj1" fmla="val 50000"/>
            </a:avLst>
          </a:prstGeom>
          <a:ln w="25400">
            <a:solidFill>
              <a:srgbClr val="BAD80A"/>
            </a:solidFill>
            <a:tailEnd type="triangle"/>
          </a:ln>
        </p:spPr>
        <p:style>
          <a:lnRef idx="1">
            <a:schemeClr val="accent1"/>
          </a:lnRef>
          <a:fillRef idx="0">
            <a:schemeClr val="accent1"/>
          </a:fillRef>
          <a:effectRef idx="0">
            <a:schemeClr val="accent1"/>
          </a:effectRef>
          <a:fontRef idx="minor">
            <a:schemeClr val="tx1"/>
          </a:fontRef>
        </p:style>
      </p:cxnSp>
      <p:cxnSp>
        <p:nvCxnSpPr>
          <p:cNvPr id="25" name="Elbow Connector 24"/>
          <p:cNvCxnSpPr>
            <a:stCxn id="5" idx="3"/>
            <a:endCxn id="17" idx="1"/>
          </p:cNvCxnSpPr>
          <p:nvPr/>
        </p:nvCxnSpPr>
        <p:spPr>
          <a:xfrm flipV="1">
            <a:off x="6356844" y="3641720"/>
            <a:ext cx="4243711" cy="14634"/>
          </a:xfrm>
          <a:prstGeom prst="bentConnector3">
            <a:avLst>
              <a:gd name="adj1" fmla="val 50000"/>
            </a:avLst>
          </a:prstGeom>
          <a:ln w="25400">
            <a:solidFill>
              <a:srgbClr val="BAD80A"/>
            </a:solidFill>
            <a:tailEnd type="triangle"/>
          </a:ln>
        </p:spPr>
        <p:style>
          <a:lnRef idx="1">
            <a:schemeClr val="accent1"/>
          </a:lnRef>
          <a:fillRef idx="0">
            <a:schemeClr val="accent1"/>
          </a:fillRef>
          <a:effectRef idx="0">
            <a:schemeClr val="accent1"/>
          </a:effectRef>
          <a:fontRef idx="minor">
            <a:schemeClr val="tx1"/>
          </a:fontRef>
        </p:style>
      </p:cxnSp>
      <p:cxnSp>
        <p:nvCxnSpPr>
          <p:cNvPr id="46" name="Elbow Connector 45"/>
          <p:cNvCxnSpPr>
            <a:stCxn id="40" idx="3"/>
            <a:endCxn id="17" idx="0"/>
          </p:cNvCxnSpPr>
          <p:nvPr/>
        </p:nvCxnSpPr>
        <p:spPr>
          <a:xfrm>
            <a:off x="10802180" y="1973606"/>
            <a:ext cx="586333" cy="1168805"/>
          </a:xfrm>
          <a:prstGeom prst="bentConnector2">
            <a:avLst/>
          </a:prstGeom>
          <a:ln w="25400">
            <a:solidFill>
              <a:srgbClr val="BAD80A"/>
            </a:solidFill>
            <a:tailEnd type="triangle"/>
          </a:ln>
        </p:spPr>
        <p:style>
          <a:lnRef idx="1">
            <a:schemeClr val="accent1"/>
          </a:lnRef>
          <a:fillRef idx="0">
            <a:schemeClr val="accent1"/>
          </a:fillRef>
          <a:effectRef idx="0">
            <a:schemeClr val="accent1"/>
          </a:effectRef>
          <a:fontRef idx="minor">
            <a:schemeClr val="tx1"/>
          </a:fontRef>
        </p:style>
      </p:cxnSp>
      <p:grpSp>
        <p:nvGrpSpPr>
          <p:cNvPr id="103" name="Group 102"/>
          <p:cNvGrpSpPr/>
          <p:nvPr/>
        </p:nvGrpSpPr>
        <p:grpSpPr>
          <a:xfrm>
            <a:off x="6856448" y="2393615"/>
            <a:ext cx="1509901" cy="814266"/>
            <a:chOff x="6856448" y="2393615"/>
            <a:chExt cx="1509901" cy="814266"/>
          </a:xfrm>
        </p:grpSpPr>
        <p:sp>
          <p:nvSpPr>
            <p:cNvPr id="45" name="Flowchart: Direct Access Storage 44"/>
            <p:cNvSpPr/>
            <p:nvPr/>
          </p:nvSpPr>
          <p:spPr bwMode="auto">
            <a:xfrm>
              <a:off x="6983241" y="2812676"/>
              <a:ext cx="1298570" cy="395205"/>
            </a:xfrm>
            <a:prstGeom prst="flowChartMagneticDrum">
              <a:avLst/>
            </a:prstGeom>
            <a:solidFill>
              <a:schemeClr val="bg2">
                <a:lumMod val="60000"/>
                <a:lumOff val="40000"/>
              </a:schemeClr>
            </a:solid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72" name="TextBox 71"/>
            <p:cNvSpPr txBox="1"/>
            <p:nvPr/>
          </p:nvSpPr>
          <p:spPr>
            <a:xfrm>
              <a:off x="6856448" y="2393615"/>
              <a:ext cx="1509901" cy="489365"/>
            </a:xfrm>
            <a:prstGeom prst="rect">
              <a:avLst/>
            </a:prstGeom>
            <a:noFill/>
          </p:spPr>
          <p:txBody>
            <a:bodyPr wrap="none" lIns="182880" tIns="146304" rIns="182880" bIns="146304" rtlCol="0">
              <a:spAutoFit/>
            </a:bodyPr>
            <a:lstStyle/>
            <a:p>
              <a:pPr>
                <a:lnSpc>
                  <a:spcPct val="90000"/>
                </a:lnSpc>
                <a:spcAft>
                  <a:spcPts val="600"/>
                </a:spcAft>
              </a:pPr>
              <a:r>
                <a:rPr lang="en-US" sz="1400" dirty="0">
                  <a:gradFill>
                    <a:gsLst>
                      <a:gs pos="2917">
                        <a:schemeClr val="tx1"/>
                      </a:gs>
                      <a:gs pos="30000">
                        <a:schemeClr val="tx1"/>
                      </a:gs>
                    </a:gsLst>
                    <a:lin ang="5400000" scaled="0"/>
                  </a:gradFill>
                </a:rPr>
                <a:t>request queue</a:t>
              </a:r>
            </a:p>
          </p:txBody>
        </p:sp>
        <p:grpSp>
          <p:nvGrpSpPr>
            <p:cNvPr id="92" name="Group 91"/>
            <p:cNvGrpSpPr/>
            <p:nvPr/>
          </p:nvGrpSpPr>
          <p:grpSpPr>
            <a:xfrm>
              <a:off x="7304586" y="2858316"/>
              <a:ext cx="421237" cy="274317"/>
              <a:chOff x="2694075" y="5234603"/>
              <a:chExt cx="421237" cy="274317"/>
            </a:xfrm>
          </p:grpSpPr>
          <p:sp>
            <p:nvSpPr>
              <p:cNvPr id="87" name="Rectangle 86"/>
              <p:cNvSpPr/>
              <p:nvPr/>
            </p:nvSpPr>
            <p:spPr bwMode="auto">
              <a:xfrm>
                <a:off x="2694075" y="5234603"/>
                <a:ext cx="421237" cy="274317"/>
              </a:xfrm>
              <a:prstGeom prst="rect">
                <a:avLst/>
              </a:prstGeom>
              <a:solidFill>
                <a:schemeClr val="accent5">
                  <a:lumMod val="40000"/>
                  <a:lumOff val="60000"/>
                </a:schemeClr>
              </a:solidFill>
              <a:ln>
                <a:solidFill>
                  <a:schemeClr val="tx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89" name="Straight Connector 88"/>
              <p:cNvCxnSpPr/>
              <p:nvPr/>
            </p:nvCxnSpPr>
            <p:spPr>
              <a:xfrm flipH="1">
                <a:off x="2694075" y="5234603"/>
                <a:ext cx="421237" cy="274317"/>
              </a:xfrm>
              <a:prstGeom prst="line">
                <a:avLst/>
              </a:prstGeom>
              <a:ln>
                <a:solidFill>
                  <a:schemeClr val="tx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2694075" y="5234603"/>
                <a:ext cx="421237" cy="258370"/>
              </a:xfrm>
              <a:prstGeom prst="line">
                <a:avLst/>
              </a:prstGeom>
              <a:ln>
                <a:solidFill>
                  <a:schemeClr val="tx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grpSp>
      <p:grpSp>
        <p:nvGrpSpPr>
          <p:cNvPr id="104" name="Group 103"/>
          <p:cNvGrpSpPr/>
          <p:nvPr/>
        </p:nvGrpSpPr>
        <p:grpSpPr>
          <a:xfrm>
            <a:off x="6893526" y="4038644"/>
            <a:ext cx="1631729" cy="895734"/>
            <a:chOff x="6893526" y="4038644"/>
            <a:chExt cx="1631729" cy="895734"/>
          </a:xfrm>
        </p:grpSpPr>
        <p:sp>
          <p:nvSpPr>
            <p:cNvPr id="70" name="Flowchart: Direct Access Storage 69"/>
            <p:cNvSpPr/>
            <p:nvPr/>
          </p:nvSpPr>
          <p:spPr bwMode="auto">
            <a:xfrm>
              <a:off x="7011556" y="4038644"/>
              <a:ext cx="1298570" cy="395205"/>
            </a:xfrm>
            <a:prstGeom prst="flowChartMagneticDrum">
              <a:avLst/>
            </a:prstGeom>
            <a:solidFill>
              <a:schemeClr val="bg2">
                <a:lumMod val="60000"/>
                <a:lumOff val="40000"/>
              </a:schemeClr>
            </a:solid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73" name="TextBox 72"/>
            <p:cNvSpPr txBox="1"/>
            <p:nvPr/>
          </p:nvSpPr>
          <p:spPr>
            <a:xfrm>
              <a:off x="6893526" y="4445013"/>
              <a:ext cx="1631729" cy="489365"/>
            </a:xfrm>
            <a:prstGeom prst="rect">
              <a:avLst/>
            </a:prstGeom>
            <a:noFill/>
          </p:spPr>
          <p:txBody>
            <a:bodyPr wrap="none" lIns="182880" tIns="146304" rIns="182880" bIns="146304" rtlCol="0">
              <a:spAutoFit/>
            </a:bodyPr>
            <a:lstStyle/>
            <a:p>
              <a:pPr>
                <a:lnSpc>
                  <a:spcPct val="90000"/>
                </a:lnSpc>
                <a:spcAft>
                  <a:spcPts val="600"/>
                </a:spcAft>
              </a:pPr>
              <a:r>
                <a:rPr lang="en-US" sz="1400" dirty="0">
                  <a:gradFill>
                    <a:gsLst>
                      <a:gs pos="2917">
                        <a:schemeClr val="tx1"/>
                      </a:gs>
                      <a:gs pos="30000">
                        <a:schemeClr val="tx1"/>
                      </a:gs>
                    </a:gsLst>
                    <a:lin ang="5400000" scaled="0"/>
                  </a:gradFill>
                </a:rPr>
                <a:t>response queue</a:t>
              </a:r>
            </a:p>
          </p:txBody>
        </p:sp>
        <p:grpSp>
          <p:nvGrpSpPr>
            <p:cNvPr id="97" name="Group 96"/>
            <p:cNvGrpSpPr/>
            <p:nvPr/>
          </p:nvGrpSpPr>
          <p:grpSpPr>
            <a:xfrm>
              <a:off x="7387999" y="4082532"/>
              <a:ext cx="421237" cy="274317"/>
              <a:chOff x="2694075" y="5234603"/>
              <a:chExt cx="421237" cy="274317"/>
            </a:xfrm>
          </p:grpSpPr>
          <p:sp>
            <p:nvSpPr>
              <p:cNvPr id="98" name="Rectangle 97"/>
              <p:cNvSpPr/>
              <p:nvPr/>
            </p:nvSpPr>
            <p:spPr bwMode="auto">
              <a:xfrm>
                <a:off x="2694075" y="5234603"/>
                <a:ext cx="421237" cy="274317"/>
              </a:xfrm>
              <a:prstGeom prst="rect">
                <a:avLst/>
              </a:prstGeom>
              <a:solidFill>
                <a:schemeClr val="accent5">
                  <a:lumMod val="40000"/>
                  <a:lumOff val="60000"/>
                </a:schemeClr>
              </a:solidFill>
              <a:ln>
                <a:solidFill>
                  <a:schemeClr val="tx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99" name="Straight Connector 98"/>
              <p:cNvCxnSpPr/>
              <p:nvPr/>
            </p:nvCxnSpPr>
            <p:spPr>
              <a:xfrm flipH="1">
                <a:off x="2694075" y="5234603"/>
                <a:ext cx="421237" cy="274317"/>
              </a:xfrm>
              <a:prstGeom prst="line">
                <a:avLst/>
              </a:prstGeom>
              <a:ln>
                <a:solidFill>
                  <a:schemeClr val="tx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0" name="Straight Connector 99"/>
              <p:cNvCxnSpPr/>
              <p:nvPr/>
            </p:nvCxnSpPr>
            <p:spPr>
              <a:xfrm>
                <a:off x="2694075" y="5234603"/>
                <a:ext cx="421237" cy="258370"/>
              </a:xfrm>
              <a:prstGeom prst="line">
                <a:avLst/>
              </a:prstGeom>
              <a:ln>
                <a:solidFill>
                  <a:schemeClr val="tx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grpSp>
      <p:grpSp>
        <p:nvGrpSpPr>
          <p:cNvPr id="107" name="Group 106"/>
          <p:cNvGrpSpPr/>
          <p:nvPr/>
        </p:nvGrpSpPr>
        <p:grpSpPr>
          <a:xfrm>
            <a:off x="9260389" y="1392543"/>
            <a:ext cx="1556180" cy="1100939"/>
            <a:chOff x="8922338" y="1387363"/>
            <a:chExt cx="1556180" cy="1100939"/>
          </a:xfrm>
        </p:grpSpPr>
        <p:grpSp>
          <p:nvGrpSpPr>
            <p:cNvPr id="39" name="Group 38"/>
            <p:cNvGrpSpPr/>
            <p:nvPr/>
          </p:nvGrpSpPr>
          <p:grpSpPr>
            <a:xfrm>
              <a:off x="8922338" y="1448549"/>
              <a:ext cx="1541791" cy="1039753"/>
              <a:chOff x="5969622" y="1572860"/>
              <a:chExt cx="1541791" cy="1039753"/>
            </a:xfrm>
          </p:grpSpPr>
          <p:sp>
            <p:nvSpPr>
              <p:cNvPr id="40" name="Rectangle 39"/>
              <p:cNvSpPr/>
              <p:nvPr/>
            </p:nvSpPr>
            <p:spPr bwMode="auto">
              <a:xfrm>
                <a:off x="5969622" y="1572860"/>
                <a:ext cx="1541791" cy="1039753"/>
              </a:xfrm>
              <a:prstGeom prst="rect">
                <a:avLst/>
              </a:prstGeom>
              <a:solidFill>
                <a:schemeClr val="bg1"/>
              </a:solidFill>
              <a:ln w="25400">
                <a:solidFill>
                  <a:srgbClr val="00B0F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pic>
            <p:nvPicPr>
              <p:cNvPr id="41" name="Picture 40"/>
              <p:cNvPicPr>
                <a:picLocks noChangeAspect="1"/>
              </p:cNvPicPr>
              <p:nvPr/>
            </p:nvPicPr>
            <p:blipFill>
              <a:blip r:embed="rId3"/>
              <a:stretch>
                <a:fillRect/>
              </a:stretch>
            </p:blipFill>
            <p:spPr>
              <a:xfrm>
                <a:off x="5984011" y="1618316"/>
                <a:ext cx="618547" cy="223455"/>
              </a:xfrm>
              <a:prstGeom prst="rect">
                <a:avLst/>
              </a:prstGeom>
            </p:spPr>
          </p:pic>
          <p:sp>
            <p:nvSpPr>
              <p:cNvPr id="42" name="TextBox 41"/>
              <p:cNvSpPr txBox="1"/>
              <p:nvPr/>
            </p:nvSpPr>
            <p:spPr>
              <a:xfrm>
                <a:off x="5995590" y="1896307"/>
                <a:ext cx="954836" cy="166199"/>
              </a:xfrm>
              <a:prstGeom prst="rect">
                <a:avLst/>
              </a:prstGeom>
              <a:noFill/>
            </p:spPr>
            <p:txBody>
              <a:bodyPr wrap="square" lIns="0" tIns="0" rIns="0" bIns="0" rtlCol="0">
                <a:spAutoFit/>
              </a:bodyPr>
              <a:lstStyle/>
              <a:p>
                <a:pPr>
                  <a:lnSpc>
                    <a:spcPct val="90000"/>
                  </a:lnSpc>
                  <a:spcBef>
                    <a:spcPct val="20000"/>
                  </a:spcBef>
                  <a:buSzPct val="80000"/>
                </a:pPr>
                <a:r>
                  <a:rPr lang="en-US" sz="1200" dirty="0">
                    <a:gradFill>
                      <a:gsLst>
                        <a:gs pos="0">
                          <a:srgbClr val="292929">
                            <a:lumMod val="90000"/>
                            <a:lumOff val="10000"/>
                          </a:srgbClr>
                        </a:gs>
                        <a:gs pos="86000">
                          <a:srgbClr val="292929">
                            <a:lumMod val="90000"/>
                            <a:lumOff val="10000"/>
                          </a:srgbClr>
                        </a:gs>
                      </a:gsLst>
                      <a:lin ang="5400000" scaled="0"/>
                    </a:gradFill>
                  </a:rPr>
                  <a:t>Worker</a:t>
                </a:r>
              </a:p>
            </p:txBody>
          </p:sp>
          <p:sp>
            <p:nvSpPr>
              <p:cNvPr id="44" name="Flowchart: Process 43"/>
              <p:cNvSpPr/>
              <p:nvPr/>
            </p:nvSpPr>
            <p:spPr bwMode="auto">
              <a:xfrm>
                <a:off x="5995590" y="2150559"/>
                <a:ext cx="1326187" cy="317340"/>
              </a:xfrm>
              <a:prstGeom prst="flowChartProcess">
                <a:avLst/>
              </a:prstGeom>
              <a:solidFill>
                <a:srgbClr val="7030A0"/>
              </a:solidFill>
              <a:ln>
                <a:solidFill>
                  <a:srgbClr val="5E5E5E"/>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200" dirty="0">
                    <a:gradFill>
                      <a:gsLst>
                        <a:gs pos="0">
                          <a:srgbClr val="FFFFFF"/>
                        </a:gs>
                        <a:gs pos="100000">
                          <a:srgbClr val="FFFFFF"/>
                        </a:gs>
                      </a:gsLst>
                      <a:lin ang="5400000" scaled="0"/>
                    </a:gradFill>
                  </a:rPr>
                  <a:t>Worker process</a:t>
                </a:r>
              </a:p>
            </p:txBody>
          </p:sp>
        </p:grpSp>
        <p:pic>
          <p:nvPicPr>
            <p:cNvPr id="106" name="Picture 105"/>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9843912" y="1387363"/>
              <a:ext cx="634606" cy="634606"/>
            </a:xfrm>
            <a:prstGeom prst="rect">
              <a:avLst/>
            </a:prstGeom>
          </p:spPr>
        </p:pic>
      </p:grpSp>
      <p:grpSp>
        <p:nvGrpSpPr>
          <p:cNvPr id="58" name="Group 57"/>
          <p:cNvGrpSpPr/>
          <p:nvPr/>
        </p:nvGrpSpPr>
        <p:grpSpPr>
          <a:xfrm>
            <a:off x="4822584" y="4696107"/>
            <a:ext cx="1541791" cy="1039753"/>
            <a:chOff x="5936247" y="1565661"/>
            <a:chExt cx="1541791" cy="1039753"/>
          </a:xfrm>
        </p:grpSpPr>
        <p:sp>
          <p:nvSpPr>
            <p:cNvPr id="59" name="Rectangle 58"/>
            <p:cNvSpPr/>
            <p:nvPr/>
          </p:nvSpPr>
          <p:spPr bwMode="auto">
            <a:xfrm>
              <a:off x="5936247" y="1565661"/>
              <a:ext cx="1541791" cy="1039753"/>
            </a:xfrm>
            <a:prstGeom prst="rect">
              <a:avLst/>
            </a:prstGeom>
            <a:solidFill>
              <a:schemeClr val="bg1"/>
            </a:solidFill>
            <a:ln w="25400">
              <a:solidFill>
                <a:srgbClr val="00B0F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pic>
          <p:nvPicPr>
            <p:cNvPr id="60" name="Picture 59"/>
            <p:cNvPicPr>
              <a:picLocks noChangeAspect="1"/>
            </p:cNvPicPr>
            <p:nvPr/>
          </p:nvPicPr>
          <p:blipFill>
            <a:blip r:embed="rId3"/>
            <a:stretch>
              <a:fillRect/>
            </a:stretch>
          </p:blipFill>
          <p:spPr>
            <a:xfrm>
              <a:off x="5984011" y="1618316"/>
              <a:ext cx="618547" cy="223455"/>
            </a:xfrm>
            <a:prstGeom prst="rect">
              <a:avLst/>
            </a:prstGeom>
          </p:spPr>
        </p:pic>
        <p:sp>
          <p:nvSpPr>
            <p:cNvPr id="62" name="TextBox 61"/>
            <p:cNvSpPr txBox="1"/>
            <p:nvPr/>
          </p:nvSpPr>
          <p:spPr>
            <a:xfrm>
              <a:off x="5995590" y="1896307"/>
              <a:ext cx="954836" cy="166199"/>
            </a:xfrm>
            <a:prstGeom prst="rect">
              <a:avLst/>
            </a:prstGeom>
            <a:noFill/>
          </p:spPr>
          <p:txBody>
            <a:bodyPr wrap="square" lIns="0" tIns="0" rIns="0" bIns="0" rtlCol="0">
              <a:spAutoFit/>
            </a:bodyPr>
            <a:lstStyle/>
            <a:p>
              <a:pPr>
                <a:lnSpc>
                  <a:spcPct val="90000"/>
                </a:lnSpc>
                <a:spcBef>
                  <a:spcPct val="20000"/>
                </a:spcBef>
                <a:buSzPct val="80000"/>
              </a:pPr>
              <a:r>
                <a:rPr lang="en-US" sz="1200" dirty="0">
                  <a:gradFill>
                    <a:gsLst>
                      <a:gs pos="0">
                        <a:srgbClr val="292929">
                          <a:lumMod val="90000"/>
                          <a:lumOff val="10000"/>
                        </a:srgbClr>
                      </a:gs>
                      <a:gs pos="86000">
                        <a:srgbClr val="292929">
                          <a:lumMod val="90000"/>
                          <a:lumOff val="10000"/>
                        </a:srgbClr>
                      </a:gs>
                    </a:gsLst>
                    <a:lin ang="5400000" scaled="0"/>
                  </a:gradFill>
                </a:rPr>
                <a:t>Web Server</a:t>
              </a:r>
            </a:p>
          </p:txBody>
        </p:sp>
        <p:pic>
          <p:nvPicPr>
            <p:cNvPr id="63" name="Picture 62"/>
            <p:cNvPicPr>
              <a:picLocks noChangeAspect="1"/>
            </p:cNvPicPr>
            <p:nvPr/>
          </p:nvPicPr>
          <p:blipFill>
            <a:blip r:embed="rId4"/>
            <a:stretch>
              <a:fillRect/>
            </a:stretch>
          </p:blipFill>
          <p:spPr>
            <a:xfrm>
              <a:off x="6814725" y="1596166"/>
              <a:ext cx="271402" cy="269628"/>
            </a:xfrm>
            <a:prstGeom prst="rect">
              <a:avLst/>
            </a:prstGeom>
          </p:spPr>
        </p:pic>
        <p:sp>
          <p:nvSpPr>
            <p:cNvPr id="64" name="Flowchart: Process 63"/>
            <p:cNvSpPr/>
            <p:nvPr/>
          </p:nvSpPr>
          <p:spPr bwMode="auto">
            <a:xfrm>
              <a:off x="5995590" y="2150559"/>
              <a:ext cx="1326187" cy="317340"/>
            </a:xfrm>
            <a:prstGeom prst="flowChartProcess">
              <a:avLst/>
            </a:prstGeom>
            <a:solidFill>
              <a:srgbClr val="7030A0"/>
            </a:solidFill>
            <a:ln>
              <a:solidFill>
                <a:srgbClr val="5E5E5E"/>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200" dirty="0">
                  <a:gradFill>
                    <a:gsLst>
                      <a:gs pos="0">
                        <a:srgbClr val="FFFFFF"/>
                      </a:gs>
                      <a:gs pos="100000">
                        <a:srgbClr val="FFFFFF"/>
                      </a:gs>
                    </a:gsLst>
                    <a:lin ang="5400000" scaled="0"/>
                  </a:gradFill>
                </a:rPr>
                <a:t>Site (W3WP.EXE)</a:t>
              </a:r>
            </a:p>
          </p:txBody>
        </p:sp>
      </p:grpSp>
      <p:grpSp>
        <p:nvGrpSpPr>
          <p:cNvPr id="65" name="Group 64"/>
          <p:cNvGrpSpPr/>
          <p:nvPr/>
        </p:nvGrpSpPr>
        <p:grpSpPr>
          <a:xfrm>
            <a:off x="4820665" y="1779682"/>
            <a:ext cx="1541791" cy="1039753"/>
            <a:chOff x="5936247" y="1565661"/>
            <a:chExt cx="1541791" cy="1039753"/>
          </a:xfrm>
        </p:grpSpPr>
        <p:sp>
          <p:nvSpPr>
            <p:cNvPr id="67" name="Rectangle 66"/>
            <p:cNvSpPr/>
            <p:nvPr/>
          </p:nvSpPr>
          <p:spPr bwMode="auto">
            <a:xfrm>
              <a:off x="5936247" y="1565661"/>
              <a:ext cx="1541791" cy="1039753"/>
            </a:xfrm>
            <a:prstGeom prst="rect">
              <a:avLst/>
            </a:prstGeom>
            <a:solidFill>
              <a:schemeClr val="bg1"/>
            </a:solidFill>
            <a:ln w="25400">
              <a:solidFill>
                <a:srgbClr val="00B0F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pic>
          <p:nvPicPr>
            <p:cNvPr id="68" name="Picture 67"/>
            <p:cNvPicPr>
              <a:picLocks noChangeAspect="1"/>
            </p:cNvPicPr>
            <p:nvPr/>
          </p:nvPicPr>
          <p:blipFill>
            <a:blip r:embed="rId3"/>
            <a:stretch>
              <a:fillRect/>
            </a:stretch>
          </p:blipFill>
          <p:spPr>
            <a:xfrm>
              <a:off x="5984011" y="1618316"/>
              <a:ext cx="618547" cy="223455"/>
            </a:xfrm>
            <a:prstGeom prst="rect">
              <a:avLst/>
            </a:prstGeom>
          </p:spPr>
        </p:pic>
        <p:sp>
          <p:nvSpPr>
            <p:cNvPr id="69" name="TextBox 68"/>
            <p:cNvSpPr txBox="1"/>
            <p:nvPr/>
          </p:nvSpPr>
          <p:spPr>
            <a:xfrm>
              <a:off x="5995590" y="1896307"/>
              <a:ext cx="954836" cy="166199"/>
            </a:xfrm>
            <a:prstGeom prst="rect">
              <a:avLst/>
            </a:prstGeom>
            <a:noFill/>
          </p:spPr>
          <p:txBody>
            <a:bodyPr wrap="square" lIns="0" tIns="0" rIns="0" bIns="0" rtlCol="0">
              <a:spAutoFit/>
            </a:bodyPr>
            <a:lstStyle/>
            <a:p>
              <a:pPr>
                <a:lnSpc>
                  <a:spcPct val="90000"/>
                </a:lnSpc>
                <a:spcBef>
                  <a:spcPct val="20000"/>
                </a:spcBef>
                <a:buSzPct val="80000"/>
              </a:pPr>
              <a:r>
                <a:rPr lang="en-US" sz="1200" dirty="0">
                  <a:gradFill>
                    <a:gsLst>
                      <a:gs pos="0">
                        <a:srgbClr val="292929">
                          <a:lumMod val="90000"/>
                          <a:lumOff val="10000"/>
                        </a:srgbClr>
                      </a:gs>
                      <a:gs pos="86000">
                        <a:srgbClr val="292929">
                          <a:lumMod val="90000"/>
                          <a:lumOff val="10000"/>
                        </a:srgbClr>
                      </a:gs>
                    </a:gsLst>
                    <a:lin ang="5400000" scaled="0"/>
                  </a:gradFill>
                </a:rPr>
                <a:t>Web Server</a:t>
              </a:r>
            </a:p>
          </p:txBody>
        </p:sp>
        <p:pic>
          <p:nvPicPr>
            <p:cNvPr id="71" name="Picture 70"/>
            <p:cNvPicPr>
              <a:picLocks noChangeAspect="1"/>
            </p:cNvPicPr>
            <p:nvPr/>
          </p:nvPicPr>
          <p:blipFill>
            <a:blip r:embed="rId4"/>
            <a:stretch>
              <a:fillRect/>
            </a:stretch>
          </p:blipFill>
          <p:spPr>
            <a:xfrm>
              <a:off x="6814725" y="1596166"/>
              <a:ext cx="271402" cy="269628"/>
            </a:xfrm>
            <a:prstGeom prst="rect">
              <a:avLst/>
            </a:prstGeom>
          </p:spPr>
        </p:pic>
        <p:sp>
          <p:nvSpPr>
            <p:cNvPr id="75" name="Flowchart: Process 74"/>
            <p:cNvSpPr/>
            <p:nvPr/>
          </p:nvSpPr>
          <p:spPr bwMode="auto">
            <a:xfrm>
              <a:off x="5995590" y="2150559"/>
              <a:ext cx="1326187" cy="317340"/>
            </a:xfrm>
            <a:prstGeom prst="flowChartProcess">
              <a:avLst/>
            </a:prstGeom>
            <a:solidFill>
              <a:srgbClr val="7030A0"/>
            </a:solidFill>
            <a:ln>
              <a:solidFill>
                <a:srgbClr val="5E5E5E"/>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200" dirty="0">
                  <a:gradFill>
                    <a:gsLst>
                      <a:gs pos="0">
                        <a:srgbClr val="FFFFFF"/>
                      </a:gs>
                      <a:gs pos="100000">
                        <a:srgbClr val="FFFFFF"/>
                      </a:gs>
                    </a:gsLst>
                    <a:lin ang="5400000" scaled="0"/>
                  </a:gradFill>
                </a:rPr>
                <a:t>Site (W3WP.EXE)</a:t>
              </a:r>
            </a:p>
          </p:txBody>
        </p:sp>
      </p:grpSp>
      <p:grpSp>
        <p:nvGrpSpPr>
          <p:cNvPr id="77" name="Group 76"/>
          <p:cNvGrpSpPr/>
          <p:nvPr/>
        </p:nvGrpSpPr>
        <p:grpSpPr>
          <a:xfrm>
            <a:off x="9403873" y="4574867"/>
            <a:ext cx="1556180" cy="1100939"/>
            <a:chOff x="8922338" y="1387363"/>
            <a:chExt cx="1556180" cy="1100939"/>
          </a:xfrm>
        </p:grpSpPr>
        <p:grpSp>
          <p:nvGrpSpPr>
            <p:cNvPr id="78" name="Group 77"/>
            <p:cNvGrpSpPr/>
            <p:nvPr/>
          </p:nvGrpSpPr>
          <p:grpSpPr>
            <a:xfrm>
              <a:off x="8922338" y="1448549"/>
              <a:ext cx="1541791" cy="1039753"/>
              <a:chOff x="5969622" y="1572860"/>
              <a:chExt cx="1541791" cy="1039753"/>
            </a:xfrm>
          </p:grpSpPr>
          <p:sp>
            <p:nvSpPr>
              <p:cNvPr id="81" name="Rectangle 80"/>
              <p:cNvSpPr/>
              <p:nvPr/>
            </p:nvSpPr>
            <p:spPr bwMode="auto">
              <a:xfrm>
                <a:off x="5969622" y="1572860"/>
                <a:ext cx="1541791" cy="1039753"/>
              </a:xfrm>
              <a:prstGeom prst="rect">
                <a:avLst/>
              </a:prstGeom>
              <a:solidFill>
                <a:schemeClr val="bg1"/>
              </a:solidFill>
              <a:ln w="25400">
                <a:solidFill>
                  <a:srgbClr val="00B0F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pic>
            <p:nvPicPr>
              <p:cNvPr id="82" name="Picture 81"/>
              <p:cNvPicPr>
                <a:picLocks noChangeAspect="1"/>
              </p:cNvPicPr>
              <p:nvPr/>
            </p:nvPicPr>
            <p:blipFill>
              <a:blip r:embed="rId3"/>
              <a:stretch>
                <a:fillRect/>
              </a:stretch>
            </p:blipFill>
            <p:spPr>
              <a:xfrm>
                <a:off x="5984011" y="1618316"/>
                <a:ext cx="618547" cy="223455"/>
              </a:xfrm>
              <a:prstGeom prst="rect">
                <a:avLst/>
              </a:prstGeom>
            </p:spPr>
          </p:pic>
          <p:sp>
            <p:nvSpPr>
              <p:cNvPr id="83" name="TextBox 82"/>
              <p:cNvSpPr txBox="1"/>
              <p:nvPr/>
            </p:nvSpPr>
            <p:spPr>
              <a:xfrm>
                <a:off x="5995590" y="1896307"/>
                <a:ext cx="954836" cy="166199"/>
              </a:xfrm>
              <a:prstGeom prst="rect">
                <a:avLst/>
              </a:prstGeom>
              <a:noFill/>
            </p:spPr>
            <p:txBody>
              <a:bodyPr wrap="square" lIns="0" tIns="0" rIns="0" bIns="0" rtlCol="0">
                <a:spAutoFit/>
              </a:bodyPr>
              <a:lstStyle/>
              <a:p>
                <a:pPr>
                  <a:lnSpc>
                    <a:spcPct val="90000"/>
                  </a:lnSpc>
                  <a:spcBef>
                    <a:spcPct val="20000"/>
                  </a:spcBef>
                  <a:buSzPct val="80000"/>
                </a:pPr>
                <a:r>
                  <a:rPr lang="en-US" sz="1200" dirty="0">
                    <a:gradFill>
                      <a:gsLst>
                        <a:gs pos="0">
                          <a:srgbClr val="292929">
                            <a:lumMod val="90000"/>
                            <a:lumOff val="10000"/>
                          </a:srgbClr>
                        </a:gs>
                        <a:gs pos="86000">
                          <a:srgbClr val="292929">
                            <a:lumMod val="90000"/>
                            <a:lumOff val="10000"/>
                          </a:srgbClr>
                        </a:gs>
                      </a:gsLst>
                      <a:lin ang="5400000" scaled="0"/>
                    </a:gradFill>
                  </a:rPr>
                  <a:t>Worker</a:t>
                </a:r>
              </a:p>
            </p:txBody>
          </p:sp>
          <p:sp>
            <p:nvSpPr>
              <p:cNvPr id="84" name="Flowchart: Process 83"/>
              <p:cNvSpPr/>
              <p:nvPr/>
            </p:nvSpPr>
            <p:spPr bwMode="auto">
              <a:xfrm>
                <a:off x="5995590" y="2150559"/>
                <a:ext cx="1326187" cy="317340"/>
              </a:xfrm>
              <a:prstGeom prst="flowChartProcess">
                <a:avLst/>
              </a:prstGeom>
              <a:solidFill>
                <a:srgbClr val="7030A0"/>
              </a:solidFill>
              <a:ln>
                <a:solidFill>
                  <a:srgbClr val="5E5E5E"/>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200" dirty="0">
                    <a:gradFill>
                      <a:gsLst>
                        <a:gs pos="0">
                          <a:srgbClr val="FFFFFF"/>
                        </a:gs>
                        <a:gs pos="100000">
                          <a:srgbClr val="FFFFFF"/>
                        </a:gs>
                      </a:gsLst>
                      <a:lin ang="5400000" scaled="0"/>
                    </a:gradFill>
                  </a:rPr>
                  <a:t>Worker process</a:t>
                </a:r>
              </a:p>
            </p:txBody>
          </p:sp>
        </p:grpSp>
        <p:pic>
          <p:nvPicPr>
            <p:cNvPr id="80" name="Picture 79"/>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9843912" y="1387363"/>
              <a:ext cx="634606" cy="634606"/>
            </a:xfrm>
            <a:prstGeom prst="rect">
              <a:avLst/>
            </a:prstGeom>
          </p:spPr>
        </p:pic>
      </p:grpSp>
      <p:cxnSp>
        <p:nvCxnSpPr>
          <p:cNvPr id="28" name="Straight Arrow Connector 27"/>
          <p:cNvCxnSpPr>
            <a:stCxn id="81" idx="1"/>
            <a:endCxn id="70" idx="4"/>
          </p:cNvCxnSpPr>
          <p:nvPr/>
        </p:nvCxnSpPr>
        <p:spPr>
          <a:xfrm flipH="1" flipV="1">
            <a:off x="8310126" y="4236247"/>
            <a:ext cx="1093747" cy="919683"/>
          </a:xfrm>
          <a:prstGeom prst="straightConnector1">
            <a:avLst/>
          </a:prstGeom>
          <a:ln w="25400">
            <a:solidFill>
              <a:srgbClr val="107C10"/>
            </a:solidFill>
            <a:tailEnd type="triangle"/>
          </a:ln>
        </p:spPr>
        <p:style>
          <a:lnRef idx="1">
            <a:schemeClr val="accent1"/>
          </a:lnRef>
          <a:fillRef idx="0">
            <a:schemeClr val="accent1"/>
          </a:fillRef>
          <a:effectRef idx="0">
            <a:schemeClr val="accent1"/>
          </a:effectRef>
          <a:fontRef idx="minor">
            <a:schemeClr val="tx1"/>
          </a:fontRef>
        </p:style>
      </p:cxnSp>
      <p:cxnSp>
        <p:nvCxnSpPr>
          <p:cNvPr id="88" name="Straight Arrow Connector 87"/>
          <p:cNvCxnSpPr>
            <a:stCxn id="59" idx="3"/>
            <a:endCxn id="45" idx="1"/>
          </p:cNvCxnSpPr>
          <p:nvPr/>
        </p:nvCxnSpPr>
        <p:spPr>
          <a:xfrm flipV="1">
            <a:off x="6364375" y="3010279"/>
            <a:ext cx="618866" cy="2205705"/>
          </a:xfrm>
          <a:prstGeom prst="straightConnector1">
            <a:avLst/>
          </a:prstGeom>
          <a:ln w="25400">
            <a:solidFill>
              <a:srgbClr val="BAD80A"/>
            </a:solidFill>
            <a:tailEnd type="triangle"/>
          </a:ln>
        </p:spPr>
        <p:style>
          <a:lnRef idx="1">
            <a:schemeClr val="accent1"/>
          </a:lnRef>
          <a:fillRef idx="0">
            <a:schemeClr val="accent1"/>
          </a:fillRef>
          <a:effectRef idx="0">
            <a:schemeClr val="accent1"/>
          </a:effectRef>
          <a:fontRef idx="minor">
            <a:schemeClr val="tx1"/>
          </a:fontRef>
        </p:style>
      </p:cxnSp>
      <p:cxnSp>
        <p:nvCxnSpPr>
          <p:cNvPr id="90" name="Straight Arrow Connector 89"/>
          <p:cNvCxnSpPr>
            <a:stCxn id="67" idx="3"/>
            <a:endCxn id="45" idx="1"/>
          </p:cNvCxnSpPr>
          <p:nvPr/>
        </p:nvCxnSpPr>
        <p:spPr>
          <a:xfrm>
            <a:off x="6362456" y="2299559"/>
            <a:ext cx="620785" cy="710720"/>
          </a:xfrm>
          <a:prstGeom prst="straightConnector1">
            <a:avLst/>
          </a:prstGeom>
          <a:ln w="25400">
            <a:solidFill>
              <a:srgbClr val="BAD80A"/>
            </a:solidFill>
            <a:tailEnd type="triangle"/>
          </a:ln>
        </p:spPr>
        <p:style>
          <a:lnRef idx="1">
            <a:schemeClr val="accent1"/>
          </a:lnRef>
          <a:fillRef idx="0">
            <a:schemeClr val="accent1"/>
          </a:fillRef>
          <a:effectRef idx="0">
            <a:schemeClr val="accent1"/>
          </a:effectRef>
          <a:fontRef idx="minor">
            <a:schemeClr val="tx1"/>
          </a:fontRef>
        </p:style>
      </p:cxnSp>
      <p:cxnSp>
        <p:nvCxnSpPr>
          <p:cNvPr id="94" name="Straight Arrow Connector 93"/>
          <p:cNvCxnSpPr>
            <a:stCxn id="45" idx="4"/>
            <a:endCxn id="40" idx="1"/>
          </p:cNvCxnSpPr>
          <p:nvPr/>
        </p:nvCxnSpPr>
        <p:spPr>
          <a:xfrm flipV="1">
            <a:off x="8281811" y="1973606"/>
            <a:ext cx="978578" cy="1036673"/>
          </a:xfrm>
          <a:prstGeom prst="straightConnector1">
            <a:avLst/>
          </a:prstGeom>
          <a:ln w="25400">
            <a:solidFill>
              <a:srgbClr val="BAD80A"/>
            </a:solidFill>
            <a:tailEnd type="triangle"/>
          </a:ln>
        </p:spPr>
        <p:style>
          <a:lnRef idx="1">
            <a:schemeClr val="accent1"/>
          </a:lnRef>
          <a:fillRef idx="0">
            <a:schemeClr val="accent1"/>
          </a:fillRef>
          <a:effectRef idx="0">
            <a:schemeClr val="accent1"/>
          </a:effectRef>
          <a:fontRef idx="minor">
            <a:schemeClr val="tx1"/>
          </a:fontRef>
        </p:style>
      </p:cxnSp>
      <p:cxnSp>
        <p:nvCxnSpPr>
          <p:cNvPr id="101" name="Straight Arrow Connector 100"/>
          <p:cNvCxnSpPr>
            <a:stCxn id="40" idx="1"/>
            <a:endCxn id="70" idx="4"/>
          </p:cNvCxnSpPr>
          <p:nvPr/>
        </p:nvCxnSpPr>
        <p:spPr>
          <a:xfrm flipH="1">
            <a:off x="8310126" y="1973606"/>
            <a:ext cx="950263" cy="2262641"/>
          </a:xfrm>
          <a:prstGeom prst="straightConnector1">
            <a:avLst/>
          </a:prstGeom>
          <a:ln w="25400">
            <a:solidFill>
              <a:srgbClr val="107C10"/>
            </a:solidFill>
            <a:tailEnd type="triangle"/>
          </a:ln>
        </p:spPr>
        <p:style>
          <a:lnRef idx="1">
            <a:schemeClr val="accent1"/>
          </a:lnRef>
          <a:fillRef idx="0">
            <a:schemeClr val="accent1"/>
          </a:fillRef>
          <a:effectRef idx="0">
            <a:schemeClr val="accent1"/>
          </a:effectRef>
          <a:fontRef idx="minor">
            <a:schemeClr val="tx1"/>
          </a:fontRef>
        </p:style>
      </p:cxnSp>
      <p:cxnSp>
        <p:nvCxnSpPr>
          <p:cNvPr id="102" name="Straight Arrow Connector 101"/>
          <p:cNvCxnSpPr>
            <a:stCxn id="45" idx="4"/>
            <a:endCxn id="81" idx="1"/>
          </p:cNvCxnSpPr>
          <p:nvPr/>
        </p:nvCxnSpPr>
        <p:spPr>
          <a:xfrm>
            <a:off x="8281811" y="3010279"/>
            <a:ext cx="1122062" cy="2145651"/>
          </a:xfrm>
          <a:prstGeom prst="straightConnector1">
            <a:avLst/>
          </a:prstGeom>
          <a:ln w="25400">
            <a:solidFill>
              <a:srgbClr val="BAD80A"/>
            </a:solidFill>
            <a:tailEnd type="triangle"/>
          </a:ln>
        </p:spPr>
        <p:style>
          <a:lnRef idx="1">
            <a:schemeClr val="accent1"/>
          </a:lnRef>
          <a:fillRef idx="0">
            <a:schemeClr val="accent1"/>
          </a:fillRef>
          <a:effectRef idx="0">
            <a:schemeClr val="accent1"/>
          </a:effectRef>
          <a:fontRef idx="minor">
            <a:schemeClr val="tx1"/>
          </a:fontRef>
        </p:style>
      </p:cxnSp>
      <p:cxnSp>
        <p:nvCxnSpPr>
          <p:cNvPr id="105" name="Straight Arrow Connector 104"/>
          <p:cNvCxnSpPr>
            <a:stCxn id="5" idx="3"/>
            <a:endCxn id="45" idx="1"/>
          </p:cNvCxnSpPr>
          <p:nvPr/>
        </p:nvCxnSpPr>
        <p:spPr>
          <a:xfrm flipV="1">
            <a:off x="6356844" y="3010279"/>
            <a:ext cx="626397" cy="646075"/>
          </a:xfrm>
          <a:prstGeom prst="straightConnector1">
            <a:avLst/>
          </a:prstGeom>
          <a:ln w="25400">
            <a:solidFill>
              <a:srgbClr val="BAD80A"/>
            </a:solidFill>
            <a:tailEnd type="triangle"/>
          </a:ln>
        </p:spPr>
        <p:style>
          <a:lnRef idx="1">
            <a:schemeClr val="accent1"/>
          </a:lnRef>
          <a:fillRef idx="0">
            <a:schemeClr val="accent1"/>
          </a:fillRef>
          <a:effectRef idx="0">
            <a:schemeClr val="accent1"/>
          </a:effectRef>
          <a:fontRef idx="minor">
            <a:schemeClr val="tx1"/>
          </a:fontRef>
        </p:style>
      </p:cxnSp>
      <p:cxnSp>
        <p:nvCxnSpPr>
          <p:cNvPr id="108" name="Straight Arrow Connector 107"/>
          <p:cNvCxnSpPr>
            <a:stCxn id="70" idx="1"/>
            <a:endCxn id="59" idx="3"/>
          </p:cNvCxnSpPr>
          <p:nvPr/>
        </p:nvCxnSpPr>
        <p:spPr>
          <a:xfrm flipH="1">
            <a:off x="6364375" y="4236247"/>
            <a:ext cx="647181" cy="979737"/>
          </a:xfrm>
          <a:prstGeom prst="straightConnector1">
            <a:avLst/>
          </a:prstGeom>
          <a:ln w="25400">
            <a:solidFill>
              <a:srgbClr val="107C10"/>
            </a:solidFill>
            <a:tailEnd type="triangle"/>
          </a:ln>
        </p:spPr>
        <p:style>
          <a:lnRef idx="1">
            <a:schemeClr val="accent1"/>
          </a:lnRef>
          <a:fillRef idx="0">
            <a:schemeClr val="accent1"/>
          </a:fillRef>
          <a:effectRef idx="0">
            <a:schemeClr val="accent1"/>
          </a:effectRef>
          <a:fontRef idx="minor">
            <a:schemeClr val="tx1"/>
          </a:fontRef>
        </p:style>
      </p:cxnSp>
      <p:cxnSp>
        <p:nvCxnSpPr>
          <p:cNvPr id="111" name="Straight Arrow Connector 110"/>
          <p:cNvCxnSpPr>
            <a:stCxn id="70" idx="1"/>
            <a:endCxn id="67" idx="3"/>
          </p:cNvCxnSpPr>
          <p:nvPr/>
        </p:nvCxnSpPr>
        <p:spPr>
          <a:xfrm flipH="1" flipV="1">
            <a:off x="6362456" y="2299559"/>
            <a:ext cx="649100" cy="1936688"/>
          </a:xfrm>
          <a:prstGeom prst="straightConnector1">
            <a:avLst/>
          </a:prstGeom>
          <a:ln w="25400">
            <a:solidFill>
              <a:srgbClr val="107C10"/>
            </a:solidFill>
            <a:tailEnd type="triangle"/>
          </a:ln>
        </p:spPr>
        <p:style>
          <a:lnRef idx="1">
            <a:schemeClr val="accent1"/>
          </a:lnRef>
          <a:fillRef idx="0">
            <a:schemeClr val="accent1"/>
          </a:fillRef>
          <a:effectRef idx="0">
            <a:schemeClr val="accent1"/>
          </a:effectRef>
          <a:fontRef idx="minor">
            <a:schemeClr val="tx1"/>
          </a:fontRef>
        </p:style>
      </p:cxnSp>
      <p:cxnSp>
        <p:nvCxnSpPr>
          <p:cNvPr id="114" name="Straight Arrow Connector 113"/>
          <p:cNvCxnSpPr>
            <a:stCxn id="70" idx="1"/>
            <a:endCxn id="5" idx="3"/>
          </p:cNvCxnSpPr>
          <p:nvPr/>
        </p:nvCxnSpPr>
        <p:spPr>
          <a:xfrm flipH="1" flipV="1">
            <a:off x="6356844" y="3656354"/>
            <a:ext cx="654712" cy="579893"/>
          </a:xfrm>
          <a:prstGeom prst="straightConnector1">
            <a:avLst/>
          </a:prstGeom>
          <a:ln w="25400">
            <a:solidFill>
              <a:srgbClr val="107C10"/>
            </a:solidFill>
            <a:tailEnd type="triangle"/>
          </a:ln>
        </p:spPr>
        <p:style>
          <a:lnRef idx="1">
            <a:schemeClr val="accent1"/>
          </a:lnRef>
          <a:fillRef idx="0">
            <a:schemeClr val="accent1"/>
          </a:fillRef>
          <a:effectRef idx="0">
            <a:schemeClr val="accent1"/>
          </a:effectRef>
          <a:fontRef idx="minor">
            <a:schemeClr val="tx1"/>
          </a:fontRef>
        </p:style>
      </p:cxnSp>
      <p:cxnSp>
        <p:nvCxnSpPr>
          <p:cNvPr id="119" name="Elbow Connector 118"/>
          <p:cNvCxnSpPr>
            <a:stCxn id="81" idx="3"/>
            <a:endCxn id="17" idx="2"/>
          </p:cNvCxnSpPr>
          <p:nvPr/>
        </p:nvCxnSpPr>
        <p:spPr>
          <a:xfrm flipV="1">
            <a:off x="10945664" y="4141028"/>
            <a:ext cx="442849" cy="1014902"/>
          </a:xfrm>
          <a:prstGeom prst="bentConnector2">
            <a:avLst/>
          </a:prstGeom>
          <a:ln w="25400">
            <a:solidFill>
              <a:srgbClr val="BAD80A"/>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23820049"/>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calability Enablers</a:t>
            </a:r>
          </a:p>
        </p:txBody>
      </p:sp>
      <p:sp>
        <p:nvSpPr>
          <p:cNvPr id="3" name="Text Placeholder 2"/>
          <p:cNvSpPr>
            <a:spLocks noGrp="1"/>
          </p:cNvSpPr>
          <p:nvPr>
            <p:ph type="body" sz="quarter" idx="10"/>
          </p:nvPr>
        </p:nvSpPr>
        <p:spPr>
          <a:xfrm>
            <a:off x="274638" y="1212850"/>
            <a:ext cx="11887200" cy="4878259"/>
          </a:xfrm>
        </p:spPr>
        <p:txBody>
          <a:bodyPr/>
          <a:lstStyle/>
          <a:p>
            <a:pPr marL="571500" lvl="0" indent="-571500" defTabSz="1208380">
              <a:spcBef>
                <a:spcPts val="600"/>
              </a:spcBef>
              <a:spcAft>
                <a:spcPts val="600"/>
              </a:spcAft>
              <a:buSzTx/>
              <a:buFont typeface="Wingdings" panose="05000000000000000000" pitchFamily="2" charset="2"/>
              <a:buChar char="Ø"/>
            </a:pPr>
            <a:r>
              <a:rPr lang="en-US" dirty="0">
                <a:solidFill>
                  <a:srgbClr val="505050"/>
                </a:solidFill>
                <a:cs typeface="Segoe UI" panose="020B0502040204020203" pitchFamily="34" charset="0"/>
              </a:rPr>
              <a:t>Increasing Compute On-Demand (</a:t>
            </a:r>
            <a:r>
              <a:rPr lang="en-US" dirty="0" err="1">
                <a:solidFill>
                  <a:srgbClr val="505050"/>
                </a:solidFill>
                <a:cs typeface="Segoe UI" panose="020B0502040204020203" pitchFamily="34" charset="0"/>
              </a:rPr>
              <a:t>AutoScale</a:t>
            </a:r>
            <a:r>
              <a:rPr lang="en-US" dirty="0">
                <a:solidFill>
                  <a:srgbClr val="505050"/>
                </a:solidFill>
                <a:cs typeface="Segoe UI" panose="020B0502040204020203" pitchFamily="34" charset="0"/>
              </a:rPr>
              <a:t>)</a:t>
            </a:r>
          </a:p>
          <a:p>
            <a:pPr marL="571500" lvl="0" indent="-571500" defTabSz="1208380">
              <a:spcBef>
                <a:spcPts val="600"/>
              </a:spcBef>
              <a:spcAft>
                <a:spcPts val="600"/>
              </a:spcAft>
              <a:buSzTx/>
              <a:buFont typeface="Wingdings" panose="05000000000000000000" pitchFamily="2" charset="2"/>
              <a:buChar char="Ø"/>
            </a:pPr>
            <a:r>
              <a:rPr lang="en-US" dirty="0" err="1">
                <a:solidFill>
                  <a:srgbClr val="505050"/>
                </a:solidFill>
                <a:cs typeface="Segoe UI" panose="020B0502040204020203" pitchFamily="34" charset="0"/>
              </a:rPr>
              <a:t>Microservices</a:t>
            </a:r>
            <a:r>
              <a:rPr lang="en-US" dirty="0">
                <a:solidFill>
                  <a:srgbClr val="505050"/>
                </a:solidFill>
                <a:cs typeface="Segoe UI" panose="020B0502040204020203" pitchFamily="34" charset="0"/>
              </a:rPr>
              <a:t> approach</a:t>
            </a:r>
          </a:p>
          <a:p>
            <a:pPr marL="571500" lvl="0" indent="-571500" defTabSz="1208380">
              <a:spcBef>
                <a:spcPts val="600"/>
              </a:spcBef>
              <a:spcAft>
                <a:spcPts val="600"/>
              </a:spcAft>
              <a:buSzTx/>
              <a:buFont typeface="Wingdings" panose="05000000000000000000" pitchFamily="2" charset="2"/>
              <a:buChar char="Ø"/>
            </a:pPr>
            <a:r>
              <a:rPr lang="en-US" dirty="0">
                <a:solidFill>
                  <a:srgbClr val="505050"/>
                </a:solidFill>
                <a:cs typeface="Segoe UI" panose="020B0502040204020203" pitchFamily="34" charset="0"/>
              </a:rPr>
              <a:t>Caching Data (</a:t>
            </a:r>
            <a:r>
              <a:rPr lang="en-US" dirty="0" err="1">
                <a:solidFill>
                  <a:srgbClr val="505050"/>
                </a:solidFill>
                <a:cs typeface="Segoe UI" panose="020B0502040204020203" pitchFamily="34" charset="0"/>
              </a:rPr>
              <a:t>Redis</a:t>
            </a:r>
            <a:r>
              <a:rPr lang="en-US" dirty="0">
                <a:solidFill>
                  <a:srgbClr val="505050"/>
                </a:solidFill>
                <a:cs typeface="Segoe UI" panose="020B0502040204020203" pitchFamily="34" charset="0"/>
              </a:rPr>
              <a:t> Cache)</a:t>
            </a:r>
          </a:p>
          <a:p>
            <a:pPr marL="571500" lvl="0" indent="-571500" defTabSz="1208380">
              <a:spcBef>
                <a:spcPts val="600"/>
              </a:spcBef>
              <a:spcAft>
                <a:spcPts val="600"/>
              </a:spcAft>
              <a:buSzTx/>
              <a:buFont typeface="Wingdings" panose="05000000000000000000" pitchFamily="2" charset="2"/>
              <a:buChar char="Ø"/>
            </a:pPr>
            <a:r>
              <a:rPr lang="en-US" dirty="0">
                <a:solidFill>
                  <a:srgbClr val="505050"/>
                </a:solidFill>
                <a:cs typeface="Segoe UI" panose="020B0502040204020203" pitchFamily="34" charset="0"/>
              </a:rPr>
              <a:t>Routing Users to Closest Datacenter (Traffic Manager)</a:t>
            </a:r>
          </a:p>
          <a:p>
            <a:pPr marL="571500" lvl="0" indent="-571500" defTabSz="1208380">
              <a:spcBef>
                <a:spcPts val="600"/>
              </a:spcBef>
              <a:spcAft>
                <a:spcPts val="600"/>
              </a:spcAft>
              <a:buSzTx/>
              <a:buFont typeface="Wingdings" panose="05000000000000000000" pitchFamily="2" charset="2"/>
              <a:buChar char="Ø"/>
            </a:pPr>
            <a:r>
              <a:rPr lang="en-US" dirty="0">
                <a:solidFill>
                  <a:srgbClr val="505050"/>
                </a:solidFill>
                <a:cs typeface="Segoe UI" panose="020B0502040204020203" pitchFamily="34" charset="0"/>
              </a:rPr>
              <a:t>Leveraging Asynchronous APIs</a:t>
            </a:r>
          </a:p>
          <a:p>
            <a:endParaRPr lang="en-US" dirty="0"/>
          </a:p>
        </p:txBody>
      </p:sp>
    </p:spTree>
    <p:extLst>
      <p:ext uri="{BB962C8B-B14F-4D97-AF65-F5344CB8AC3E}">
        <p14:creationId xmlns:p14="http://schemas.microsoft.com/office/powerpoint/2010/main" val="675173438"/>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Scaling Compute</a:t>
            </a:r>
          </a:p>
        </p:txBody>
      </p:sp>
    </p:spTree>
    <p:extLst>
      <p:ext uri="{BB962C8B-B14F-4D97-AF65-F5344CB8AC3E}">
        <p14:creationId xmlns:p14="http://schemas.microsoft.com/office/powerpoint/2010/main" val="1675100916"/>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ompute Scaling Options (Azure App Service)</a:t>
            </a:r>
          </a:p>
        </p:txBody>
      </p:sp>
      <p:sp>
        <p:nvSpPr>
          <p:cNvPr id="5" name="hyperV2"/>
          <p:cNvSpPr>
            <a:spLocks noChangeAspect="1" noEditPoints="1"/>
          </p:cNvSpPr>
          <p:nvPr/>
        </p:nvSpPr>
        <p:spPr bwMode="auto">
          <a:xfrm>
            <a:off x="2834994" y="4503091"/>
            <a:ext cx="1292768" cy="2155196"/>
          </a:xfrm>
          <a:custGeom>
            <a:avLst/>
            <a:gdLst>
              <a:gd name="T0" fmla="*/ 625 w 625"/>
              <a:gd name="T1" fmla="*/ 132 h 1044"/>
              <a:gd name="T2" fmla="*/ 393 w 625"/>
              <a:gd name="T3" fmla="*/ 0 h 1044"/>
              <a:gd name="T4" fmla="*/ 383 w 625"/>
              <a:gd name="T5" fmla="*/ 0 h 1044"/>
              <a:gd name="T6" fmla="*/ 5 w 625"/>
              <a:gd name="T7" fmla="*/ 218 h 1044"/>
              <a:gd name="T8" fmla="*/ 5 w 625"/>
              <a:gd name="T9" fmla="*/ 220 h 1044"/>
              <a:gd name="T10" fmla="*/ 0 w 625"/>
              <a:gd name="T11" fmla="*/ 223 h 1044"/>
              <a:gd name="T12" fmla="*/ 0 w 625"/>
              <a:gd name="T13" fmla="*/ 893 h 1044"/>
              <a:gd name="T14" fmla="*/ 5 w 625"/>
              <a:gd name="T15" fmla="*/ 902 h 1044"/>
              <a:gd name="T16" fmla="*/ 237 w 625"/>
              <a:gd name="T17" fmla="*/ 1044 h 1044"/>
              <a:gd name="T18" fmla="*/ 252 w 625"/>
              <a:gd name="T19" fmla="*/ 1035 h 1044"/>
              <a:gd name="T20" fmla="*/ 252 w 625"/>
              <a:gd name="T21" fmla="*/ 1034 h 1044"/>
              <a:gd name="T22" fmla="*/ 624 w 625"/>
              <a:gd name="T23" fmla="*/ 811 h 1044"/>
              <a:gd name="T24" fmla="*/ 624 w 625"/>
              <a:gd name="T25" fmla="*/ 150 h 1044"/>
              <a:gd name="T26" fmla="*/ 625 w 625"/>
              <a:gd name="T27" fmla="*/ 150 h 1044"/>
              <a:gd name="T28" fmla="*/ 625 w 625"/>
              <a:gd name="T29" fmla="*/ 132 h 1044"/>
              <a:gd name="T30" fmla="*/ 388 w 625"/>
              <a:gd name="T31" fmla="*/ 21 h 1044"/>
              <a:gd name="T32" fmla="*/ 600 w 625"/>
              <a:gd name="T33" fmla="*/ 141 h 1044"/>
              <a:gd name="T34" fmla="*/ 244 w 625"/>
              <a:gd name="T35" fmla="*/ 340 h 1044"/>
              <a:gd name="T36" fmla="*/ 165 w 625"/>
              <a:gd name="T37" fmla="*/ 298 h 1044"/>
              <a:gd name="T38" fmla="*/ 34 w 625"/>
              <a:gd name="T39" fmla="*/ 225 h 1044"/>
              <a:gd name="T40" fmla="*/ 388 w 625"/>
              <a:gd name="T41" fmla="*/ 21 h 1044"/>
              <a:gd name="T42" fmla="*/ 156 w 625"/>
              <a:gd name="T43" fmla="*/ 315 h 1044"/>
              <a:gd name="T44" fmla="*/ 230 w 625"/>
              <a:gd name="T45" fmla="*/ 357 h 1044"/>
              <a:gd name="T46" fmla="*/ 231 w 625"/>
              <a:gd name="T47" fmla="*/ 541 h 1044"/>
              <a:gd name="T48" fmla="*/ 20 w 625"/>
              <a:gd name="T49" fmla="*/ 423 h 1044"/>
              <a:gd name="T50" fmla="*/ 20 w 625"/>
              <a:gd name="T51" fmla="*/ 244 h 1044"/>
              <a:gd name="T52" fmla="*/ 156 w 625"/>
              <a:gd name="T53" fmla="*/ 315 h 1044"/>
              <a:gd name="T54" fmla="*/ 20 w 625"/>
              <a:gd name="T55" fmla="*/ 446 h 1044"/>
              <a:gd name="T56" fmla="*/ 231 w 625"/>
              <a:gd name="T57" fmla="*/ 563 h 1044"/>
              <a:gd name="T58" fmla="*/ 231 w 625"/>
              <a:gd name="T59" fmla="*/ 593 h 1044"/>
              <a:gd name="T60" fmla="*/ 20 w 625"/>
              <a:gd name="T61" fmla="*/ 475 h 1044"/>
              <a:gd name="T62" fmla="*/ 20 w 625"/>
              <a:gd name="T63" fmla="*/ 446 h 1044"/>
              <a:gd name="T64" fmla="*/ 20 w 625"/>
              <a:gd name="T65" fmla="*/ 498 h 1044"/>
              <a:gd name="T66" fmla="*/ 231 w 625"/>
              <a:gd name="T67" fmla="*/ 616 h 1044"/>
              <a:gd name="T68" fmla="*/ 231 w 625"/>
              <a:gd name="T69" fmla="*/ 637 h 1044"/>
              <a:gd name="T70" fmla="*/ 20 w 625"/>
              <a:gd name="T71" fmla="*/ 519 h 1044"/>
              <a:gd name="T72" fmla="*/ 20 w 625"/>
              <a:gd name="T73" fmla="*/ 498 h 1044"/>
              <a:gd name="T74" fmla="*/ 20 w 625"/>
              <a:gd name="T75" fmla="*/ 887 h 1044"/>
              <a:gd name="T76" fmla="*/ 20 w 625"/>
              <a:gd name="T77" fmla="*/ 542 h 1044"/>
              <a:gd name="T78" fmla="*/ 231 w 625"/>
              <a:gd name="T79" fmla="*/ 660 h 1044"/>
              <a:gd name="T80" fmla="*/ 232 w 625"/>
              <a:gd name="T81" fmla="*/ 1017 h 1044"/>
              <a:gd name="T82" fmla="*/ 20 w 625"/>
              <a:gd name="T83" fmla="*/ 887 h 1044"/>
              <a:gd name="T84" fmla="*/ 160 w 625"/>
              <a:gd name="T85" fmla="*/ 746 h 1044"/>
              <a:gd name="T86" fmla="*/ 110 w 625"/>
              <a:gd name="T87" fmla="*/ 770 h 1044"/>
              <a:gd name="T88" fmla="*/ 84 w 625"/>
              <a:gd name="T89" fmla="*/ 712 h 1044"/>
              <a:gd name="T90" fmla="*/ 134 w 625"/>
              <a:gd name="T91" fmla="*/ 688 h 1044"/>
              <a:gd name="T92" fmla="*/ 160 w 625"/>
              <a:gd name="T93" fmla="*/ 746 h 10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625" h="1044">
                <a:moveTo>
                  <a:pt x="625" y="132"/>
                </a:moveTo>
                <a:cubicBezTo>
                  <a:pt x="393" y="0"/>
                  <a:pt x="393" y="0"/>
                  <a:pt x="393" y="0"/>
                </a:cubicBezTo>
                <a:cubicBezTo>
                  <a:pt x="383" y="0"/>
                  <a:pt x="383" y="0"/>
                  <a:pt x="383" y="0"/>
                </a:cubicBezTo>
                <a:cubicBezTo>
                  <a:pt x="5" y="218"/>
                  <a:pt x="5" y="218"/>
                  <a:pt x="5" y="218"/>
                </a:cubicBezTo>
                <a:cubicBezTo>
                  <a:pt x="5" y="220"/>
                  <a:pt x="5" y="220"/>
                  <a:pt x="5" y="220"/>
                </a:cubicBezTo>
                <a:cubicBezTo>
                  <a:pt x="0" y="223"/>
                  <a:pt x="0" y="223"/>
                  <a:pt x="0" y="223"/>
                </a:cubicBezTo>
                <a:cubicBezTo>
                  <a:pt x="0" y="893"/>
                  <a:pt x="0" y="893"/>
                  <a:pt x="0" y="893"/>
                </a:cubicBezTo>
                <a:cubicBezTo>
                  <a:pt x="5" y="902"/>
                  <a:pt x="5" y="902"/>
                  <a:pt x="5" y="902"/>
                </a:cubicBezTo>
                <a:cubicBezTo>
                  <a:pt x="237" y="1044"/>
                  <a:pt x="237" y="1044"/>
                  <a:pt x="237" y="1044"/>
                </a:cubicBezTo>
                <a:cubicBezTo>
                  <a:pt x="252" y="1035"/>
                  <a:pt x="252" y="1035"/>
                  <a:pt x="252" y="1035"/>
                </a:cubicBezTo>
                <a:cubicBezTo>
                  <a:pt x="252" y="1034"/>
                  <a:pt x="252" y="1034"/>
                  <a:pt x="252" y="1034"/>
                </a:cubicBezTo>
                <a:cubicBezTo>
                  <a:pt x="624" y="811"/>
                  <a:pt x="624" y="811"/>
                  <a:pt x="624" y="811"/>
                </a:cubicBezTo>
                <a:cubicBezTo>
                  <a:pt x="624" y="150"/>
                  <a:pt x="624" y="150"/>
                  <a:pt x="624" y="150"/>
                </a:cubicBezTo>
                <a:cubicBezTo>
                  <a:pt x="625" y="150"/>
                  <a:pt x="625" y="150"/>
                  <a:pt x="625" y="150"/>
                </a:cubicBezTo>
                <a:lnTo>
                  <a:pt x="625" y="132"/>
                </a:lnTo>
                <a:close/>
                <a:moveTo>
                  <a:pt x="388" y="21"/>
                </a:moveTo>
                <a:cubicBezTo>
                  <a:pt x="600" y="141"/>
                  <a:pt x="600" y="141"/>
                  <a:pt x="600" y="141"/>
                </a:cubicBezTo>
                <a:cubicBezTo>
                  <a:pt x="244" y="340"/>
                  <a:pt x="244" y="340"/>
                  <a:pt x="244" y="340"/>
                </a:cubicBezTo>
                <a:cubicBezTo>
                  <a:pt x="165" y="298"/>
                  <a:pt x="165" y="298"/>
                  <a:pt x="165" y="298"/>
                </a:cubicBezTo>
                <a:cubicBezTo>
                  <a:pt x="34" y="225"/>
                  <a:pt x="34" y="225"/>
                  <a:pt x="34" y="225"/>
                </a:cubicBezTo>
                <a:lnTo>
                  <a:pt x="388" y="21"/>
                </a:lnTo>
                <a:close/>
                <a:moveTo>
                  <a:pt x="156" y="315"/>
                </a:moveTo>
                <a:cubicBezTo>
                  <a:pt x="230" y="357"/>
                  <a:pt x="230" y="357"/>
                  <a:pt x="230" y="357"/>
                </a:cubicBezTo>
                <a:cubicBezTo>
                  <a:pt x="231" y="541"/>
                  <a:pt x="231" y="541"/>
                  <a:pt x="231" y="541"/>
                </a:cubicBezTo>
                <a:cubicBezTo>
                  <a:pt x="20" y="423"/>
                  <a:pt x="20" y="423"/>
                  <a:pt x="20" y="423"/>
                </a:cubicBezTo>
                <a:cubicBezTo>
                  <a:pt x="20" y="244"/>
                  <a:pt x="20" y="244"/>
                  <a:pt x="20" y="244"/>
                </a:cubicBezTo>
                <a:lnTo>
                  <a:pt x="156" y="315"/>
                </a:lnTo>
                <a:close/>
                <a:moveTo>
                  <a:pt x="20" y="446"/>
                </a:moveTo>
                <a:cubicBezTo>
                  <a:pt x="231" y="563"/>
                  <a:pt x="231" y="563"/>
                  <a:pt x="231" y="563"/>
                </a:cubicBezTo>
                <a:cubicBezTo>
                  <a:pt x="231" y="593"/>
                  <a:pt x="231" y="593"/>
                  <a:pt x="231" y="593"/>
                </a:cubicBezTo>
                <a:cubicBezTo>
                  <a:pt x="20" y="475"/>
                  <a:pt x="20" y="475"/>
                  <a:pt x="20" y="475"/>
                </a:cubicBezTo>
                <a:lnTo>
                  <a:pt x="20" y="446"/>
                </a:lnTo>
                <a:close/>
                <a:moveTo>
                  <a:pt x="20" y="498"/>
                </a:moveTo>
                <a:cubicBezTo>
                  <a:pt x="231" y="616"/>
                  <a:pt x="231" y="616"/>
                  <a:pt x="231" y="616"/>
                </a:cubicBezTo>
                <a:cubicBezTo>
                  <a:pt x="231" y="637"/>
                  <a:pt x="231" y="637"/>
                  <a:pt x="231" y="637"/>
                </a:cubicBezTo>
                <a:cubicBezTo>
                  <a:pt x="20" y="519"/>
                  <a:pt x="20" y="519"/>
                  <a:pt x="20" y="519"/>
                </a:cubicBezTo>
                <a:lnTo>
                  <a:pt x="20" y="498"/>
                </a:lnTo>
                <a:close/>
                <a:moveTo>
                  <a:pt x="20" y="887"/>
                </a:moveTo>
                <a:cubicBezTo>
                  <a:pt x="20" y="542"/>
                  <a:pt x="20" y="542"/>
                  <a:pt x="20" y="542"/>
                </a:cubicBezTo>
                <a:cubicBezTo>
                  <a:pt x="231" y="660"/>
                  <a:pt x="231" y="660"/>
                  <a:pt x="231" y="660"/>
                </a:cubicBezTo>
                <a:cubicBezTo>
                  <a:pt x="232" y="1017"/>
                  <a:pt x="232" y="1017"/>
                  <a:pt x="232" y="1017"/>
                </a:cubicBezTo>
                <a:lnTo>
                  <a:pt x="20" y="887"/>
                </a:lnTo>
                <a:close/>
                <a:moveTo>
                  <a:pt x="160" y="746"/>
                </a:moveTo>
                <a:cubicBezTo>
                  <a:pt x="154" y="769"/>
                  <a:pt x="132" y="779"/>
                  <a:pt x="110" y="770"/>
                </a:cubicBezTo>
                <a:cubicBezTo>
                  <a:pt x="89" y="760"/>
                  <a:pt x="77" y="734"/>
                  <a:pt x="84" y="712"/>
                </a:cubicBezTo>
                <a:cubicBezTo>
                  <a:pt x="90" y="689"/>
                  <a:pt x="112" y="679"/>
                  <a:pt x="134" y="688"/>
                </a:cubicBezTo>
                <a:cubicBezTo>
                  <a:pt x="155" y="698"/>
                  <a:pt x="167" y="724"/>
                  <a:pt x="160" y="746"/>
                </a:cubicBezTo>
                <a:close/>
              </a:path>
            </a:pathLst>
          </a:custGeom>
          <a:solidFill>
            <a:srgbClr val="00BCF2"/>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Calibri"/>
            </a:endParaRPr>
          </a:p>
        </p:txBody>
      </p:sp>
      <p:sp>
        <p:nvSpPr>
          <p:cNvPr id="6" name="hyperV2"/>
          <p:cNvSpPr>
            <a:spLocks noChangeAspect="1" noEditPoints="1"/>
          </p:cNvSpPr>
          <p:nvPr/>
        </p:nvSpPr>
        <p:spPr bwMode="auto">
          <a:xfrm>
            <a:off x="3228507" y="5417481"/>
            <a:ext cx="779288" cy="1299164"/>
          </a:xfrm>
          <a:custGeom>
            <a:avLst/>
            <a:gdLst>
              <a:gd name="T0" fmla="*/ 625 w 625"/>
              <a:gd name="T1" fmla="*/ 132 h 1044"/>
              <a:gd name="T2" fmla="*/ 393 w 625"/>
              <a:gd name="T3" fmla="*/ 0 h 1044"/>
              <a:gd name="T4" fmla="*/ 383 w 625"/>
              <a:gd name="T5" fmla="*/ 0 h 1044"/>
              <a:gd name="T6" fmla="*/ 5 w 625"/>
              <a:gd name="T7" fmla="*/ 218 h 1044"/>
              <a:gd name="T8" fmla="*/ 5 w 625"/>
              <a:gd name="T9" fmla="*/ 220 h 1044"/>
              <a:gd name="T10" fmla="*/ 0 w 625"/>
              <a:gd name="T11" fmla="*/ 223 h 1044"/>
              <a:gd name="T12" fmla="*/ 0 w 625"/>
              <a:gd name="T13" fmla="*/ 893 h 1044"/>
              <a:gd name="T14" fmla="*/ 5 w 625"/>
              <a:gd name="T15" fmla="*/ 902 h 1044"/>
              <a:gd name="T16" fmla="*/ 237 w 625"/>
              <a:gd name="T17" fmla="*/ 1044 h 1044"/>
              <a:gd name="T18" fmla="*/ 252 w 625"/>
              <a:gd name="T19" fmla="*/ 1035 h 1044"/>
              <a:gd name="T20" fmla="*/ 252 w 625"/>
              <a:gd name="T21" fmla="*/ 1034 h 1044"/>
              <a:gd name="T22" fmla="*/ 624 w 625"/>
              <a:gd name="T23" fmla="*/ 811 h 1044"/>
              <a:gd name="T24" fmla="*/ 624 w 625"/>
              <a:gd name="T25" fmla="*/ 150 h 1044"/>
              <a:gd name="T26" fmla="*/ 625 w 625"/>
              <a:gd name="T27" fmla="*/ 150 h 1044"/>
              <a:gd name="T28" fmla="*/ 625 w 625"/>
              <a:gd name="T29" fmla="*/ 132 h 1044"/>
              <a:gd name="T30" fmla="*/ 388 w 625"/>
              <a:gd name="T31" fmla="*/ 21 h 1044"/>
              <a:gd name="T32" fmla="*/ 600 w 625"/>
              <a:gd name="T33" fmla="*/ 141 h 1044"/>
              <a:gd name="T34" fmla="*/ 244 w 625"/>
              <a:gd name="T35" fmla="*/ 340 h 1044"/>
              <a:gd name="T36" fmla="*/ 165 w 625"/>
              <a:gd name="T37" fmla="*/ 298 h 1044"/>
              <a:gd name="T38" fmla="*/ 34 w 625"/>
              <a:gd name="T39" fmla="*/ 225 h 1044"/>
              <a:gd name="T40" fmla="*/ 388 w 625"/>
              <a:gd name="T41" fmla="*/ 21 h 1044"/>
              <a:gd name="T42" fmla="*/ 156 w 625"/>
              <a:gd name="T43" fmla="*/ 315 h 1044"/>
              <a:gd name="T44" fmla="*/ 230 w 625"/>
              <a:gd name="T45" fmla="*/ 357 h 1044"/>
              <a:gd name="T46" fmla="*/ 231 w 625"/>
              <a:gd name="T47" fmla="*/ 541 h 1044"/>
              <a:gd name="T48" fmla="*/ 20 w 625"/>
              <a:gd name="T49" fmla="*/ 423 h 1044"/>
              <a:gd name="T50" fmla="*/ 20 w 625"/>
              <a:gd name="T51" fmla="*/ 244 h 1044"/>
              <a:gd name="T52" fmla="*/ 156 w 625"/>
              <a:gd name="T53" fmla="*/ 315 h 1044"/>
              <a:gd name="T54" fmla="*/ 20 w 625"/>
              <a:gd name="T55" fmla="*/ 446 h 1044"/>
              <a:gd name="T56" fmla="*/ 231 w 625"/>
              <a:gd name="T57" fmla="*/ 563 h 1044"/>
              <a:gd name="T58" fmla="*/ 231 w 625"/>
              <a:gd name="T59" fmla="*/ 593 h 1044"/>
              <a:gd name="T60" fmla="*/ 20 w 625"/>
              <a:gd name="T61" fmla="*/ 475 h 1044"/>
              <a:gd name="T62" fmla="*/ 20 w 625"/>
              <a:gd name="T63" fmla="*/ 446 h 1044"/>
              <a:gd name="T64" fmla="*/ 20 w 625"/>
              <a:gd name="T65" fmla="*/ 498 h 1044"/>
              <a:gd name="T66" fmla="*/ 231 w 625"/>
              <a:gd name="T67" fmla="*/ 616 h 1044"/>
              <a:gd name="T68" fmla="*/ 231 w 625"/>
              <a:gd name="T69" fmla="*/ 637 h 1044"/>
              <a:gd name="T70" fmla="*/ 20 w 625"/>
              <a:gd name="T71" fmla="*/ 519 h 1044"/>
              <a:gd name="T72" fmla="*/ 20 w 625"/>
              <a:gd name="T73" fmla="*/ 498 h 1044"/>
              <a:gd name="T74" fmla="*/ 20 w 625"/>
              <a:gd name="T75" fmla="*/ 887 h 1044"/>
              <a:gd name="T76" fmla="*/ 20 w 625"/>
              <a:gd name="T77" fmla="*/ 542 h 1044"/>
              <a:gd name="T78" fmla="*/ 231 w 625"/>
              <a:gd name="T79" fmla="*/ 660 h 1044"/>
              <a:gd name="T80" fmla="*/ 232 w 625"/>
              <a:gd name="T81" fmla="*/ 1017 h 1044"/>
              <a:gd name="T82" fmla="*/ 20 w 625"/>
              <a:gd name="T83" fmla="*/ 887 h 1044"/>
              <a:gd name="T84" fmla="*/ 160 w 625"/>
              <a:gd name="T85" fmla="*/ 746 h 1044"/>
              <a:gd name="T86" fmla="*/ 110 w 625"/>
              <a:gd name="T87" fmla="*/ 770 h 1044"/>
              <a:gd name="T88" fmla="*/ 84 w 625"/>
              <a:gd name="T89" fmla="*/ 712 h 1044"/>
              <a:gd name="T90" fmla="*/ 134 w 625"/>
              <a:gd name="T91" fmla="*/ 688 h 1044"/>
              <a:gd name="T92" fmla="*/ 160 w 625"/>
              <a:gd name="T93" fmla="*/ 746 h 10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625" h="1044">
                <a:moveTo>
                  <a:pt x="625" y="132"/>
                </a:moveTo>
                <a:cubicBezTo>
                  <a:pt x="393" y="0"/>
                  <a:pt x="393" y="0"/>
                  <a:pt x="393" y="0"/>
                </a:cubicBezTo>
                <a:cubicBezTo>
                  <a:pt x="383" y="0"/>
                  <a:pt x="383" y="0"/>
                  <a:pt x="383" y="0"/>
                </a:cubicBezTo>
                <a:cubicBezTo>
                  <a:pt x="5" y="218"/>
                  <a:pt x="5" y="218"/>
                  <a:pt x="5" y="218"/>
                </a:cubicBezTo>
                <a:cubicBezTo>
                  <a:pt x="5" y="220"/>
                  <a:pt x="5" y="220"/>
                  <a:pt x="5" y="220"/>
                </a:cubicBezTo>
                <a:cubicBezTo>
                  <a:pt x="0" y="223"/>
                  <a:pt x="0" y="223"/>
                  <a:pt x="0" y="223"/>
                </a:cubicBezTo>
                <a:cubicBezTo>
                  <a:pt x="0" y="893"/>
                  <a:pt x="0" y="893"/>
                  <a:pt x="0" y="893"/>
                </a:cubicBezTo>
                <a:cubicBezTo>
                  <a:pt x="5" y="902"/>
                  <a:pt x="5" y="902"/>
                  <a:pt x="5" y="902"/>
                </a:cubicBezTo>
                <a:cubicBezTo>
                  <a:pt x="237" y="1044"/>
                  <a:pt x="237" y="1044"/>
                  <a:pt x="237" y="1044"/>
                </a:cubicBezTo>
                <a:cubicBezTo>
                  <a:pt x="252" y="1035"/>
                  <a:pt x="252" y="1035"/>
                  <a:pt x="252" y="1035"/>
                </a:cubicBezTo>
                <a:cubicBezTo>
                  <a:pt x="252" y="1034"/>
                  <a:pt x="252" y="1034"/>
                  <a:pt x="252" y="1034"/>
                </a:cubicBezTo>
                <a:cubicBezTo>
                  <a:pt x="624" y="811"/>
                  <a:pt x="624" y="811"/>
                  <a:pt x="624" y="811"/>
                </a:cubicBezTo>
                <a:cubicBezTo>
                  <a:pt x="624" y="150"/>
                  <a:pt x="624" y="150"/>
                  <a:pt x="624" y="150"/>
                </a:cubicBezTo>
                <a:cubicBezTo>
                  <a:pt x="625" y="150"/>
                  <a:pt x="625" y="150"/>
                  <a:pt x="625" y="150"/>
                </a:cubicBezTo>
                <a:lnTo>
                  <a:pt x="625" y="132"/>
                </a:lnTo>
                <a:close/>
                <a:moveTo>
                  <a:pt x="388" y="21"/>
                </a:moveTo>
                <a:cubicBezTo>
                  <a:pt x="600" y="141"/>
                  <a:pt x="600" y="141"/>
                  <a:pt x="600" y="141"/>
                </a:cubicBezTo>
                <a:cubicBezTo>
                  <a:pt x="244" y="340"/>
                  <a:pt x="244" y="340"/>
                  <a:pt x="244" y="340"/>
                </a:cubicBezTo>
                <a:cubicBezTo>
                  <a:pt x="165" y="298"/>
                  <a:pt x="165" y="298"/>
                  <a:pt x="165" y="298"/>
                </a:cubicBezTo>
                <a:cubicBezTo>
                  <a:pt x="34" y="225"/>
                  <a:pt x="34" y="225"/>
                  <a:pt x="34" y="225"/>
                </a:cubicBezTo>
                <a:lnTo>
                  <a:pt x="388" y="21"/>
                </a:lnTo>
                <a:close/>
                <a:moveTo>
                  <a:pt x="156" y="315"/>
                </a:moveTo>
                <a:cubicBezTo>
                  <a:pt x="230" y="357"/>
                  <a:pt x="230" y="357"/>
                  <a:pt x="230" y="357"/>
                </a:cubicBezTo>
                <a:cubicBezTo>
                  <a:pt x="231" y="541"/>
                  <a:pt x="231" y="541"/>
                  <a:pt x="231" y="541"/>
                </a:cubicBezTo>
                <a:cubicBezTo>
                  <a:pt x="20" y="423"/>
                  <a:pt x="20" y="423"/>
                  <a:pt x="20" y="423"/>
                </a:cubicBezTo>
                <a:cubicBezTo>
                  <a:pt x="20" y="244"/>
                  <a:pt x="20" y="244"/>
                  <a:pt x="20" y="244"/>
                </a:cubicBezTo>
                <a:lnTo>
                  <a:pt x="156" y="315"/>
                </a:lnTo>
                <a:close/>
                <a:moveTo>
                  <a:pt x="20" y="446"/>
                </a:moveTo>
                <a:cubicBezTo>
                  <a:pt x="231" y="563"/>
                  <a:pt x="231" y="563"/>
                  <a:pt x="231" y="563"/>
                </a:cubicBezTo>
                <a:cubicBezTo>
                  <a:pt x="231" y="593"/>
                  <a:pt x="231" y="593"/>
                  <a:pt x="231" y="593"/>
                </a:cubicBezTo>
                <a:cubicBezTo>
                  <a:pt x="20" y="475"/>
                  <a:pt x="20" y="475"/>
                  <a:pt x="20" y="475"/>
                </a:cubicBezTo>
                <a:lnTo>
                  <a:pt x="20" y="446"/>
                </a:lnTo>
                <a:close/>
                <a:moveTo>
                  <a:pt x="20" y="498"/>
                </a:moveTo>
                <a:cubicBezTo>
                  <a:pt x="231" y="616"/>
                  <a:pt x="231" y="616"/>
                  <a:pt x="231" y="616"/>
                </a:cubicBezTo>
                <a:cubicBezTo>
                  <a:pt x="231" y="637"/>
                  <a:pt x="231" y="637"/>
                  <a:pt x="231" y="637"/>
                </a:cubicBezTo>
                <a:cubicBezTo>
                  <a:pt x="20" y="519"/>
                  <a:pt x="20" y="519"/>
                  <a:pt x="20" y="519"/>
                </a:cubicBezTo>
                <a:lnTo>
                  <a:pt x="20" y="498"/>
                </a:lnTo>
                <a:close/>
                <a:moveTo>
                  <a:pt x="20" y="887"/>
                </a:moveTo>
                <a:cubicBezTo>
                  <a:pt x="20" y="542"/>
                  <a:pt x="20" y="542"/>
                  <a:pt x="20" y="542"/>
                </a:cubicBezTo>
                <a:cubicBezTo>
                  <a:pt x="231" y="660"/>
                  <a:pt x="231" y="660"/>
                  <a:pt x="231" y="660"/>
                </a:cubicBezTo>
                <a:cubicBezTo>
                  <a:pt x="232" y="1017"/>
                  <a:pt x="232" y="1017"/>
                  <a:pt x="232" y="1017"/>
                </a:cubicBezTo>
                <a:lnTo>
                  <a:pt x="20" y="887"/>
                </a:lnTo>
                <a:close/>
                <a:moveTo>
                  <a:pt x="160" y="746"/>
                </a:moveTo>
                <a:cubicBezTo>
                  <a:pt x="154" y="769"/>
                  <a:pt x="132" y="779"/>
                  <a:pt x="110" y="770"/>
                </a:cubicBezTo>
                <a:cubicBezTo>
                  <a:pt x="89" y="760"/>
                  <a:pt x="77" y="734"/>
                  <a:pt x="84" y="712"/>
                </a:cubicBezTo>
                <a:cubicBezTo>
                  <a:pt x="90" y="689"/>
                  <a:pt x="112" y="679"/>
                  <a:pt x="134" y="688"/>
                </a:cubicBezTo>
                <a:cubicBezTo>
                  <a:pt x="155" y="698"/>
                  <a:pt x="167" y="724"/>
                  <a:pt x="160" y="746"/>
                </a:cubicBezTo>
                <a:close/>
              </a:path>
            </a:pathLst>
          </a:custGeom>
          <a:solidFill>
            <a:srgbClr val="00BCF2"/>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Calibri"/>
            </a:endParaRPr>
          </a:p>
        </p:txBody>
      </p:sp>
      <p:sp>
        <p:nvSpPr>
          <p:cNvPr id="7" name="hyperV2"/>
          <p:cNvSpPr>
            <a:spLocks noChangeAspect="1" noEditPoints="1"/>
          </p:cNvSpPr>
          <p:nvPr/>
        </p:nvSpPr>
        <p:spPr bwMode="auto">
          <a:xfrm>
            <a:off x="2652116" y="3831681"/>
            <a:ext cx="1828800" cy="3048824"/>
          </a:xfrm>
          <a:custGeom>
            <a:avLst/>
            <a:gdLst>
              <a:gd name="T0" fmla="*/ 625 w 625"/>
              <a:gd name="T1" fmla="*/ 132 h 1044"/>
              <a:gd name="T2" fmla="*/ 393 w 625"/>
              <a:gd name="T3" fmla="*/ 0 h 1044"/>
              <a:gd name="T4" fmla="*/ 383 w 625"/>
              <a:gd name="T5" fmla="*/ 0 h 1044"/>
              <a:gd name="T6" fmla="*/ 5 w 625"/>
              <a:gd name="T7" fmla="*/ 218 h 1044"/>
              <a:gd name="T8" fmla="*/ 5 w 625"/>
              <a:gd name="T9" fmla="*/ 220 h 1044"/>
              <a:gd name="T10" fmla="*/ 0 w 625"/>
              <a:gd name="T11" fmla="*/ 223 h 1044"/>
              <a:gd name="T12" fmla="*/ 0 w 625"/>
              <a:gd name="T13" fmla="*/ 893 h 1044"/>
              <a:gd name="T14" fmla="*/ 5 w 625"/>
              <a:gd name="T15" fmla="*/ 902 h 1044"/>
              <a:gd name="T16" fmla="*/ 237 w 625"/>
              <a:gd name="T17" fmla="*/ 1044 h 1044"/>
              <a:gd name="T18" fmla="*/ 252 w 625"/>
              <a:gd name="T19" fmla="*/ 1035 h 1044"/>
              <a:gd name="T20" fmla="*/ 252 w 625"/>
              <a:gd name="T21" fmla="*/ 1034 h 1044"/>
              <a:gd name="T22" fmla="*/ 624 w 625"/>
              <a:gd name="T23" fmla="*/ 811 h 1044"/>
              <a:gd name="T24" fmla="*/ 624 w 625"/>
              <a:gd name="T25" fmla="*/ 150 h 1044"/>
              <a:gd name="T26" fmla="*/ 625 w 625"/>
              <a:gd name="T27" fmla="*/ 150 h 1044"/>
              <a:gd name="T28" fmla="*/ 625 w 625"/>
              <a:gd name="T29" fmla="*/ 132 h 1044"/>
              <a:gd name="T30" fmla="*/ 388 w 625"/>
              <a:gd name="T31" fmla="*/ 21 h 1044"/>
              <a:gd name="T32" fmla="*/ 600 w 625"/>
              <a:gd name="T33" fmla="*/ 141 h 1044"/>
              <a:gd name="T34" fmla="*/ 244 w 625"/>
              <a:gd name="T35" fmla="*/ 340 h 1044"/>
              <a:gd name="T36" fmla="*/ 165 w 625"/>
              <a:gd name="T37" fmla="*/ 298 h 1044"/>
              <a:gd name="T38" fmla="*/ 34 w 625"/>
              <a:gd name="T39" fmla="*/ 225 h 1044"/>
              <a:gd name="T40" fmla="*/ 388 w 625"/>
              <a:gd name="T41" fmla="*/ 21 h 1044"/>
              <a:gd name="T42" fmla="*/ 156 w 625"/>
              <a:gd name="T43" fmla="*/ 315 h 1044"/>
              <a:gd name="T44" fmla="*/ 230 w 625"/>
              <a:gd name="T45" fmla="*/ 357 h 1044"/>
              <a:gd name="T46" fmla="*/ 231 w 625"/>
              <a:gd name="T47" fmla="*/ 541 h 1044"/>
              <a:gd name="T48" fmla="*/ 20 w 625"/>
              <a:gd name="T49" fmla="*/ 423 h 1044"/>
              <a:gd name="T50" fmla="*/ 20 w 625"/>
              <a:gd name="T51" fmla="*/ 244 h 1044"/>
              <a:gd name="T52" fmla="*/ 156 w 625"/>
              <a:gd name="T53" fmla="*/ 315 h 1044"/>
              <a:gd name="T54" fmla="*/ 20 w 625"/>
              <a:gd name="T55" fmla="*/ 446 h 1044"/>
              <a:gd name="T56" fmla="*/ 231 w 625"/>
              <a:gd name="T57" fmla="*/ 563 h 1044"/>
              <a:gd name="T58" fmla="*/ 231 w 625"/>
              <a:gd name="T59" fmla="*/ 593 h 1044"/>
              <a:gd name="T60" fmla="*/ 20 w 625"/>
              <a:gd name="T61" fmla="*/ 475 h 1044"/>
              <a:gd name="T62" fmla="*/ 20 w 625"/>
              <a:gd name="T63" fmla="*/ 446 h 1044"/>
              <a:gd name="T64" fmla="*/ 20 w 625"/>
              <a:gd name="T65" fmla="*/ 498 h 1044"/>
              <a:gd name="T66" fmla="*/ 231 w 625"/>
              <a:gd name="T67" fmla="*/ 616 h 1044"/>
              <a:gd name="T68" fmla="*/ 231 w 625"/>
              <a:gd name="T69" fmla="*/ 637 h 1044"/>
              <a:gd name="T70" fmla="*/ 20 w 625"/>
              <a:gd name="T71" fmla="*/ 519 h 1044"/>
              <a:gd name="T72" fmla="*/ 20 w 625"/>
              <a:gd name="T73" fmla="*/ 498 h 1044"/>
              <a:gd name="T74" fmla="*/ 20 w 625"/>
              <a:gd name="T75" fmla="*/ 887 h 1044"/>
              <a:gd name="T76" fmla="*/ 20 w 625"/>
              <a:gd name="T77" fmla="*/ 542 h 1044"/>
              <a:gd name="T78" fmla="*/ 231 w 625"/>
              <a:gd name="T79" fmla="*/ 660 h 1044"/>
              <a:gd name="T80" fmla="*/ 232 w 625"/>
              <a:gd name="T81" fmla="*/ 1017 h 1044"/>
              <a:gd name="T82" fmla="*/ 20 w 625"/>
              <a:gd name="T83" fmla="*/ 887 h 1044"/>
              <a:gd name="T84" fmla="*/ 160 w 625"/>
              <a:gd name="T85" fmla="*/ 746 h 1044"/>
              <a:gd name="T86" fmla="*/ 110 w 625"/>
              <a:gd name="T87" fmla="*/ 770 h 1044"/>
              <a:gd name="T88" fmla="*/ 84 w 625"/>
              <a:gd name="T89" fmla="*/ 712 h 1044"/>
              <a:gd name="T90" fmla="*/ 134 w 625"/>
              <a:gd name="T91" fmla="*/ 688 h 1044"/>
              <a:gd name="T92" fmla="*/ 160 w 625"/>
              <a:gd name="T93" fmla="*/ 746 h 10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625" h="1044">
                <a:moveTo>
                  <a:pt x="625" y="132"/>
                </a:moveTo>
                <a:cubicBezTo>
                  <a:pt x="393" y="0"/>
                  <a:pt x="393" y="0"/>
                  <a:pt x="393" y="0"/>
                </a:cubicBezTo>
                <a:cubicBezTo>
                  <a:pt x="383" y="0"/>
                  <a:pt x="383" y="0"/>
                  <a:pt x="383" y="0"/>
                </a:cubicBezTo>
                <a:cubicBezTo>
                  <a:pt x="5" y="218"/>
                  <a:pt x="5" y="218"/>
                  <a:pt x="5" y="218"/>
                </a:cubicBezTo>
                <a:cubicBezTo>
                  <a:pt x="5" y="220"/>
                  <a:pt x="5" y="220"/>
                  <a:pt x="5" y="220"/>
                </a:cubicBezTo>
                <a:cubicBezTo>
                  <a:pt x="0" y="223"/>
                  <a:pt x="0" y="223"/>
                  <a:pt x="0" y="223"/>
                </a:cubicBezTo>
                <a:cubicBezTo>
                  <a:pt x="0" y="893"/>
                  <a:pt x="0" y="893"/>
                  <a:pt x="0" y="893"/>
                </a:cubicBezTo>
                <a:cubicBezTo>
                  <a:pt x="5" y="902"/>
                  <a:pt x="5" y="902"/>
                  <a:pt x="5" y="902"/>
                </a:cubicBezTo>
                <a:cubicBezTo>
                  <a:pt x="237" y="1044"/>
                  <a:pt x="237" y="1044"/>
                  <a:pt x="237" y="1044"/>
                </a:cubicBezTo>
                <a:cubicBezTo>
                  <a:pt x="252" y="1035"/>
                  <a:pt x="252" y="1035"/>
                  <a:pt x="252" y="1035"/>
                </a:cubicBezTo>
                <a:cubicBezTo>
                  <a:pt x="252" y="1034"/>
                  <a:pt x="252" y="1034"/>
                  <a:pt x="252" y="1034"/>
                </a:cubicBezTo>
                <a:cubicBezTo>
                  <a:pt x="624" y="811"/>
                  <a:pt x="624" y="811"/>
                  <a:pt x="624" y="811"/>
                </a:cubicBezTo>
                <a:cubicBezTo>
                  <a:pt x="624" y="150"/>
                  <a:pt x="624" y="150"/>
                  <a:pt x="624" y="150"/>
                </a:cubicBezTo>
                <a:cubicBezTo>
                  <a:pt x="625" y="150"/>
                  <a:pt x="625" y="150"/>
                  <a:pt x="625" y="150"/>
                </a:cubicBezTo>
                <a:lnTo>
                  <a:pt x="625" y="132"/>
                </a:lnTo>
                <a:close/>
                <a:moveTo>
                  <a:pt x="388" y="21"/>
                </a:moveTo>
                <a:cubicBezTo>
                  <a:pt x="600" y="141"/>
                  <a:pt x="600" y="141"/>
                  <a:pt x="600" y="141"/>
                </a:cubicBezTo>
                <a:cubicBezTo>
                  <a:pt x="244" y="340"/>
                  <a:pt x="244" y="340"/>
                  <a:pt x="244" y="340"/>
                </a:cubicBezTo>
                <a:cubicBezTo>
                  <a:pt x="165" y="298"/>
                  <a:pt x="165" y="298"/>
                  <a:pt x="165" y="298"/>
                </a:cubicBezTo>
                <a:cubicBezTo>
                  <a:pt x="34" y="225"/>
                  <a:pt x="34" y="225"/>
                  <a:pt x="34" y="225"/>
                </a:cubicBezTo>
                <a:lnTo>
                  <a:pt x="388" y="21"/>
                </a:lnTo>
                <a:close/>
                <a:moveTo>
                  <a:pt x="156" y="315"/>
                </a:moveTo>
                <a:cubicBezTo>
                  <a:pt x="230" y="357"/>
                  <a:pt x="230" y="357"/>
                  <a:pt x="230" y="357"/>
                </a:cubicBezTo>
                <a:cubicBezTo>
                  <a:pt x="231" y="541"/>
                  <a:pt x="231" y="541"/>
                  <a:pt x="231" y="541"/>
                </a:cubicBezTo>
                <a:cubicBezTo>
                  <a:pt x="20" y="423"/>
                  <a:pt x="20" y="423"/>
                  <a:pt x="20" y="423"/>
                </a:cubicBezTo>
                <a:cubicBezTo>
                  <a:pt x="20" y="244"/>
                  <a:pt x="20" y="244"/>
                  <a:pt x="20" y="244"/>
                </a:cubicBezTo>
                <a:lnTo>
                  <a:pt x="156" y="315"/>
                </a:lnTo>
                <a:close/>
                <a:moveTo>
                  <a:pt x="20" y="446"/>
                </a:moveTo>
                <a:cubicBezTo>
                  <a:pt x="231" y="563"/>
                  <a:pt x="231" y="563"/>
                  <a:pt x="231" y="563"/>
                </a:cubicBezTo>
                <a:cubicBezTo>
                  <a:pt x="231" y="593"/>
                  <a:pt x="231" y="593"/>
                  <a:pt x="231" y="593"/>
                </a:cubicBezTo>
                <a:cubicBezTo>
                  <a:pt x="20" y="475"/>
                  <a:pt x="20" y="475"/>
                  <a:pt x="20" y="475"/>
                </a:cubicBezTo>
                <a:lnTo>
                  <a:pt x="20" y="446"/>
                </a:lnTo>
                <a:close/>
                <a:moveTo>
                  <a:pt x="20" y="498"/>
                </a:moveTo>
                <a:cubicBezTo>
                  <a:pt x="231" y="616"/>
                  <a:pt x="231" y="616"/>
                  <a:pt x="231" y="616"/>
                </a:cubicBezTo>
                <a:cubicBezTo>
                  <a:pt x="231" y="637"/>
                  <a:pt x="231" y="637"/>
                  <a:pt x="231" y="637"/>
                </a:cubicBezTo>
                <a:cubicBezTo>
                  <a:pt x="20" y="519"/>
                  <a:pt x="20" y="519"/>
                  <a:pt x="20" y="519"/>
                </a:cubicBezTo>
                <a:lnTo>
                  <a:pt x="20" y="498"/>
                </a:lnTo>
                <a:close/>
                <a:moveTo>
                  <a:pt x="20" y="887"/>
                </a:moveTo>
                <a:cubicBezTo>
                  <a:pt x="20" y="542"/>
                  <a:pt x="20" y="542"/>
                  <a:pt x="20" y="542"/>
                </a:cubicBezTo>
                <a:cubicBezTo>
                  <a:pt x="231" y="660"/>
                  <a:pt x="231" y="660"/>
                  <a:pt x="231" y="660"/>
                </a:cubicBezTo>
                <a:cubicBezTo>
                  <a:pt x="232" y="1017"/>
                  <a:pt x="232" y="1017"/>
                  <a:pt x="232" y="1017"/>
                </a:cubicBezTo>
                <a:lnTo>
                  <a:pt x="20" y="887"/>
                </a:lnTo>
                <a:close/>
                <a:moveTo>
                  <a:pt x="160" y="746"/>
                </a:moveTo>
                <a:cubicBezTo>
                  <a:pt x="154" y="769"/>
                  <a:pt x="132" y="779"/>
                  <a:pt x="110" y="770"/>
                </a:cubicBezTo>
                <a:cubicBezTo>
                  <a:pt x="89" y="760"/>
                  <a:pt x="77" y="734"/>
                  <a:pt x="84" y="712"/>
                </a:cubicBezTo>
                <a:cubicBezTo>
                  <a:pt x="90" y="689"/>
                  <a:pt x="112" y="679"/>
                  <a:pt x="134" y="688"/>
                </a:cubicBezTo>
                <a:cubicBezTo>
                  <a:pt x="155" y="698"/>
                  <a:pt x="167" y="724"/>
                  <a:pt x="160" y="746"/>
                </a:cubicBezTo>
                <a:close/>
              </a:path>
            </a:pathLst>
          </a:custGeom>
          <a:solidFill>
            <a:srgbClr val="00BCF2"/>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Calibri"/>
            </a:endParaRPr>
          </a:p>
        </p:txBody>
      </p:sp>
      <p:sp>
        <p:nvSpPr>
          <p:cNvPr id="8" name="hyperV2"/>
          <p:cNvSpPr>
            <a:spLocks noChangeAspect="1" noEditPoints="1"/>
          </p:cNvSpPr>
          <p:nvPr/>
        </p:nvSpPr>
        <p:spPr bwMode="auto">
          <a:xfrm>
            <a:off x="6270553" y="4278495"/>
            <a:ext cx="1292768" cy="2155196"/>
          </a:xfrm>
          <a:custGeom>
            <a:avLst/>
            <a:gdLst>
              <a:gd name="T0" fmla="*/ 625 w 625"/>
              <a:gd name="T1" fmla="*/ 132 h 1044"/>
              <a:gd name="T2" fmla="*/ 393 w 625"/>
              <a:gd name="T3" fmla="*/ 0 h 1044"/>
              <a:gd name="T4" fmla="*/ 383 w 625"/>
              <a:gd name="T5" fmla="*/ 0 h 1044"/>
              <a:gd name="T6" fmla="*/ 5 w 625"/>
              <a:gd name="T7" fmla="*/ 218 h 1044"/>
              <a:gd name="T8" fmla="*/ 5 w 625"/>
              <a:gd name="T9" fmla="*/ 220 h 1044"/>
              <a:gd name="T10" fmla="*/ 0 w 625"/>
              <a:gd name="T11" fmla="*/ 223 h 1044"/>
              <a:gd name="T12" fmla="*/ 0 w 625"/>
              <a:gd name="T13" fmla="*/ 893 h 1044"/>
              <a:gd name="T14" fmla="*/ 5 w 625"/>
              <a:gd name="T15" fmla="*/ 902 h 1044"/>
              <a:gd name="T16" fmla="*/ 237 w 625"/>
              <a:gd name="T17" fmla="*/ 1044 h 1044"/>
              <a:gd name="T18" fmla="*/ 252 w 625"/>
              <a:gd name="T19" fmla="*/ 1035 h 1044"/>
              <a:gd name="T20" fmla="*/ 252 w 625"/>
              <a:gd name="T21" fmla="*/ 1034 h 1044"/>
              <a:gd name="T22" fmla="*/ 624 w 625"/>
              <a:gd name="T23" fmla="*/ 811 h 1044"/>
              <a:gd name="T24" fmla="*/ 624 w 625"/>
              <a:gd name="T25" fmla="*/ 150 h 1044"/>
              <a:gd name="T26" fmla="*/ 625 w 625"/>
              <a:gd name="T27" fmla="*/ 150 h 1044"/>
              <a:gd name="T28" fmla="*/ 625 w 625"/>
              <a:gd name="T29" fmla="*/ 132 h 1044"/>
              <a:gd name="T30" fmla="*/ 388 w 625"/>
              <a:gd name="T31" fmla="*/ 21 h 1044"/>
              <a:gd name="T32" fmla="*/ 600 w 625"/>
              <a:gd name="T33" fmla="*/ 141 h 1044"/>
              <a:gd name="T34" fmla="*/ 244 w 625"/>
              <a:gd name="T35" fmla="*/ 340 h 1044"/>
              <a:gd name="T36" fmla="*/ 165 w 625"/>
              <a:gd name="T37" fmla="*/ 298 h 1044"/>
              <a:gd name="T38" fmla="*/ 34 w 625"/>
              <a:gd name="T39" fmla="*/ 225 h 1044"/>
              <a:gd name="T40" fmla="*/ 388 w 625"/>
              <a:gd name="T41" fmla="*/ 21 h 1044"/>
              <a:gd name="T42" fmla="*/ 156 w 625"/>
              <a:gd name="T43" fmla="*/ 315 h 1044"/>
              <a:gd name="T44" fmla="*/ 230 w 625"/>
              <a:gd name="T45" fmla="*/ 357 h 1044"/>
              <a:gd name="T46" fmla="*/ 231 w 625"/>
              <a:gd name="T47" fmla="*/ 541 h 1044"/>
              <a:gd name="T48" fmla="*/ 20 w 625"/>
              <a:gd name="T49" fmla="*/ 423 h 1044"/>
              <a:gd name="T50" fmla="*/ 20 w 625"/>
              <a:gd name="T51" fmla="*/ 244 h 1044"/>
              <a:gd name="T52" fmla="*/ 156 w 625"/>
              <a:gd name="T53" fmla="*/ 315 h 1044"/>
              <a:gd name="T54" fmla="*/ 20 w 625"/>
              <a:gd name="T55" fmla="*/ 446 h 1044"/>
              <a:gd name="T56" fmla="*/ 231 w 625"/>
              <a:gd name="T57" fmla="*/ 563 h 1044"/>
              <a:gd name="T58" fmla="*/ 231 w 625"/>
              <a:gd name="T59" fmla="*/ 593 h 1044"/>
              <a:gd name="T60" fmla="*/ 20 w 625"/>
              <a:gd name="T61" fmla="*/ 475 h 1044"/>
              <a:gd name="T62" fmla="*/ 20 w 625"/>
              <a:gd name="T63" fmla="*/ 446 h 1044"/>
              <a:gd name="T64" fmla="*/ 20 w 625"/>
              <a:gd name="T65" fmla="*/ 498 h 1044"/>
              <a:gd name="T66" fmla="*/ 231 w 625"/>
              <a:gd name="T67" fmla="*/ 616 h 1044"/>
              <a:gd name="T68" fmla="*/ 231 w 625"/>
              <a:gd name="T69" fmla="*/ 637 h 1044"/>
              <a:gd name="T70" fmla="*/ 20 w 625"/>
              <a:gd name="T71" fmla="*/ 519 h 1044"/>
              <a:gd name="T72" fmla="*/ 20 w 625"/>
              <a:gd name="T73" fmla="*/ 498 h 1044"/>
              <a:gd name="T74" fmla="*/ 20 w 625"/>
              <a:gd name="T75" fmla="*/ 887 h 1044"/>
              <a:gd name="T76" fmla="*/ 20 w 625"/>
              <a:gd name="T77" fmla="*/ 542 h 1044"/>
              <a:gd name="T78" fmla="*/ 231 w 625"/>
              <a:gd name="T79" fmla="*/ 660 h 1044"/>
              <a:gd name="T80" fmla="*/ 232 w 625"/>
              <a:gd name="T81" fmla="*/ 1017 h 1044"/>
              <a:gd name="T82" fmla="*/ 20 w 625"/>
              <a:gd name="T83" fmla="*/ 887 h 1044"/>
              <a:gd name="T84" fmla="*/ 160 w 625"/>
              <a:gd name="T85" fmla="*/ 746 h 1044"/>
              <a:gd name="T86" fmla="*/ 110 w 625"/>
              <a:gd name="T87" fmla="*/ 770 h 1044"/>
              <a:gd name="T88" fmla="*/ 84 w 625"/>
              <a:gd name="T89" fmla="*/ 712 h 1044"/>
              <a:gd name="T90" fmla="*/ 134 w 625"/>
              <a:gd name="T91" fmla="*/ 688 h 1044"/>
              <a:gd name="T92" fmla="*/ 160 w 625"/>
              <a:gd name="T93" fmla="*/ 746 h 10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625" h="1044">
                <a:moveTo>
                  <a:pt x="625" y="132"/>
                </a:moveTo>
                <a:cubicBezTo>
                  <a:pt x="393" y="0"/>
                  <a:pt x="393" y="0"/>
                  <a:pt x="393" y="0"/>
                </a:cubicBezTo>
                <a:cubicBezTo>
                  <a:pt x="383" y="0"/>
                  <a:pt x="383" y="0"/>
                  <a:pt x="383" y="0"/>
                </a:cubicBezTo>
                <a:cubicBezTo>
                  <a:pt x="5" y="218"/>
                  <a:pt x="5" y="218"/>
                  <a:pt x="5" y="218"/>
                </a:cubicBezTo>
                <a:cubicBezTo>
                  <a:pt x="5" y="220"/>
                  <a:pt x="5" y="220"/>
                  <a:pt x="5" y="220"/>
                </a:cubicBezTo>
                <a:cubicBezTo>
                  <a:pt x="0" y="223"/>
                  <a:pt x="0" y="223"/>
                  <a:pt x="0" y="223"/>
                </a:cubicBezTo>
                <a:cubicBezTo>
                  <a:pt x="0" y="893"/>
                  <a:pt x="0" y="893"/>
                  <a:pt x="0" y="893"/>
                </a:cubicBezTo>
                <a:cubicBezTo>
                  <a:pt x="5" y="902"/>
                  <a:pt x="5" y="902"/>
                  <a:pt x="5" y="902"/>
                </a:cubicBezTo>
                <a:cubicBezTo>
                  <a:pt x="237" y="1044"/>
                  <a:pt x="237" y="1044"/>
                  <a:pt x="237" y="1044"/>
                </a:cubicBezTo>
                <a:cubicBezTo>
                  <a:pt x="252" y="1035"/>
                  <a:pt x="252" y="1035"/>
                  <a:pt x="252" y="1035"/>
                </a:cubicBezTo>
                <a:cubicBezTo>
                  <a:pt x="252" y="1034"/>
                  <a:pt x="252" y="1034"/>
                  <a:pt x="252" y="1034"/>
                </a:cubicBezTo>
                <a:cubicBezTo>
                  <a:pt x="624" y="811"/>
                  <a:pt x="624" y="811"/>
                  <a:pt x="624" y="811"/>
                </a:cubicBezTo>
                <a:cubicBezTo>
                  <a:pt x="624" y="150"/>
                  <a:pt x="624" y="150"/>
                  <a:pt x="624" y="150"/>
                </a:cubicBezTo>
                <a:cubicBezTo>
                  <a:pt x="625" y="150"/>
                  <a:pt x="625" y="150"/>
                  <a:pt x="625" y="150"/>
                </a:cubicBezTo>
                <a:lnTo>
                  <a:pt x="625" y="132"/>
                </a:lnTo>
                <a:close/>
                <a:moveTo>
                  <a:pt x="388" y="21"/>
                </a:moveTo>
                <a:cubicBezTo>
                  <a:pt x="600" y="141"/>
                  <a:pt x="600" y="141"/>
                  <a:pt x="600" y="141"/>
                </a:cubicBezTo>
                <a:cubicBezTo>
                  <a:pt x="244" y="340"/>
                  <a:pt x="244" y="340"/>
                  <a:pt x="244" y="340"/>
                </a:cubicBezTo>
                <a:cubicBezTo>
                  <a:pt x="165" y="298"/>
                  <a:pt x="165" y="298"/>
                  <a:pt x="165" y="298"/>
                </a:cubicBezTo>
                <a:cubicBezTo>
                  <a:pt x="34" y="225"/>
                  <a:pt x="34" y="225"/>
                  <a:pt x="34" y="225"/>
                </a:cubicBezTo>
                <a:lnTo>
                  <a:pt x="388" y="21"/>
                </a:lnTo>
                <a:close/>
                <a:moveTo>
                  <a:pt x="156" y="315"/>
                </a:moveTo>
                <a:cubicBezTo>
                  <a:pt x="230" y="357"/>
                  <a:pt x="230" y="357"/>
                  <a:pt x="230" y="357"/>
                </a:cubicBezTo>
                <a:cubicBezTo>
                  <a:pt x="231" y="541"/>
                  <a:pt x="231" y="541"/>
                  <a:pt x="231" y="541"/>
                </a:cubicBezTo>
                <a:cubicBezTo>
                  <a:pt x="20" y="423"/>
                  <a:pt x="20" y="423"/>
                  <a:pt x="20" y="423"/>
                </a:cubicBezTo>
                <a:cubicBezTo>
                  <a:pt x="20" y="244"/>
                  <a:pt x="20" y="244"/>
                  <a:pt x="20" y="244"/>
                </a:cubicBezTo>
                <a:lnTo>
                  <a:pt x="156" y="315"/>
                </a:lnTo>
                <a:close/>
                <a:moveTo>
                  <a:pt x="20" y="446"/>
                </a:moveTo>
                <a:cubicBezTo>
                  <a:pt x="231" y="563"/>
                  <a:pt x="231" y="563"/>
                  <a:pt x="231" y="563"/>
                </a:cubicBezTo>
                <a:cubicBezTo>
                  <a:pt x="231" y="593"/>
                  <a:pt x="231" y="593"/>
                  <a:pt x="231" y="593"/>
                </a:cubicBezTo>
                <a:cubicBezTo>
                  <a:pt x="20" y="475"/>
                  <a:pt x="20" y="475"/>
                  <a:pt x="20" y="475"/>
                </a:cubicBezTo>
                <a:lnTo>
                  <a:pt x="20" y="446"/>
                </a:lnTo>
                <a:close/>
                <a:moveTo>
                  <a:pt x="20" y="498"/>
                </a:moveTo>
                <a:cubicBezTo>
                  <a:pt x="231" y="616"/>
                  <a:pt x="231" y="616"/>
                  <a:pt x="231" y="616"/>
                </a:cubicBezTo>
                <a:cubicBezTo>
                  <a:pt x="231" y="637"/>
                  <a:pt x="231" y="637"/>
                  <a:pt x="231" y="637"/>
                </a:cubicBezTo>
                <a:cubicBezTo>
                  <a:pt x="20" y="519"/>
                  <a:pt x="20" y="519"/>
                  <a:pt x="20" y="519"/>
                </a:cubicBezTo>
                <a:lnTo>
                  <a:pt x="20" y="498"/>
                </a:lnTo>
                <a:close/>
                <a:moveTo>
                  <a:pt x="20" y="887"/>
                </a:moveTo>
                <a:cubicBezTo>
                  <a:pt x="20" y="542"/>
                  <a:pt x="20" y="542"/>
                  <a:pt x="20" y="542"/>
                </a:cubicBezTo>
                <a:cubicBezTo>
                  <a:pt x="231" y="660"/>
                  <a:pt x="231" y="660"/>
                  <a:pt x="231" y="660"/>
                </a:cubicBezTo>
                <a:cubicBezTo>
                  <a:pt x="232" y="1017"/>
                  <a:pt x="232" y="1017"/>
                  <a:pt x="232" y="1017"/>
                </a:cubicBezTo>
                <a:lnTo>
                  <a:pt x="20" y="887"/>
                </a:lnTo>
                <a:close/>
                <a:moveTo>
                  <a:pt x="160" y="746"/>
                </a:moveTo>
                <a:cubicBezTo>
                  <a:pt x="154" y="769"/>
                  <a:pt x="132" y="779"/>
                  <a:pt x="110" y="770"/>
                </a:cubicBezTo>
                <a:cubicBezTo>
                  <a:pt x="89" y="760"/>
                  <a:pt x="77" y="734"/>
                  <a:pt x="84" y="712"/>
                </a:cubicBezTo>
                <a:cubicBezTo>
                  <a:pt x="90" y="689"/>
                  <a:pt x="112" y="679"/>
                  <a:pt x="134" y="688"/>
                </a:cubicBezTo>
                <a:cubicBezTo>
                  <a:pt x="155" y="698"/>
                  <a:pt x="167" y="724"/>
                  <a:pt x="160" y="746"/>
                </a:cubicBezTo>
                <a:close/>
              </a:path>
            </a:pathLst>
          </a:custGeom>
          <a:solidFill>
            <a:srgbClr val="00BCF2"/>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Calibri"/>
            </a:endParaRPr>
          </a:p>
        </p:txBody>
      </p:sp>
      <p:sp>
        <p:nvSpPr>
          <p:cNvPr id="9" name="hyperV2"/>
          <p:cNvSpPr>
            <a:spLocks noChangeAspect="1" noEditPoints="1"/>
          </p:cNvSpPr>
          <p:nvPr/>
        </p:nvSpPr>
        <p:spPr bwMode="auto">
          <a:xfrm>
            <a:off x="7654565" y="4157344"/>
            <a:ext cx="1292768" cy="2155196"/>
          </a:xfrm>
          <a:custGeom>
            <a:avLst/>
            <a:gdLst>
              <a:gd name="T0" fmla="*/ 625 w 625"/>
              <a:gd name="T1" fmla="*/ 132 h 1044"/>
              <a:gd name="T2" fmla="*/ 393 w 625"/>
              <a:gd name="T3" fmla="*/ 0 h 1044"/>
              <a:gd name="T4" fmla="*/ 383 w 625"/>
              <a:gd name="T5" fmla="*/ 0 h 1044"/>
              <a:gd name="T6" fmla="*/ 5 w 625"/>
              <a:gd name="T7" fmla="*/ 218 h 1044"/>
              <a:gd name="T8" fmla="*/ 5 w 625"/>
              <a:gd name="T9" fmla="*/ 220 h 1044"/>
              <a:gd name="T10" fmla="*/ 0 w 625"/>
              <a:gd name="T11" fmla="*/ 223 h 1044"/>
              <a:gd name="T12" fmla="*/ 0 w 625"/>
              <a:gd name="T13" fmla="*/ 893 h 1044"/>
              <a:gd name="T14" fmla="*/ 5 w 625"/>
              <a:gd name="T15" fmla="*/ 902 h 1044"/>
              <a:gd name="T16" fmla="*/ 237 w 625"/>
              <a:gd name="T17" fmla="*/ 1044 h 1044"/>
              <a:gd name="T18" fmla="*/ 252 w 625"/>
              <a:gd name="T19" fmla="*/ 1035 h 1044"/>
              <a:gd name="T20" fmla="*/ 252 w 625"/>
              <a:gd name="T21" fmla="*/ 1034 h 1044"/>
              <a:gd name="T22" fmla="*/ 624 w 625"/>
              <a:gd name="T23" fmla="*/ 811 h 1044"/>
              <a:gd name="T24" fmla="*/ 624 w 625"/>
              <a:gd name="T25" fmla="*/ 150 h 1044"/>
              <a:gd name="T26" fmla="*/ 625 w 625"/>
              <a:gd name="T27" fmla="*/ 150 h 1044"/>
              <a:gd name="T28" fmla="*/ 625 w 625"/>
              <a:gd name="T29" fmla="*/ 132 h 1044"/>
              <a:gd name="T30" fmla="*/ 388 w 625"/>
              <a:gd name="T31" fmla="*/ 21 h 1044"/>
              <a:gd name="T32" fmla="*/ 600 w 625"/>
              <a:gd name="T33" fmla="*/ 141 h 1044"/>
              <a:gd name="T34" fmla="*/ 244 w 625"/>
              <a:gd name="T35" fmla="*/ 340 h 1044"/>
              <a:gd name="T36" fmla="*/ 165 w 625"/>
              <a:gd name="T37" fmla="*/ 298 h 1044"/>
              <a:gd name="T38" fmla="*/ 34 w 625"/>
              <a:gd name="T39" fmla="*/ 225 h 1044"/>
              <a:gd name="T40" fmla="*/ 388 w 625"/>
              <a:gd name="T41" fmla="*/ 21 h 1044"/>
              <a:gd name="T42" fmla="*/ 156 w 625"/>
              <a:gd name="T43" fmla="*/ 315 h 1044"/>
              <a:gd name="T44" fmla="*/ 230 w 625"/>
              <a:gd name="T45" fmla="*/ 357 h 1044"/>
              <a:gd name="T46" fmla="*/ 231 w 625"/>
              <a:gd name="T47" fmla="*/ 541 h 1044"/>
              <a:gd name="T48" fmla="*/ 20 w 625"/>
              <a:gd name="T49" fmla="*/ 423 h 1044"/>
              <a:gd name="T50" fmla="*/ 20 w 625"/>
              <a:gd name="T51" fmla="*/ 244 h 1044"/>
              <a:gd name="T52" fmla="*/ 156 w 625"/>
              <a:gd name="T53" fmla="*/ 315 h 1044"/>
              <a:gd name="T54" fmla="*/ 20 w 625"/>
              <a:gd name="T55" fmla="*/ 446 h 1044"/>
              <a:gd name="T56" fmla="*/ 231 w 625"/>
              <a:gd name="T57" fmla="*/ 563 h 1044"/>
              <a:gd name="T58" fmla="*/ 231 w 625"/>
              <a:gd name="T59" fmla="*/ 593 h 1044"/>
              <a:gd name="T60" fmla="*/ 20 w 625"/>
              <a:gd name="T61" fmla="*/ 475 h 1044"/>
              <a:gd name="T62" fmla="*/ 20 w 625"/>
              <a:gd name="T63" fmla="*/ 446 h 1044"/>
              <a:gd name="T64" fmla="*/ 20 w 625"/>
              <a:gd name="T65" fmla="*/ 498 h 1044"/>
              <a:gd name="T66" fmla="*/ 231 w 625"/>
              <a:gd name="T67" fmla="*/ 616 h 1044"/>
              <a:gd name="T68" fmla="*/ 231 w 625"/>
              <a:gd name="T69" fmla="*/ 637 h 1044"/>
              <a:gd name="T70" fmla="*/ 20 w 625"/>
              <a:gd name="T71" fmla="*/ 519 h 1044"/>
              <a:gd name="T72" fmla="*/ 20 w 625"/>
              <a:gd name="T73" fmla="*/ 498 h 1044"/>
              <a:gd name="T74" fmla="*/ 20 w 625"/>
              <a:gd name="T75" fmla="*/ 887 h 1044"/>
              <a:gd name="T76" fmla="*/ 20 w 625"/>
              <a:gd name="T77" fmla="*/ 542 h 1044"/>
              <a:gd name="T78" fmla="*/ 231 w 625"/>
              <a:gd name="T79" fmla="*/ 660 h 1044"/>
              <a:gd name="T80" fmla="*/ 232 w 625"/>
              <a:gd name="T81" fmla="*/ 1017 h 1044"/>
              <a:gd name="T82" fmla="*/ 20 w 625"/>
              <a:gd name="T83" fmla="*/ 887 h 1044"/>
              <a:gd name="T84" fmla="*/ 160 w 625"/>
              <a:gd name="T85" fmla="*/ 746 h 1044"/>
              <a:gd name="T86" fmla="*/ 110 w 625"/>
              <a:gd name="T87" fmla="*/ 770 h 1044"/>
              <a:gd name="T88" fmla="*/ 84 w 625"/>
              <a:gd name="T89" fmla="*/ 712 h 1044"/>
              <a:gd name="T90" fmla="*/ 134 w 625"/>
              <a:gd name="T91" fmla="*/ 688 h 1044"/>
              <a:gd name="T92" fmla="*/ 160 w 625"/>
              <a:gd name="T93" fmla="*/ 746 h 10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625" h="1044">
                <a:moveTo>
                  <a:pt x="625" y="132"/>
                </a:moveTo>
                <a:cubicBezTo>
                  <a:pt x="393" y="0"/>
                  <a:pt x="393" y="0"/>
                  <a:pt x="393" y="0"/>
                </a:cubicBezTo>
                <a:cubicBezTo>
                  <a:pt x="383" y="0"/>
                  <a:pt x="383" y="0"/>
                  <a:pt x="383" y="0"/>
                </a:cubicBezTo>
                <a:cubicBezTo>
                  <a:pt x="5" y="218"/>
                  <a:pt x="5" y="218"/>
                  <a:pt x="5" y="218"/>
                </a:cubicBezTo>
                <a:cubicBezTo>
                  <a:pt x="5" y="220"/>
                  <a:pt x="5" y="220"/>
                  <a:pt x="5" y="220"/>
                </a:cubicBezTo>
                <a:cubicBezTo>
                  <a:pt x="0" y="223"/>
                  <a:pt x="0" y="223"/>
                  <a:pt x="0" y="223"/>
                </a:cubicBezTo>
                <a:cubicBezTo>
                  <a:pt x="0" y="893"/>
                  <a:pt x="0" y="893"/>
                  <a:pt x="0" y="893"/>
                </a:cubicBezTo>
                <a:cubicBezTo>
                  <a:pt x="5" y="902"/>
                  <a:pt x="5" y="902"/>
                  <a:pt x="5" y="902"/>
                </a:cubicBezTo>
                <a:cubicBezTo>
                  <a:pt x="237" y="1044"/>
                  <a:pt x="237" y="1044"/>
                  <a:pt x="237" y="1044"/>
                </a:cubicBezTo>
                <a:cubicBezTo>
                  <a:pt x="252" y="1035"/>
                  <a:pt x="252" y="1035"/>
                  <a:pt x="252" y="1035"/>
                </a:cubicBezTo>
                <a:cubicBezTo>
                  <a:pt x="252" y="1034"/>
                  <a:pt x="252" y="1034"/>
                  <a:pt x="252" y="1034"/>
                </a:cubicBezTo>
                <a:cubicBezTo>
                  <a:pt x="624" y="811"/>
                  <a:pt x="624" y="811"/>
                  <a:pt x="624" y="811"/>
                </a:cubicBezTo>
                <a:cubicBezTo>
                  <a:pt x="624" y="150"/>
                  <a:pt x="624" y="150"/>
                  <a:pt x="624" y="150"/>
                </a:cubicBezTo>
                <a:cubicBezTo>
                  <a:pt x="625" y="150"/>
                  <a:pt x="625" y="150"/>
                  <a:pt x="625" y="150"/>
                </a:cubicBezTo>
                <a:lnTo>
                  <a:pt x="625" y="132"/>
                </a:lnTo>
                <a:close/>
                <a:moveTo>
                  <a:pt x="388" y="21"/>
                </a:moveTo>
                <a:cubicBezTo>
                  <a:pt x="600" y="141"/>
                  <a:pt x="600" y="141"/>
                  <a:pt x="600" y="141"/>
                </a:cubicBezTo>
                <a:cubicBezTo>
                  <a:pt x="244" y="340"/>
                  <a:pt x="244" y="340"/>
                  <a:pt x="244" y="340"/>
                </a:cubicBezTo>
                <a:cubicBezTo>
                  <a:pt x="165" y="298"/>
                  <a:pt x="165" y="298"/>
                  <a:pt x="165" y="298"/>
                </a:cubicBezTo>
                <a:cubicBezTo>
                  <a:pt x="34" y="225"/>
                  <a:pt x="34" y="225"/>
                  <a:pt x="34" y="225"/>
                </a:cubicBezTo>
                <a:lnTo>
                  <a:pt x="388" y="21"/>
                </a:lnTo>
                <a:close/>
                <a:moveTo>
                  <a:pt x="156" y="315"/>
                </a:moveTo>
                <a:cubicBezTo>
                  <a:pt x="230" y="357"/>
                  <a:pt x="230" y="357"/>
                  <a:pt x="230" y="357"/>
                </a:cubicBezTo>
                <a:cubicBezTo>
                  <a:pt x="231" y="541"/>
                  <a:pt x="231" y="541"/>
                  <a:pt x="231" y="541"/>
                </a:cubicBezTo>
                <a:cubicBezTo>
                  <a:pt x="20" y="423"/>
                  <a:pt x="20" y="423"/>
                  <a:pt x="20" y="423"/>
                </a:cubicBezTo>
                <a:cubicBezTo>
                  <a:pt x="20" y="244"/>
                  <a:pt x="20" y="244"/>
                  <a:pt x="20" y="244"/>
                </a:cubicBezTo>
                <a:lnTo>
                  <a:pt x="156" y="315"/>
                </a:lnTo>
                <a:close/>
                <a:moveTo>
                  <a:pt x="20" y="446"/>
                </a:moveTo>
                <a:cubicBezTo>
                  <a:pt x="231" y="563"/>
                  <a:pt x="231" y="563"/>
                  <a:pt x="231" y="563"/>
                </a:cubicBezTo>
                <a:cubicBezTo>
                  <a:pt x="231" y="593"/>
                  <a:pt x="231" y="593"/>
                  <a:pt x="231" y="593"/>
                </a:cubicBezTo>
                <a:cubicBezTo>
                  <a:pt x="20" y="475"/>
                  <a:pt x="20" y="475"/>
                  <a:pt x="20" y="475"/>
                </a:cubicBezTo>
                <a:lnTo>
                  <a:pt x="20" y="446"/>
                </a:lnTo>
                <a:close/>
                <a:moveTo>
                  <a:pt x="20" y="498"/>
                </a:moveTo>
                <a:cubicBezTo>
                  <a:pt x="231" y="616"/>
                  <a:pt x="231" y="616"/>
                  <a:pt x="231" y="616"/>
                </a:cubicBezTo>
                <a:cubicBezTo>
                  <a:pt x="231" y="637"/>
                  <a:pt x="231" y="637"/>
                  <a:pt x="231" y="637"/>
                </a:cubicBezTo>
                <a:cubicBezTo>
                  <a:pt x="20" y="519"/>
                  <a:pt x="20" y="519"/>
                  <a:pt x="20" y="519"/>
                </a:cubicBezTo>
                <a:lnTo>
                  <a:pt x="20" y="498"/>
                </a:lnTo>
                <a:close/>
                <a:moveTo>
                  <a:pt x="20" y="887"/>
                </a:moveTo>
                <a:cubicBezTo>
                  <a:pt x="20" y="542"/>
                  <a:pt x="20" y="542"/>
                  <a:pt x="20" y="542"/>
                </a:cubicBezTo>
                <a:cubicBezTo>
                  <a:pt x="231" y="660"/>
                  <a:pt x="231" y="660"/>
                  <a:pt x="231" y="660"/>
                </a:cubicBezTo>
                <a:cubicBezTo>
                  <a:pt x="232" y="1017"/>
                  <a:pt x="232" y="1017"/>
                  <a:pt x="232" y="1017"/>
                </a:cubicBezTo>
                <a:lnTo>
                  <a:pt x="20" y="887"/>
                </a:lnTo>
                <a:close/>
                <a:moveTo>
                  <a:pt x="160" y="746"/>
                </a:moveTo>
                <a:cubicBezTo>
                  <a:pt x="154" y="769"/>
                  <a:pt x="132" y="779"/>
                  <a:pt x="110" y="770"/>
                </a:cubicBezTo>
                <a:cubicBezTo>
                  <a:pt x="89" y="760"/>
                  <a:pt x="77" y="734"/>
                  <a:pt x="84" y="712"/>
                </a:cubicBezTo>
                <a:cubicBezTo>
                  <a:pt x="90" y="689"/>
                  <a:pt x="112" y="679"/>
                  <a:pt x="134" y="688"/>
                </a:cubicBezTo>
                <a:cubicBezTo>
                  <a:pt x="155" y="698"/>
                  <a:pt x="167" y="724"/>
                  <a:pt x="160" y="746"/>
                </a:cubicBezTo>
                <a:close/>
              </a:path>
            </a:pathLst>
          </a:custGeom>
          <a:solidFill>
            <a:srgbClr val="00BCF2"/>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Calibri"/>
            </a:endParaRPr>
          </a:p>
        </p:txBody>
      </p:sp>
      <p:sp>
        <p:nvSpPr>
          <p:cNvPr id="10" name="hyperV2"/>
          <p:cNvSpPr>
            <a:spLocks noChangeAspect="1" noEditPoints="1"/>
          </p:cNvSpPr>
          <p:nvPr/>
        </p:nvSpPr>
        <p:spPr bwMode="auto">
          <a:xfrm>
            <a:off x="9038577" y="4157344"/>
            <a:ext cx="1292768" cy="2155196"/>
          </a:xfrm>
          <a:custGeom>
            <a:avLst/>
            <a:gdLst>
              <a:gd name="T0" fmla="*/ 625 w 625"/>
              <a:gd name="T1" fmla="*/ 132 h 1044"/>
              <a:gd name="T2" fmla="*/ 393 w 625"/>
              <a:gd name="T3" fmla="*/ 0 h 1044"/>
              <a:gd name="T4" fmla="*/ 383 w 625"/>
              <a:gd name="T5" fmla="*/ 0 h 1044"/>
              <a:gd name="T6" fmla="*/ 5 w 625"/>
              <a:gd name="T7" fmla="*/ 218 h 1044"/>
              <a:gd name="T8" fmla="*/ 5 w 625"/>
              <a:gd name="T9" fmla="*/ 220 h 1044"/>
              <a:gd name="T10" fmla="*/ 0 w 625"/>
              <a:gd name="T11" fmla="*/ 223 h 1044"/>
              <a:gd name="T12" fmla="*/ 0 w 625"/>
              <a:gd name="T13" fmla="*/ 893 h 1044"/>
              <a:gd name="T14" fmla="*/ 5 w 625"/>
              <a:gd name="T15" fmla="*/ 902 h 1044"/>
              <a:gd name="T16" fmla="*/ 237 w 625"/>
              <a:gd name="T17" fmla="*/ 1044 h 1044"/>
              <a:gd name="T18" fmla="*/ 252 w 625"/>
              <a:gd name="T19" fmla="*/ 1035 h 1044"/>
              <a:gd name="T20" fmla="*/ 252 w 625"/>
              <a:gd name="T21" fmla="*/ 1034 h 1044"/>
              <a:gd name="T22" fmla="*/ 624 w 625"/>
              <a:gd name="T23" fmla="*/ 811 h 1044"/>
              <a:gd name="T24" fmla="*/ 624 w 625"/>
              <a:gd name="T25" fmla="*/ 150 h 1044"/>
              <a:gd name="T26" fmla="*/ 625 w 625"/>
              <a:gd name="T27" fmla="*/ 150 h 1044"/>
              <a:gd name="T28" fmla="*/ 625 w 625"/>
              <a:gd name="T29" fmla="*/ 132 h 1044"/>
              <a:gd name="T30" fmla="*/ 388 w 625"/>
              <a:gd name="T31" fmla="*/ 21 h 1044"/>
              <a:gd name="T32" fmla="*/ 600 w 625"/>
              <a:gd name="T33" fmla="*/ 141 h 1044"/>
              <a:gd name="T34" fmla="*/ 244 w 625"/>
              <a:gd name="T35" fmla="*/ 340 h 1044"/>
              <a:gd name="T36" fmla="*/ 165 w 625"/>
              <a:gd name="T37" fmla="*/ 298 h 1044"/>
              <a:gd name="T38" fmla="*/ 34 w 625"/>
              <a:gd name="T39" fmla="*/ 225 h 1044"/>
              <a:gd name="T40" fmla="*/ 388 w 625"/>
              <a:gd name="T41" fmla="*/ 21 h 1044"/>
              <a:gd name="T42" fmla="*/ 156 w 625"/>
              <a:gd name="T43" fmla="*/ 315 h 1044"/>
              <a:gd name="T44" fmla="*/ 230 w 625"/>
              <a:gd name="T45" fmla="*/ 357 h 1044"/>
              <a:gd name="T46" fmla="*/ 231 w 625"/>
              <a:gd name="T47" fmla="*/ 541 h 1044"/>
              <a:gd name="T48" fmla="*/ 20 w 625"/>
              <a:gd name="T49" fmla="*/ 423 h 1044"/>
              <a:gd name="T50" fmla="*/ 20 w 625"/>
              <a:gd name="T51" fmla="*/ 244 h 1044"/>
              <a:gd name="T52" fmla="*/ 156 w 625"/>
              <a:gd name="T53" fmla="*/ 315 h 1044"/>
              <a:gd name="T54" fmla="*/ 20 w 625"/>
              <a:gd name="T55" fmla="*/ 446 h 1044"/>
              <a:gd name="T56" fmla="*/ 231 w 625"/>
              <a:gd name="T57" fmla="*/ 563 h 1044"/>
              <a:gd name="T58" fmla="*/ 231 w 625"/>
              <a:gd name="T59" fmla="*/ 593 h 1044"/>
              <a:gd name="T60" fmla="*/ 20 w 625"/>
              <a:gd name="T61" fmla="*/ 475 h 1044"/>
              <a:gd name="T62" fmla="*/ 20 w 625"/>
              <a:gd name="T63" fmla="*/ 446 h 1044"/>
              <a:gd name="T64" fmla="*/ 20 w 625"/>
              <a:gd name="T65" fmla="*/ 498 h 1044"/>
              <a:gd name="T66" fmla="*/ 231 w 625"/>
              <a:gd name="T67" fmla="*/ 616 h 1044"/>
              <a:gd name="T68" fmla="*/ 231 w 625"/>
              <a:gd name="T69" fmla="*/ 637 h 1044"/>
              <a:gd name="T70" fmla="*/ 20 w 625"/>
              <a:gd name="T71" fmla="*/ 519 h 1044"/>
              <a:gd name="T72" fmla="*/ 20 w 625"/>
              <a:gd name="T73" fmla="*/ 498 h 1044"/>
              <a:gd name="T74" fmla="*/ 20 w 625"/>
              <a:gd name="T75" fmla="*/ 887 h 1044"/>
              <a:gd name="T76" fmla="*/ 20 w 625"/>
              <a:gd name="T77" fmla="*/ 542 h 1044"/>
              <a:gd name="T78" fmla="*/ 231 w 625"/>
              <a:gd name="T79" fmla="*/ 660 h 1044"/>
              <a:gd name="T80" fmla="*/ 232 w 625"/>
              <a:gd name="T81" fmla="*/ 1017 h 1044"/>
              <a:gd name="T82" fmla="*/ 20 w 625"/>
              <a:gd name="T83" fmla="*/ 887 h 1044"/>
              <a:gd name="T84" fmla="*/ 160 w 625"/>
              <a:gd name="T85" fmla="*/ 746 h 1044"/>
              <a:gd name="T86" fmla="*/ 110 w 625"/>
              <a:gd name="T87" fmla="*/ 770 h 1044"/>
              <a:gd name="T88" fmla="*/ 84 w 625"/>
              <a:gd name="T89" fmla="*/ 712 h 1044"/>
              <a:gd name="T90" fmla="*/ 134 w 625"/>
              <a:gd name="T91" fmla="*/ 688 h 1044"/>
              <a:gd name="T92" fmla="*/ 160 w 625"/>
              <a:gd name="T93" fmla="*/ 746 h 10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625" h="1044">
                <a:moveTo>
                  <a:pt x="625" y="132"/>
                </a:moveTo>
                <a:cubicBezTo>
                  <a:pt x="393" y="0"/>
                  <a:pt x="393" y="0"/>
                  <a:pt x="393" y="0"/>
                </a:cubicBezTo>
                <a:cubicBezTo>
                  <a:pt x="383" y="0"/>
                  <a:pt x="383" y="0"/>
                  <a:pt x="383" y="0"/>
                </a:cubicBezTo>
                <a:cubicBezTo>
                  <a:pt x="5" y="218"/>
                  <a:pt x="5" y="218"/>
                  <a:pt x="5" y="218"/>
                </a:cubicBezTo>
                <a:cubicBezTo>
                  <a:pt x="5" y="220"/>
                  <a:pt x="5" y="220"/>
                  <a:pt x="5" y="220"/>
                </a:cubicBezTo>
                <a:cubicBezTo>
                  <a:pt x="0" y="223"/>
                  <a:pt x="0" y="223"/>
                  <a:pt x="0" y="223"/>
                </a:cubicBezTo>
                <a:cubicBezTo>
                  <a:pt x="0" y="893"/>
                  <a:pt x="0" y="893"/>
                  <a:pt x="0" y="893"/>
                </a:cubicBezTo>
                <a:cubicBezTo>
                  <a:pt x="5" y="902"/>
                  <a:pt x="5" y="902"/>
                  <a:pt x="5" y="902"/>
                </a:cubicBezTo>
                <a:cubicBezTo>
                  <a:pt x="237" y="1044"/>
                  <a:pt x="237" y="1044"/>
                  <a:pt x="237" y="1044"/>
                </a:cubicBezTo>
                <a:cubicBezTo>
                  <a:pt x="252" y="1035"/>
                  <a:pt x="252" y="1035"/>
                  <a:pt x="252" y="1035"/>
                </a:cubicBezTo>
                <a:cubicBezTo>
                  <a:pt x="252" y="1034"/>
                  <a:pt x="252" y="1034"/>
                  <a:pt x="252" y="1034"/>
                </a:cubicBezTo>
                <a:cubicBezTo>
                  <a:pt x="624" y="811"/>
                  <a:pt x="624" y="811"/>
                  <a:pt x="624" y="811"/>
                </a:cubicBezTo>
                <a:cubicBezTo>
                  <a:pt x="624" y="150"/>
                  <a:pt x="624" y="150"/>
                  <a:pt x="624" y="150"/>
                </a:cubicBezTo>
                <a:cubicBezTo>
                  <a:pt x="625" y="150"/>
                  <a:pt x="625" y="150"/>
                  <a:pt x="625" y="150"/>
                </a:cubicBezTo>
                <a:lnTo>
                  <a:pt x="625" y="132"/>
                </a:lnTo>
                <a:close/>
                <a:moveTo>
                  <a:pt x="388" y="21"/>
                </a:moveTo>
                <a:cubicBezTo>
                  <a:pt x="600" y="141"/>
                  <a:pt x="600" y="141"/>
                  <a:pt x="600" y="141"/>
                </a:cubicBezTo>
                <a:cubicBezTo>
                  <a:pt x="244" y="340"/>
                  <a:pt x="244" y="340"/>
                  <a:pt x="244" y="340"/>
                </a:cubicBezTo>
                <a:cubicBezTo>
                  <a:pt x="165" y="298"/>
                  <a:pt x="165" y="298"/>
                  <a:pt x="165" y="298"/>
                </a:cubicBezTo>
                <a:cubicBezTo>
                  <a:pt x="34" y="225"/>
                  <a:pt x="34" y="225"/>
                  <a:pt x="34" y="225"/>
                </a:cubicBezTo>
                <a:lnTo>
                  <a:pt x="388" y="21"/>
                </a:lnTo>
                <a:close/>
                <a:moveTo>
                  <a:pt x="156" y="315"/>
                </a:moveTo>
                <a:cubicBezTo>
                  <a:pt x="230" y="357"/>
                  <a:pt x="230" y="357"/>
                  <a:pt x="230" y="357"/>
                </a:cubicBezTo>
                <a:cubicBezTo>
                  <a:pt x="231" y="541"/>
                  <a:pt x="231" y="541"/>
                  <a:pt x="231" y="541"/>
                </a:cubicBezTo>
                <a:cubicBezTo>
                  <a:pt x="20" y="423"/>
                  <a:pt x="20" y="423"/>
                  <a:pt x="20" y="423"/>
                </a:cubicBezTo>
                <a:cubicBezTo>
                  <a:pt x="20" y="244"/>
                  <a:pt x="20" y="244"/>
                  <a:pt x="20" y="244"/>
                </a:cubicBezTo>
                <a:lnTo>
                  <a:pt x="156" y="315"/>
                </a:lnTo>
                <a:close/>
                <a:moveTo>
                  <a:pt x="20" y="446"/>
                </a:moveTo>
                <a:cubicBezTo>
                  <a:pt x="231" y="563"/>
                  <a:pt x="231" y="563"/>
                  <a:pt x="231" y="563"/>
                </a:cubicBezTo>
                <a:cubicBezTo>
                  <a:pt x="231" y="593"/>
                  <a:pt x="231" y="593"/>
                  <a:pt x="231" y="593"/>
                </a:cubicBezTo>
                <a:cubicBezTo>
                  <a:pt x="20" y="475"/>
                  <a:pt x="20" y="475"/>
                  <a:pt x="20" y="475"/>
                </a:cubicBezTo>
                <a:lnTo>
                  <a:pt x="20" y="446"/>
                </a:lnTo>
                <a:close/>
                <a:moveTo>
                  <a:pt x="20" y="498"/>
                </a:moveTo>
                <a:cubicBezTo>
                  <a:pt x="231" y="616"/>
                  <a:pt x="231" y="616"/>
                  <a:pt x="231" y="616"/>
                </a:cubicBezTo>
                <a:cubicBezTo>
                  <a:pt x="231" y="637"/>
                  <a:pt x="231" y="637"/>
                  <a:pt x="231" y="637"/>
                </a:cubicBezTo>
                <a:cubicBezTo>
                  <a:pt x="20" y="519"/>
                  <a:pt x="20" y="519"/>
                  <a:pt x="20" y="519"/>
                </a:cubicBezTo>
                <a:lnTo>
                  <a:pt x="20" y="498"/>
                </a:lnTo>
                <a:close/>
                <a:moveTo>
                  <a:pt x="20" y="887"/>
                </a:moveTo>
                <a:cubicBezTo>
                  <a:pt x="20" y="542"/>
                  <a:pt x="20" y="542"/>
                  <a:pt x="20" y="542"/>
                </a:cubicBezTo>
                <a:cubicBezTo>
                  <a:pt x="231" y="660"/>
                  <a:pt x="231" y="660"/>
                  <a:pt x="231" y="660"/>
                </a:cubicBezTo>
                <a:cubicBezTo>
                  <a:pt x="232" y="1017"/>
                  <a:pt x="232" y="1017"/>
                  <a:pt x="232" y="1017"/>
                </a:cubicBezTo>
                <a:lnTo>
                  <a:pt x="20" y="887"/>
                </a:lnTo>
                <a:close/>
                <a:moveTo>
                  <a:pt x="160" y="746"/>
                </a:moveTo>
                <a:cubicBezTo>
                  <a:pt x="154" y="769"/>
                  <a:pt x="132" y="779"/>
                  <a:pt x="110" y="770"/>
                </a:cubicBezTo>
                <a:cubicBezTo>
                  <a:pt x="89" y="760"/>
                  <a:pt x="77" y="734"/>
                  <a:pt x="84" y="712"/>
                </a:cubicBezTo>
                <a:cubicBezTo>
                  <a:pt x="90" y="689"/>
                  <a:pt x="112" y="679"/>
                  <a:pt x="134" y="688"/>
                </a:cubicBezTo>
                <a:cubicBezTo>
                  <a:pt x="155" y="698"/>
                  <a:pt x="167" y="724"/>
                  <a:pt x="160" y="746"/>
                </a:cubicBezTo>
                <a:close/>
              </a:path>
            </a:pathLst>
          </a:custGeom>
          <a:solidFill>
            <a:srgbClr val="00BCF2"/>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Calibri"/>
            </a:endParaRPr>
          </a:p>
        </p:txBody>
      </p:sp>
      <p:sp>
        <p:nvSpPr>
          <p:cNvPr id="11" name="hyperV2"/>
          <p:cNvSpPr>
            <a:spLocks noChangeAspect="1" noEditPoints="1"/>
          </p:cNvSpPr>
          <p:nvPr/>
        </p:nvSpPr>
        <p:spPr bwMode="auto">
          <a:xfrm>
            <a:off x="10422589" y="4095062"/>
            <a:ext cx="1292768" cy="2155196"/>
          </a:xfrm>
          <a:custGeom>
            <a:avLst/>
            <a:gdLst>
              <a:gd name="T0" fmla="*/ 625 w 625"/>
              <a:gd name="T1" fmla="*/ 132 h 1044"/>
              <a:gd name="T2" fmla="*/ 393 w 625"/>
              <a:gd name="T3" fmla="*/ 0 h 1044"/>
              <a:gd name="T4" fmla="*/ 383 w 625"/>
              <a:gd name="T5" fmla="*/ 0 h 1044"/>
              <a:gd name="T6" fmla="*/ 5 w 625"/>
              <a:gd name="T7" fmla="*/ 218 h 1044"/>
              <a:gd name="T8" fmla="*/ 5 w 625"/>
              <a:gd name="T9" fmla="*/ 220 h 1044"/>
              <a:gd name="T10" fmla="*/ 0 w 625"/>
              <a:gd name="T11" fmla="*/ 223 h 1044"/>
              <a:gd name="T12" fmla="*/ 0 w 625"/>
              <a:gd name="T13" fmla="*/ 893 h 1044"/>
              <a:gd name="T14" fmla="*/ 5 w 625"/>
              <a:gd name="T15" fmla="*/ 902 h 1044"/>
              <a:gd name="T16" fmla="*/ 237 w 625"/>
              <a:gd name="T17" fmla="*/ 1044 h 1044"/>
              <a:gd name="T18" fmla="*/ 252 w 625"/>
              <a:gd name="T19" fmla="*/ 1035 h 1044"/>
              <a:gd name="T20" fmla="*/ 252 w 625"/>
              <a:gd name="T21" fmla="*/ 1034 h 1044"/>
              <a:gd name="T22" fmla="*/ 624 w 625"/>
              <a:gd name="T23" fmla="*/ 811 h 1044"/>
              <a:gd name="T24" fmla="*/ 624 w 625"/>
              <a:gd name="T25" fmla="*/ 150 h 1044"/>
              <a:gd name="T26" fmla="*/ 625 w 625"/>
              <a:gd name="T27" fmla="*/ 150 h 1044"/>
              <a:gd name="T28" fmla="*/ 625 w 625"/>
              <a:gd name="T29" fmla="*/ 132 h 1044"/>
              <a:gd name="T30" fmla="*/ 388 w 625"/>
              <a:gd name="T31" fmla="*/ 21 h 1044"/>
              <a:gd name="T32" fmla="*/ 600 w 625"/>
              <a:gd name="T33" fmla="*/ 141 h 1044"/>
              <a:gd name="T34" fmla="*/ 244 w 625"/>
              <a:gd name="T35" fmla="*/ 340 h 1044"/>
              <a:gd name="T36" fmla="*/ 165 w 625"/>
              <a:gd name="T37" fmla="*/ 298 h 1044"/>
              <a:gd name="T38" fmla="*/ 34 w 625"/>
              <a:gd name="T39" fmla="*/ 225 h 1044"/>
              <a:gd name="T40" fmla="*/ 388 w 625"/>
              <a:gd name="T41" fmla="*/ 21 h 1044"/>
              <a:gd name="T42" fmla="*/ 156 w 625"/>
              <a:gd name="T43" fmla="*/ 315 h 1044"/>
              <a:gd name="T44" fmla="*/ 230 w 625"/>
              <a:gd name="T45" fmla="*/ 357 h 1044"/>
              <a:gd name="T46" fmla="*/ 231 w 625"/>
              <a:gd name="T47" fmla="*/ 541 h 1044"/>
              <a:gd name="T48" fmla="*/ 20 w 625"/>
              <a:gd name="T49" fmla="*/ 423 h 1044"/>
              <a:gd name="T50" fmla="*/ 20 w 625"/>
              <a:gd name="T51" fmla="*/ 244 h 1044"/>
              <a:gd name="T52" fmla="*/ 156 w 625"/>
              <a:gd name="T53" fmla="*/ 315 h 1044"/>
              <a:gd name="T54" fmla="*/ 20 w 625"/>
              <a:gd name="T55" fmla="*/ 446 h 1044"/>
              <a:gd name="T56" fmla="*/ 231 w 625"/>
              <a:gd name="T57" fmla="*/ 563 h 1044"/>
              <a:gd name="T58" fmla="*/ 231 w 625"/>
              <a:gd name="T59" fmla="*/ 593 h 1044"/>
              <a:gd name="T60" fmla="*/ 20 w 625"/>
              <a:gd name="T61" fmla="*/ 475 h 1044"/>
              <a:gd name="T62" fmla="*/ 20 w 625"/>
              <a:gd name="T63" fmla="*/ 446 h 1044"/>
              <a:gd name="T64" fmla="*/ 20 w 625"/>
              <a:gd name="T65" fmla="*/ 498 h 1044"/>
              <a:gd name="T66" fmla="*/ 231 w 625"/>
              <a:gd name="T67" fmla="*/ 616 h 1044"/>
              <a:gd name="T68" fmla="*/ 231 w 625"/>
              <a:gd name="T69" fmla="*/ 637 h 1044"/>
              <a:gd name="T70" fmla="*/ 20 w 625"/>
              <a:gd name="T71" fmla="*/ 519 h 1044"/>
              <a:gd name="T72" fmla="*/ 20 w 625"/>
              <a:gd name="T73" fmla="*/ 498 h 1044"/>
              <a:gd name="T74" fmla="*/ 20 w 625"/>
              <a:gd name="T75" fmla="*/ 887 h 1044"/>
              <a:gd name="T76" fmla="*/ 20 w 625"/>
              <a:gd name="T77" fmla="*/ 542 h 1044"/>
              <a:gd name="T78" fmla="*/ 231 w 625"/>
              <a:gd name="T79" fmla="*/ 660 h 1044"/>
              <a:gd name="T80" fmla="*/ 232 w 625"/>
              <a:gd name="T81" fmla="*/ 1017 h 1044"/>
              <a:gd name="T82" fmla="*/ 20 w 625"/>
              <a:gd name="T83" fmla="*/ 887 h 1044"/>
              <a:gd name="T84" fmla="*/ 160 w 625"/>
              <a:gd name="T85" fmla="*/ 746 h 1044"/>
              <a:gd name="T86" fmla="*/ 110 w 625"/>
              <a:gd name="T87" fmla="*/ 770 h 1044"/>
              <a:gd name="T88" fmla="*/ 84 w 625"/>
              <a:gd name="T89" fmla="*/ 712 h 1044"/>
              <a:gd name="T90" fmla="*/ 134 w 625"/>
              <a:gd name="T91" fmla="*/ 688 h 1044"/>
              <a:gd name="T92" fmla="*/ 160 w 625"/>
              <a:gd name="T93" fmla="*/ 746 h 10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625" h="1044">
                <a:moveTo>
                  <a:pt x="625" y="132"/>
                </a:moveTo>
                <a:cubicBezTo>
                  <a:pt x="393" y="0"/>
                  <a:pt x="393" y="0"/>
                  <a:pt x="393" y="0"/>
                </a:cubicBezTo>
                <a:cubicBezTo>
                  <a:pt x="383" y="0"/>
                  <a:pt x="383" y="0"/>
                  <a:pt x="383" y="0"/>
                </a:cubicBezTo>
                <a:cubicBezTo>
                  <a:pt x="5" y="218"/>
                  <a:pt x="5" y="218"/>
                  <a:pt x="5" y="218"/>
                </a:cubicBezTo>
                <a:cubicBezTo>
                  <a:pt x="5" y="220"/>
                  <a:pt x="5" y="220"/>
                  <a:pt x="5" y="220"/>
                </a:cubicBezTo>
                <a:cubicBezTo>
                  <a:pt x="0" y="223"/>
                  <a:pt x="0" y="223"/>
                  <a:pt x="0" y="223"/>
                </a:cubicBezTo>
                <a:cubicBezTo>
                  <a:pt x="0" y="893"/>
                  <a:pt x="0" y="893"/>
                  <a:pt x="0" y="893"/>
                </a:cubicBezTo>
                <a:cubicBezTo>
                  <a:pt x="5" y="902"/>
                  <a:pt x="5" y="902"/>
                  <a:pt x="5" y="902"/>
                </a:cubicBezTo>
                <a:cubicBezTo>
                  <a:pt x="237" y="1044"/>
                  <a:pt x="237" y="1044"/>
                  <a:pt x="237" y="1044"/>
                </a:cubicBezTo>
                <a:cubicBezTo>
                  <a:pt x="252" y="1035"/>
                  <a:pt x="252" y="1035"/>
                  <a:pt x="252" y="1035"/>
                </a:cubicBezTo>
                <a:cubicBezTo>
                  <a:pt x="252" y="1034"/>
                  <a:pt x="252" y="1034"/>
                  <a:pt x="252" y="1034"/>
                </a:cubicBezTo>
                <a:cubicBezTo>
                  <a:pt x="624" y="811"/>
                  <a:pt x="624" y="811"/>
                  <a:pt x="624" y="811"/>
                </a:cubicBezTo>
                <a:cubicBezTo>
                  <a:pt x="624" y="150"/>
                  <a:pt x="624" y="150"/>
                  <a:pt x="624" y="150"/>
                </a:cubicBezTo>
                <a:cubicBezTo>
                  <a:pt x="625" y="150"/>
                  <a:pt x="625" y="150"/>
                  <a:pt x="625" y="150"/>
                </a:cubicBezTo>
                <a:lnTo>
                  <a:pt x="625" y="132"/>
                </a:lnTo>
                <a:close/>
                <a:moveTo>
                  <a:pt x="388" y="21"/>
                </a:moveTo>
                <a:cubicBezTo>
                  <a:pt x="600" y="141"/>
                  <a:pt x="600" y="141"/>
                  <a:pt x="600" y="141"/>
                </a:cubicBezTo>
                <a:cubicBezTo>
                  <a:pt x="244" y="340"/>
                  <a:pt x="244" y="340"/>
                  <a:pt x="244" y="340"/>
                </a:cubicBezTo>
                <a:cubicBezTo>
                  <a:pt x="165" y="298"/>
                  <a:pt x="165" y="298"/>
                  <a:pt x="165" y="298"/>
                </a:cubicBezTo>
                <a:cubicBezTo>
                  <a:pt x="34" y="225"/>
                  <a:pt x="34" y="225"/>
                  <a:pt x="34" y="225"/>
                </a:cubicBezTo>
                <a:lnTo>
                  <a:pt x="388" y="21"/>
                </a:lnTo>
                <a:close/>
                <a:moveTo>
                  <a:pt x="156" y="315"/>
                </a:moveTo>
                <a:cubicBezTo>
                  <a:pt x="230" y="357"/>
                  <a:pt x="230" y="357"/>
                  <a:pt x="230" y="357"/>
                </a:cubicBezTo>
                <a:cubicBezTo>
                  <a:pt x="231" y="541"/>
                  <a:pt x="231" y="541"/>
                  <a:pt x="231" y="541"/>
                </a:cubicBezTo>
                <a:cubicBezTo>
                  <a:pt x="20" y="423"/>
                  <a:pt x="20" y="423"/>
                  <a:pt x="20" y="423"/>
                </a:cubicBezTo>
                <a:cubicBezTo>
                  <a:pt x="20" y="244"/>
                  <a:pt x="20" y="244"/>
                  <a:pt x="20" y="244"/>
                </a:cubicBezTo>
                <a:lnTo>
                  <a:pt x="156" y="315"/>
                </a:lnTo>
                <a:close/>
                <a:moveTo>
                  <a:pt x="20" y="446"/>
                </a:moveTo>
                <a:cubicBezTo>
                  <a:pt x="231" y="563"/>
                  <a:pt x="231" y="563"/>
                  <a:pt x="231" y="563"/>
                </a:cubicBezTo>
                <a:cubicBezTo>
                  <a:pt x="231" y="593"/>
                  <a:pt x="231" y="593"/>
                  <a:pt x="231" y="593"/>
                </a:cubicBezTo>
                <a:cubicBezTo>
                  <a:pt x="20" y="475"/>
                  <a:pt x="20" y="475"/>
                  <a:pt x="20" y="475"/>
                </a:cubicBezTo>
                <a:lnTo>
                  <a:pt x="20" y="446"/>
                </a:lnTo>
                <a:close/>
                <a:moveTo>
                  <a:pt x="20" y="498"/>
                </a:moveTo>
                <a:cubicBezTo>
                  <a:pt x="231" y="616"/>
                  <a:pt x="231" y="616"/>
                  <a:pt x="231" y="616"/>
                </a:cubicBezTo>
                <a:cubicBezTo>
                  <a:pt x="231" y="637"/>
                  <a:pt x="231" y="637"/>
                  <a:pt x="231" y="637"/>
                </a:cubicBezTo>
                <a:cubicBezTo>
                  <a:pt x="20" y="519"/>
                  <a:pt x="20" y="519"/>
                  <a:pt x="20" y="519"/>
                </a:cubicBezTo>
                <a:lnTo>
                  <a:pt x="20" y="498"/>
                </a:lnTo>
                <a:close/>
                <a:moveTo>
                  <a:pt x="20" y="887"/>
                </a:moveTo>
                <a:cubicBezTo>
                  <a:pt x="20" y="542"/>
                  <a:pt x="20" y="542"/>
                  <a:pt x="20" y="542"/>
                </a:cubicBezTo>
                <a:cubicBezTo>
                  <a:pt x="231" y="660"/>
                  <a:pt x="231" y="660"/>
                  <a:pt x="231" y="660"/>
                </a:cubicBezTo>
                <a:cubicBezTo>
                  <a:pt x="232" y="1017"/>
                  <a:pt x="232" y="1017"/>
                  <a:pt x="232" y="1017"/>
                </a:cubicBezTo>
                <a:lnTo>
                  <a:pt x="20" y="887"/>
                </a:lnTo>
                <a:close/>
                <a:moveTo>
                  <a:pt x="160" y="746"/>
                </a:moveTo>
                <a:cubicBezTo>
                  <a:pt x="154" y="769"/>
                  <a:pt x="132" y="779"/>
                  <a:pt x="110" y="770"/>
                </a:cubicBezTo>
                <a:cubicBezTo>
                  <a:pt x="89" y="760"/>
                  <a:pt x="77" y="734"/>
                  <a:pt x="84" y="712"/>
                </a:cubicBezTo>
                <a:cubicBezTo>
                  <a:pt x="90" y="689"/>
                  <a:pt x="112" y="679"/>
                  <a:pt x="134" y="688"/>
                </a:cubicBezTo>
                <a:cubicBezTo>
                  <a:pt x="155" y="698"/>
                  <a:pt x="167" y="724"/>
                  <a:pt x="160" y="746"/>
                </a:cubicBezTo>
                <a:close/>
              </a:path>
            </a:pathLst>
          </a:custGeom>
          <a:solidFill>
            <a:srgbClr val="00BCF2"/>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Calibri"/>
            </a:endParaRPr>
          </a:p>
        </p:txBody>
      </p:sp>
      <p:sp>
        <p:nvSpPr>
          <p:cNvPr id="12" name="TextBox 11"/>
          <p:cNvSpPr txBox="1"/>
          <p:nvPr/>
        </p:nvSpPr>
        <p:spPr>
          <a:xfrm>
            <a:off x="851288" y="4788214"/>
            <a:ext cx="2285975" cy="1292662"/>
          </a:xfrm>
          <a:prstGeom prst="rect">
            <a:avLst/>
          </a:prstGeom>
          <a:noFill/>
        </p:spPr>
        <p:txBody>
          <a:bodyPr wrap="square" rtlCol="0">
            <a:spAutoFit/>
          </a:bodyPr>
          <a:lstStyle/>
          <a:p>
            <a:r>
              <a:rPr lang="en-US" dirty="0">
                <a:solidFill>
                  <a:srgbClr val="505050"/>
                </a:solidFill>
                <a:latin typeface="Segoe UI Light" panose="020B0502040204020203" pitchFamily="34" charset="0"/>
                <a:cs typeface="Segoe UI Light" panose="020B0502040204020203" pitchFamily="34" charset="0"/>
              </a:rPr>
              <a:t>SMALL</a:t>
            </a:r>
          </a:p>
          <a:p>
            <a:r>
              <a:rPr lang="en-US" sz="1800" dirty="0">
                <a:solidFill>
                  <a:srgbClr val="505050"/>
                </a:solidFill>
                <a:latin typeface="Segoe UI Light" panose="020B0502040204020203" pitchFamily="34" charset="0"/>
                <a:cs typeface="Segoe UI Light" panose="020B0502040204020203" pitchFamily="34" charset="0"/>
              </a:rPr>
              <a:t>1 CORE</a:t>
            </a:r>
          </a:p>
          <a:p>
            <a:r>
              <a:rPr lang="en-US" sz="1800" dirty="0">
                <a:solidFill>
                  <a:srgbClr val="505050"/>
                </a:solidFill>
                <a:latin typeface="Segoe UI Light" panose="020B0502040204020203" pitchFamily="34" charset="0"/>
                <a:cs typeface="Segoe UI Light" panose="020B0502040204020203" pitchFamily="34" charset="0"/>
              </a:rPr>
              <a:t>1.75 GB MEMORY</a:t>
            </a:r>
          </a:p>
          <a:p>
            <a:r>
              <a:rPr lang="en-US" sz="1800" dirty="0">
                <a:solidFill>
                  <a:srgbClr val="505050"/>
                </a:solidFill>
                <a:latin typeface="Segoe UI Light" panose="020B0502040204020203" pitchFamily="34" charset="0"/>
                <a:cs typeface="Segoe UI Light" panose="020B0502040204020203" pitchFamily="34" charset="0"/>
              </a:rPr>
              <a:t>1 GB STORAGE</a:t>
            </a:r>
          </a:p>
        </p:txBody>
      </p:sp>
      <p:sp>
        <p:nvSpPr>
          <p:cNvPr id="13" name="TextBox 12"/>
          <p:cNvSpPr txBox="1"/>
          <p:nvPr/>
        </p:nvSpPr>
        <p:spPr>
          <a:xfrm>
            <a:off x="848128" y="4788214"/>
            <a:ext cx="2285975" cy="1292662"/>
          </a:xfrm>
          <a:prstGeom prst="rect">
            <a:avLst/>
          </a:prstGeom>
          <a:noFill/>
        </p:spPr>
        <p:txBody>
          <a:bodyPr wrap="square" rtlCol="0">
            <a:spAutoFit/>
          </a:bodyPr>
          <a:lstStyle/>
          <a:p>
            <a:r>
              <a:rPr lang="en-US" dirty="0">
                <a:solidFill>
                  <a:srgbClr val="505050"/>
                </a:solidFill>
                <a:latin typeface="Segoe UI Light" panose="020B0502040204020203" pitchFamily="34" charset="0"/>
                <a:cs typeface="Segoe UI Light" panose="020B0502040204020203" pitchFamily="34" charset="0"/>
              </a:rPr>
              <a:t>MEDIUM</a:t>
            </a:r>
          </a:p>
          <a:p>
            <a:r>
              <a:rPr lang="en-US" sz="1800" dirty="0">
                <a:solidFill>
                  <a:srgbClr val="505050"/>
                </a:solidFill>
                <a:latin typeface="Segoe UI Light" panose="020B0502040204020203" pitchFamily="34" charset="0"/>
                <a:cs typeface="Segoe UI Light" panose="020B0502040204020203" pitchFamily="34" charset="0"/>
              </a:rPr>
              <a:t>2 CORES</a:t>
            </a:r>
          </a:p>
          <a:p>
            <a:r>
              <a:rPr lang="en-US" sz="1800" dirty="0">
                <a:solidFill>
                  <a:srgbClr val="505050"/>
                </a:solidFill>
                <a:latin typeface="Segoe UI Light" panose="020B0502040204020203" pitchFamily="34" charset="0"/>
                <a:cs typeface="Segoe UI Light" panose="020B0502040204020203" pitchFamily="34" charset="0"/>
              </a:rPr>
              <a:t>3.5 GB MEMORY</a:t>
            </a:r>
          </a:p>
          <a:p>
            <a:r>
              <a:rPr lang="en-US" sz="1800" dirty="0">
                <a:solidFill>
                  <a:srgbClr val="505050"/>
                </a:solidFill>
                <a:latin typeface="Segoe UI Light" panose="020B0502040204020203" pitchFamily="34" charset="0"/>
                <a:cs typeface="Segoe UI Light" panose="020B0502040204020203" pitchFamily="34" charset="0"/>
              </a:rPr>
              <a:t>10 GB STORAGE</a:t>
            </a:r>
          </a:p>
        </p:txBody>
      </p:sp>
      <p:sp>
        <p:nvSpPr>
          <p:cNvPr id="14" name="TextBox 13"/>
          <p:cNvSpPr txBox="1"/>
          <p:nvPr/>
        </p:nvSpPr>
        <p:spPr>
          <a:xfrm>
            <a:off x="833420" y="4788214"/>
            <a:ext cx="2285975" cy="1292662"/>
          </a:xfrm>
          <a:prstGeom prst="rect">
            <a:avLst/>
          </a:prstGeom>
          <a:noFill/>
        </p:spPr>
        <p:txBody>
          <a:bodyPr wrap="square" rtlCol="0">
            <a:spAutoFit/>
          </a:bodyPr>
          <a:lstStyle/>
          <a:p>
            <a:r>
              <a:rPr lang="en-US" dirty="0">
                <a:solidFill>
                  <a:srgbClr val="505050"/>
                </a:solidFill>
                <a:latin typeface="Segoe UI Light" panose="020B0502040204020203" pitchFamily="34" charset="0"/>
                <a:cs typeface="Segoe UI Light" panose="020B0502040204020203" pitchFamily="34" charset="0"/>
              </a:rPr>
              <a:t>LARGE</a:t>
            </a:r>
          </a:p>
          <a:p>
            <a:r>
              <a:rPr lang="en-US" sz="1800" dirty="0">
                <a:solidFill>
                  <a:srgbClr val="505050"/>
                </a:solidFill>
                <a:latin typeface="Segoe UI Light" panose="020B0502040204020203" pitchFamily="34" charset="0"/>
                <a:cs typeface="Segoe UI Light" panose="020B0502040204020203" pitchFamily="34" charset="0"/>
              </a:rPr>
              <a:t>4 CORES</a:t>
            </a:r>
          </a:p>
          <a:p>
            <a:r>
              <a:rPr lang="en-US" sz="1800" dirty="0">
                <a:solidFill>
                  <a:srgbClr val="505050"/>
                </a:solidFill>
                <a:latin typeface="Segoe UI Light" panose="020B0502040204020203" pitchFamily="34" charset="0"/>
                <a:cs typeface="Segoe UI Light" panose="020B0502040204020203" pitchFamily="34" charset="0"/>
              </a:rPr>
              <a:t>7 GB MEMORY</a:t>
            </a:r>
          </a:p>
          <a:p>
            <a:r>
              <a:rPr lang="en-US" sz="1800" dirty="0">
                <a:solidFill>
                  <a:srgbClr val="505050"/>
                </a:solidFill>
                <a:latin typeface="Segoe UI Light" panose="020B0502040204020203" pitchFamily="34" charset="0"/>
                <a:cs typeface="Segoe UI Light" panose="020B0502040204020203" pitchFamily="34" charset="0"/>
              </a:rPr>
              <a:t>50 GB STORAGE</a:t>
            </a:r>
          </a:p>
        </p:txBody>
      </p:sp>
      <p:sp>
        <p:nvSpPr>
          <p:cNvPr id="15" name="Content Placeholder 3"/>
          <p:cNvSpPr txBox="1">
            <a:spLocks/>
          </p:cNvSpPr>
          <p:nvPr/>
        </p:nvSpPr>
        <p:spPr>
          <a:xfrm>
            <a:off x="274640" y="1398836"/>
            <a:ext cx="5995914" cy="2526843"/>
          </a:xfrm>
          <a:prstGeom prst="rect">
            <a:avLst/>
          </a:prstGeom>
        </p:spPr>
        <p:txBody>
          <a:bodyPr vert="horz" lIns="120838" tIns="60419" rIns="120838" bIns="60419" rtlCol="0">
            <a:normAutofit/>
          </a:bodyPr>
          <a:lstStyle>
            <a:lvl1pPr marL="346727" indent="-346727" algn="l" defTabSz="1208380" rtl="0" eaLnBrk="1" latinLnBrk="0" hangingPunct="1">
              <a:lnSpc>
                <a:spcPct val="90000"/>
              </a:lnSpc>
              <a:spcBef>
                <a:spcPts val="600"/>
              </a:spcBef>
              <a:spcAft>
                <a:spcPts val="600"/>
              </a:spcAft>
              <a:buFontTx/>
              <a:buNone/>
              <a:defRPr sz="2856" kern="1200">
                <a:solidFill>
                  <a:srgbClr val="58595B"/>
                </a:solidFill>
                <a:latin typeface="Segoe UI" panose="020B0502040204020203" pitchFamily="34" charset="0"/>
                <a:ea typeface="Segoe UI" panose="020B0502040204020203" pitchFamily="34" charset="0"/>
                <a:cs typeface="Segoe UI" panose="020B0502040204020203" pitchFamily="34" charset="0"/>
              </a:defRPr>
            </a:lvl1pPr>
            <a:lvl2pPr marL="686709" indent="-331887" algn="l" defTabSz="1208380" rtl="0" eaLnBrk="1" latinLnBrk="0" hangingPunct="1">
              <a:lnSpc>
                <a:spcPct val="90000"/>
              </a:lnSpc>
              <a:spcBef>
                <a:spcPts val="600"/>
              </a:spcBef>
              <a:spcAft>
                <a:spcPts val="600"/>
              </a:spcAft>
              <a:buFontTx/>
              <a:buNone/>
              <a:defRPr sz="2448" kern="1200">
                <a:solidFill>
                  <a:srgbClr val="58595B"/>
                </a:solidFill>
                <a:latin typeface="Segoe UI" panose="020B0502040204020203" pitchFamily="34" charset="0"/>
                <a:ea typeface="Segoe UI" panose="020B0502040204020203" pitchFamily="34" charset="0"/>
                <a:cs typeface="Segoe UI" panose="020B0502040204020203" pitchFamily="34" charset="0"/>
              </a:defRPr>
            </a:lvl2pPr>
            <a:lvl3pPr marL="972725" indent="-294111" algn="l" defTabSz="1208380" rtl="0" eaLnBrk="1" latinLnBrk="0" hangingPunct="1">
              <a:lnSpc>
                <a:spcPct val="90000"/>
              </a:lnSpc>
              <a:spcBef>
                <a:spcPts val="600"/>
              </a:spcBef>
              <a:spcAft>
                <a:spcPts val="600"/>
              </a:spcAft>
              <a:buFontTx/>
              <a:buNone/>
              <a:defRPr sz="2040" kern="1200">
                <a:solidFill>
                  <a:srgbClr val="58595B"/>
                </a:solidFill>
                <a:latin typeface="Segoe UI" panose="020B0502040204020203" pitchFamily="34" charset="0"/>
                <a:ea typeface="Segoe UI" panose="020B0502040204020203" pitchFamily="34" charset="0"/>
                <a:cs typeface="Segoe UI" panose="020B0502040204020203" pitchFamily="34" charset="0"/>
              </a:defRPr>
            </a:lvl3pPr>
            <a:lvl4pPr marL="1251995" indent="-279270" algn="l" defTabSz="1208380" rtl="0" eaLnBrk="1" latinLnBrk="0" hangingPunct="1">
              <a:lnSpc>
                <a:spcPct val="90000"/>
              </a:lnSpc>
              <a:spcBef>
                <a:spcPts val="600"/>
              </a:spcBef>
              <a:spcAft>
                <a:spcPts val="600"/>
              </a:spcAft>
              <a:buFontTx/>
              <a:buNone/>
              <a:defRPr sz="1938" kern="1200">
                <a:solidFill>
                  <a:srgbClr val="58595B"/>
                </a:solidFill>
                <a:latin typeface="Segoe UI" panose="020B0502040204020203" pitchFamily="34" charset="0"/>
                <a:ea typeface="Segoe UI" panose="020B0502040204020203" pitchFamily="34" charset="0"/>
                <a:cs typeface="Segoe UI" panose="020B0502040204020203" pitchFamily="34" charset="0"/>
              </a:defRPr>
            </a:lvl4pPr>
            <a:lvl5pPr marL="1546106" indent="-286016" algn="l" defTabSz="1208380" rtl="0" eaLnBrk="1" latinLnBrk="0" hangingPunct="1">
              <a:lnSpc>
                <a:spcPct val="90000"/>
              </a:lnSpc>
              <a:spcBef>
                <a:spcPts val="600"/>
              </a:spcBef>
              <a:spcAft>
                <a:spcPts val="600"/>
              </a:spcAft>
              <a:buFontTx/>
              <a:buNone/>
              <a:defRPr sz="1938" kern="1200">
                <a:solidFill>
                  <a:srgbClr val="58595B"/>
                </a:solidFill>
                <a:latin typeface="Segoe UI" panose="020B0502040204020203" pitchFamily="34" charset="0"/>
                <a:ea typeface="Segoe UI" panose="020B0502040204020203" pitchFamily="34" charset="0"/>
                <a:cs typeface="Segoe UI" panose="020B0502040204020203" pitchFamily="34" charset="0"/>
              </a:defRPr>
            </a:lvl5pPr>
            <a:lvl6pPr marL="3323044" indent="-302095" algn="l" defTabSz="1208380" rtl="0" eaLnBrk="1" latinLnBrk="0" hangingPunct="1">
              <a:spcBef>
                <a:spcPct val="20000"/>
              </a:spcBef>
              <a:buFont typeface="Arial" panose="020B0604020202020204" pitchFamily="34" charset="0"/>
              <a:buChar char="•"/>
              <a:defRPr sz="1938" kern="1200">
                <a:solidFill>
                  <a:schemeClr val="tx1"/>
                </a:solidFill>
                <a:latin typeface="+mn-lt"/>
                <a:ea typeface="+mn-ea"/>
                <a:cs typeface="+mn-cs"/>
              </a:defRPr>
            </a:lvl6pPr>
            <a:lvl7pPr marL="3927234" indent="-302095" algn="l" defTabSz="1208380" rtl="0" eaLnBrk="1" latinLnBrk="0" hangingPunct="1">
              <a:spcBef>
                <a:spcPct val="20000"/>
              </a:spcBef>
              <a:buFont typeface="Arial" panose="020B0604020202020204" pitchFamily="34" charset="0"/>
              <a:buChar char="•"/>
              <a:defRPr sz="1938" kern="1200">
                <a:solidFill>
                  <a:schemeClr val="tx1"/>
                </a:solidFill>
                <a:latin typeface="+mn-lt"/>
                <a:ea typeface="+mn-ea"/>
                <a:cs typeface="+mn-cs"/>
              </a:defRPr>
            </a:lvl7pPr>
            <a:lvl8pPr marL="4531424" indent="-302095" algn="l" defTabSz="1208380" rtl="0" eaLnBrk="1" latinLnBrk="0" hangingPunct="1">
              <a:spcBef>
                <a:spcPct val="20000"/>
              </a:spcBef>
              <a:buFont typeface="Arial" panose="020B0604020202020204" pitchFamily="34" charset="0"/>
              <a:buChar char="•"/>
              <a:defRPr sz="1938" kern="1200">
                <a:solidFill>
                  <a:schemeClr val="tx1"/>
                </a:solidFill>
                <a:latin typeface="+mn-lt"/>
                <a:ea typeface="+mn-ea"/>
                <a:cs typeface="+mn-cs"/>
              </a:defRPr>
            </a:lvl8pPr>
            <a:lvl9pPr marL="5135613" indent="-302095" algn="l" defTabSz="1208380" rtl="0" eaLnBrk="1" latinLnBrk="0" hangingPunct="1">
              <a:spcBef>
                <a:spcPct val="20000"/>
              </a:spcBef>
              <a:buFont typeface="Arial" panose="020B0604020202020204" pitchFamily="34" charset="0"/>
              <a:buChar char="•"/>
              <a:defRPr sz="1938" kern="1200">
                <a:solidFill>
                  <a:schemeClr val="tx1"/>
                </a:solidFill>
                <a:latin typeface="+mn-lt"/>
                <a:ea typeface="+mn-ea"/>
                <a:cs typeface="+mn-cs"/>
              </a:defRPr>
            </a:lvl9pPr>
          </a:lstStyle>
          <a:p>
            <a:pPr marL="0" marR="0" lvl="0" indent="0" algn="l" defTabSz="1208380" rtl="0" eaLnBrk="1" fontAlgn="auto" latinLnBrk="0" hangingPunct="1">
              <a:lnSpc>
                <a:spcPct val="90000"/>
              </a:lnSpc>
              <a:spcBef>
                <a:spcPts val="600"/>
              </a:spcBef>
              <a:spcAft>
                <a:spcPts val="600"/>
              </a:spcAft>
              <a:buClrTx/>
              <a:buSzTx/>
              <a:buFontTx/>
              <a:buNone/>
              <a:tabLst/>
              <a:defRPr/>
            </a:pPr>
            <a:r>
              <a:rPr kumimoji="0" lang="en-US" sz="2856" b="0" i="0" u="none" strike="noStrike" kern="1200" cap="none" spc="0" normalizeH="0" baseline="0" noProof="0" dirty="0">
                <a:ln>
                  <a:noFill/>
                </a:ln>
                <a:solidFill>
                  <a:srgbClr val="00BCF2"/>
                </a:solidFill>
                <a:effectLst/>
                <a:uLnTx/>
                <a:uFillTx/>
                <a:latin typeface="Segoe UI Light" panose="020B0502040204020203" pitchFamily="34" charset="0"/>
                <a:cs typeface="Segoe UI Light" panose="020B0502040204020203" pitchFamily="34" charset="0"/>
              </a:rPr>
              <a:t>Scale Up (vertical)</a:t>
            </a:r>
          </a:p>
          <a:p>
            <a:pPr marL="0" marR="0" lvl="0" indent="0" algn="l" defTabSz="1208380" rtl="0" eaLnBrk="1" fontAlgn="auto" latinLnBrk="0" hangingPunct="1">
              <a:lnSpc>
                <a:spcPct val="90000"/>
              </a:lnSpc>
              <a:spcBef>
                <a:spcPts val="600"/>
              </a:spcBef>
              <a:spcAft>
                <a:spcPts val="600"/>
              </a:spcAft>
              <a:buClrTx/>
              <a:buSzTx/>
              <a:buFontTx/>
              <a:buNone/>
              <a:tabLst/>
              <a:defRPr/>
            </a:pPr>
            <a:r>
              <a:rPr kumimoji="0" lang="en-US" sz="2856" b="0" i="0" u="none" strike="noStrike" kern="1200" cap="none" spc="0" normalizeH="0" baseline="0" noProof="0" dirty="0">
                <a:ln>
                  <a:noFill/>
                </a:ln>
                <a:solidFill>
                  <a:srgbClr val="58595B"/>
                </a:solidFill>
                <a:effectLst/>
                <a:uLnTx/>
                <a:uFillTx/>
                <a:latin typeface="Segoe UI Light" panose="020B0502040204020203" pitchFamily="34" charset="0"/>
                <a:cs typeface="Segoe UI Light" panose="020B0502040204020203" pitchFamily="34" charset="0"/>
              </a:rPr>
              <a:t>Small to Large Instance Sizes</a:t>
            </a:r>
          </a:p>
          <a:p>
            <a:pPr marL="0" marR="0" lvl="0" indent="0" algn="l" defTabSz="1208380" rtl="0" eaLnBrk="1" fontAlgn="auto" latinLnBrk="0" hangingPunct="1">
              <a:lnSpc>
                <a:spcPct val="90000"/>
              </a:lnSpc>
              <a:spcBef>
                <a:spcPts val="600"/>
              </a:spcBef>
              <a:spcAft>
                <a:spcPts val="600"/>
              </a:spcAft>
              <a:buClrTx/>
              <a:buSzTx/>
              <a:buFontTx/>
              <a:buNone/>
              <a:tabLst/>
              <a:defRPr/>
            </a:pPr>
            <a:r>
              <a:rPr lang="en-US" sz="2400" dirty="0">
                <a:latin typeface="Segoe UI Light" panose="020B0502040204020203" pitchFamily="34" charset="0"/>
                <a:cs typeface="Segoe UI Light" panose="020B0502040204020203" pitchFamily="34" charset="0"/>
              </a:rPr>
              <a:t>*) max 8 cores/14GB P4 Plan, 250GB storage </a:t>
            </a:r>
          </a:p>
          <a:p>
            <a:pPr marL="0" lvl="0" indent="0">
              <a:defRPr/>
            </a:pPr>
            <a:r>
              <a:rPr kumimoji="0" lang="en-US" sz="2400" b="0" i="0" u="none" strike="noStrike" kern="1200" cap="none" spc="0" normalizeH="0" baseline="0" noProof="0" dirty="0">
                <a:ln>
                  <a:noFill/>
                </a:ln>
                <a:solidFill>
                  <a:srgbClr val="58595B"/>
                </a:solidFill>
                <a:effectLst/>
                <a:uLnTx/>
                <a:uFillTx/>
                <a:latin typeface="Segoe UI Light" panose="020B0502040204020203" pitchFamily="34" charset="0"/>
                <a:cs typeface="Segoe UI Light" panose="020B0502040204020203" pitchFamily="34" charset="0"/>
              </a:rPr>
              <a:t>New Isolated</a:t>
            </a:r>
            <a:r>
              <a:rPr kumimoji="0" lang="en-US" sz="2400" b="0" i="0" u="none" strike="noStrike" kern="1200" cap="none" spc="0" normalizeH="0" noProof="0" dirty="0">
                <a:ln>
                  <a:noFill/>
                </a:ln>
                <a:solidFill>
                  <a:srgbClr val="58595B"/>
                </a:solidFill>
                <a:effectLst/>
                <a:uLnTx/>
                <a:uFillTx/>
                <a:latin typeface="Segoe UI Light" panose="020B0502040204020203" pitchFamily="34" charset="0"/>
                <a:cs typeface="Segoe UI Light" panose="020B0502040204020203" pitchFamily="34" charset="0"/>
              </a:rPr>
              <a:t> Plan: </a:t>
            </a:r>
            <a:r>
              <a:rPr lang="en-US" dirty="0"/>
              <a:t> </a:t>
            </a:r>
            <a:r>
              <a:rPr lang="en-US" sz="2400" dirty="0">
                <a:latin typeface="Segoe UI Light" panose="020B0502040204020203" pitchFamily="34" charset="0"/>
                <a:cs typeface="Segoe UI Light" panose="020B0502040204020203" pitchFamily="34" charset="0"/>
              </a:rPr>
              <a:t>Dv2-series VMs</a:t>
            </a:r>
          </a:p>
        </p:txBody>
      </p:sp>
      <p:sp>
        <p:nvSpPr>
          <p:cNvPr id="16" name="Content Placeholder 4"/>
          <p:cNvSpPr txBox="1">
            <a:spLocks/>
          </p:cNvSpPr>
          <p:nvPr/>
        </p:nvSpPr>
        <p:spPr>
          <a:xfrm>
            <a:off x="6307323" y="1398836"/>
            <a:ext cx="5854513" cy="2758508"/>
          </a:xfrm>
          <a:prstGeom prst="rect">
            <a:avLst/>
          </a:prstGeom>
        </p:spPr>
        <p:txBody>
          <a:bodyPr vert="horz" lIns="120838" tIns="60419" rIns="120838" bIns="60419" rtlCol="0">
            <a:normAutofit fontScale="92500" lnSpcReduction="10000"/>
          </a:bodyPr>
          <a:lstStyle>
            <a:lvl1pPr marL="354822" indent="-354822" algn="l" defTabSz="1208380" rtl="0" eaLnBrk="1" latinLnBrk="0" hangingPunct="1">
              <a:lnSpc>
                <a:spcPct val="90000"/>
              </a:lnSpc>
              <a:spcBef>
                <a:spcPts val="600"/>
              </a:spcBef>
              <a:spcAft>
                <a:spcPts val="600"/>
              </a:spcAft>
              <a:buFontTx/>
              <a:buNone/>
              <a:defRPr sz="2856" kern="1200">
                <a:solidFill>
                  <a:srgbClr val="58595B"/>
                </a:solidFill>
                <a:latin typeface="Segoe UI" panose="020B0502040204020203" pitchFamily="34" charset="0"/>
                <a:ea typeface="Segoe UI" panose="020B0502040204020203" pitchFamily="34" charset="0"/>
                <a:cs typeface="Segoe UI" panose="020B0502040204020203" pitchFamily="34" charset="0"/>
              </a:defRPr>
            </a:lvl1pPr>
            <a:lvl2pPr marL="686709" indent="-346727" algn="l" defTabSz="1208380" rtl="0" eaLnBrk="1" latinLnBrk="0" hangingPunct="1">
              <a:lnSpc>
                <a:spcPct val="90000"/>
              </a:lnSpc>
              <a:spcBef>
                <a:spcPts val="600"/>
              </a:spcBef>
              <a:spcAft>
                <a:spcPts val="600"/>
              </a:spcAft>
              <a:buFontTx/>
              <a:buNone/>
              <a:defRPr sz="2448" kern="1200">
                <a:solidFill>
                  <a:srgbClr val="58595B"/>
                </a:solidFill>
                <a:latin typeface="Segoe UI" panose="020B0502040204020203" pitchFamily="34" charset="0"/>
                <a:ea typeface="Segoe UI" panose="020B0502040204020203" pitchFamily="34" charset="0"/>
                <a:cs typeface="Segoe UI" panose="020B0502040204020203" pitchFamily="34" charset="0"/>
              </a:defRPr>
            </a:lvl2pPr>
            <a:lvl3pPr marL="980819" indent="-308951" algn="l" defTabSz="1208380" rtl="0" eaLnBrk="1" latinLnBrk="0" hangingPunct="1">
              <a:lnSpc>
                <a:spcPct val="90000"/>
              </a:lnSpc>
              <a:spcBef>
                <a:spcPts val="600"/>
              </a:spcBef>
              <a:spcAft>
                <a:spcPts val="600"/>
              </a:spcAft>
              <a:buFontTx/>
              <a:buNone/>
              <a:defRPr sz="2040" kern="1200">
                <a:solidFill>
                  <a:srgbClr val="58595B"/>
                </a:solidFill>
                <a:latin typeface="Segoe UI" panose="020B0502040204020203" pitchFamily="34" charset="0"/>
                <a:ea typeface="Segoe UI" panose="020B0502040204020203" pitchFamily="34" charset="0"/>
                <a:cs typeface="Segoe UI" panose="020B0502040204020203" pitchFamily="34" charset="0"/>
              </a:defRPr>
            </a:lvl3pPr>
            <a:lvl4pPr marL="1251995" indent="-271176" algn="l" defTabSz="1208380" rtl="0" eaLnBrk="1" latinLnBrk="0" hangingPunct="1">
              <a:lnSpc>
                <a:spcPct val="90000"/>
              </a:lnSpc>
              <a:spcBef>
                <a:spcPts val="600"/>
              </a:spcBef>
              <a:spcAft>
                <a:spcPts val="600"/>
              </a:spcAft>
              <a:buFontTx/>
              <a:buNone/>
              <a:defRPr sz="1938" kern="1200">
                <a:solidFill>
                  <a:srgbClr val="58595B"/>
                </a:solidFill>
                <a:latin typeface="Segoe UI" panose="020B0502040204020203" pitchFamily="34" charset="0"/>
                <a:ea typeface="Segoe UI" panose="020B0502040204020203" pitchFamily="34" charset="0"/>
                <a:cs typeface="Segoe UI" panose="020B0502040204020203" pitchFamily="34" charset="0"/>
              </a:defRPr>
            </a:lvl4pPr>
            <a:lvl5pPr marL="1546106" indent="-279270" algn="l" defTabSz="1208380" rtl="0" eaLnBrk="1" latinLnBrk="0" hangingPunct="1">
              <a:lnSpc>
                <a:spcPct val="90000"/>
              </a:lnSpc>
              <a:spcBef>
                <a:spcPts val="600"/>
              </a:spcBef>
              <a:spcAft>
                <a:spcPts val="600"/>
              </a:spcAft>
              <a:buFontTx/>
              <a:buNone/>
              <a:defRPr sz="1938" kern="1200">
                <a:solidFill>
                  <a:srgbClr val="58595B"/>
                </a:solidFill>
                <a:latin typeface="Segoe UI" panose="020B0502040204020203" pitchFamily="34" charset="0"/>
                <a:ea typeface="Segoe UI" panose="020B0502040204020203" pitchFamily="34" charset="0"/>
                <a:cs typeface="Segoe UI" panose="020B0502040204020203" pitchFamily="34" charset="0"/>
              </a:defRPr>
            </a:lvl5pPr>
            <a:lvl6pPr marL="3323044" indent="-302095" algn="l" defTabSz="1208380" rtl="0" eaLnBrk="1" latinLnBrk="0" hangingPunct="1">
              <a:spcBef>
                <a:spcPct val="20000"/>
              </a:spcBef>
              <a:buFont typeface="Arial" panose="020B0604020202020204" pitchFamily="34" charset="0"/>
              <a:buChar char="•"/>
              <a:defRPr sz="1938" kern="1200">
                <a:solidFill>
                  <a:schemeClr val="tx1"/>
                </a:solidFill>
                <a:latin typeface="+mn-lt"/>
                <a:ea typeface="+mn-ea"/>
                <a:cs typeface="+mn-cs"/>
              </a:defRPr>
            </a:lvl6pPr>
            <a:lvl7pPr marL="3927234" indent="-302095" algn="l" defTabSz="1208380" rtl="0" eaLnBrk="1" latinLnBrk="0" hangingPunct="1">
              <a:spcBef>
                <a:spcPct val="20000"/>
              </a:spcBef>
              <a:buFont typeface="Arial" panose="020B0604020202020204" pitchFamily="34" charset="0"/>
              <a:buChar char="•"/>
              <a:defRPr sz="1938" kern="1200">
                <a:solidFill>
                  <a:schemeClr val="tx1"/>
                </a:solidFill>
                <a:latin typeface="+mn-lt"/>
                <a:ea typeface="+mn-ea"/>
                <a:cs typeface="+mn-cs"/>
              </a:defRPr>
            </a:lvl7pPr>
            <a:lvl8pPr marL="4531424" indent="-302095" algn="l" defTabSz="1208380" rtl="0" eaLnBrk="1" latinLnBrk="0" hangingPunct="1">
              <a:spcBef>
                <a:spcPct val="20000"/>
              </a:spcBef>
              <a:buFont typeface="Arial" panose="020B0604020202020204" pitchFamily="34" charset="0"/>
              <a:buChar char="•"/>
              <a:defRPr sz="1938" kern="1200">
                <a:solidFill>
                  <a:schemeClr val="tx1"/>
                </a:solidFill>
                <a:latin typeface="+mn-lt"/>
                <a:ea typeface="+mn-ea"/>
                <a:cs typeface="+mn-cs"/>
              </a:defRPr>
            </a:lvl8pPr>
            <a:lvl9pPr marL="5135613" indent="-302095" algn="l" defTabSz="1208380" rtl="0" eaLnBrk="1" latinLnBrk="0" hangingPunct="1">
              <a:spcBef>
                <a:spcPct val="20000"/>
              </a:spcBef>
              <a:buFont typeface="Arial" panose="020B0604020202020204" pitchFamily="34" charset="0"/>
              <a:buChar char="•"/>
              <a:defRPr sz="1938" kern="1200">
                <a:solidFill>
                  <a:schemeClr val="tx1"/>
                </a:solidFill>
                <a:latin typeface="+mn-lt"/>
                <a:ea typeface="+mn-ea"/>
                <a:cs typeface="+mn-cs"/>
              </a:defRPr>
            </a:lvl9pPr>
          </a:lstStyle>
          <a:p>
            <a:pPr marL="0" marR="0" lvl="0" indent="0" algn="l" defTabSz="1208380" rtl="0" eaLnBrk="1" fontAlgn="auto" latinLnBrk="0" hangingPunct="1">
              <a:lnSpc>
                <a:spcPct val="90000"/>
              </a:lnSpc>
              <a:spcBef>
                <a:spcPts val="600"/>
              </a:spcBef>
              <a:spcAft>
                <a:spcPts val="600"/>
              </a:spcAft>
              <a:buClrTx/>
              <a:buSzTx/>
              <a:buFontTx/>
              <a:buNone/>
              <a:tabLst/>
              <a:defRPr/>
            </a:pPr>
            <a:r>
              <a:rPr kumimoji="0" lang="en-US" sz="2856" b="0" i="0" u="none" strike="noStrike" kern="1200" cap="none" spc="0" normalizeH="0" baseline="0" noProof="0" dirty="0">
                <a:ln>
                  <a:noFill/>
                </a:ln>
                <a:solidFill>
                  <a:srgbClr val="00BCF2"/>
                </a:solidFill>
                <a:effectLst/>
                <a:uLnTx/>
                <a:uFillTx/>
                <a:latin typeface="Segoe UI Light" panose="020B0502040204020203" pitchFamily="34" charset="0"/>
                <a:cs typeface="Segoe UI Light" panose="020B0502040204020203" pitchFamily="34" charset="0"/>
              </a:rPr>
              <a:t>Scale Out (horizontal)</a:t>
            </a:r>
          </a:p>
          <a:p>
            <a:pPr marL="354822" marR="0" lvl="0" indent="-354822" algn="l" defTabSz="1208380" rtl="0" eaLnBrk="1" fontAlgn="auto" latinLnBrk="0" hangingPunct="1">
              <a:lnSpc>
                <a:spcPct val="90000"/>
              </a:lnSpc>
              <a:spcBef>
                <a:spcPts val="600"/>
              </a:spcBef>
              <a:spcAft>
                <a:spcPts val="600"/>
              </a:spcAft>
              <a:buClrTx/>
              <a:buSzTx/>
              <a:buFontTx/>
              <a:buNone/>
              <a:tabLst/>
              <a:defRPr/>
            </a:pPr>
            <a:r>
              <a:rPr kumimoji="0" lang="en-US" sz="2856" b="0" i="0" u="none" strike="noStrike" kern="1200" cap="none" spc="0" normalizeH="0" baseline="0" noProof="0" dirty="0">
                <a:ln>
                  <a:noFill/>
                </a:ln>
                <a:solidFill>
                  <a:srgbClr val="58595B"/>
                </a:solidFill>
                <a:effectLst/>
                <a:uLnTx/>
                <a:uFillTx/>
                <a:latin typeface="Segoe UI Light" panose="020B0502040204020203" pitchFamily="34" charset="0"/>
                <a:cs typeface="Segoe UI Light" panose="020B0502040204020203" pitchFamily="34" charset="0"/>
              </a:rPr>
              <a:t>Add Additional Instances</a:t>
            </a:r>
          </a:p>
          <a:p>
            <a:pPr marL="354822" marR="0" lvl="0" indent="-354822" algn="l" defTabSz="1208380" rtl="0" eaLnBrk="1" fontAlgn="auto" latinLnBrk="0" hangingPunct="1">
              <a:lnSpc>
                <a:spcPct val="90000"/>
              </a:lnSpc>
              <a:spcBef>
                <a:spcPts val="600"/>
              </a:spcBef>
              <a:spcAft>
                <a:spcPts val="600"/>
              </a:spcAft>
              <a:buClrTx/>
              <a:buSzTx/>
              <a:buFontTx/>
              <a:buNone/>
              <a:tabLst/>
              <a:defRPr/>
            </a:pPr>
            <a:r>
              <a:rPr kumimoji="0" lang="en-US" sz="2000" b="0" i="0" u="none" strike="noStrike" kern="1200" cap="none" spc="0" normalizeH="0" baseline="0" noProof="0" dirty="0">
                <a:ln>
                  <a:noFill/>
                </a:ln>
                <a:solidFill>
                  <a:srgbClr val="58595B"/>
                </a:solidFill>
                <a:effectLst/>
                <a:uLnTx/>
                <a:uFillTx/>
                <a:latin typeface="Segoe UI Light" panose="020B0502040204020203" pitchFamily="34" charset="0"/>
                <a:cs typeface="Segoe UI Light" panose="020B0502040204020203" pitchFamily="34" charset="0"/>
              </a:rPr>
              <a:t>Basic Plan: Up to 3 Dedicated Instances</a:t>
            </a:r>
          </a:p>
          <a:p>
            <a:pPr marL="354822" marR="0" lvl="0" indent="-354822" algn="l" defTabSz="1208380" rtl="0" eaLnBrk="1" fontAlgn="auto" latinLnBrk="0" hangingPunct="1">
              <a:lnSpc>
                <a:spcPct val="90000"/>
              </a:lnSpc>
              <a:spcBef>
                <a:spcPts val="600"/>
              </a:spcBef>
              <a:spcAft>
                <a:spcPts val="600"/>
              </a:spcAft>
              <a:buClrTx/>
              <a:buSzTx/>
              <a:buFontTx/>
              <a:buNone/>
              <a:tabLst/>
              <a:defRPr/>
            </a:pPr>
            <a:r>
              <a:rPr kumimoji="0" lang="en-US" sz="2000" b="0" i="0" u="none" strike="noStrike" kern="1200" cap="none" spc="0" normalizeH="0" baseline="0" noProof="0" dirty="0">
                <a:ln>
                  <a:noFill/>
                </a:ln>
                <a:solidFill>
                  <a:srgbClr val="58595B"/>
                </a:solidFill>
                <a:effectLst/>
                <a:uLnTx/>
                <a:uFillTx/>
                <a:latin typeface="Segoe UI Light" panose="020B0502040204020203" pitchFamily="34" charset="0"/>
                <a:cs typeface="Segoe UI Light" panose="020B0502040204020203" pitchFamily="34" charset="0"/>
              </a:rPr>
              <a:t>Standard Plan: Up to 10 Dedicated Instances</a:t>
            </a:r>
          </a:p>
          <a:p>
            <a:pPr lvl="0">
              <a:defRPr/>
            </a:pPr>
            <a:r>
              <a:rPr lang="en-US" sz="2000" dirty="0">
                <a:latin typeface="Segoe UI Light" panose="020B0502040204020203" pitchFamily="34" charset="0"/>
                <a:cs typeface="Segoe UI Light" panose="020B0502040204020203" pitchFamily="34" charset="0"/>
              </a:rPr>
              <a:t>Premium Plan: Up to 20 or 50 (ASE) Dedicated Instances</a:t>
            </a:r>
          </a:p>
          <a:p>
            <a:pPr lvl="0">
              <a:defRPr/>
            </a:pPr>
            <a:r>
              <a:rPr lang="en-US" sz="2000" dirty="0">
                <a:latin typeface="Segoe UI Light" panose="020B0502040204020203" pitchFamily="34" charset="0"/>
                <a:cs typeface="Segoe UI Light" panose="020B0502040204020203" pitchFamily="34" charset="0"/>
              </a:rPr>
              <a:t>Isolated Plan: Up to 100 Dedicated Instances</a:t>
            </a:r>
          </a:p>
          <a:p>
            <a:pPr marL="354822" marR="0" lvl="0" indent="-354822" algn="l" defTabSz="1208380" rtl="0" eaLnBrk="1" fontAlgn="auto" latinLnBrk="0" hangingPunct="1">
              <a:lnSpc>
                <a:spcPct val="90000"/>
              </a:lnSpc>
              <a:spcBef>
                <a:spcPts val="600"/>
              </a:spcBef>
              <a:spcAft>
                <a:spcPts val="600"/>
              </a:spcAft>
              <a:buClrTx/>
              <a:buSzTx/>
              <a:buFontTx/>
              <a:buNone/>
              <a:tabLst/>
              <a:defRPr/>
            </a:pPr>
            <a:endParaRPr kumimoji="0" lang="en-US" sz="2856" b="0" i="0" u="none" strike="noStrike" kern="1200" cap="none" spc="0" normalizeH="0" baseline="0" noProof="0" dirty="0">
              <a:ln>
                <a:noFill/>
              </a:ln>
              <a:solidFill>
                <a:srgbClr val="58595B"/>
              </a:solidFill>
              <a:effectLst/>
              <a:uLnTx/>
              <a:uFillTx/>
              <a:latin typeface="Segoe UI Light" panose="020B0502040204020203" pitchFamily="34" charset="0"/>
              <a:cs typeface="Segoe UI Light" panose="020B0502040204020203" pitchFamily="34" charset="0"/>
            </a:endParaRPr>
          </a:p>
        </p:txBody>
      </p:sp>
      <p:sp>
        <p:nvSpPr>
          <p:cNvPr id="17" name="Rectangle 16"/>
          <p:cNvSpPr/>
          <p:nvPr/>
        </p:nvSpPr>
        <p:spPr>
          <a:xfrm>
            <a:off x="5618607" y="6417175"/>
            <a:ext cx="6543229" cy="369332"/>
          </a:xfrm>
          <a:prstGeom prst="rect">
            <a:avLst/>
          </a:prstGeom>
        </p:spPr>
        <p:txBody>
          <a:bodyPr wrap="square">
            <a:spAutoFit/>
          </a:bodyPr>
          <a:lstStyle/>
          <a:p>
            <a:r>
              <a:rPr lang="en-US" dirty="0"/>
              <a:t>https://azure.microsoft.com/en-in/pricing/details/app-service/</a:t>
            </a:r>
          </a:p>
        </p:txBody>
      </p:sp>
    </p:spTree>
    <p:extLst>
      <p:ext uri="{BB962C8B-B14F-4D97-AF65-F5344CB8AC3E}">
        <p14:creationId xmlns:p14="http://schemas.microsoft.com/office/powerpoint/2010/main" val="296131134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2"/>
                                        </p:tgtEl>
                                        <p:attrNameLst>
                                          <p:attrName>style.visibility</p:attrName>
                                        </p:attrNameLst>
                                      </p:cBhvr>
                                      <p:to>
                                        <p:strVal val="visible"/>
                                      </p:to>
                                    </p:set>
                                    <p:animEffect transition="in" filter="fade">
                                      <p:cBhvr>
                                        <p:cTn id="10" dur="500"/>
                                        <p:tgtEl>
                                          <p:spTgt spid="12"/>
                                        </p:tgtEl>
                                      </p:cBhvr>
                                    </p:animEffect>
                                  </p:childTnLst>
                                </p:cTn>
                              </p:par>
                            </p:childTnLst>
                          </p:cTn>
                        </p:par>
                      </p:childTnLst>
                    </p:cTn>
                  </p:par>
                  <p:par>
                    <p:cTn id="11" fill="hold">
                      <p:stCondLst>
                        <p:cond delay="indefinite"/>
                      </p:stCondLst>
                      <p:childTnLst>
                        <p:par>
                          <p:cTn id="12" fill="hold">
                            <p:stCondLst>
                              <p:cond delay="0"/>
                            </p:stCondLst>
                            <p:childTnLst>
                              <p:par>
                                <p:cTn id="13" presetID="31" presetClass="entr" presetSubtype="0" fill="hold" grpId="0" nodeType="clickEffect">
                                  <p:stCondLst>
                                    <p:cond delay="0"/>
                                  </p:stCondLst>
                                  <p:childTnLst>
                                    <p:set>
                                      <p:cBhvr>
                                        <p:cTn id="14" dur="1" fill="hold">
                                          <p:stCondLst>
                                            <p:cond delay="0"/>
                                          </p:stCondLst>
                                        </p:cTn>
                                        <p:tgtEl>
                                          <p:spTgt spid="5"/>
                                        </p:tgtEl>
                                        <p:attrNameLst>
                                          <p:attrName>style.visibility</p:attrName>
                                        </p:attrNameLst>
                                      </p:cBhvr>
                                      <p:to>
                                        <p:strVal val="visible"/>
                                      </p:to>
                                    </p:set>
                                    <p:anim calcmode="lin" valueType="num">
                                      <p:cBhvr>
                                        <p:cTn id="15" dur="1000" fill="hold"/>
                                        <p:tgtEl>
                                          <p:spTgt spid="5"/>
                                        </p:tgtEl>
                                        <p:attrNameLst>
                                          <p:attrName>ppt_w</p:attrName>
                                        </p:attrNameLst>
                                      </p:cBhvr>
                                      <p:tavLst>
                                        <p:tav tm="0">
                                          <p:val>
                                            <p:fltVal val="0"/>
                                          </p:val>
                                        </p:tav>
                                        <p:tav tm="100000">
                                          <p:val>
                                            <p:strVal val="#ppt_w"/>
                                          </p:val>
                                        </p:tav>
                                      </p:tavLst>
                                    </p:anim>
                                    <p:anim calcmode="lin" valueType="num">
                                      <p:cBhvr>
                                        <p:cTn id="16" dur="1000" fill="hold"/>
                                        <p:tgtEl>
                                          <p:spTgt spid="5"/>
                                        </p:tgtEl>
                                        <p:attrNameLst>
                                          <p:attrName>ppt_h</p:attrName>
                                        </p:attrNameLst>
                                      </p:cBhvr>
                                      <p:tavLst>
                                        <p:tav tm="0">
                                          <p:val>
                                            <p:fltVal val="0"/>
                                          </p:val>
                                        </p:tav>
                                        <p:tav tm="100000">
                                          <p:val>
                                            <p:strVal val="#ppt_h"/>
                                          </p:val>
                                        </p:tav>
                                      </p:tavLst>
                                    </p:anim>
                                    <p:anim calcmode="lin" valueType="num">
                                      <p:cBhvr>
                                        <p:cTn id="17" dur="1000" fill="hold"/>
                                        <p:tgtEl>
                                          <p:spTgt spid="5"/>
                                        </p:tgtEl>
                                        <p:attrNameLst>
                                          <p:attrName>style.rotation</p:attrName>
                                        </p:attrNameLst>
                                      </p:cBhvr>
                                      <p:tavLst>
                                        <p:tav tm="0">
                                          <p:val>
                                            <p:fltVal val="90"/>
                                          </p:val>
                                        </p:tav>
                                        <p:tav tm="100000">
                                          <p:val>
                                            <p:fltVal val="0"/>
                                          </p:val>
                                        </p:tav>
                                      </p:tavLst>
                                    </p:anim>
                                    <p:animEffect transition="in" filter="fade">
                                      <p:cBhvr>
                                        <p:cTn id="18" dur="1000"/>
                                        <p:tgtEl>
                                          <p:spTgt spid="5"/>
                                        </p:tgtEl>
                                      </p:cBhvr>
                                    </p:animEffect>
                                  </p:childTnLst>
                                </p:cTn>
                              </p:par>
                              <p:par>
                                <p:cTn id="19" presetID="10" presetClass="exit" presetSubtype="0" fill="hold" grpId="1" nodeType="withEffect">
                                  <p:stCondLst>
                                    <p:cond delay="0"/>
                                  </p:stCondLst>
                                  <p:childTnLst>
                                    <p:animEffect transition="out" filter="fade">
                                      <p:cBhvr>
                                        <p:cTn id="20" dur="500"/>
                                        <p:tgtEl>
                                          <p:spTgt spid="6"/>
                                        </p:tgtEl>
                                      </p:cBhvr>
                                    </p:animEffect>
                                    <p:set>
                                      <p:cBhvr>
                                        <p:cTn id="21" dur="1" fill="hold">
                                          <p:stCondLst>
                                            <p:cond delay="499"/>
                                          </p:stCondLst>
                                        </p:cTn>
                                        <p:tgtEl>
                                          <p:spTgt spid="6"/>
                                        </p:tgtEl>
                                        <p:attrNameLst>
                                          <p:attrName>style.visibility</p:attrName>
                                        </p:attrNameLst>
                                      </p:cBhvr>
                                      <p:to>
                                        <p:strVal val="hidden"/>
                                      </p:to>
                                    </p:set>
                                  </p:childTnLst>
                                </p:cTn>
                              </p:par>
                              <p:par>
                                <p:cTn id="22" presetID="10" presetClass="exit" presetSubtype="0" fill="hold" grpId="1" nodeType="withEffect">
                                  <p:stCondLst>
                                    <p:cond delay="0"/>
                                  </p:stCondLst>
                                  <p:childTnLst>
                                    <p:animEffect transition="out" filter="fade">
                                      <p:cBhvr>
                                        <p:cTn id="23" dur="500"/>
                                        <p:tgtEl>
                                          <p:spTgt spid="12"/>
                                        </p:tgtEl>
                                      </p:cBhvr>
                                    </p:animEffect>
                                    <p:set>
                                      <p:cBhvr>
                                        <p:cTn id="24" dur="1" fill="hold">
                                          <p:stCondLst>
                                            <p:cond delay="499"/>
                                          </p:stCondLst>
                                        </p:cTn>
                                        <p:tgtEl>
                                          <p:spTgt spid="12"/>
                                        </p:tgtEl>
                                        <p:attrNameLst>
                                          <p:attrName>style.visibility</p:attrName>
                                        </p:attrNameLst>
                                      </p:cBhvr>
                                      <p:to>
                                        <p:strVal val="hidden"/>
                                      </p:to>
                                    </p:set>
                                  </p:childTnLst>
                                </p:cTn>
                              </p:par>
                              <p:par>
                                <p:cTn id="25" presetID="10" presetClass="entr" presetSubtype="0" fill="hold" grpId="0" nodeType="withEffect">
                                  <p:stCondLst>
                                    <p:cond delay="0"/>
                                  </p:stCondLst>
                                  <p:childTnLst>
                                    <p:set>
                                      <p:cBhvr>
                                        <p:cTn id="26" dur="1" fill="hold">
                                          <p:stCondLst>
                                            <p:cond delay="0"/>
                                          </p:stCondLst>
                                        </p:cTn>
                                        <p:tgtEl>
                                          <p:spTgt spid="13"/>
                                        </p:tgtEl>
                                        <p:attrNameLst>
                                          <p:attrName>style.visibility</p:attrName>
                                        </p:attrNameLst>
                                      </p:cBhvr>
                                      <p:to>
                                        <p:strVal val="visible"/>
                                      </p:to>
                                    </p:set>
                                    <p:animEffect transition="in" filter="fade">
                                      <p:cBhvr>
                                        <p:cTn id="27" dur="500"/>
                                        <p:tgtEl>
                                          <p:spTgt spid="13"/>
                                        </p:tgtEl>
                                      </p:cBhvr>
                                    </p:animEffect>
                                  </p:childTnLst>
                                </p:cTn>
                              </p:par>
                            </p:childTnLst>
                          </p:cTn>
                        </p:par>
                      </p:childTnLst>
                    </p:cTn>
                  </p:par>
                  <p:par>
                    <p:cTn id="28" fill="hold">
                      <p:stCondLst>
                        <p:cond delay="indefinite"/>
                      </p:stCondLst>
                      <p:childTnLst>
                        <p:par>
                          <p:cTn id="29" fill="hold">
                            <p:stCondLst>
                              <p:cond delay="0"/>
                            </p:stCondLst>
                            <p:childTnLst>
                              <p:par>
                                <p:cTn id="30" presetID="31" presetClass="entr" presetSubtype="0" fill="hold" grpId="0" nodeType="clickEffect">
                                  <p:stCondLst>
                                    <p:cond delay="0"/>
                                  </p:stCondLst>
                                  <p:childTnLst>
                                    <p:set>
                                      <p:cBhvr>
                                        <p:cTn id="31" dur="1" fill="hold">
                                          <p:stCondLst>
                                            <p:cond delay="0"/>
                                          </p:stCondLst>
                                        </p:cTn>
                                        <p:tgtEl>
                                          <p:spTgt spid="7"/>
                                        </p:tgtEl>
                                        <p:attrNameLst>
                                          <p:attrName>style.visibility</p:attrName>
                                        </p:attrNameLst>
                                      </p:cBhvr>
                                      <p:to>
                                        <p:strVal val="visible"/>
                                      </p:to>
                                    </p:set>
                                    <p:anim calcmode="lin" valueType="num">
                                      <p:cBhvr>
                                        <p:cTn id="32" dur="1000" fill="hold"/>
                                        <p:tgtEl>
                                          <p:spTgt spid="7"/>
                                        </p:tgtEl>
                                        <p:attrNameLst>
                                          <p:attrName>ppt_w</p:attrName>
                                        </p:attrNameLst>
                                      </p:cBhvr>
                                      <p:tavLst>
                                        <p:tav tm="0">
                                          <p:val>
                                            <p:fltVal val="0"/>
                                          </p:val>
                                        </p:tav>
                                        <p:tav tm="100000">
                                          <p:val>
                                            <p:strVal val="#ppt_w"/>
                                          </p:val>
                                        </p:tav>
                                      </p:tavLst>
                                    </p:anim>
                                    <p:anim calcmode="lin" valueType="num">
                                      <p:cBhvr>
                                        <p:cTn id="33" dur="1000" fill="hold"/>
                                        <p:tgtEl>
                                          <p:spTgt spid="7"/>
                                        </p:tgtEl>
                                        <p:attrNameLst>
                                          <p:attrName>ppt_h</p:attrName>
                                        </p:attrNameLst>
                                      </p:cBhvr>
                                      <p:tavLst>
                                        <p:tav tm="0">
                                          <p:val>
                                            <p:fltVal val="0"/>
                                          </p:val>
                                        </p:tav>
                                        <p:tav tm="100000">
                                          <p:val>
                                            <p:strVal val="#ppt_h"/>
                                          </p:val>
                                        </p:tav>
                                      </p:tavLst>
                                    </p:anim>
                                    <p:anim calcmode="lin" valueType="num">
                                      <p:cBhvr>
                                        <p:cTn id="34" dur="1000" fill="hold"/>
                                        <p:tgtEl>
                                          <p:spTgt spid="7"/>
                                        </p:tgtEl>
                                        <p:attrNameLst>
                                          <p:attrName>style.rotation</p:attrName>
                                        </p:attrNameLst>
                                      </p:cBhvr>
                                      <p:tavLst>
                                        <p:tav tm="0">
                                          <p:val>
                                            <p:fltVal val="90"/>
                                          </p:val>
                                        </p:tav>
                                        <p:tav tm="100000">
                                          <p:val>
                                            <p:fltVal val="0"/>
                                          </p:val>
                                        </p:tav>
                                      </p:tavLst>
                                    </p:anim>
                                    <p:animEffect transition="in" filter="fade">
                                      <p:cBhvr>
                                        <p:cTn id="35" dur="1000"/>
                                        <p:tgtEl>
                                          <p:spTgt spid="7"/>
                                        </p:tgtEl>
                                      </p:cBhvr>
                                    </p:animEffect>
                                  </p:childTnLst>
                                </p:cTn>
                              </p:par>
                              <p:par>
                                <p:cTn id="36" presetID="10" presetClass="exit" presetSubtype="0" fill="hold" grpId="1" nodeType="withEffect">
                                  <p:stCondLst>
                                    <p:cond delay="0"/>
                                  </p:stCondLst>
                                  <p:childTnLst>
                                    <p:animEffect transition="out" filter="fade">
                                      <p:cBhvr>
                                        <p:cTn id="37" dur="500"/>
                                        <p:tgtEl>
                                          <p:spTgt spid="5"/>
                                        </p:tgtEl>
                                      </p:cBhvr>
                                    </p:animEffect>
                                    <p:set>
                                      <p:cBhvr>
                                        <p:cTn id="38" dur="1" fill="hold">
                                          <p:stCondLst>
                                            <p:cond delay="499"/>
                                          </p:stCondLst>
                                        </p:cTn>
                                        <p:tgtEl>
                                          <p:spTgt spid="5"/>
                                        </p:tgtEl>
                                        <p:attrNameLst>
                                          <p:attrName>style.visibility</p:attrName>
                                        </p:attrNameLst>
                                      </p:cBhvr>
                                      <p:to>
                                        <p:strVal val="hidden"/>
                                      </p:to>
                                    </p:set>
                                  </p:childTnLst>
                                </p:cTn>
                              </p:par>
                              <p:par>
                                <p:cTn id="39" presetID="10" presetClass="exit" presetSubtype="0" fill="hold" grpId="1" nodeType="withEffect">
                                  <p:stCondLst>
                                    <p:cond delay="0"/>
                                  </p:stCondLst>
                                  <p:childTnLst>
                                    <p:animEffect transition="out" filter="fade">
                                      <p:cBhvr>
                                        <p:cTn id="40" dur="500"/>
                                        <p:tgtEl>
                                          <p:spTgt spid="13"/>
                                        </p:tgtEl>
                                      </p:cBhvr>
                                    </p:animEffect>
                                    <p:set>
                                      <p:cBhvr>
                                        <p:cTn id="41" dur="1" fill="hold">
                                          <p:stCondLst>
                                            <p:cond delay="499"/>
                                          </p:stCondLst>
                                        </p:cTn>
                                        <p:tgtEl>
                                          <p:spTgt spid="13"/>
                                        </p:tgtEl>
                                        <p:attrNameLst>
                                          <p:attrName>style.visibility</p:attrName>
                                        </p:attrNameLst>
                                      </p:cBhvr>
                                      <p:to>
                                        <p:strVal val="hidden"/>
                                      </p:to>
                                    </p:set>
                                  </p:childTnLst>
                                </p:cTn>
                              </p:par>
                              <p:par>
                                <p:cTn id="42" presetID="10" presetClass="entr" presetSubtype="0" fill="hold" grpId="0" nodeType="withEffect">
                                  <p:stCondLst>
                                    <p:cond delay="0"/>
                                  </p:stCondLst>
                                  <p:childTnLst>
                                    <p:set>
                                      <p:cBhvr>
                                        <p:cTn id="43" dur="1" fill="hold">
                                          <p:stCondLst>
                                            <p:cond delay="0"/>
                                          </p:stCondLst>
                                        </p:cTn>
                                        <p:tgtEl>
                                          <p:spTgt spid="14"/>
                                        </p:tgtEl>
                                        <p:attrNameLst>
                                          <p:attrName>style.visibility</p:attrName>
                                        </p:attrNameLst>
                                      </p:cBhvr>
                                      <p:to>
                                        <p:strVal val="visible"/>
                                      </p:to>
                                    </p:set>
                                    <p:animEffect transition="in" filter="fade">
                                      <p:cBhvr>
                                        <p:cTn id="44" dur="500"/>
                                        <p:tgtEl>
                                          <p:spTgt spid="14"/>
                                        </p:tgtEl>
                                      </p:cBhvr>
                                    </p:animEffect>
                                  </p:childTnLst>
                                </p:cTn>
                              </p:par>
                            </p:childTnLst>
                          </p:cTn>
                        </p:par>
                      </p:childTnLst>
                    </p:cTn>
                  </p:par>
                  <p:par>
                    <p:cTn id="45" fill="hold">
                      <p:stCondLst>
                        <p:cond delay="indefinite"/>
                      </p:stCondLst>
                      <p:childTnLst>
                        <p:par>
                          <p:cTn id="46" fill="hold">
                            <p:stCondLst>
                              <p:cond delay="0"/>
                            </p:stCondLst>
                            <p:childTnLst>
                              <p:par>
                                <p:cTn id="47" presetID="1" presetClass="entr" presetSubtype="0" fill="hold" grpId="0" nodeType="clickEffect">
                                  <p:stCondLst>
                                    <p:cond delay="0"/>
                                  </p:stCondLst>
                                  <p:childTnLst>
                                    <p:set>
                                      <p:cBhvr>
                                        <p:cTn id="48" dur="1" fill="hold">
                                          <p:stCondLst>
                                            <p:cond delay="0"/>
                                          </p:stCondLst>
                                        </p:cTn>
                                        <p:tgtEl>
                                          <p:spTgt spid="8"/>
                                        </p:tgtEl>
                                        <p:attrNameLst>
                                          <p:attrName>style.visibility</p:attrName>
                                        </p:attrNameLst>
                                      </p:cBhvr>
                                      <p:to>
                                        <p:strVal val="visible"/>
                                      </p:to>
                                    </p:set>
                                  </p:childTnLst>
                                </p:cTn>
                              </p:par>
                              <p:par>
                                <p:cTn id="49" presetID="1" presetClass="entr" presetSubtype="0" fill="hold" grpId="0" nodeType="withEffect">
                                  <p:stCondLst>
                                    <p:cond delay="0"/>
                                  </p:stCondLst>
                                  <p:childTnLst>
                                    <p:set>
                                      <p:cBhvr>
                                        <p:cTn id="50" dur="1" fill="hold">
                                          <p:stCondLst>
                                            <p:cond delay="0"/>
                                          </p:stCondLst>
                                        </p:cTn>
                                        <p:tgtEl>
                                          <p:spTgt spid="9"/>
                                        </p:tgtEl>
                                        <p:attrNameLst>
                                          <p:attrName>style.visibility</p:attrName>
                                        </p:attrNameLst>
                                      </p:cBhvr>
                                      <p:to>
                                        <p:strVal val="visible"/>
                                      </p:to>
                                    </p:set>
                                  </p:childTnLst>
                                </p:cTn>
                              </p:par>
                            </p:childTnLst>
                          </p:cTn>
                        </p:par>
                      </p:childTnLst>
                    </p:cTn>
                  </p:par>
                  <p:par>
                    <p:cTn id="51" fill="hold">
                      <p:stCondLst>
                        <p:cond delay="indefinite"/>
                      </p:stCondLst>
                      <p:childTnLst>
                        <p:par>
                          <p:cTn id="52" fill="hold">
                            <p:stCondLst>
                              <p:cond delay="0"/>
                            </p:stCondLst>
                            <p:childTnLst>
                              <p:par>
                                <p:cTn id="53" presetID="1" presetClass="entr" presetSubtype="0" fill="hold" grpId="0" nodeType="clickEffect">
                                  <p:stCondLst>
                                    <p:cond delay="0"/>
                                  </p:stCondLst>
                                  <p:childTnLst>
                                    <p:set>
                                      <p:cBhvr>
                                        <p:cTn id="54" dur="1" fill="hold">
                                          <p:stCondLst>
                                            <p:cond delay="0"/>
                                          </p:stCondLst>
                                        </p:cTn>
                                        <p:tgtEl>
                                          <p:spTgt spid="10"/>
                                        </p:tgtEl>
                                        <p:attrNameLst>
                                          <p:attrName>style.visibility</p:attrName>
                                        </p:attrNameLst>
                                      </p:cBhvr>
                                      <p:to>
                                        <p:strVal val="visible"/>
                                      </p:to>
                                    </p:set>
                                  </p:childTnLst>
                                </p:cTn>
                              </p:par>
                              <p:par>
                                <p:cTn id="55" presetID="1" presetClass="entr" presetSubtype="0" fill="hold" grpId="0" nodeType="withEffect">
                                  <p:stCondLst>
                                    <p:cond delay="0"/>
                                  </p:stCondLst>
                                  <p:childTnLst>
                                    <p:set>
                                      <p:cBhvr>
                                        <p:cTn id="56" dur="1" fill="hold">
                                          <p:stCondLst>
                                            <p:cond delay="0"/>
                                          </p:stCondLst>
                                        </p:cTn>
                                        <p:tgtEl>
                                          <p:spTgt spid="11"/>
                                        </p:tgtEl>
                                        <p:attrNameLst>
                                          <p:attrName>style.visibility</p:attrName>
                                        </p:attrNameLst>
                                      </p:cBhvr>
                                      <p:to>
                                        <p:strVal val="visible"/>
                                      </p:to>
                                    </p:set>
                                  </p:childTnLst>
                                </p:cTn>
                              </p:par>
                            </p:childTnLst>
                          </p:cTn>
                        </p:par>
                      </p:childTnLst>
                    </p:cTn>
                  </p:par>
                  <p:par>
                    <p:cTn id="57" fill="hold">
                      <p:stCondLst>
                        <p:cond delay="indefinite"/>
                      </p:stCondLst>
                      <p:childTnLst>
                        <p:par>
                          <p:cTn id="58" fill="hold">
                            <p:stCondLst>
                              <p:cond delay="0"/>
                            </p:stCondLst>
                            <p:childTnLst>
                              <p:par>
                                <p:cTn id="59" presetID="1" presetClass="entr" presetSubtype="0" fill="hold" nodeType="clickEffect">
                                  <p:stCondLst>
                                    <p:cond delay="0"/>
                                  </p:stCondLst>
                                  <p:childTnLst>
                                    <p:set>
                                      <p:cBhvr>
                                        <p:cTn id="60" dur="1" fill="hold">
                                          <p:stCondLst>
                                            <p:cond delay="0"/>
                                          </p:stCondLst>
                                        </p:cTn>
                                        <p:tgtEl>
                                          <p:spTgt spid="15">
                                            <p:txEl>
                                              <p:pRg st="0" end="0"/>
                                            </p:txEl>
                                          </p:spTgt>
                                        </p:tgtEl>
                                        <p:attrNameLst>
                                          <p:attrName>style.visibility</p:attrName>
                                        </p:attrNameLst>
                                      </p:cBhvr>
                                      <p:to>
                                        <p:strVal val="visible"/>
                                      </p:to>
                                    </p:set>
                                  </p:childTnLst>
                                </p:cTn>
                              </p:par>
                              <p:par>
                                <p:cTn id="61" presetID="1" presetClass="entr" presetSubtype="0" fill="hold" nodeType="withEffect">
                                  <p:stCondLst>
                                    <p:cond delay="0"/>
                                  </p:stCondLst>
                                  <p:childTnLst>
                                    <p:set>
                                      <p:cBhvr>
                                        <p:cTn id="62" dur="1" fill="hold">
                                          <p:stCondLst>
                                            <p:cond delay="0"/>
                                          </p:stCondLst>
                                        </p:cTn>
                                        <p:tgtEl>
                                          <p:spTgt spid="15">
                                            <p:txEl>
                                              <p:pRg st="1" end="1"/>
                                            </p:txEl>
                                          </p:spTgt>
                                        </p:tgtEl>
                                        <p:attrNameLst>
                                          <p:attrName>style.visibility</p:attrName>
                                        </p:attrNameLst>
                                      </p:cBhvr>
                                      <p:to>
                                        <p:strVal val="visible"/>
                                      </p:to>
                                    </p:set>
                                  </p:childTnLst>
                                </p:cTn>
                              </p:par>
                              <p:par>
                                <p:cTn id="63" presetID="1" presetClass="entr" presetSubtype="0" fill="hold" nodeType="withEffect">
                                  <p:stCondLst>
                                    <p:cond delay="0"/>
                                  </p:stCondLst>
                                  <p:childTnLst>
                                    <p:set>
                                      <p:cBhvr>
                                        <p:cTn id="64" dur="1" fill="hold">
                                          <p:stCondLst>
                                            <p:cond delay="0"/>
                                          </p:stCondLst>
                                        </p:cTn>
                                        <p:tgtEl>
                                          <p:spTgt spid="15">
                                            <p:txEl>
                                              <p:pRg st="2" end="2"/>
                                            </p:txEl>
                                          </p:spTgt>
                                        </p:tgtEl>
                                        <p:attrNameLst>
                                          <p:attrName>style.visibility</p:attrName>
                                        </p:attrNameLst>
                                      </p:cBhvr>
                                      <p:to>
                                        <p:strVal val="visible"/>
                                      </p:to>
                                    </p:set>
                                  </p:childTnLst>
                                </p:cTn>
                              </p:par>
                              <p:par>
                                <p:cTn id="65" presetID="1" presetClass="entr" presetSubtype="0" fill="hold" nodeType="withEffect">
                                  <p:stCondLst>
                                    <p:cond delay="0"/>
                                  </p:stCondLst>
                                  <p:childTnLst>
                                    <p:set>
                                      <p:cBhvr>
                                        <p:cTn id="66" dur="1" fill="hold">
                                          <p:stCondLst>
                                            <p:cond delay="0"/>
                                          </p:stCondLst>
                                        </p:cTn>
                                        <p:tgtEl>
                                          <p:spTgt spid="15">
                                            <p:txEl>
                                              <p:pRg st="3" end="3"/>
                                            </p:txEl>
                                          </p:spTgt>
                                        </p:tgtEl>
                                        <p:attrNameLst>
                                          <p:attrName>style.visibility</p:attrName>
                                        </p:attrNameLst>
                                      </p:cBhvr>
                                      <p:to>
                                        <p:strVal val="visible"/>
                                      </p:to>
                                    </p:set>
                                  </p:childTnLst>
                                </p:cTn>
                              </p:par>
                            </p:childTnLst>
                          </p:cTn>
                        </p:par>
                      </p:childTnLst>
                    </p:cTn>
                  </p:par>
                  <p:par>
                    <p:cTn id="67" fill="hold">
                      <p:stCondLst>
                        <p:cond delay="indefinite"/>
                      </p:stCondLst>
                      <p:childTnLst>
                        <p:par>
                          <p:cTn id="68" fill="hold">
                            <p:stCondLst>
                              <p:cond delay="0"/>
                            </p:stCondLst>
                            <p:childTnLst>
                              <p:par>
                                <p:cTn id="69" presetID="10" presetClass="entr" presetSubtype="0" fill="hold" nodeType="clickEffect">
                                  <p:stCondLst>
                                    <p:cond delay="0"/>
                                  </p:stCondLst>
                                  <p:childTnLst>
                                    <p:set>
                                      <p:cBhvr>
                                        <p:cTn id="70" dur="1" fill="hold">
                                          <p:stCondLst>
                                            <p:cond delay="0"/>
                                          </p:stCondLst>
                                        </p:cTn>
                                        <p:tgtEl>
                                          <p:spTgt spid="16">
                                            <p:txEl>
                                              <p:pRg st="0" end="0"/>
                                            </p:txEl>
                                          </p:spTgt>
                                        </p:tgtEl>
                                        <p:attrNameLst>
                                          <p:attrName>style.visibility</p:attrName>
                                        </p:attrNameLst>
                                      </p:cBhvr>
                                      <p:to>
                                        <p:strVal val="visible"/>
                                      </p:to>
                                    </p:set>
                                    <p:animEffect transition="in" filter="fade">
                                      <p:cBhvr>
                                        <p:cTn id="71" dur="500"/>
                                        <p:tgtEl>
                                          <p:spTgt spid="16">
                                            <p:txEl>
                                              <p:pRg st="0" end="0"/>
                                            </p:txEl>
                                          </p:spTgt>
                                        </p:tgtEl>
                                      </p:cBhvr>
                                    </p:animEffect>
                                  </p:childTnLst>
                                </p:cTn>
                              </p:par>
                              <p:par>
                                <p:cTn id="72" presetID="10" presetClass="entr" presetSubtype="0" fill="hold" nodeType="withEffect">
                                  <p:stCondLst>
                                    <p:cond delay="0"/>
                                  </p:stCondLst>
                                  <p:childTnLst>
                                    <p:set>
                                      <p:cBhvr>
                                        <p:cTn id="73" dur="1" fill="hold">
                                          <p:stCondLst>
                                            <p:cond delay="0"/>
                                          </p:stCondLst>
                                        </p:cTn>
                                        <p:tgtEl>
                                          <p:spTgt spid="16">
                                            <p:txEl>
                                              <p:pRg st="1" end="1"/>
                                            </p:txEl>
                                          </p:spTgt>
                                        </p:tgtEl>
                                        <p:attrNameLst>
                                          <p:attrName>style.visibility</p:attrName>
                                        </p:attrNameLst>
                                      </p:cBhvr>
                                      <p:to>
                                        <p:strVal val="visible"/>
                                      </p:to>
                                    </p:set>
                                    <p:animEffect transition="in" filter="fade">
                                      <p:cBhvr>
                                        <p:cTn id="74" dur="500"/>
                                        <p:tgtEl>
                                          <p:spTgt spid="16">
                                            <p:txEl>
                                              <p:pRg st="1" end="1"/>
                                            </p:txEl>
                                          </p:spTgt>
                                        </p:tgtEl>
                                      </p:cBhvr>
                                    </p:animEffect>
                                  </p:childTnLst>
                                </p:cTn>
                              </p:par>
                              <p:par>
                                <p:cTn id="75" presetID="10" presetClass="entr" presetSubtype="0" fill="hold" nodeType="withEffect">
                                  <p:stCondLst>
                                    <p:cond delay="0"/>
                                  </p:stCondLst>
                                  <p:childTnLst>
                                    <p:set>
                                      <p:cBhvr>
                                        <p:cTn id="76" dur="1" fill="hold">
                                          <p:stCondLst>
                                            <p:cond delay="0"/>
                                          </p:stCondLst>
                                        </p:cTn>
                                        <p:tgtEl>
                                          <p:spTgt spid="16">
                                            <p:txEl>
                                              <p:pRg st="2" end="2"/>
                                            </p:txEl>
                                          </p:spTgt>
                                        </p:tgtEl>
                                        <p:attrNameLst>
                                          <p:attrName>style.visibility</p:attrName>
                                        </p:attrNameLst>
                                      </p:cBhvr>
                                      <p:to>
                                        <p:strVal val="visible"/>
                                      </p:to>
                                    </p:set>
                                    <p:animEffect transition="in" filter="fade">
                                      <p:cBhvr>
                                        <p:cTn id="77" dur="500"/>
                                        <p:tgtEl>
                                          <p:spTgt spid="16">
                                            <p:txEl>
                                              <p:pRg st="2" end="2"/>
                                            </p:txEl>
                                          </p:spTgt>
                                        </p:tgtEl>
                                      </p:cBhvr>
                                    </p:animEffect>
                                  </p:childTnLst>
                                </p:cTn>
                              </p:par>
                              <p:par>
                                <p:cTn id="78" presetID="10" presetClass="entr" presetSubtype="0" fill="hold" nodeType="withEffect">
                                  <p:stCondLst>
                                    <p:cond delay="0"/>
                                  </p:stCondLst>
                                  <p:childTnLst>
                                    <p:set>
                                      <p:cBhvr>
                                        <p:cTn id="79" dur="1" fill="hold">
                                          <p:stCondLst>
                                            <p:cond delay="0"/>
                                          </p:stCondLst>
                                        </p:cTn>
                                        <p:tgtEl>
                                          <p:spTgt spid="16">
                                            <p:txEl>
                                              <p:pRg st="3" end="3"/>
                                            </p:txEl>
                                          </p:spTgt>
                                        </p:tgtEl>
                                        <p:attrNameLst>
                                          <p:attrName>style.visibility</p:attrName>
                                        </p:attrNameLst>
                                      </p:cBhvr>
                                      <p:to>
                                        <p:strVal val="visible"/>
                                      </p:to>
                                    </p:set>
                                    <p:animEffect transition="in" filter="fade">
                                      <p:cBhvr>
                                        <p:cTn id="80" dur="500"/>
                                        <p:tgtEl>
                                          <p:spTgt spid="16">
                                            <p:txEl>
                                              <p:pRg st="3" end="3"/>
                                            </p:txEl>
                                          </p:spTgt>
                                        </p:tgtEl>
                                      </p:cBhvr>
                                    </p:animEffect>
                                  </p:childTnLst>
                                </p:cTn>
                              </p:par>
                              <p:par>
                                <p:cTn id="81" presetID="10" presetClass="entr" presetSubtype="0" fill="hold" nodeType="withEffect">
                                  <p:stCondLst>
                                    <p:cond delay="0"/>
                                  </p:stCondLst>
                                  <p:childTnLst>
                                    <p:set>
                                      <p:cBhvr>
                                        <p:cTn id="82" dur="1" fill="hold">
                                          <p:stCondLst>
                                            <p:cond delay="0"/>
                                          </p:stCondLst>
                                        </p:cTn>
                                        <p:tgtEl>
                                          <p:spTgt spid="16">
                                            <p:txEl>
                                              <p:pRg st="4" end="4"/>
                                            </p:txEl>
                                          </p:spTgt>
                                        </p:tgtEl>
                                        <p:attrNameLst>
                                          <p:attrName>style.visibility</p:attrName>
                                        </p:attrNameLst>
                                      </p:cBhvr>
                                      <p:to>
                                        <p:strVal val="visible"/>
                                      </p:to>
                                    </p:set>
                                    <p:animEffect transition="in" filter="fade">
                                      <p:cBhvr>
                                        <p:cTn id="83" dur="500"/>
                                        <p:tgtEl>
                                          <p:spTgt spid="16">
                                            <p:txEl>
                                              <p:pRg st="4" end="4"/>
                                            </p:txEl>
                                          </p:spTgt>
                                        </p:tgtEl>
                                      </p:cBhvr>
                                    </p:animEffect>
                                  </p:childTnLst>
                                </p:cTn>
                              </p:par>
                              <p:par>
                                <p:cTn id="84" presetID="10" presetClass="entr" presetSubtype="0" fill="hold" nodeType="withEffect">
                                  <p:stCondLst>
                                    <p:cond delay="0"/>
                                  </p:stCondLst>
                                  <p:childTnLst>
                                    <p:set>
                                      <p:cBhvr>
                                        <p:cTn id="85" dur="1" fill="hold">
                                          <p:stCondLst>
                                            <p:cond delay="0"/>
                                          </p:stCondLst>
                                        </p:cTn>
                                        <p:tgtEl>
                                          <p:spTgt spid="16">
                                            <p:txEl>
                                              <p:pRg st="5" end="5"/>
                                            </p:txEl>
                                          </p:spTgt>
                                        </p:tgtEl>
                                        <p:attrNameLst>
                                          <p:attrName>style.visibility</p:attrName>
                                        </p:attrNameLst>
                                      </p:cBhvr>
                                      <p:to>
                                        <p:strVal val="visible"/>
                                      </p:to>
                                    </p:set>
                                    <p:animEffect transition="in" filter="fade">
                                      <p:cBhvr>
                                        <p:cTn id="86" dur="500"/>
                                        <p:tgtEl>
                                          <p:spTgt spid="16">
                                            <p:txEl>
                                              <p:pRg st="5" end="5"/>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P spid="6" grpId="0" animBg="1"/>
      <p:bldP spid="6" grpId="1" animBg="1"/>
      <p:bldP spid="7" grpId="0" animBg="1"/>
      <p:bldP spid="8" grpId="0" animBg="1"/>
      <p:bldP spid="9" grpId="0" animBg="1"/>
      <p:bldP spid="10" grpId="0" animBg="1"/>
      <p:bldP spid="11" grpId="0" animBg="1"/>
      <p:bldP spid="12" grpId="0"/>
      <p:bldP spid="12" grpId="1"/>
      <p:bldP spid="13" grpId="0"/>
      <p:bldP spid="13" grpId="1"/>
      <p:bldP spid="14" grpId="0"/>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Auto-scaling Compute</a:t>
            </a:r>
          </a:p>
        </p:txBody>
      </p:sp>
      <p:sp>
        <p:nvSpPr>
          <p:cNvPr id="5" name="Text Placeholder 4"/>
          <p:cNvSpPr>
            <a:spLocks noGrp="1"/>
          </p:cNvSpPr>
          <p:nvPr>
            <p:ph type="body" sz="quarter" idx="10"/>
          </p:nvPr>
        </p:nvSpPr>
        <p:spPr>
          <a:xfrm>
            <a:off x="274638" y="1212850"/>
            <a:ext cx="5880041" cy="5276189"/>
          </a:xfrm>
        </p:spPr>
        <p:txBody>
          <a:bodyPr/>
          <a:lstStyle/>
          <a:p>
            <a:r>
              <a:rPr lang="en-US" dirty="0"/>
              <a:t>Metric based</a:t>
            </a:r>
          </a:p>
          <a:p>
            <a:r>
              <a:rPr lang="en-US" dirty="0"/>
              <a:t>Time based</a:t>
            </a:r>
          </a:p>
          <a:p>
            <a:r>
              <a:rPr lang="en-US" dirty="0"/>
              <a:t>Storage Queue based</a:t>
            </a:r>
          </a:p>
          <a:p>
            <a:pPr lvl="1"/>
            <a:r>
              <a:rPr lang="en-US" dirty="0"/>
              <a:t>( Web/Worker Roles)</a:t>
            </a:r>
          </a:p>
          <a:p>
            <a:r>
              <a:rPr lang="en-US" dirty="0"/>
              <a:t>Multiple rules allowed</a:t>
            </a:r>
          </a:p>
          <a:p>
            <a:r>
              <a:rPr lang="en-US" dirty="0"/>
              <a:t>System must be designed for horizontal scalability</a:t>
            </a:r>
          </a:p>
          <a:p>
            <a:pPr lvl="1"/>
            <a:r>
              <a:rPr lang="en-US" dirty="0"/>
              <a:t>No process affinity</a:t>
            </a:r>
          </a:p>
          <a:p>
            <a:pPr lvl="1"/>
            <a:r>
              <a:rPr lang="en-US" dirty="0"/>
              <a:t>Must be stateless</a:t>
            </a:r>
          </a:p>
          <a:p>
            <a:pPr lvl="1"/>
            <a:endParaRPr lang="en-US" dirty="0"/>
          </a:p>
          <a:p>
            <a:r>
              <a:rPr lang="en-US" dirty="0"/>
              <a:t> </a:t>
            </a:r>
          </a:p>
        </p:txBody>
      </p:sp>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441032" y="1028409"/>
            <a:ext cx="6009524" cy="5276190"/>
          </a:xfrm>
          <a:prstGeom prst="rect">
            <a:avLst/>
          </a:prstGeom>
        </p:spPr>
      </p:pic>
    </p:spTree>
    <p:extLst>
      <p:ext uri="{BB962C8B-B14F-4D97-AF65-F5344CB8AC3E}">
        <p14:creationId xmlns:p14="http://schemas.microsoft.com/office/powerpoint/2010/main" val="689860485"/>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Rounded Rectangle 21"/>
          <p:cNvSpPr/>
          <p:nvPr/>
        </p:nvSpPr>
        <p:spPr bwMode="auto">
          <a:xfrm>
            <a:off x="7434848" y="1200150"/>
            <a:ext cx="4614863" cy="4614863"/>
          </a:xfrm>
          <a:prstGeom prst="roundRect">
            <a:avLst>
              <a:gd name="adj" fmla="val 5367"/>
            </a:avLst>
          </a:prstGeom>
          <a:solidFill>
            <a:srgbClr val="28282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 name="Content Placeholder 2"/>
          <p:cNvSpPr txBox="1">
            <a:spLocks/>
          </p:cNvSpPr>
          <p:nvPr/>
        </p:nvSpPr>
        <p:spPr>
          <a:xfrm>
            <a:off x="288626" y="3014032"/>
            <a:ext cx="7549566" cy="2911566"/>
          </a:xfrm>
          <a:prstGeom prst="rect">
            <a:avLst/>
          </a:prstGeom>
          <a:noFill/>
        </p:spPr>
        <p:txBody>
          <a:bodyPr vert="horz" wrap="square" lIns="182880" tIns="146304" rIns="182880" bIns="146304" rtlCol="0">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503" rtl="0" eaLnBrk="1" fontAlgn="auto" latinLnBrk="0" hangingPunct="1">
              <a:lnSpc>
                <a:spcPct val="100000"/>
              </a:lnSpc>
              <a:spcBef>
                <a:spcPts val="0"/>
              </a:spcBef>
              <a:spcAft>
                <a:spcPts val="1200"/>
              </a:spcAft>
              <a:buClr>
                <a:srgbClr val="FFFFFF"/>
              </a:buClr>
              <a:buSzPct val="90000"/>
              <a:buFont typeface="Wingdings" panose="05000000000000000000" pitchFamily="2" charset="2"/>
              <a:buNone/>
              <a:tabLst/>
              <a:defRPr/>
            </a:pPr>
            <a:r>
              <a:rPr kumimoji="0" lang="en-US" sz="2000" b="0" i="0" u="none" strike="noStrike" kern="1200" cap="none" spc="0" normalizeH="0" baseline="0" noProof="0" dirty="0">
                <a:ln>
                  <a:noFill/>
                </a:ln>
                <a:gradFill>
                  <a:gsLst>
                    <a:gs pos="1250">
                      <a:srgbClr val="FFFFFF"/>
                    </a:gs>
                    <a:gs pos="100000">
                      <a:srgbClr val="FFFFFF"/>
                    </a:gs>
                  </a:gsLst>
                  <a:lin ang="5400000" scaled="0"/>
                </a:gradFill>
                <a:effectLst/>
                <a:uLnTx/>
                <a:uFillTx/>
                <a:latin typeface="Segoe UI Light"/>
                <a:ea typeface="+mn-ea"/>
                <a:cs typeface="Segoe UI Semibold" panose="020B0702040204020203" pitchFamily="34" charset="0"/>
              </a:rPr>
              <a:t>High performance provisioning of 1000+ VMs</a:t>
            </a:r>
          </a:p>
          <a:p>
            <a:pPr marL="0" marR="0" lvl="0" indent="0" algn="l" defTabSz="932503" rtl="0" eaLnBrk="1" fontAlgn="auto" latinLnBrk="0" hangingPunct="1">
              <a:lnSpc>
                <a:spcPct val="100000"/>
              </a:lnSpc>
              <a:spcBef>
                <a:spcPts val="0"/>
              </a:spcBef>
              <a:spcAft>
                <a:spcPts val="1200"/>
              </a:spcAft>
              <a:buClr>
                <a:srgbClr val="FFFFFF"/>
              </a:buClr>
              <a:buSzPct val="90000"/>
              <a:buFont typeface="Wingdings" panose="05000000000000000000" pitchFamily="2" charset="2"/>
              <a:buNone/>
              <a:tabLst/>
              <a:defRPr/>
            </a:pPr>
            <a:r>
              <a:rPr kumimoji="0" lang="en-US" sz="2000" b="0" i="0" u="none" strike="noStrike" kern="1200" cap="none" spc="0" normalizeH="0" baseline="0" noProof="0" dirty="0">
                <a:ln>
                  <a:noFill/>
                </a:ln>
                <a:gradFill>
                  <a:gsLst>
                    <a:gs pos="1250">
                      <a:srgbClr val="FFFFFF"/>
                    </a:gs>
                    <a:gs pos="100000">
                      <a:srgbClr val="FFFFFF"/>
                    </a:gs>
                  </a:gsLst>
                  <a:lin ang="5400000" scaled="0"/>
                </a:gradFill>
                <a:effectLst/>
                <a:uLnTx/>
                <a:uFillTx/>
                <a:latin typeface="Segoe UI Light"/>
                <a:ea typeface="+mn-ea"/>
                <a:cs typeface="Segoe UI Semibold" panose="020B0702040204020203" pitchFamily="34" charset="0"/>
              </a:rPr>
              <a:t>Auto-configuration at scale</a:t>
            </a:r>
          </a:p>
          <a:p>
            <a:pPr marL="0" marR="0" lvl="0" indent="0" algn="l" defTabSz="932503" rtl="0" eaLnBrk="1" fontAlgn="auto" latinLnBrk="0" hangingPunct="1">
              <a:lnSpc>
                <a:spcPct val="100000"/>
              </a:lnSpc>
              <a:spcBef>
                <a:spcPts val="0"/>
              </a:spcBef>
              <a:spcAft>
                <a:spcPts val="1200"/>
              </a:spcAft>
              <a:buClr>
                <a:srgbClr val="FFFFFF"/>
              </a:buClr>
              <a:buSzPct val="90000"/>
              <a:buFont typeface="Wingdings" panose="05000000000000000000" pitchFamily="2" charset="2"/>
              <a:buNone/>
              <a:tabLst/>
              <a:defRPr/>
            </a:pPr>
            <a:r>
              <a:rPr kumimoji="0" lang="en-US" sz="2000" b="0" i="0" u="none" strike="noStrike" kern="1200" cap="none" spc="0" normalizeH="0" baseline="0" noProof="0" dirty="0">
                <a:ln>
                  <a:noFill/>
                </a:ln>
                <a:gradFill>
                  <a:gsLst>
                    <a:gs pos="1250">
                      <a:srgbClr val="FFFFFF"/>
                    </a:gs>
                    <a:gs pos="100000">
                      <a:srgbClr val="FFFFFF"/>
                    </a:gs>
                  </a:gsLst>
                  <a:lin ang="5400000" scaled="0"/>
                </a:gradFill>
                <a:effectLst/>
                <a:uLnTx/>
                <a:uFillTx/>
                <a:latin typeface="Segoe UI Light"/>
                <a:ea typeface="+mn-ea"/>
                <a:cs typeface="Segoe UI Semibold" panose="020B0702040204020203" pitchFamily="34" charset="0"/>
              </a:rPr>
              <a:t>Auto-scale based on schedule and resource metrics</a:t>
            </a:r>
          </a:p>
          <a:p>
            <a:pPr marL="0" marR="0" lvl="0" indent="0" algn="l" defTabSz="932503" rtl="0" eaLnBrk="1" fontAlgn="auto" latinLnBrk="0" hangingPunct="1">
              <a:lnSpc>
                <a:spcPct val="100000"/>
              </a:lnSpc>
              <a:spcBef>
                <a:spcPts val="0"/>
              </a:spcBef>
              <a:spcAft>
                <a:spcPts val="1200"/>
              </a:spcAft>
              <a:buClr>
                <a:srgbClr val="FFFFFF"/>
              </a:buClr>
              <a:buSzPct val="90000"/>
              <a:buFont typeface="Wingdings" panose="05000000000000000000" pitchFamily="2" charset="2"/>
              <a:buNone/>
              <a:tabLst/>
              <a:defRPr/>
            </a:pPr>
            <a:r>
              <a:rPr kumimoji="0" lang="en-US" sz="2000" b="0" i="0" u="none" strike="noStrike" kern="1200" cap="none" spc="0" normalizeH="0" baseline="0" noProof="0" dirty="0">
                <a:ln>
                  <a:noFill/>
                </a:ln>
                <a:gradFill>
                  <a:gsLst>
                    <a:gs pos="1250">
                      <a:srgbClr val="FFFFFF"/>
                    </a:gs>
                    <a:gs pos="100000">
                      <a:srgbClr val="FFFFFF"/>
                    </a:gs>
                  </a:gsLst>
                  <a:lin ang="5400000" scaled="0"/>
                </a:gradFill>
                <a:effectLst/>
                <a:uLnTx/>
                <a:uFillTx/>
                <a:latin typeface="Segoe UI Light"/>
                <a:ea typeface="+mn-ea"/>
                <a:cs typeface="Segoe UI Semibold" panose="020B0702040204020203" pitchFamily="34" charset="0"/>
              </a:rPr>
              <a:t>Easy updates at scale</a:t>
            </a:r>
          </a:p>
          <a:p>
            <a:pPr marL="0" marR="0" lvl="0" indent="0" algn="l" defTabSz="932503" rtl="0" eaLnBrk="1" fontAlgn="auto" latinLnBrk="0" hangingPunct="1">
              <a:lnSpc>
                <a:spcPct val="100000"/>
              </a:lnSpc>
              <a:spcBef>
                <a:spcPts val="0"/>
              </a:spcBef>
              <a:spcAft>
                <a:spcPts val="1200"/>
              </a:spcAft>
              <a:buClr>
                <a:srgbClr val="FFFFFF"/>
              </a:buClr>
              <a:buSzPct val="90000"/>
              <a:buFont typeface="Wingdings" panose="05000000000000000000" pitchFamily="2" charset="2"/>
              <a:buNone/>
              <a:tabLst/>
              <a:defRPr/>
            </a:pPr>
            <a:r>
              <a:rPr kumimoji="0" lang="en-US" sz="2000" b="0" i="0" u="none" strike="noStrike" kern="1200" cap="none" spc="0" normalizeH="0" baseline="0" noProof="0" dirty="0">
                <a:ln>
                  <a:noFill/>
                </a:ln>
                <a:gradFill>
                  <a:gsLst>
                    <a:gs pos="1250">
                      <a:srgbClr val="FFFFFF"/>
                    </a:gs>
                    <a:gs pos="100000">
                      <a:srgbClr val="FFFFFF"/>
                    </a:gs>
                  </a:gsLst>
                  <a:lin ang="5400000" scaled="0"/>
                </a:gradFill>
                <a:effectLst/>
                <a:uLnTx/>
                <a:uFillTx/>
                <a:latin typeface="Segoe UI Light"/>
                <a:ea typeface="+mn-ea"/>
                <a:cs typeface="Segoe UI Semibold" panose="020B0702040204020203" pitchFamily="34" charset="0"/>
              </a:rPr>
              <a:t>Simple Portal Integration</a:t>
            </a:r>
          </a:p>
          <a:p>
            <a:pPr marL="0" marR="0" lvl="0" indent="0" algn="l" defTabSz="932503" rtl="0" eaLnBrk="1" fontAlgn="auto" latinLnBrk="0" hangingPunct="1">
              <a:lnSpc>
                <a:spcPct val="100000"/>
              </a:lnSpc>
              <a:spcBef>
                <a:spcPts val="0"/>
              </a:spcBef>
              <a:spcAft>
                <a:spcPts val="1200"/>
              </a:spcAft>
              <a:buClr>
                <a:srgbClr val="FFFFFF"/>
              </a:buClr>
              <a:buSzPct val="90000"/>
              <a:buFont typeface="Wingdings" panose="05000000000000000000" pitchFamily="2" charset="2"/>
              <a:buNone/>
              <a:tabLst/>
              <a:defRPr/>
            </a:pPr>
            <a:endParaRPr kumimoji="0" lang="en-US" sz="2000" b="0" i="0" u="none" strike="noStrike" kern="1200" cap="none" spc="0" normalizeH="0" baseline="0" noProof="0" dirty="0">
              <a:ln>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endParaRPr>
          </a:p>
        </p:txBody>
      </p:sp>
      <p:sp>
        <p:nvSpPr>
          <p:cNvPr id="5" name="Title 1"/>
          <p:cNvSpPr txBox="1">
            <a:spLocks/>
          </p:cNvSpPr>
          <p:nvPr/>
        </p:nvSpPr>
        <p:spPr>
          <a:xfrm>
            <a:off x="261159" y="1473200"/>
            <a:ext cx="11183414" cy="1641475"/>
          </a:xfrm>
          <a:prstGeom prst="rect">
            <a:avLst/>
          </a:prstGeom>
        </p:spPr>
        <p:txBody>
          <a:bodyPr vert="horz" wrap="square" lIns="182880" tIns="146304" rIns="182880" bIns="146304"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base" latinLnBrk="0" hangingPunct="1">
              <a:lnSpc>
                <a:spcPct val="90000"/>
              </a:lnSpc>
              <a:spcBef>
                <a:spcPts val="1200"/>
              </a:spcBef>
              <a:spcAft>
                <a:spcPct val="0"/>
              </a:spcAft>
              <a:buClrTx/>
              <a:buSzTx/>
              <a:buFontTx/>
              <a:buNone/>
              <a:tabLst/>
              <a:defRPr/>
            </a:pPr>
            <a:r>
              <a:rPr kumimoji="0" lang="en-US" sz="4800" b="0" i="0" u="none" strike="noStrike" kern="1200" cap="none" spc="-102" normalizeH="0" baseline="0" noProof="0" dirty="0">
                <a:ln w="3175">
                  <a:noFill/>
                </a:ln>
                <a:gradFill>
                  <a:gsLst>
                    <a:gs pos="1250">
                      <a:srgbClr val="FFFFFF"/>
                    </a:gs>
                    <a:gs pos="100000">
                      <a:srgbClr val="FFFFFF"/>
                    </a:gs>
                  </a:gsLst>
                  <a:lin ang="5400000" scaled="0"/>
                </a:gradFill>
                <a:effectLst/>
                <a:uLnTx/>
                <a:uFillTx/>
                <a:latin typeface="Segoe UI Light"/>
                <a:ea typeface="+mn-ea"/>
                <a:cs typeface="Segoe UI" pitchFamily="34" charset="0"/>
              </a:rPr>
              <a:t>VM Scale Sets</a:t>
            </a:r>
          </a:p>
        </p:txBody>
      </p:sp>
      <p:sp>
        <p:nvSpPr>
          <p:cNvPr id="6" name="AutoShape 3"/>
          <p:cNvSpPr>
            <a:spLocks noChangeAspect="1" noChangeArrowheads="1" noTextEdit="1"/>
          </p:cNvSpPr>
          <p:nvPr/>
        </p:nvSpPr>
        <p:spPr bwMode="auto">
          <a:xfrm>
            <a:off x="8101013" y="957264"/>
            <a:ext cx="4044950" cy="3829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panose="020B0502040204020203" pitchFamily="34" charset="0"/>
              <a:ea typeface="MS PGothic" panose="020B0600070205080204" pitchFamily="34" charset="-128"/>
              <a:cs typeface="+mn-cs"/>
            </a:endParaRPr>
          </a:p>
        </p:txBody>
      </p:sp>
      <p:sp>
        <p:nvSpPr>
          <p:cNvPr id="7" name="Freeform 5"/>
          <p:cNvSpPr>
            <a:spLocks/>
          </p:cNvSpPr>
          <p:nvPr/>
        </p:nvSpPr>
        <p:spPr bwMode="auto">
          <a:xfrm>
            <a:off x="7860534" y="623625"/>
            <a:ext cx="3704740" cy="2248164"/>
          </a:xfrm>
          <a:custGeom>
            <a:avLst/>
            <a:gdLst>
              <a:gd name="T0" fmla="*/ 1309 w 1309"/>
              <a:gd name="T1" fmla="*/ 660 h 812"/>
              <a:gd name="T2" fmla="*/ 1157 w 1309"/>
              <a:gd name="T3" fmla="*/ 509 h 812"/>
              <a:gd name="T4" fmla="*/ 1139 w 1309"/>
              <a:gd name="T5" fmla="*/ 510 h 812"/>
              <a:gd name="T6" fmla="*/ 1153 w 1309"/>
              <a:gd name="T7" fmla="*/ 403 h 812"/>
              <a:gd name="T8" fmla="*/ 749 w 1309"/>
              <a:gd name="T9" fmla="*/ 0 h 812"/>
              <a:gd name="T10" fmla="*/ 367 w 1309"/>
              <a:gd name="T11" fmla="*/ 275 h 812"/>
              <a:gd name="T12" fmla="*/ 276 w 1309"/>
              <a:gd name="T13" fmla="*/ 260 h 812"/>
              <a:gd name="T14" fmla="*/ 0 w 1309"/>
              <a:gd name="T15" fmla="*/ 536 h 812"/>
              <a:gd name="T16" fmla="*/ 276 w 1309"/>
              <a:gd name="T17" fmla="*/ 812 h 812"/>
              <a:gd name="T18" fmla="*/ 277 w 1309"/>
              <a:gd name="T19" fmla="*/ 812 h 812"/>
              <a:gd name="T20" fmla="*/ 277 w 1309"/>
              <a:gd name="T21" fmla="*/ 812 h 812"/>
              <a:gd name="T22" fmla="*/ 1170 w 1309"/>
              <a:gd name="T23" fmla="*/ 812 h 812"/>
              <a:gd name="T24" fmla="*/ 1169 w 1309"/>
              <a:gd name="T25" fmla="*/ 811 h 812"/>
              <a:gd name="T26" fmla="*/ 1309 w 1309"/>
              <a:gd name="T27" fmla="*/ 660 h 8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09" h="812">
                <a:moveTo>
                  <a:pt x="1309" y="660"/>
                </a:moveTo>
                <a:cubicBezTo>
                  <a:pt x="1309" y="577"/>
                  <a:pt x="1241" y="509"/>
                  <a:pt x="1157" y="509"/>
                </a:cubicBezTo>
                <a:cubicBezTo>
                  <a:pt x="1151" y="509"/>
                  <a:pt x="1145" y="509"/>
                  <a:pt x="1139" y="510"/>
                </a:cubicBezTo>
                <a:cubicBezTo>
                  <a:pt x="1148" y="476"/>
                  <a:pt x="1153" y="440"/>
                  <a:pt x="1153" y="403"/>
                </a:cubicBezTo>
                <a:cubicBezTo>
                  <a:pt x="1153" y="180"/>
                  <a:pt x="972" y="0"/>
                  <a:pt x="749" y="0"/>
                </a:cubicBezTo>
                <a:cubicBezTo>
                  <a:pt x="571" y="0"/>
                  <a:pt x="420" y="115"/>
                  <a:pt x="367" y="275"/>
                </a:cubicBezTo>
                <a:cubicBezTo>
                  <a:pt x="338" y="265"/>
                  <a:pt x="308" y="260"/>
                  <a:pt x="276" y="260"/>
                </a:cubicBezTo>
                <a:cubicBezTo>
                  <a:pt x="124" y="260"/>
                  <a:pt x="0" y="383"/>
                  <a:pt x="0" y="536"/>
                </a:cubicBezTo>
                <a:cubicBezTo>
                  <a:pt x="0" y="688"/>
                  <a:pt x="124" y="812"/>
                  <a:pt x="276" y="812"/>
                </a:cubicBezTo>
                <a:cubicBezTo>
                  <a:pt x="277" y="812"/>
                  <a:pt x="277" y="812"/>
                  <a:pt x="277" y="812"/>
                </a:cubicBezTo>
                <a:cubicBezTo>
                  <a:pt x="277" y="812"/>
                  <a:pt x="277" y="812"/>
                  <a:pt x="277" y="812"/>
                </a:cubicBezTo>
                <a:cubicBezTo>
                  <a:pt x="1170" y="812"/>
                  <a:pt x="1170" y="812"/>
                  <a:pt x="1170" y="812"/>
                </a:cubicBezTo>
                <a:cubicBezTo>
                  <a:pt x="1169" y="811"/>
                  <a:pt x="1169" y="811"/>
                  <a:pt x="1169" y="811"/>
                </a:cubicBezTo>
                <a:cubicBezTo>
                  <a:pt x="1247" y="805"/>
                  <a:pt x="1309" y="740"/>
                  <a:pt x="1309" y="66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Segoe UI" panose="020B0502040204020203" pitchFamily="34" charset="0"/>
              <a:ea typeface="MS PGothic" panose="020B0600070205080204" pitchFamily="34" charset="-128"/>
              <a:cs typeface="+mn-cs"/>
            </a:endParaRPr>
          </a:p>
        </p:txBody>
      </p:sp>
      <p:pic>
        <p:nvPicPr>
          <p:cNvPr id="34" name="Picture 33"/>
          <p:cNvPicPr>
            <a:picLocks noChangeAspect="1"/>
          </p:cNvPicPr>
          <p:nvPr/>
        </p:nvPicPr>
        <p:blipFill>
          <a:blip r:embed="rId3">
            <a:extLst>
              <a:ext uri="{BEBA8EAE-BF5A-486C-A8C5-ECC9F3942E4B}">
                <a14:imgProps xmlns:a14="http://schemas.microsoft.com/office/drawing/2010/main">
                  <a14:imgLayer r:embed="rId4">
                    <a14:imgEffect>
                      <a14:artisticPaintBrush/>
                    </a14:imgEffect>
                  </a14:imgLayer>
                </a14:imgProps>
              </a:ext>
            </a:extLst>
          </a:blip>
          <a:stretch>
            <a:fillRect/>
          </a:stretch>
        </p:blipFill>
        <p:spPr>
          <a:xfrm>
            <a:off x="8776734" y="1982073"/>
            <a:ext cx="1931089" cy="1779432"/>
          </a:xfrm>
          <a:prstGeom prst="rect">
            <a:avLst/>
          </a:prstGeom>
        </p:spPr>
      </p:pic>
      <p:pic>
        <p:nvPicPr>
          <p:cNvPr id="35" name="Picture 34"/>
          <p:cNvPicPr>
            <a:picLocks noChangeAspect="1"/>
          </p:cNvPicPr>
          <p:nvPr/>
        </p:nvPicPr>
        <p:blipFill>
          <a:blip r:embed="rId3">
            <a:extLst>
              <a:ext uri="{BEBA8EAE-BF5A-486C-A8C5-ECC9F3942E4B}">
                <a14:imgProps xmlns:a14="http://schemas.microsoft.com/office/drawing/2010/main">
                  <a14:imgLayer r:embed="rId4">
                    <a14:imgEffect>
                      <a14:artisticPaintBrush/>
                    </a14:imgEffect>
                  </a14:imgLayer>
                </a14:imgProps>
              </a:ext>
            </a:extLst>
          </a:blip>
          <a:stretch>
            <a:fillRect/>
          </a:stretch>
        </p:blipFill>
        <p:spPr>
          <a:xfrm>
            <a:off x="7559079" y="3788805"/>
            <a:ext cx="1050532" cy="968029"/>
          </a:xfrm>
          <a:prstGeom prst="rect">
            <a:avLst/>
          </a:prstGeom>
        </p:spPr>
      </p:pic>
      <p:pic>
        <p:nvPicPr>
          <p:cNvPr id="9" name="Picture 8"/>
          <p:cNvPicPr>
            <a:picLocks noChangeAspect="1"/>
          </p:cNvPicPr>
          <p:nvPr/>
        </p:nvPicPr>
        <p:blipFill>
          <a:blip r:embed="rId3">
            <a:extLst>
              <a:ext uri="{BEBA8EAE-BF5A-486C-A8C5-ECC9F3942E4B}">
                <a14:imgProps xmlns:a14="http://schemas.microsoft.com/office/drawing/2010/main">
                  <a14:imgLayer r:embed="rId4">
                    <a14:imgEffect>
                      <a14:artisticPaintBrush/>
                    </a14:imgEffect>
                  </a14:imgLayer>
                </a14:imgProps>
              </a:ext>
            </a:extLst>
          </a:blip>
          <a:stretch>
            <a:fillRect/>
          </a:stretch>
        </p:blipFill>
        <p:spPr>
          <a:xfrm>
            <a:off x="8662372" y="3788804"/>
            <a:ext cx="1050532" cy="968029"/>
          </a:xfrm>
          <a:prstGeom prst="rect">
            <a:avLst/>
          </a:prstGeom>
        </p:spPr>
      </p:pic>
      <p:pic>
        <p:nvPicPr>
          <p:cNvPr id="10" name="Picture 9"/>
          <p:cNvPicPr>
            <a:picLocks noChangeAspect="1"/>
          </p:cNvPicPr>
          <p:nvPr/>
        </p:nvPicPr>
        <p:blipFill>
          <a:blip r:embed="rId3">
            <a:extLst>
              <a:ext uri="{BEBA8EAE-BF5A-486C-A8C5-ECC9F3942E4B}">
                <a14:imgProps xmlns:a14="http://schemas.microsoft.com/office/drawing/2010/main">
                  <a14:imgLayer r:embed="rId4">
                    <a14:imgEffect>
                      <a14:artisticPaintBrush/>
                    </a14:imgEffect>
                  </a14:imgLayer>
                </a14:imgProps>
              </a:ext>
            </a:extLst>
          </a:blip>
          <a:stretch>
            <a:fillRect/>
          </a:stretch>
        </p:blipFill>
        <p:spPr>
          <a:xfrm>
            <a:off x="9765665" y="3789067"/>
            <a:ext cx="1050532" cy="968029"/>
          </a:xfrm>
          <a:prstGeom prst="rect">
            <a:avLst/>
          </a:prstGeom>
        </p:spPr>
      </p:pic>
      <p:pic>
        <p:nvPicPr>
          <p:cNvPr id="11" name="Picture 10"/>
          <p:cNvPicPr>
            <a:picLocks noChangeAspect="1"/>
          </p:cNvPicPr>
          <p:nvPr/>
        </p:nvPicPr>
        <p:blipFill>
          <a:blip r:embed="rId3">
            <a:extLst>
              <a:ext uri="{BEBA8EAE-BF5A-486C-A8C5-ECC9F3942E4B}">
                <a14:imgProps xmlns:a14="http://schemas.microsoft.com/office/drawing/2010/main">
                  <a14:imgLayer r:embed="rId4">
                    <a14:imgEffect>
                      <a14:artisticPaintBrush/>
                    </a14:imgEffect>
                  </a14:imgLayer>
                </a14:imgProps>
              </a:ext>
            </a:extLst>
          </a:blip>
          <a:stretch>
            <a:fillRect/>
          </a:stretch>
        </p:blipFill>
        <p:spPr>
          <a:xfrm>
            <a:off x="10868958" y="3775720"/>
            <a:ext cx="1050532" cy="968029"/>
          </a:xfrm>
          <a:prstGeom prst="rect">
            <a:avLst/>
          </a:prstGeom>
        </p:spPr>
      </p:pic>
      <p:pic>
        <p:nvPicPr>
          <p:cNvPr id="12" name="Picture 11"/>
          <p:cNvPicPr>
            <a:picLocks noChangeAspect="1"/>
          </p:cNvPicPr>
          <p:nvPr/>
        </p:nvPicPr>
        <p:blipFill>
          <a:blip r:embed="rId3">
            <a:extLst>
              <a:ext uri="{BEBA8EAE-BF5A-486C-A8C5-ECC9F3942E4B}">
                <a14:imgProps xmlns:a14="http://schemas.microsoft.com/office/drawing/2010/main">
                  <a14:imgLayer r:embed="rId4">
                    <a14:imgEffect>
                      <a14:artisticPaintBrush/>
                    </a14:imgEffect>
                  </a14:imgLayer>
                </a14:imgProps>
              </a:ext>
            </a:extLst>
          </a:blip>
          <a:stretch>
            <a:fillRect/>
          </a:stretch>
        </p:blipFill>
        <p:spPr>
          <a:xfrm>
            <a:off x="7559079" y="4782735"/>
            <a:ext cx="1050532" cy="968029"/>
          </a:xfrm>
          <a:prstGeom prst="rect">
            <a:avLst/>
          </a:prstGeom>
        </p:spPr>
      </p:pic>
      <p:pic>
        <p:nvPicPr>
          <p:cNvPr id="13" name="Picture 12"/>
          <p:cNvPicPr>
            <a:picLocks noChangeAspect="1"/>
          </p:cNvPicPr>
          <p:nvPr/>
        </p:nvPicPr>
        <p:blipFill>
          <a:blip r:embed="rId3">
            <a:extLst>
              <a:ext uri="{BEBA8EAE-BF5A-486C-A8C5-ECC9F3942E4B}">
                <a14:imgProps xmlns:a14="http://schemas.microsoft.com/office/drawing/2010/main">
                  <a14:imgLayer r:embed="rId4">
                    <a14:imgEffect>
                      <a14:artisticPaintBrush/>
                    </a14:imgEffect>
                  </a14:imgLayer>
                </a14:imgProps>
              </a:ext>
            </a:extLst>
          </a:blip>
          <a:stretch>
            <a:fillRect/>
          </a:stretch>
        </p:blipFill>
        <p:spPr>
          <a:xfrm>
            <a:off x="8662372" y="4782734"/>
            <a:ext cx="1050532" cy="968029"/>
          </a:xfrm>
          <a:prstGeom prst="rect">
            <a:avLst/>
          </a:prstGeom>
        </p:spPr>
      </p:pic>
      <p:pic>
        <p:nvPicPr>
          <p:cNvPr id="14" name="Picture 13"/>
          <p:cNvPicPr>
            <a:picLocks noChangeAspect="1"/>
          </p:cNvPicPr>
          <p:nvPr/>
        </p:nvPicPr>
        <p:blipFill>
          <a:blip r:embed="rId3">
            <a:extLst>
              <a:ext uri="{BEBA8EAE-BF5A-486C-A8C5-ECC9F3942E4B}">
                <a14:imgProps xmlns:a14="http://schemas.microsoft.com/office/drawing/2010/main">
                  <a14:imgLayer r:embed="rId4">
                    <a14:imgEffect>
                      <a14:artisticPaintBrush/>
                    </a14:imgEffect>
                  </a14:imgLayer>
                </a14:imgProps>
              </a:ext>
            </a:extLst>
          </a:blip>
          <a:stretch>
            <a:fillRect/>
          </a:stretch>
        </p:blipFill>
        <p:spPr>
          <a:xfrm>
            <a:off x="9765665" y="4782997"/>
            <a:ext cx="1050532" cy="968029"/>
          </a:xfrm>
          <a:prstGeom prst="rect">
            <a:avLst/>
          </a:prstGeom>
        </p:spPr>
      </p:pic>
      <p:pic>
        <p:nvPicPr>
          <p:cNvPr id="15" name="Picture 14"/>
          <p:cNvPicPr>
            <a:picLocks noChangeAspect="1"/>
          </p:cNvPicPr>
          <p:nvPr/>
        </p:nvPicPr>
        <p:blipFill>
          <a:blip r:embed="rId3">
            <a:extLst>
              <a:ext uri="{BEBA8EAE-BF5A-486C-A8C5-ECC9F3942E4B}">
                <a14:imgProps xmlns:a14="http://schemas.microsoft.com/office/drawing/2010/main">
                  <a14:imgLayer r:embed="rId4">
                    <a14:imgEffect>
                      <a14:artisticPaintBrush/>
                    </a14:imgEffect>
                  </a14:imgLayer>
                </a14:imgProps>
              </a:ext>
            </a:extLst>
          </a:blip>
          <a:stretch>
            <a:fillRect/>
          </a:stretch>
        </p:blipFill>
        <p:spPr>
          <a:xfrm>
            <a:off x="10868958" y="4769650"/>
            <a:ext cx="1050532" cy="968029"/>
          </a:xfrm>
          <a:prstGeom prst="rect">
            <a:avLst/>
          </a:prstGeom>
        </p:spPr>
      </p:pic>
    </p:spTree>
    <p:extLst>
      <p:ext uri="{BB962C8B-B14F-4D97-AF65-F5344CB8AC3E}">
        <p14:creationId xmlns:p14="http://schemas.microsoft.com/office/powerpoint/2010/main" val="276085346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35" presetClass="path" presetSubtype="0" decel="100000" fill="hold" grpId="1" nodeType="withEffect">
                                  <p:stCondLst>
                                    <p:cond delay="0"/>
                                  </p:stCondLst>
                                  <p:childTnLst>
                                    <p:animMotion origin="layout" path="M -7.96528E-7 -1.87018E-6 L -0.05285 -1.87018E-6 " pathEditMode="relative" rAng="0" ptsTypes="AA">
                                      <p:cBhvr>
                                        <p:cTn id="9" dur="750" spd="-100000" fill="hold"/>
                                        <p:tgtEl>
                                          <p:spTgt spid="5"/>
                                        </p:tgtEl>
                                        <p:attrNameLst>
                                          <p:attrName>ppt_x</p:attrName>
                                          <p:attrName>ppt_y</p:attrName>
                                        </p:attrNameLst>
                                      </p:cBhvr>
                                      <p:rCtr x="-2642" y="0"/>
                                    </p:animMotion>
                                  </p:childTnLst>
                                </p:cTn>
                              </p:par>
                              <p:par>
                                <p:cTn id="10" presetID="10" presetClass="entr" presetSubtype="0" fill="hold" grpId="0" nodeType="with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childTnLst>
                                </p:cTn>
                              </p:par>
                              <p:par>
                                <p:cTn id="13" presetID="35" presetClass="path" presetSubtype="0" decel="100000" fill="hold" grpId="1" nodeType="withEffect">
                                  <p:stCondLst>
                                    <p:cond delay="0"/>
                                  </p:stCondLst>
                                  <p:childTnLst>
                                    <p:animMotion origin="layout" path="M -3.0508E-6 1.53881E-6 L -0.05284 1.53881E-6 " pathEditMode="relative" rAng="0" ptsTypes="AA">
                                      <p:cBhvr>
                                        <p:cTn id="14" dur="750" spd="-100000" fill="hold"/>
                                        <p:tgtEl>
                                          <p:spTgt spid="4"/>
                                        </p:tgtEl>
                                        <p:attrNameLst>
                                          <p:attrName>ppt_x</p:attrName>
                                          <p:attrName>ppt_y</p:attrName>
                                        </p:attrNameLst>
                                      </p:cBhvr>
                                      <p:rCtr x="-2642" y="0"/>
                                    </p:animMotion>
                                  </p:childTnLst>
                                </p:cTn>
                              </p:par>
                            </p:childTnLst>
                          </p:cTn>
                        </p:par>
                        <p:par>
                          <p:cTn id="15" fill="hold">
                            <p:stCondLst>
                              <p:cond delay="750"/>
                            </p:stCondLst>
                            <p:childTnLst>
                              <p:par>
                                <p:cTn id="16" presetID="42" presetClass="entr" presetSubtype="0" fill="hold" nodeType="afterEffect">
                                  <p:stCondLst>
                                    <p:cond delay="0"/>
                                  </p:stCondLst>
                                  <p:childTnLst>
                                    <p:set>
                                      <p:cBhvr>
                                        <p:cTn id="17" dur="1" fill="hold">
                                          <p:stCondLst>
                                            <p:cond delay="0"/>
                                          </p:stCondLst>
                                        </p:cTn>
                                        <p:tgtEl>
                                          <p:spTgt spid="34"/>
                                        </p:tgtEl>
                                        <p:attrNameLst>
                                          <p:attrName>style.visibility</p:attrName>
                                        </p:attrNameLst>
                                      </p:cBhvr>
                                      <p:to>
                                        <p:strVal val="visible"/>
                                      </p:to>
                                    </p:set>
                                    <p:animEffect transition="in" filter="fade">
                                      <p:cBhvr>
                                        <p:cTn id="18" dur="1000"/>
                                        <p:tgtEl>
                                          <p:spTgt spid="34"/>
                                        </p:tgtEl>
                                      </p:cBhvr>
                                    </p:animEffect>
                                    <p:anim calcmode="lin" valueType="num">
                                      <p:cBhvr>
                                        <p:cTn id="19" dur="1000" fill="hold"/>
                                        <p:tgtEl>
                                          <p:spTgt spid="34"/>
                                        </p:tgtEl>
                                        <p:attrNameLst>
                                          <p:attrName>ppt_x</p:attrName>
                                        </p:attrNameLst>
                                      </p:cBhvr>
                                      <p:tavLst>
                                        <p:tav tm="0">
                                          <p:val>
                                            <p:strVal val="#ppt_x"/>
                                          </p:val>
                                        </p:tav>
                                        <p:tav tm="100000">
                                          <p:val>
                                            <p:strVal val="#ppt_x"/>
                                          </p:val>
                                        </p:tav>
                                      </p:tavLst>
                                    </p:anim>
                                    <p:anim calcmode="lin" valueType="num">
                                      <p:cBhvr>
                                        <p:cTn id="20" dur="1000" fill="hold"/>
                                        <p:tgtEl>
                                          <p:spTgt spid="34"/>
                                        </p:tgtEl>
                                        <p:attrNameLst>
                                          <p:attrName>ppt_y</p:attrName>
                                        </p:attrNameLst>
                                      </p:cBhvr>
                                      <p:tavLst>
                                        <p:tav tm="0">
                                          <p:val>
                                            <p:strVal val="#ppt_y+.1"/>
                                          </p:val>
                                        </p:tav>
                                        <p:tav tm="100000">
                                          <p:val>
                                            <p:strVal val="#ppt_y"/>
                                          </p:val>
                                        </p:tav>
                                      </p:tavLst>
                                    </p:anim>
                                  </p:childTnLst>
                                </p:cTn>
                              </p:par>
                            </p:childTnLst>
                          </p:cTn>
                        </p:par>
                        <p:par>
                          <p:cTn id="21" fill="hold">
                            <p:stCondLst>
                              <p:cond delay="1750"/>
                            </p:stCondLst>
                            <p:childTnLst>
                              <p:par>
                                <p:cTn id="22" presetID="22" presetClass="entr" presetSubtype="4" fill="hold" nodeType="afterEffect">
                                  <p:stCondLst>
                                    <p:cond delay="0"/>
                                  </p:stCondLst>
                                  <p:childTnLst>
                                    <p:set>
                                      <p:cBhvr>
                                        <p:cTn id="23" dur="1" fill="hold">
                                          <p:stCondLst>
                                            <p:cond delay="0"/>
                                          </p:stCondLst>
                                        </p:cTn>
                                        <p:tgtEl>
                                          <p:spTgt spid="35"/>
                                        </p:tgtEl>
                                        <p:attrNameLst>
                                          <p:attrName>style.visibility</p:attrName>
                                        </p:attrNameLst>
                                      </p:cBhvr>
                                      <p:to>
                                        <p:strVal val="visible"/>
                                      </p:to>
                                    </p:set>
                                    <p:animEffect transition="in" filter="wipe(down)">
                                      <p:cBhvr>
                                        <p:cTn id="24" dur="300"/>
                                        <p:tgtEl>
                                          <p:spTgt spid="35"/>
                                        </p:tgtEl>
                                      </p:cBhvr>
                                    </p:animEffect>
                                  </p:childTnLst>
                                </p:cTn>
                              </p:par>
                            </p:childTnLst>
                          </p:cTn>
                        </p:par>
                        <p:par>
                          <p:cTn id="25" fill="hold">
                            <p:stCondLst>
                              <p:cond delay="2050"/>
                            </p:stCondLst>
                            <p:childTnLst>
                              <p:par>
                                <p:cTn id="26" presetID="22" presetClass="entr" presetSubtype="4" fill="hold" nodeType="afterEffect">
                                  <p:stCondLst>
                                    <p:cond delay="0"/>
                                  </p:stCondLst>
                                  <p:childTnLst>
                                    <p:set>
                                      <p:cBhvr>
                                        <p:cTn id="27" dur="1" fill="hold">
                                          <p:stCondLst>
                                            <p:cond delay="0"/>
                                          </p:stCondLst>
                                        </p:cTn>
                                        <p:tgtEl>
                                          <p:spTgt spid="9"/>
                                        </p:tgtEl>
                                        <p:attrNameLst>
                                          <p:attrName>style.visibility</p:attrName>
                                        </p:attrNameLst>
                                      </p:cBhvr>
                                      <p:to>
                                        <p:strVal val="visible"/>
                                      </p:to>
                                    </p:set>
                                    <p:animEffect transition="in" filter="wipe(down)">
                                      <p:cBhvr>
                                        <p:cTn id="28" dur="300"/>
                                        <p:tgtEl>
                                          <p:spTgt spid="9"/>
                                        </p:tgtEl>
                                      </p:cBhvr>
                                    </p:animEffect>
                                  </p:childTnLst>
                                </p:cTn>
                              </p:par>
                            </p:childTnLst>
                          </p:cTn>
                        </p:par>
                        <p:par>
                          <p:cTn id="29" fill="hold">
                            <p:stCondLst>
                              <p:cond delay="2350"/>
                            </p:stCondLst>
                            <p:childTnLst>
                              <p:par>
                                <p:cTn id="30" presetID="22" presetClass="entr" presetSubtype="4" fill="hold" nodeType="afterEffect">
                                  <p:stCondLst>
                                    <p:cond delay="0"/>
                                  </p:stCondLst>
                                  <p:childTnLst>
                                    <p:set>
                                      <p:cBhvr>
                                        <p:cTn id="31" dur="1" fill="hold">
                                          <p:stCondLst>
                                            <p:cond delay="0"/>
                                          </p:stCondLst>
                                        </p:cTn>
                                        <p:tgtEl>
                                          <p:spTgt spid="10"/>
                                        </p:tgtEl>
                                        <p:attrNameLst>
                                          <p:attrName>style.visibility</p:attrName>
                                        </p:attrNameLst>
                                      </p:cBhvr>
                                      <p:to>
                                        <p:strVal val="visible"/>
                                      </p:to>
                                    </p:set>
                                    <p:animEffect transition="in" filter="wipe(down)">
                                      <p:cBhvr>
                                        <p:cTn id="32" dur="300"/>
                                        <p:tgtEl>
                                          <p:spTgt spid="10"/>
                                        </p:tgtEl>
                                      </p:cBhvr>
                                    </p:animEffect>
                                  </p:childTnLst>
                                </p:cTn>
                              </p:par>
                            </p:childTnLst>
                          </p:cTn>
                        </p:par>
                        <p:par>
                          <p:cTn id="33" fill="hold">
                            <p:stCondLst>
                              <p:cond delay="2650"/>
                            </p:stCondLst>
                            <p:childTnLst>
                              <p:par>
                                <p:cTn id="34" presetID="22" presetClass="entr" presetSubtype="4" fill="hold" nodeType="afterEffect">
                                  <p:stCondLst>
                                    <p:cond delay="0"/>
                                  </p:stCondLst>
                                  <p:childTnLst>
                                    <p:set>
                                      <p:cBhvr>
                                        <p:cTn id="35" dur="1" fill="hold">
                                          <p:stCondLst>
                                            <p:cond delay="0"/>
                                          </p:stCondLst>
                                        </p:cTn>
                                        <p:tgtEl>
                                          <p:spTgt spid="11"/>
                                        </p:tgtEl>
                                        <p:attrNameLst>
                                          <p:attrName>style.visibility</p:attrName>
                                        </p:attrNameLst>
                                      </p:cBhvr>
                                      <p:to>
                                        <p:strVal val="visible"/>
                                      </p:to>
                                    </p:set>
                                    <p:animEffect transition="in" filter="wipe(down)">
                                      <p:cBhvr>
                                        <p:cTn id="36" dur="300"/>
                                        <p:tgtEl>
                                          <p:spTgt spid="11"/>
                                        </p:tgtEl>
                                      </p:cBhvr>
                                    </p:animEffect>
                                  </p:childTnLst>
                                </p:cTn>
                              </p:par>
                            </p:childTnLst>
                          </p:cTn>
                        </p:par>
                        <p:par>
                          <p:cTn id="37" fill="hold">
                            <p:stCondLst>
                              <p:cond delay="2950"/>
                            </p:stCondLst>
                            <p:childTnLst>
                              <p:par>
                                <p:cTn id="38" presetID="22" presetClass="entr" presetSubtype="4" fill="hold" nodeType="afterEffect">
                                  <p:stCondLst>
                                    <p:cond delay="0"/>
                                  </p:stCondLst>
                                  <p:childTnLst>
                                    <p:set>
                                      <p:cBhvr>
                                        <p:cTn id="39" dur="1" fill="hold">
                                          <p:stCondLst>
                                            <p:cond delay="0"/>
                                          </p:stCondLst>
                                        </p:cTn>
                                        <p:tgtEl>
                                          <p:spTgt spid="12"/>
                                        </p:tgtEl>
                                        <p:attrNameLst>
                                          <p:attrName>style.visibility</p:attrName>
                                        </p:attrNameLst>
                                      </p:cBhvr>
                                      <p:to>
                                        <p:strVal val="visible"/>
                                      </p:to>
                                    </p:set>
                                    <p:animEffect transition="in" filter="wipe(down)">
                                      <p:cBhvr>
                                        <p:cTn id="40" dur="300"/>
                                        <p:tgtEl>
                                          <p:spTgt spid="12"/>
                                        </p:tgtEl>
                                      </p:cBhvr>
                                    </p:animEffect>
                                  </p:childTnLst>
                                </p:cTn>
                              </p:par>
                            </p:childTnLst>
                          </p:cTn>
                        </p:par>
                        <p:par>
                          <p:cTn id="41" fill="hold">
                            <p:stCondLst>
                              <p:cond delay="3250"/>
                            </p:stCondLst>
                            <p:childTnLst>
                              <p:par>
                                <p:cTn id="42" presetID="22" presetClass="entr" presetSubtype="4" fill="hold" nodeType="afterEffect">
                                  <p:stCondLst>
                                    <p:cond delay="0"/>
                                  </p:stCondLst>
                                  <p:childTnLst>
                                    <p:set>
                                      <p:cBhvr>
                                        <p:cTn id="43" dur="1" fill="hold">
                                          <p:stCondLst>
                                            <p:cond delay="0"/>
                                          </p:stCondLst>
                                        </p:cTn>
                                        <p:tgtEl>
                                          <p:spTgt spid="13"/>
                                        </p:tgtEl>
                                        <p:attrNameLst>
                                          <p:attrName>style.visibility</p:attrName>
                                        </p:attrNameLst>
                                      </p:cBhvr>
                                      <p:to>
                                        <p:strVal val="visible"/>
                                      </p:to>
                                    </p:set>
                                    <p:animEffect transition="in" filter="wipe(down)">
                                      <p:cBhvr>
                                        <p:cTn id="44" dur="300"/>
                                        <p:tgtEl>
                                          <p:spTgt spid="13"/>
                                        </p:tgtEl>
                                      </p:cBhvr>
                                    </p:animEffect>
                                  </p:childTnLst>
                                </p:cTn>
                              </p:par>
                            </p:childTnLst>
                          </p:cTn>
                        </p:par>
                        <p:par>
                          <p:cTn id="45" fill="hold">
                            <p:stCondLst>
                              <p:cond delay="3550"/>
                            </p:stCondLst>
                            <p:childTnLst>
                              <p:par>
                                <p:cTn id="46" presetID="22" presetClass="entr" presetSubtype="4" fill="hold" nodeType="afterEffect">
                                  <p:stCondLst>
                                    <p:cond delay="0"/>
                                  </p:stCondLst>
                                  <p:childTnLst>
                                    <p:set>
                                      <p:cBhvr>
                                        <p:cTn id="47" dur="1" fill="hold">
                                          <p:stCondLst>
                                            <p:cond delay="0"/>
                                          </p:stCondLst>
                                        </p:cTn>
                                        <p:tgtEl>
                                          <p:spTgt spid="14"/>
                                        </p:tgtEl>
                                        <p:attrNameLst>
                                          <p:attrName>style.visibility</p:attrName>
                                        </p:attrNameLst>
                                      </p:cBhvr>
                                      <p:to>
                                        <p:strVal val="visible"/>
                                      </p:to>
                                    </p:set>
                                    <p:animEffect transition="in" filter="wipe(down)">
                                      <p:cBhvr>
                                        <p:cTn id="48" dur="300"/>
                                        <p:tgtEl>
                                          <p:spTgt spid="14"/>
                                        </p:tgtEl>
                                      </p:cBhvr>
                                    </p:animEffect>
                                  </p:childTnLst>
                                </p:cTn>
                              </p:par>
                            </p:childTnLst>
                          </p:cTn>
                        </p:par>
                        <p:par>
                          <p:cTn id="49" fill="hold">
                            <p:stCondLst>
                              <p:cond delay="3850"/>
                            </p:stCondLst>
                            <p:childTnLst>
                              <p:par>
                                <p:cTn id="50" presetID="22" presetClass="entr" presetSubtype="4" fill="hold" nodeType="afterEffect">
                                  <p:stCondLst>
                                    <p:cond delay="0"/>
                                  </p:stCondLst>
                                  <p:childTnLst>
                                    <p:set>
                                      <p:cBhvr>
                                        <p:cTn id="51" dur="1" fill="hold">
                                          <p:stCondLst>
                                            <p:cond delay="0"/>
                                          </p:stCondLst>
                                        </p:cTn>
                                        <p:tgtEl>
                                          <p:spTgt spid="15"/>
                                        </p:tgtEl>
                                        <p:attrNameLst>
                                          <p:attrName>style.visibility</p:attrName>
                                        </p:attrNameLst>
                                      </p:cBhvr>
                                      <p:to>
                                        <p:strVal val="visible"/>
                                      </p:to>
                                    </p:set>
                                    <p:animEffect transition="in" filter="wipe(down)">
                                      <p:cBhvr>
                                        <p:cTn id="52" dur="3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4" grpId="1"/>
      <p:bldP spid="5" grpId="0"/>
      <p:bldP spid="5" grpId="1"/>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74638" y="1212850"/>
            <a:ext cx="6248399" cy="5666167"/>
          </a:xfrm>
        </p:spPr>
        <p:txBody>
          <a:bodyPr/>
          <a:lstStyle/>
          <a:p>
            <a:pPr marL="0" indent="0">
              <a:buNone/>
            </a:pPr>
            <a:r>
              <a:rPr lang="en-US" sz="2400" dirty="0"/>
              <a:t>Modern cloud applications need:</a:t>
            </a:r>
            <a:br>
              <a:rPr lang="en-US" sz="2400" dirty="0"/>
            </a:br>
            <a:endParaRPr lang="en-US" sz="2400" dirty="0"/>
          </a:p>
          <a:p>
            <a:r>
              <a:rPr lang="en-US" sz="2400" b="1" dirty="0"/>
              <a:t>Scale</a:t>
            </a:r>
            <a:r>
              <a:rPr lang="en-US" sz="2400" dirty="0"/>
              <a:t> - Deploy identical resources </a:t>
            </a:r>
          </a:p>
          <a:p>
            <a:pPr lvl="1"/>
            <a:r>
              <a:rPr lang="en-US" sz="1800" dirty="0"/>
              <a:t>Easily</a:t>
            </a:r>
          </a:p>
          <a:p>
            <a:pPr lvl="1"/>
            <a:r>
              <a:rPr lang="en-US" sz="1800" dirty="0"/>
              <a:t>Rapidly</a:t>
            </a:r>
          </a:p>
          <a:p>
            <a:pPr lvl="1"/>
            <a:r>
              <a:rPr lang="en-US" sz="1800" dirty="0"/>
              <a:t>At scale.. 10s – 10,000s of cores</a:t>
            </a:r>
          </a:p>
          <a:p>
            <a:r>
              <a:rPr lang="en-US" sz="2400" b="1" dirty="0"/>
              <a:t>Customization</a:t>
            </a:r>
            <a:r>
              <a:rPr lang="en-US" sz="2400" dirty="0"/>
              <a:t> – PaaS-like ease of use with custom infrastructure requirements</a:t>
            </a:r>
          </a:p>
          <a:p>
            <a:r>
              <a:rPr lang="en-US" sz="2400" b="1" dirty="0"/>
              <a:t>Availability</a:t>
            </a:r>
            <a:r>
              <a:rPr lang="en-US" sz="2400" dirty="0"/>
              <a:t> - Roll out updates without service interruption</a:t>
            </a:r>
          </a:p>
          <a:p>
            <a:r>
              <a:rPr lang="en-US" sz="2400" b="1" dirty="0"/>
              <a:t>Low cost - </a:t>
            </a:r>
            <a:r>
              <a:rPr lang="en-US" sz="2400" dirty="0"/>
              <a:t>Dynamically increase/decrease compute power to optimize costs</a:t>
            </a:r>
            <a:endParaRPr lang="en-US" sz="2400" b="1" dirty="0"/>
          </a:p>
          <a:p>
            <a:r>
              <a:rPr lang="en-US" sz="2400" b="1" dirty="0"/>
              <a:t>Elasticity</a:t>
            </a:r>
            <a:r>
              <a:rPr lang="en-US" sz="2400" dirty="0"/>
              <a:t> - Automatically scale to changing demand</a:t>
            </a:r>
          </a:p>
          <a:p>
            <a:endParaRPr lang="en-US" sz="2000" dirty="0"/>
          </a:p>
          <a:p>
            <a:pPr lvl="1"/>
            <a:endParaRPr lang="en-US" sz="1200" dirty="0"/>
          </a:p>
        </p:txBody>
      </p:sp>
      <p:sp>
        <p:nvSpPr>
          <p:cNvPr id="3" name="Title 2"/>
          <p:cNvSpPr>
            <a:spLocks noGrp="1"/>
          </p:cNvSpPr>
          <p:nvPr>
            <p:ph type="title"/>
          </p:nvPr>
        </p:nvSpPr>
        <p:spPr/>
        <p:txBody>
          <a:bodyPr/>
          <a:lstStyle/>
          <a:p>
            <a:r>
              <a:rPr lang="en-US" dirty="0"/>
              <a:t>Why VM Scale Sets?</a:t>
            </a:r>
          </a:p>
        </p:txBody>
      </p:sp>
      <p:pic>
        <p:nvPicPr>
          <p:cNvPr id="4" name="Picture 3"/>
          <p:cNvPicPr>
            <a:picLocks noChangeAspect="1"/>
          </p:cNvPicPr>
          <p:nvPr/>
        </p:nvPicPr>
        <p:blipFill>
          <a:blip r:embed="rId3"/>
          <a:stretch>
            <a:fillRect/>
          </a:stretch>
        </p:blipFill>
        <p:spPr>
          <a:xfrm>
            <a:off x="6665842" y="1081929"/>
            <a:ext cx="5138743" cy="3024934"/>
          </a:xfrm>
          <a:prstGeom prst="rect">
            <a:avLst/>
          </a:prstGeom>
        </p:spPr>
      </p:pic>
      <p:pic>
        <p:nvPicPr>
          <p:cNvPr id="5" name="Picture 4"/>
          <p:cNvPicPr>
            <a:picLocks noChangeAspect="1"/>
          </p:cNvPicPr>
          <p:nvPr/>
        </p:nvPicPr>
        <p:blipFill>
          <a:blip r:embed="rId4"/>
          <a:stretch>
            <a:fillRect/>
          </a:stretch>
        </p:blipFill>
        <p:spPr>
          <a:xfrm>
            <a:off x="6635537" y="4259262"/>
            <a:ext cx="5169048" cy="2114610"/>
          </a:xfrm>
          <a:prstGeom prst="rect">
            <a:avLst/>
          </a:prstGeom>
        </p:spPr>
      </p:pic>
    </p:spTree>
    <p:extLst>
      <p:ext uri="{BB962C8B-B14F-4D97-AF65-F5344CB8AC3E}">
        <p14:creationId xmlns:p14="http://schemas.microsoft.com/office/powerpoint/2010/main" val="1176964639"/>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Autoscale with VM Scale Sets</a:t>
            </a:r>
          </a:p>
        </p:txBody>
      </p:sp>
      <p:sp>
        <p:nvSpPr>
          <p:cNvPr id="4" name="Text Placeholder 1"/>
          <p:cNvSpPr txBox="1">
            <a:spLocks/>
          </p:cNvSpPr>
          <p:nvPr/>
        </p:nvSpPr>
        <p:spPr>
          <a:xfrm>
            <a:off x="226378" y="2373776"/>
            <a:ext cx="7162108" cy="631385"/>
          </a:xfrm>
          <a:prstGeom prst="rect">
            <a:avLst/>
          </a:prstGeom>
        </p:spPr>
        <p:txBody>
          <a:bodyPr vert="horz" wrap="square" lIns="149196" tIns="93247" rIns="149196" bIns="93247" rtlCol="0">
            <a:sp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342768" indent="-342768" defTabSz="932384">
              <a:defRPr/>
            </a:pPr>
            <a:r>
              <a:rPr lang="en-US" sz="3199" dirty="0">
                <a:solidFill>
                  <a:schemeClr val="tx1"/>
                </a:solidFill>
                <a:latin typeface="Segoe UI Light"/>
              </a:rPr>
              <a:t>Define trigger and action rules</a:t>
            </a:r>
          </a:p>
        </p:txBody>
      </p:sp>
      <p:sp>
        <p:nvSpPr>
          <p:cNvPr id="7" name="Text Placeholder 1"/>
          <p:cNvSpPr txBox="1">
            <a:spLocks/>
          </p:cNvSpPr>
          <p:nvPr/>
        </p:nvSpPr>
        <p:spPr>
          <a:xfrm>
            <a:off x="226378" y="1699622"/>
            <a:ext cx="7162108" cy="640206"/>
          </a:xfrm>
          <a:prstGeom prst="rect">
            <a:avLst/>
          </a:prstGeom>
        </p:spPr>
        <p:txBody>
          <a:bodyPr vert="horz" wrap="square" lIns="149196" tIns="93247" rIns="149196" bIns="93247" rtlCol="0">
            <a:sp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342768" indent="-342768" defTabSz="932384">
              <a:defRPr/>
            </a:pPr>
            <a:r>
              <a:rPr lang="en-US" sz="3199" dirty="0">
                <a:solidFill>
                  <a:schemeClr val="tx1"/>
                </a:solidFill>
                <a:latin typeface="Segoe UI Light"/>
              </a:rPr>
              <a:t>Define Max – Min VMs</a:t>
            </a:r>
          </a:p>
        </p:txBody>
      </p:sp>
      <p:sp>
        <p:nvSpPr>
          <p:cNvPr id="8" name="Text Placeholder 1"/>
          <p:cNvSpPr txBox="1">
            <a:spLocks/>
          </p:cNvSpPr>
          <p:nvPr/>
        </p:nvSpPr>
        <p:spPr>
          <a:xfrm>
            <a:off x="226378" y="3039109"/>
            <a:ext cx="7418637" cy="1616014"/>
          </a:xfrm>
          <a:prstGeom prst="rect">
            <a:avLst/>
          </a:prstGeom>
        </p:spPr>
        <p:txBody>
          <a:bodyPr vert="horz" wrap="square" lIns="149196" tIns="93247" rIns="149196" bIns="93247" rtlCol="0">
            <a:sp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342768" indent="-342768" defTabSz="932384">
              <a:defRPr/>
            </a:pPr>
            <a:r>
              <a:rPr lang="en-US" sz="3199" dirty="0">
                <a:solidFill>
                  <a:schemeClr val="tx1"/>
                </a:solidFill>
                <a:latin typeface="Segoe UI Light"/>
              </a:rPr>
              <a:t>Standard audit / email notifications</a:t>
            </a:r>
          </a:p>
          <a:p>
            <a:pPr marL="342768" indent="-342768" defTabSz="932384">
              <a:defRPr/>
            </a:pPr>
            <a:r>
              <a:rPr lang="en-US" sz="3199" dirty="0">
                <a:solidFill>
                  <a:schemeClr val="tx1"/>
                </a:solidFill>
                <a:latin typeface="Segoe UI Light"/>
              </a:rPr>
              <a:t>Define </a:t>
            </a:r>
            <a:r>
              <a:rPr lang="en-US" sz="3199" dirty="0" err="1">
                <a:solidFill>
                  <a:schemeClr val="tx1"/>
                </a:solidFill>
                <a:latin typeface="Segoe UI Light"/>
              </a:rPr>
              <a:t>webhooks</a:t>
            </a:r>
            <a:r>
              <a:rPr lang="en-US" sz="3199" dirty="0">
                <a:solidFill>
                  <a:schemeClr val="tx1"/>
                </a:solidFill>
                <a:latin typeface="Segoe UI Light"/>
              </a:rPr>
              <a:t> for custom notifications and actions (e.g. runbooks)</a:t>
            </a:r>
          </a:p>
        </p:txBody>
      </p:sp>
      <p:pic>
        <p:nvPicPr>
          <p:cNvPr id="9" name="Picture 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931483" y="1699622"/>
            <a:ext cx="3634961" cy="4955702"/>
          </a:xfrm>
          <a:prstGeom prst="rect">
            <a:avLst/>
          </a:prstGeom>
        </p:spPr>
      </p:pic>
    </p:spTree>
    <p:extLst>
      <p:ext uri="{BB962C8B-B14F-4D97-AF65-F5344CB8AC3E}">
        <p14:creationId xmlns:p14="http://schemas.microsoft.com/office/powerpoint/2010/main" val="7642891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3" name="Picture 162" descr="2073251155_0451f31674.jpg"/>
          <p:cNvPicPr>
            <a:picLocks noChangeAspect="1"/>
          </p:cNvPicPr>
          <p:nvPr/>
        </p:nvPicPr>
        <p:blipFill>
          <a:blip r:embed="rId3"/>
          <a:stretch>
            <a:fillRect/>
          </a:stretch>
        </p:blipFill>
        <p:spPr>
          <a:xfrm>
            <a:off x="1241840" y="4872565"/>
            <a:ext cx="1263950" cy="1019334"/>
          </a:xfrm>
          <a:prstGeom prst="rect">
            <a:avLst/>
          </a:prstGeom>
          <a:noFill/>
        </p:spPr>
      </p:pic>
      <p:sp>
        <p:nvSpPr>
          <p:cNvPr id="83" name="Pentagon 82"/>
          <p:cNvSpPr/>
          <p:nvPr/>
        </p:nvSpPr>
        <p:spPr bwMode="auto">
          <a:xfrm rot="5400000">
            <a:off x="10158920" y="3341613"/>
            <a:ext cx="1112212" cy="1565098"/>
          </a:xfrm>
          <a:prstGeom prst="homePlate">
            <a:avLst>
              <a:gd name="adj" fmla="val 38432"/>
            </a:avLst>
          </a:prstGeom>
          <a:solidFill>
            <a:srgbClr val="0078D7">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179031" tIns="143225" rIns="179031" bIns="143225" numCol="1" spcCol="0" rtlCol="0" fromWordArt="0" anchor="t" anchorCtr="0" forceAA="0" compatLnSpc="1">
            <a:prstTxWarp prst="textNoShape">
              <a:avLst/>
            </a:prstTxWarp>
            <a:noAutofit/>
          </a:bodyPr>
          <a:lstStyle/>
          <a:p>
            <a:pPr algn="ctr" defTabSz="912766" fontAlgn="base">
              <a:lnSpc>
                <a:spcPct val="90000"/>
              </a:lnSpc>
              <a:spcBef>
                <a:spcPct val="0"/>
              </a:spcBef>
              <a:spcAft>
                <a:spcPct val="0"/>
              </a:spcAft>
              <a:defRPr/>
            </a:pPr>
            <a:endParaRPr lang="en-US" sz="2350"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4" name="Hexagon 83"/>
          <p:cNvSpPr>
            <a:spLocks noChangeAspect="1"/>
          </p:cNvSpPr>
          <p:nvPr/>
        </p:nvSpPr>
        <p:spPr bwMode="auto">
          <a:xfrm>
            <a:off x="1550169" y="2659042"/>
            <a:ext cx="652716" cy="564600"/>
          </a:xfrm>
          <a:prstGeom prst="hexagon">
            <a:avLst/>
          </a:prstGeom>
          <a:solidFill>
            <a:srgbClr val="0078D7">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179031" tIns="143225" rIns="179031" bIns="143225" numCol="1" spcCol="0" rtlCol="0" fromWordArt="0" anchor="t" anchorCtr="0" forceAA="0" compatLnSpc="1">
            <a:prstTxWarp prst="textNoShape">
              <a:avLst/>
            </a:prstTxWarp>
            <a:noAutofit/>
          </a:bodyPr>
          <a:lstStyle/>
          <a:p>
            <a:pPr algn="ctr" defTabSz="912766" fontAlgn="base">
              <a:lnSpc>
                <a:spcPct val="90000"/>
              </a:lnSpc>
              <a:spcBef>
                <a:spcPct val="0"/>
              </a:spcBef>
              <a:spcAft>
                <a:spcPct val="0"/>
              </a:spcAft>
              <a:defRPr/>
            </a:pPr>
            <a:endParaRPr lang="en-US" sz="2350"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5" name="Hexagon 84"/>
          <p:cNvSpPr>
            <a:spLocks noChangeAspect="1"/>
          </p:cNvSpPr>
          <p:nvPr/>
        </p:nvSpPr>
        <p:spPr bwMode="auto">
          <a:xfrm>
            <a:off x="2663290" y="2659042"/>
            <a:ext cx="652716" cy="564600"/>
          </a:xfrm>
          <a:prstGeom prst="hexagon">
            <a:avLst/>
          </a:prstGeom>
          <a:solidFill>
            <a:srgbClr val="0078D7">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179031" tIns="143225" rIns="179031" bIns="143225" numCol="1" spcCol="0" rtlCol="0" fromWordArt="0" anchor="t" anchorCtr="0" forceAA="0" compatLnSpc="1">
            <a:prstTxWarp prst="textNoShape">
              <a:avLst/>
            </a:prstTxWarp>
            <a:noAutofit/>
          </a:bodyPr>
          <a:lstStyle/>
          <a:p>
            <a:pPr algn="ctr" defTabSz="912766" fontAlgn="base">
              <a:lnSpc>
                <a:spcPct val="90000"/>
              </a:lnSpc>
              <a:spcBef>
                <a:spcPct val="0"/>
              </a:spcBef>
              <a:spcAft>
                <a:spcPct val="0"/>
              </a:spcAft>
              <a:defRPr/>
            </a:pPr>
            <a:endParaRPr lang="en-US" sz="2350"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6" name="Hexagon 85"/>
          <p:cNvSpPr>
            <a:spLocks noChangeAspect="1"/>
          </p:cNvSpPr>
          <p:nvPr/>
        </p:nvSpPr>
        <p:spPr bwMode="auto">
          <a:xfrm>
            <a:off x="3735837" y="2659042"/>
            <a:ext cx="652716" cy="564600"/>
          </a:xfrm>
          <a:prstGeom prst="hexagon">
            <a:avLst/>
          </a:prstGeom>
          <a:solidFill>
            <a:srgbClr val="0078D7">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179031" tIns="143225" rIns="179031" bIns="143225" numCol="1" spcCol="0" rtlCol="0" fromWordArt="0" anchor="t" anchorCtr="0" forceAA="0" compatLnSpc="1">
            <a:prstTxWarp prst="textNoShape">
              <a:avLst/>
            </a:prstTxWarp>
            <a:noAutofit/>
          </a:bodyPr>
          <a:lstStyle/>
          <a:p>
            <a:pPr algn="ctr" defTabSz="912766" fontAlgn="base">
              <a:lnSpc>
                <a:spcPct val="90000"/>
              </a:lnSpc>
              <a:spcBef>
                <a:spcPct val="0"/>
              </a:spcBef>
              <a:spcAft>
                <a:spcPct val="0"/>
              </a:spcAft>
              <a:defRPr/>
            </a:pPr>
            <a:endParaRPr lang="en-US" sz="2350"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7" name="Hexagon 86"/>
          <p:cNvSpPr>
            <a:spLocks noChangeAspect="1"/>
          </p:cNvSpPr>
          <p:nvPr/>
        </p:nvSpPr>
        <p:spPr bwMode="auto">
          <a:xfrm>
            <a:off x="4837206" y="2659042"/>
            <a:ext cx="652716" cy="564600"/>
          </a:xfrm>
          <a:prstGeom prst="hexagon">
            <a:avLst/>
          </a:prstGeom>
          <a:solidFill>
            <a:srgbClr val="0078D7">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179031" tIns="143225" rIns="179031" bIns="143225" numCol="1" spcCol="0" rtlCol="0" fromWordArt="0" anchor="t" anchorCtr="0" forceAA="0" compatLnSpc="1">
            <a:prstTxWarp prst="textNoShape">
              <a:avLst/>
            </a:prstTxWarp>
            <a:noAutofit/>
          </a:bodyPr>
          <a:lstStyle/>
          <a:p>
            <a:pPr algn="ctr" defTabSz="912766" fontAlgn="base">
              <a:lnSpc>
                <a:spcPct val="90000"/>
              </a:lnSpc>
              <a:spcBef>
                <a:spcPct val="0"/>
              </a:spcBef>
              <a:spcAft>
                <a:spcPct val="0"/>
              </a:spcAft>
              <a:defRPr/>
            </a:pPr>
            <a:endParaRPr lang="en-US" sz="2350"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8" name="Hexagon 87"/>
          <p:cNvSpPr>
            <a:spLocks noChangeAspect="1"/>
          </p:cNvSpPr>
          <p:nvPr/>
        </p:nvSpPr>
        <p:spPr bwMode="auto">
          <a:xfrm>
            <a:off x="5938574" y="2659042"/>
            <a:ext cx="652716" cy="564600"/>
          </a:xfrm>
          <a:prstGeom prst="hexagon">
            <a:avLst/>
          </a:prstGeom>
          <a:solidFill>
            <a:srgbClr val="0078D7">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179031" tIns="143225" rIns="179031" bIns="143225" numCol="1" spcCol="0" rtlCol="0" fromWordArt="0" anchor="t" anchorCtr="0" forceAA="0" compatLnSpc="1">
            <a:prstTxWarp prst="textNoShape">
              <a:avLst/>
            </a:prstTxWarp>
            <a:noAutofit/>
          </a:bodyPr>
          <a:lstStyle/>
          <a:p>
            <a:pPr algn="ctr" defTabSz="912766" fontAlgn="base">
              <a:lnSpc>
                <a:spcPct val="90000"/>
              </a:lnSpc>
              <a:spcBef>
                <a:spcPct val="0"/>
              </a:spcBef>
              <a:spcAft>
                <a:spcPct val="0"/>
              </a:spcAft>
              <a:defRPr/>
            </a:pPr>
            <a:endParaRPr lang="en-US" sz="2350"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9" name="Hexagon 88"/>
          <p:cNvSpPr>
            <a:spLocks noChangeAspect="1"/>
          </p:cNvSpPr>
          <p:nvPr/>
        </p:nvSpPr>
        <p:spPr bwMode="auto">
          <a:xfrm>
            <a:off x="7020844" y="2659042"/>
            <a:ext cx="652716" cy="564600"/>
          </a:xfrm>
          <a:prstGeom prst="hexagon">
            <a:avLst/>
          </a:prstGeom>
          <a:solidFill>
            <a:srgbClr val="0078D7">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179031" tIns="143225" rIns="179031" bIns="143225" numCol="1" spcCol="0" rtlCol="0" fromWordArt="0" anchor="t" anchorCtr="0" forceAA="0" compatLnSpc="1">
            <a:prstTxWarp prst="textNoShape">
              <a:avLst/>
            </a:prstTxWarp>
            <a:noAutofit/>
          </a:bodyPr>
          <a:lstStyle/>
          <a:p>
            <a:pPr algn="ctr" defTabSz="912766" fontAlgn="base">
              <a:lnSpc>
                <a:spcPct val="90000"/>
              </a:lnSpc>
              <a:spcBef>
                <a:spcPct val="0"/>
              </a:spcBef>
              <a:spcAft>
                <a:spcPct val="0"/>
              </a:spcAft>
              <a:defRPr/>
            </a:pPr>
            <a:endParaRPr lang="en-US" sz="2350"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0" name="Hexagon 89"/>
          <p:cNvSpPr>
            <a:spLocks noChangeAspect="1"/>
          </p:cNvSpPr>
          <p:nvPr/>
        </p:nvSpPr>
        <p:spPr bwMode="auto">
          <a:xfrm>
            <a:off x="8105252" y="2659042"/>
            <a:ext cx="652716" cy="564600"/>
          </a:xfrm>
          <a:prstGeom prst="hexagon">
            <a:avLst/>
          </a:prstGeom>
          <a:solidFill>
            <a:srgbClr val="0078D7">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179031" tIns="143225" rIns="179031" bIns="143225" numCol="1" spcCol="0" rtlCol="0" fromWordArt="0" anchor="t" anchorCtr="0" forceAA="0" compatLnSpc="1">
            <a:prstTxWarp prst="textNoShape">
              <a:avLst/>
            </a:prstTxWarp>
            <a:noAutofit/>
          </a:bodyPr>
          <a:lstStyle/>
          <a:p>
            <a:pPr algn="ctr" defTabSz="912766" fontAlgn="base">
              <a:lnSpc>
                <a:spcPct val="90000"/>
              </a:lnSpc>
              <a:spcBef>
                <a:spcPct val="0"/>
              </a:spcBef>
              <a:spcAft>
                <a:spcPct val="0"/>
              </a:spcAft>
              <a:defRPr/>
            </a:pPr>
            <a:endParaRPr lang="en-US" sz="2350"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1" name="Hexagon 90"/>
          <p:cNvSpPr>
            <a:spLocks noChangeAspect="1"/>
          </p:cNvSpPr>
          <p:nvPr/>
        </p:nvSpPr>
        <p:spPr bwMode="auto">
          <a:xfrm>
            <a:off x="9203242" y="2659042"/>
            <a:ext cx="652716" cy="564600"/>
          </a:xfrm>
          <a:prstGeom prst="hexagon">
            <a:avLst/>
          </a:prstGeom>
          <a:solidFill>
            <a:srgbClr val="0078D7">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179031" tIns="143225" rIns="179031" bIns="143225" numCol="1" spcCol="0" rtlCol="0" fromWordArt="0" anchor="t" anchorCtr="0" forceAA="0" compatLnSpc="1">
            <a:prstTxWarp prst="textNoShape">
              <a:avLst/>
            </a:prstTxWarp>
            <a:noAutofit/>
          </a:bodyPr>
          <a:lstStyle/>
          <a:p>
            <a:pPr algn="ctr" defTabSz="912766" fontAlgn="base">
              <a:lnSpc>
                <a:spcPct val="90000"/>
              </a:lnSpc>
              <a:spcBef>
                <a:spcPct val="0"/>
              </a:spcBef>
              <a:spcAft>
                <a:spcPct val="0"/>
              </a:spcAft>
              <a:defRPr/>
            </a:pPr>
            <a:endParaRPr lang="en-US" sz="2350"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2" name="Hexagon 91"/>
          <p:cNvSpPr>
            <a:spLocks noChangeAspect="1"/>
          </p:cNvSpPr>
          <p:nvPr/>
        </p:nvSpPr>
        <p:spPr bwMode="auto">
          <a:xfrm>
            <a:off x="10271678" y="2659042"/>
            <a:ext cx="652716" cy="564600"/>
          </a:xfrm>
          <a:prstGeom prst="hexagon">
            <a:avLst/>
          </a:prstGeom>
          <a:solidFill>
            <a:srgbClr val="0078D7">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179031" tIns="143225" rIns="179031" bIns="143225" numCol="1" spcCol="0" rtlCol="0" fromWordArt="0" anchor="t" anchorCtr="0" forceAA="0" compatLnSpc="1">
            <a:prstTxWarp prst="textNoShape">
              <a:avLst/>
            </a:prstTxWarp>
            <a:noAutofit/>
          </a:bodyPr>
          <a:lstStyle/>
          <a:p>
            <a:pPr algn="ctr" defTabSz="912766" fontAlgn="base">
              <a:lnSpc>
                <a:spcPct val="90000"/>
              </a:lnSpc>
              <a:spcBef>
                <a:spcPct val="0"/>
              </a:spcBef>
              <a:spcAft>
                <a:spcPct val="0"/>
              </a:spcAft>
              <a:defRPr/>
            </a:pPr>
            <a:endParaRPr lang="en-US" sz="2350"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3" name="Pentagon 92"/>
          <p:cNvSpPr/>
          <p:nvPr/>
        </p:nvSpPr>
        <p:spPr bwMode="auto">
          <a:xfrm rot="5400000">
            <a:off x="1235802" y="3363086"/>
            <a:ext cx="1112212" cy="1565098"/>
          </a:xfrm>
          <a:prstGeom prst="homePlate">
            <a:avLst>
              <a:gd name="adj" fmla="val 38432"/>
            </a:avLst>
          </a:prstGeom>
          <a:solidFill>
            <a:srgbClr val="0078D7">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179031" tIns="143225" rIns="179031" bIns="143225" numCol="1" spcCol="0" rtlCol="0" fromWordArt="0" anchor="t" anchorCtr="0" forceAA="0" compatLnSpc="1">
            <a:prstTxWarp prst="textNoShape">
              <a:avLst/>
            </a:prstTxWarp>
            <a:noAutofit/>
          </a:bodyPr>
          <a:lstStyle/>
          <a:p>
            <a:pPr algn="ctr" defTabSz="912766" fontAlgn="base">
              <a:lnSpc>
                <a:spcPct val="90000"/>
              </a:lnSpc>
              <a:spcBef>
                <a:spcPct val="0"/>
              </a:spcBef>
              <a:spcAft>
                <a:spcPct val="0"/>
              </a:spcAft>
              <a:defRPr/>
            </a:pPr>
            <a:endParaRPr lang="en-US" sz="2350"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4" name="Pentagon 93"/>
          <p:cNvSpPr/>
          <p:nvPr/>
        </p:nvSpPr>
        <p:spPr bwMode="auto">
          <a:xfrm rot="5400000">
            <a:off x="7131765" y="3363086"/>
            <a:ext cx="1112212" cy="1565098"/>
          </a:xfrm>
          <a:prstGeom prst="homePlate">
            <a:avLst>
              <a:gd name="adj" fmla="val 38432"/>
            </a:avLst>
          </a:prstGeom>
          <a:solidFill>
            <a:srgbClr val="0078D7">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179031" tIns="143225" rIns="179031" bIns="143225" numCol="1" spcCol="0" rtlCol="0" fromWordArt="0" anchor="t" anchorCtr="0" forceAA="0" compatLnSpc="1">
            <a:prstTxWarp prst="textNoShape">
              <a:avLst/>
            </a:prstTxWarp>
            <a:noAutofit/>
          </a:bodyPr>
          <a:lstStyle/>
          <a:p>
            <a:pPr algn="ctr" defTabSz="912766" fontAlgn="base">
              <a:lnSpc>
                <a:spcPct val="90000"/>
              </a:lnSpc>
              <a:spcBef>
                <a:spcPct val="0"/>
              </a:spcBef>
              <a:spcAft>
                <a:spcPct val="0"/>
              </a:spcAft>
              <a:defRPr/>
            </a:pPr>
            <a:endParaRPr lang="en-US" sz="2350"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5" name="Pentagon 94"/>
          <p:cNvSpPr/>
          <p:nvPr/>
        </p:nvSpPr>
        <p:spPr bwMode="auto">
          <a:xfrm rot="5400000">
            <a:off x="4205372" y="3363086"/>
            <a:ext cx="1112212" cy="1565098"/>
          </a:xfrm>
          <a:prstGeom prst="homePlate">
            <a:avLst>
              <a:gd name="adj" fmla="val 38432"/>
            </a:avLst>
          </a:prstGeom>
          <a:solidFill>
            <a:srgbClr val="0078D7">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179031" tIns="143225" rIns="179031" bIns="143225" numCol="1" spcCol="0" rtlCol="0" fromWordArt="0" anchor="t" anchorCtr="0" forceAA="0" compatLnSpc="1">
            <a:prstTxWarp prst="textNoShape">
              <a:avLst/>
            </a:prstTxWarp>
            <a:noAutofit/>
          </a:bodyPr>
          <a:lstStyle/>
          <a:p>
            <a:pPr algn="ctr" defTabSz="912766" fontAlgn="base">
              <a:lnSpc>
                <a:spcPct val="90000"/>
              </a:lnSpc>
              <a:spcBef>
                <a:spcPct val="0"/>
              </a:spcBef>
              <a:spcAft>
                <a:spcPct val="0"/>
              </a:spcAft>
              <a:defRPr/>
            </a:pPr>
            <a:endParaRPr lang="en-US" sz="2350"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6" name="Rectangle 95"/>
          <p:cNvSpPr/>
          <p:nvPr/>
        </p:nvSpPr>
        <p:spPr bwMode="auto">
          <a:xfrm>
            <a:off x="1008198" y="2934129"/>
            <a:ext cx="10481561" cy="931412"/>
          </a:xfrm>
          <a:prstGeom prst="rect">
            <a:avLst/>
          </a:prstGeom>
          <a:solidFill>
            <a:srgbClr val="0078D7">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179031" tIns="143225" rIns="179031" bIns="143225" numCol="1" spcCol="0" rtlCol="0" fromWordArt="0" anchor="t" anchorCtr="0" forceAA="0" compatLnSpc="1">
            <a:prstTxWarp prst="textNoShape">
              <a:avLst/>
            </a:prstTxWarp>
            <a:noAutofit/>
          </a:bodyPr>
          <a:lstStyle/>
          <a:p>
            <a:pPr algn="ctr" defTabSz="912766" fontAlgn="base">
              <a:lnSpc>
                <a:spcPct val="90000"/>
              </a:lnSpc>
              <a:spcBef>
                <a:spcPct val="0"/>
              </a:spcBef>
              <a:spcAft>
                <a:spcPct val="0"/>
              </a:spcAft>
              <a:defRPr/>
            </a:pPr>
            <a:endParaRPr lang="en-US" sz="2350"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97" name="Group 96"/>
          <p:cNvGrpSpPr/>
          <p:nvPr/>
        </p:nvGrpSpPr>
        <p:grpSpPr>
          <a:xfrm>
            <a:off x="1008197" y="1397130"/>
            <a:ext cx="10481573" cy="1480966"/>
            <a:chOff x="880533" y="1857930"/>
            <a:chExt cx="10706923" cy="1512807"/>
          </a:xfrm>
        </p:grpSpPr>
        <p:sp>
          <p:nvSpPr>
            <p:cNvPr id="98" name="Hexagon 97"/>
            <p:cNvSpPr>
              <a:spLocks noChangeAspect="1"/>
            </p:cNvSpPr>
            <p:nvPr/>
          </p:nvSpPr>
          <p:spPr bwMode="auto">
            <a:xfrm>
              <a:off x="880533" y="2175933"/>
              <a:ext cx="666750" cy="576739"/>
            </a:xfrm>
            <a:prstGeom prst="hexagon">
              <a:avLst/>
            </a:prstGeom>
            <a:solidFill>
              <a:srgbClr val="0078D7">
                <a:lumMod val="40000"/>
                <a:lumOff val="60000"/>
              </a:srgbClr>
            </a:solidFill>
            <a:ln w="9525" cap="flat" cmpd="sng" algn="ctr">
              <a:noFill/>
              <a:prstDash val="solid"/>
              <a:headEnd type="none" w="med" len="med"/>
              <a:tailEnd type="none" w="med" len="med"/>
            </a:ln>
            <a:effectLst/>
          </p:spPr>
          <p:txBody>
            <a:bodyPr rot="0" spcFirstLastPara="0" vertOverflow="overflow" horzOverflow="overflow" vert="horz" wrap="square" lIns="179031" tIns="143225" rIns="179031" bIns="143225" numCol="1" spcCol="0" rtlCol="0" fromWordArt="0" anchor="t" anchorCtr="0" forceAA="0" compatLnSpc="1">
              <a:prstTxWarp prst="textNoShape">
                <a:avLst/>
              </a:prstTxWarp>
              <a:noAutofit/>
            </a:bodyPr>
            <a:lstStyle/>
            <a:p>
              <a:pPr algn="ctr" defTabSz="912766" fontAlgn="base">
                <a:lnSpc>
                  <a:spcPct val="90000"/>
                </a:lnSpc>
                <a:spcBef>
                  <a:spcPct val="0"/>
                </a:spcBef>
                <a:spcAft>
                  <a:spcPct val="0"/>
                </a:spcAft>
                <a:defRPr/>
              </a:pPr>
              <a:endParaRPr lang="en-US" sz="2350"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9" name="Hexagon 98"/>
            <p:cNvSpPr>
              <a:spLocks noChangeAspect="1"/>
            </p:cNvSpPr>
            <p:nvPr/>
          </p:nvSpPr>
          <p:spPr bwMode="auto">
            <a:xfrm>
              <a:off x="1438686" y="1866396"/>
              <a:ext cx="666750" cy="576739"/>
            </a:xfrm>
            <a:prstGeom prst="hexagon">
              <a:avLst/>
            </a:prstGeom>
            <a:solidFill>
              <a:srgbClr val="0078D7">
                <a:lumMod val="20000"/>
                <a:lumOff val="80000"/>
              </a:srgbClr>
            </a:solidFill>
            <a:ln w="9525" cap="flat" cmpd="sng" algn="ctr">
              <a:noFill/>
              <a:prstDash val="solid"/>
              <a:headEnd type="none" w="med" len="med"/>
              <a:tailEnd type="none" w="med" len="med"/>
            </a:ln>
            <a:effectLst/>
          </p:spPr>
          <p:txBody>
            <a:bodyPr rot="0" spcFirstLastPara="0" vertOverflow="overflow" horzOverflow="overflow" vert="horz" wrap="square" lIns="179031" tIns="143225" rIns="179031" bIns="143225" numCol="1" spcCol="0" rtlCol="0" fromWordArt="0" anchor="t" anchorCtr="0" forceAA="0" compatLnSpc="1">
              <a:prstTxWarp prst="textNoShape">
                <a:avLst/>
              </a:prstTxWarp>
              <a:noAutofit/>
            </a:bodyPr>
            <a:lstStyle/>
            <a:p>
              <a:pPr algn="ctr" defTabSz="912766" fontAlgn="base">
                <a:lnSpc>
                  <a:spcPct val="90000"/>
                </a:lnSpc>
                <a:spcBef>
                  <a:spcPct val="0"/>
                </a:spcBef>
                <a:spcAft>
                  <a:spcPct val="0"/>
                </a:spcAft>
                <a:defRPr/>
              </a:pPr>
              <a:endParaRPr lang="en-US" sz="2350"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0" name="Hexagon 99"/>
            <p:cNvSpPr>
              <a:spLocks noChangeAspect="1"/>
            </p:cNvSpPr>
            <p:nvPr/>
          </p:nvSpPr>
          <p:spPr bwMode="auto">
            <a:xfrm>
              <a:off x="1438686" y="2484462"/>
              <a:ext cx="666750" cy="576739"/>
            </a:xfrm>
            <a:prstGeom prst="hexagon">
              <a:avLst/>
            </a:prstGeom>
            <a:solidFill>
              <a:srgbClr val="002050"/>
            </a:solidFill>
            <a:ln w="9525" cap="flat" cmpd="sng" algn="ctr">
              <a:noFill/>
              <a:prstDash val="solid"/>
              <a:headEnd type="none" w="med" len="med"/>
              <a:tailEnd type="none" w="med" len="med"/>
            </a:ln>
            <a:effectLst/>
          </p:spPr>
          <p:txBody>
            <a:bodyPr rot="0" spcFirstLastPara="0" vertOverflow="overflow" horzOverflow="overflow" vert="horz" wrap="square" lIns="179031" tIns="143225" rIns="179031" bIns="143225" numCol="1" spcCol="0" rtlCol="0" fromWordArt="0" anchor="t" anchorCtr="0" forceAA="0" compatLnSpc="1">
              <a:prstTxWarp prst="textNoShape">
                <a:avLst/>
              </a:prstTxWarp>
              <a:noAutofit/>
            </a:bodyPr>
            <a:lstStyle/>
            <a:p>
              <a:pPr algn="ctr" defTabSz="912766" fontAlgn="base">
                <a:lnSpc>
                  <a:spcPct val="90000"/>
                </a:lnSpc>
                <a:spcBef>
                  <a:spcPct val="0"/>
                </a:spcBef>
                <a:spcAft>
                  <a:spcPct val="0"/>
                </a:spcAft>
                <a:defRPr/>
              </a:pPr>
              <a:endParaRPr lang="en-US" sz="2350"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1" name="Hexagon 100"/>
            <p:cNvSpPr>
              <a:spLocks noChangeAspect="1"/>
            </p:cNvSpPr>
            <p:nvPr/>
          </p:nvSpPr>
          <p:spPr bwMode="auto">
            <a:xfrm>
              <a:off x="1996839" y="2175932"/>
              <a:ext cx="666750" cy="576739"/>
            </a:xfrm>
            <a:prstGeom prst="hexagon">
              <a:avLst/>
            </a:prstGeom>
            <a:solidFill>
              <a:srgbClr val="00BCF2"/>
            </a:solidFill>
            <a:ln w="9525" cap="flat" cmpd="sng" algn="ctr">
              <a:noFill/>
              <a:prstDash val="solid"/>
              <a:headEnd type="none" w="med" len="med"/>
              <a:tailEnd type="none" w="med" len="med"/>
            </a:ln>
            <a:effectLst/>
          </p:spPr>
          <p:txBody>
            <a:bodyPr rot="0" spcFirstLastPara="0" vertOverflow="overflow" horzOverflow="overflow" vert="horz" wrap="square" lIns="179031" tIns="143225" rIns="179031" bIns="143225" numCol="1" spcCol="0" rtlCol="0" fromWordArt="0" anchor="t" anchorCtr="0" forceAA="0" compatLnSpc="1">
              <a:prstTxWarp prst="textNoShape">
                <a:avLst/>
              </a:prstTxWarp>
              <a:noAutofit/>
            </a:bodyPr>
            <a:lstStyle/>
            <a:p>
              <a:pPr algn="ctr" defTabSz="912766" fontAlgn="base">
                <a:lnSpc>
                  <a:spcPct val="90000"/>
                </a:lnSpc>
                <a:spcBef>
                  <a:spcPct val="0"/>
                </a:spcBef>
                <a:spcAft>
                  <a:spcPct val="0"/>
                </a:spcAft>
                <a:defRPr/>
              </a:pPr>
              <a:endParaRPr lang="en-US" sz="2350"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2" name="Hexagon 101"/>
            <p:cNvSpPr>
              <a:spLocks noChangeAspect="1"/>
            </p:cNvSpPr>
            <p:nvPr/>
          </p:nvSpPr>
          <p:spPr bwMode="auto">
            <a:xfrm>
              <a:off x="1996839" y="2793998"/>
              <a:ext cx="666750" cy="576739"/>
            </a:xfrm>
            <a:prstGeom prst="hexagon">
              <a:avLst/>
            </a:prstGeom>
            <a:solidFill>
              <a:srgbClr val="0078D7">
                <a:lumMod val="60000"/>
                <a:lumOff val="40000"/>
              </a:srgbClr>
            </a:solidFill>
            <a:ln w="9525" cap="flat" cmpd="sng" algn="ctr">
              <a:noFill/>
              <a:prstDash val="solid"/>
              <a:headEnd type="none" w="med" len="med"/>
              <a:tailEnd type="none" w="med" len="med"/>
            </a:ln>
            <a:effectLst/>
          </p:spPr>
          <p:txBody>
            <a:bodyPr rot="0" spcFirstLastPara="0" vertOverflow="overflow" horzOverflow="overflow" vert="horz" wrap="square" lIns="179031" tIns="143225" rIns="179031" bIns="143225" numCol="1" spcCol="0" rtlCol="0" fromWordArt="0" anchor="t" anchorCtr="0" forceAA="0" compatLnSpc="1">
              <a:prstTxWarp prst="textNoShape">
                <a:avLst/>
              </a:prstTxWarp>
              <a:noAutofit/>
            </a:bodyPr>
            <a:lstStyle/>
            <a:p>
              <a:pPr algn="ctr" defTabSz="912766" fontAlgn="base">
                <a:lnSpc>
                  <a:spcPct val="90000"/>
                </a:lnSpc>
                <a:spcBef>
                  <a:spcPct val="0"/>
                </a:spcBef>
                <a:spcAft>
                  <a:spcPct val="0"/>
                </a:spcAft>
                <a:defRPr/>
              </a:pPr>
              <a:endParaRPr lang="en-US" sz="2350"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3" name="Hexagon 102"/>
            <p:cNvSpPr>
              <a:spLocks noChangeAspect="1"/>
            </p:cNvSpPr>
            <p:nvPr/>
          </p:nvSpPr>
          <p:spPr bwMode="auto">
            <a:xfrm>
              <a:off x="880533" y="2793997"/>
              <a:ext cx="666750" cy="576739"/>
            </a:xfrm>
            <a:prstGeom prst="hexagon">
              <a:avLst/>
            </a:prstGeom>
            <a:solidFill>
              <a:srgbClr val="0078D7">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179031" tIns="143225" rIns="179031" bIns="143225" numCol="1" spcCol="0" rtlCol="0" fromWordArt="0" anchor="t" anchorCtr="0" forceAA="0" compatLnSpc="1">
              <a:prstTxWarp prst="textNoShape">
                <a:avLst/>
              </a:prstTxWarp>
              <a:noAutofit/>
            </a:bodyPr>
            <a:lstStyle/>
            <a:p>
              <a:pPr algn="ctr" defTabSz="912766" fontAlgn="base">
                <a:lnSpc>
                  <a:spcPct val="90000"/>
                </a:lnSpc>
                <a:spcBef>
                  <a:spcPct val="0"/>
                </a:spcBef>
                <a:spcAft>
                  <a:spcPct val="0"/>
                </a:spcAft>
                <a:defRPr/>
              </a:pPr>
              <a:endParaRPr lang="en-US" sz="2350"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4" name="Hexagon 103"/>
            <p:cNvSpPr>
              <a:spLocks noChangeAspect="1"/>
            </p:cNvSpPr>
            <p:nvPr/>
          </p:nvSpPr>
          <p:spPr bwMode="auto">
            <a:xfrm>
              <a:off x="2554992" y="1866396"/>
              <a:ext cx="666750" cy="576739"/>
            </a:xfrm>
            <a:prstGeom prst="hexagon">
              <a:avLst/>
            </a:prstGeom>
            <a:solidFill>
              <a:srgbClr val="0078D7">
                <a:lumMod val="60000"/>
                <a:lumOff val="40000"/>
              </a:srgbClr>
            </a:solidFill>
            <a:ln w="9525" cap="flat" cmpd="sng" algn="ctr">
              <a:noFill/>
              <a:prstDash val="solid"/>
              <a:headEnd type="none" w="med" len="med"/>
              <a:tailEnd type="none" w="med" len="med"/>
            </a:ln>
            <a:effectLst/>
          </p:spPr>
          <p:txBody>
            <a:bodyPr rot="0" spcFirstLastPara="0" vertOverflow="overflow" horzOverflow="overflow" vert="horz" wrap="square" lIns="179031" tIns="143225" rIns="179031" bIns="143225" numCol="1" spcCol="0" rtlCol="0" fromWordArt="0" anchor="t" anchorCtr="0" forceAA="0" compatLnSpc="1">
              <a:prstTxWarp prst="textNoShape">
                <a:avLst/>
              </a:prstTxWarp>
              <a:noAutofit/>
            </a:bodyPr>
            <a:lstStyle/>
            <a:p>
              <a:pPr algn="ctr" defTabSz="912766" fontAlgn="base">
                <a:lnSpc>
                  <a:spcPct val="90000"/>
                </a:lnSpc>
                <a:spcBef>
                  <a:spcPct val="0"/>
                </a:spcBef>
                <a:spcAft>
                  <a:spcPct val="0"/>
                </a:spcAft>
                <a:defRPr/>
              </a:pPr>
              <a:endParaRPr lang="en-US" sz="2350"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5" name="Hexagon 104"/>
            <p:cNvSpPr>
              <a:spLocks noChangeAspect="1"/>
            </p:cNvSpPr>
            <p:nvPr/>
          </p:nvSpPr>
          <p:spPr bwMode="auto">
            <a:xfrm>
              <a:off x="2554992" y="2484462"/>
              <a:ext cx="666750" cy="576739"/>
            </a:xfrm>
            <a:prstGeom prst="hexagon">
              <a:avLst/>
            </a:prstGeom>
            <a:solidFill>
              <a:srgbClr val="0078D7">
                <a:lumMod val="40000"/>
                <a:lumOff val="60000"/>
              </a:srgbClr>
            </a:solidFill>
            <a:ln w="9525" cap="flat" cmpd="sng" algn="ctr">
              <a:noFill/>
              <a:prstDash val="solid"/>
              <a:headEnd type="none" w="med" len="med"/>
              <a:tailEnd type="none" w="med" len="med"/>
            </a:ln>
            <a:effectLst/>
          </p:spPr>
          <p:txBody>
            <a:bodyPr rot="0" spcFirstLastPara="0" vertOverflow="overflow" horzOverflow="overflow" vert="horz" wrap="square" lIns="179031" tIns="143225" rIns="179031" bIns="143225" numCol="1" spcCol="0" rtlCol="0" fromWordArt="0" anchor="t" anchorCtr="0" forceAA="0" compatLnSpc="1">
              <a:prstTxWarp prst="textNoShape">
                <a:avLst/>
              </a:prstTxWarp>
              <a:noAutofit/>
            </a:bodyPr>
            <a:lstStyle/>
            <a:p>
              <a:pPr algn="ctr" defTabSz="912766" fontAlgn="base">
                <a:lnSpc>
                  <a:spcPct val="90000"/>
                </a:lnSpc>
                <a:spcBef>
                  <a:spcPct val="0"/>
                </a:spcBef>
                <a:spcAft>
                  <a:spcPct val="0"/>
                </a:spcAft>
                <a:defRPr/>
              </a:pPr>
              <a:endParaRPr lang="en-US" sz="2350"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6" name="Hexagon 105"/>
            <p:cNvSpPr>
              <a:spLocks noChangeAspect="1"/>
            </p:cNvSpPr>
            <p:nvPr/>
          </p:nvSpPr>
          <p:spPr bwMode="auto">
            <a:xfrm>
              <a:off x="3113145" y="2175933"/>
              <a:ext cx="666750" cy="576739"/>
            </a:xfrm>
            <a:prstGeom prst="hexagon">
              <a:avLst/>
            </a:prstGeom>
            <a:solidFill>
              <a:srgbClr val="0078D7">
                <a:lumMod val="20000"/>
                <a:lumOff val="80000"/>
              </a:srgbClr>
            </a:solidFill>
            <a:ln w="9525" cap="flat" cmpd="sng" algn="ctr">
              <a:noFill/>
              <a:prstDash val="solid"/>
              <a:headEnd type="none" w="med" len="med"/>
              <a:tailEnd type="none" w="med" len="med"/>
            </a:ln>
            <a:effectLst/>
          </p:spPr>
          <p:txBody>
            <a:bodyPr rot="0" spcFirstLastPara="0" vertOverflow="overflow" horzOverflow="overflow" vert="horz" wrap="square" lIns="179031" tIns="143225" rIns="179031" bIns="143225" numCol="1" spcCol="0" rtlCol="0" fromWordArt="0" anchor="t" anchorCtr="0" forceAA="0" compatLnSpc="1">
              <a:prstTxWarp prst="textNoShape">
                <a:avLst/>
              </a:prstTxWarp>
              <a:noAutofit/>
            </a:bodyPr>
            <a:lstStyle/>
            <a:p>
              <a:pPr algn="ctr" defTabSz="912766" fontAlgn="base">
                <a:lnSpc>
                  <a:spcPct val="90000"/>
                </a:lnSpc>
                <a:spcBef>
                  <a:spcPct val="0"/>
                </a:spcBef>
                <a:spcAft>
                  <a:spcPct val="0"/>
                </a:spcAft>
                <a:defRPr/>
              </a:pPr>
              <a:endParaRPr lang="en-US" sz="2350"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7" name="Hexagon 106"/>
            <p:cNvSpPr>
              <a:spLocks noChangeAspect="1"/>
            </p:cNvSpPr>
            <p:nvPr/>
          </p:nvSpPr>
          <p:spPr bwMode="auto">
            <a:xfrm>
              <a:off x="3671298" y="1866396"/>
              <a:ext cx="666750" cy="576739"/>
            </a:xfrm>
            <a:prstGeom prst="hexagon">
              <a:avLst/>
            </a:prstGeom>
            <a:solidFill>
              <a:srgbClr val="002050"/>
            </a:solidFill>
            <a:ln w="9525" cap="flat" cmpd="sng" algn="ctr">
              <a:noFill/>
              <a:prstDash val="solid"/>
              <a:headEnd type="none" w="med" len="med"/>
              <a:tailEnd type="none" w="med" len="med"/>
            </a:ln>
            <a:effectLst/>
          </p:spPr>
          <p:txBody>
            <a:bodyPr rot="0" spcFirstLastPara="0" vertOverflow="overflow" horzOverflow="overflow" vert="horz" wrap="square" lIns="179031" tIns="143225" rIns="179031" bIns="143225" numCol="1" spcCol="0" rtlCol="0" fromWordArt="0" anchor="t" anchorCtr="0" forceAA="0" compatLnSpc="1">
              <a:prstTxWarp prst="textNoShape">
                <a:avLst/>
              </a:prstTxWarp>
              <a:noAutofit/>
            </a:bodyPr>
            <a:lstStyle/>
            <a:p>
              <a:pPr algn="ctr" defTabSz="912766" fontAlgn="base">
                <a:lnSpc>
                  <a:spcPct val="90000"/>
                </a:lnSpc>
                <a:spcBef>
                  <a:spcPct val="0"/>
                </a:spcBef>
                <a:spcAft>
                  <a:spcPct val="0"/>
                </a:spcAft>
                <a:defRPr/>
              </a:pPr>
              <a:endParaRPr lang="en-US" sz="2350"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8" name="Hexagon 107"/>
            <p:cNvSpPr>
              <a:spLocks noChangeAspect="1"/>
            </p:cNvSpPr>
            <p:nvPr/>
          </p:nvSpPr>
          <p:spPr bwMode="auto">
            <a:xfrm>
              <a:off x="3671298" y="2484462"/>
              <a:ext cx="666750" cy="576739"/>
            </a:xfrm>
            <a:prstGeom prst="hexagon">
              <a:avLst/>
            </a:prstGeom>
            <a:solidFill>
              <a:srgbClr val="0078D7">
                <a:lumMod val="20000"/>
                <a:lumOff val="80000"/>
              </a:srgbClr>
            </a:solidFill>
            <a:ln w="9525" cap="flat" cmpd="sng" algn="ctr">
              <a:noFill/>
              <a:prstDash val="solid"/>
              <a:headEnd type="none" w="med" len="med"/>
              <a:tailEnd type="none" w="med" len="med"/>
            </a:ln>
            <a:effectLst/>
          </p:spPr>
          <p:txBody>
            <a:bodyPr rot="0" spcFirstLastPara="0" vertOverflow="overflow" horzOverflow="overflow" vert="horz" wrap="square" lIns="179031" tIns="143225" rIns="179031" bIns="143225" numCol="1" spcCol="0" rtlCol="0" fromWordArt="0" anchor="t" anchorCtr="0" forceAA="0" compatLnSpc="1">
              <a:prstTxWarp prst="textNoShape">
                <a:avLst/>
              </a:prstTxWarp>
              <a:noAutofit/>
            </a:bodyPr>
            <a:lstStyle/>
            <a:p>
              <a:pPr algn="ctr" defTabSz="912766" fontAlgn="base">
                <a:lnSpc>
                  <a:spcPct val="90000"/>
                </a:lnSpc>
                <a:spcBef>
                  <a:spcPct val="0"/>
                </a:spcBef>
                <a:spcAft>
                  <a:spcPct val="0"/>
                </a:spcAft>
                <a:defRPr/>
              </a:pPr>
              <a:endParaRPr lang="en-US" sz="2350"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9" name="Hexagon 108"/>
            <p:cNvSpPr>
              <a:spLocks noChangeAspect="1"/>
            </p:cNvSpPr>
            <p:nvPr/>
          </p:nvSpPr>
          <p:spPr bwMode="auto">
            <a:xfrm>
              <a:off x="4229451" y="2175932"/>
              <a:ext cx="666750" cy="576739"/>
            </a:xfrm>
            <a:prstGeom prst="hexagon">
              <a:avLst/>
            </a:prstGeom>
            <a:solidFill>
              <a:srgbClr val="0078D7">
                <a:lumMod val="40000"/>
                <a:lumOff val="60000"/>
              </a:srgbClr>
            </a:solidFill>
            <a:ln w="9525" cap="flat" cmpd="sng" algn="ctr">
              <a:noFill/>
              <a:prstDash val="solid"/>
              <a:headEnd type="none" w="med" len="med"/>
              <a:tailEnd type="none" w="med" len="med"/>
            </a:ln>
            <a:effectLst/>
          </p:spPr>
          <p:txBody>
            <a:bodyPr rot="0" spcFirstLastPara="0" vertOverflow="overflow" horzOverflow="overflow" vert="horz" wrap="square" lIns="179031" tIns="143225" rIns="179031" bIns="143225" numCol="1" spcCol="0" rtlCol="0" fromWordArt="0" anchor="t" anchorCtr="0" forceAA="0" compatLnSpc="1">
              <a:prstTxWarp prst="textNoShape">
                <a:avLst/>
              </a:prstTxWarp>
              <a:noAutofit/>
            </a:bodyPr>
            <a:lstStyle/>
            <a:p>
              <a:pPr algn="ctr" defTabSz="912766" fontAlgn="base">
                <a:lnSpc>
                  <a:spcPct val="90000"/>
                </a:lnSpc>
                <a:spcBef>
                  <a:spcPct val="0"/>
                </a:spcBef>
                <a:spcAft>
                  <a:spcPct val="0"/>
                </a:spcAft>
                <a:defRPr/>
              </a:pPr>
              <a:endParaRPr lang="en-US" sz="2350"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0" name="Hexagon 109"/>
            <p:cNvSpPr>
              <a:spLocks noChangeAspect="1"/>
            </p:cNvSpPr>
            <p:nvPr/>
          </p:nvSpPr>
          <p:spPr bwMode="auto">
            <a:xfrm>
              <a:off x="4229451" y="2793998"/>
              <a:ext cx="666750" cy="576739"/>
            </a:xfrm>
            <a:prstGeom prst="hexagon">
              <a:avLst/>
            </a:prstGeom>
            <a:solidFill>
              <a:srgbClr val="0078D7">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179031" tIns="143225" rIns="179031" bIns="143225" numCol="1" spcCol="0" rtlCol="0" fromWordArt="0" anchor="t" anchorCtr="0" forceAA="0" compatLnSpc="1">
              <a:prstTxWarp prst="textNoShape">
                <a:avLst/>
              </a:prstTxWarp>
              <a:noAutofit/>
            </a:bodyPr>
            <a:lstStyle/>
            <a:p>
              <a:pPr algn="ctr" defTabSz="912766" fontAlgn="base">
                <a:lnSpc>
                  <a:spcPct val="90000"/>
                </a:lnSpc>
                <a:spcBef>
                  <a:spcPct val="0"/>
                </a:spcBef>
                <a:spcAft>
                  <a:spcPct val="0"/>
                </a:spcAft>
                <a:defRPr/>
              </a:pPr>
              <a:endParaRPr lang="en-US" sz="2350"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1" name="Hexagon 110"/>
            <p:cNvSpPr>
              <a:spLocks noChangeAspect="1"/>
            </p:cNvSpPr>
            <p:nvPr/>
          </p:nvSpPr>
          <p:spPr bwMode="auto">
            <a:xfrm>
              <a:off x="3113145" y="2793997"/>
              <a:ext cx="666750" cy="576739"/>
            </a:xfrm>
            <a:prstGeom prst="hexagon">
              <a:avLst/>
            </a:prstGeom>
            <a:solidFill>
              <a:srgbClr val="0078D7">
                <a:lumMod val="75000"/>
              </a:srgbClr>
            </a:solidFill>
            <a:ln w="9525" cap="flat" cmpd="sng" algn="ctr">
              <a:noFill/>
              <a:prstDash val="solid"/>
              <a:headEnd type="none" w="med" len="med"/>
              <a:tailEnd type="none" w="med" len="med"/>
            </a:ln>
            <a:effectLst/>
          </p:spPr>
          <p:txBody>
            <a:bodyPr rot="0" spcFirstLastPara="0" vertOverflow="overflow" horzOverflow="overflow" vert="horz" wrap="square" lIns="179031" tIns="143225" rIns="179031" bIns="143225" numCol="1" spcCol="0" rtlCol="0" fromWordArt="0" anchor="t" anchorCtr="0" forceAA="0" compatLnSpc="1">
              <a:prstTxWarp prst="textNoShape">
                <a:avLst/>
              </a:prstTxWarp>
              <a:noAutofit/>
            </a:bodyPr>
            <a:lstStyle/>
            <a:p>
              <a:pPr algn="ctr" defTabSz="912766" fontAlgn="base">
                <a:lnSpc>
                  <a:spcPct val="90000"/>
                </a:lnSpc>
                <a:spcBef>
                  <a:spcPct val="0"/>
                </a:spcBef>
                <a:spcAft>
                  <a:spcPct val="0"/>
                </a:spcAft>
                <a:defRPr/>
              </a:pPr>
              <a:endParaRPr lang="en-US" sz="2350"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2" name="Hexagon 111"/>
            <p:cNvSpPr>
              <a:spLocks noChangeAspect="1"/>
            </p:cNvSpPr>
            <p:nvPr/>
          </p:nvSpPr>
          <p:spPr bwMode="auto">
            <a:xfrm>
              <a:off x="4787604" y="1866396"/>
              <a:ext cx="666750" cy="576739"/>
            </a:xfrm>
            <a:prstGeom prst="hexagon">
              <a:avLst/>
            </a:prstGeom>
            <a:solidFill>
              <a:srgbClr val="0078D7">
                <a:lumMod val="20000"/>
                <a:lumOff val="80000"/>
              </a:srgbClr>
            </a:solidFill>
            <a:ln w="9525" cap="flat" cmpd="sng" algn="ctr">
              <a:noFill/>
              <a:prstDash val="solid"/>
              <a:headEnd type="none" w="med" len="med"/>
              <a:tailEnd type="none" w="med" len="med"/>
            </a:ln>
            <a:effectLst/>
          </p:spPr>
          <p:txBody>
            <a:bodyPr rot="0" spcFirstLastPara="0" vertOverflow="overflow" horzOverflow="overflow" vert="horz" wrap="square" lIns="179031" tIns="143225" rIns="179031" bIns="143225" numCol="1" spcCol="0" rtlCol="0" fromWordArt="0" anchor="t" anchorCtr="0" forceAA="0" compatLnSpc="1">
              <a:prstTxWarp prst="textNoShape">
                <a:avLst/>
              </a:prstTxWarp>
              <a:noAutofit/>
            </a:bodyPr>
            <a:lstStyle/>
            <a:p>
              <a:pPr algn="ctr" defTabSz="912766" fontAlgn="base">
                <a:lnSpc>
                  <a:spcPct val="90000"/>
                </a:lnSpc>
                <a:spcBef>
                  <a:spcPct val="0"/>
                </a:spcBef>
                <a:spcAft>
                  <a:spcPct val="0"/>
                </a:spcAft>
                <a:defRPr/>
              </a:pPr>
              <a:endParaRPr lang="en-US" sz="2350"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3" name="Hexagon 112"/>
            <p:cNvSpPr>
              <a:spLocks noChangeAspect="1"/>
            </p:cNvSpPr>
            <p:nvPr/>
          </p:nvSpPr>
          <p:spPr bwMode="auto">
            <a:xfrm>
              <a:off x="4787604" y="2484462"/>
              <a:ext cx="666750" cy="576739"/>
            </a:xfrm>
            <a:prstGeom prst="hexagon">
              <a:avLst/>
            </a:prstGeom>
            <a:solidFill>
              <a:srgbClr val="002050"/>
            </a:solidFill>
            <a:ln w="9525" cap="flat" cmpd="sng" algn="ctr">
              <a:noFill/>
              <a:prstDash val="solid"/>
              <a:headEnd type="none" w="med" len="med"/>
              <a:tailEnd type="none" w="med" len="med"/>
            </a:ln>
            <a:effectLst/>
          </p:spPr>
          <p:txBody>
            <a:bodyPr rot="0" spcFirstLastPara="0" vertOverflow="overflow" horzOverflow="overflow" vert="horz" wrap="square" lIns="179031" tIns="143225" rIns="179031" bIns="143225" numCol="1" spcCol="0" rtlCol="0" fromWordArt="0" anchor="t" anchorCtr="0" forceAA="0" compatLnSpc="1">
              <a:prstTxWarp prst="textNoShape">
                <a:avLst/>
              </a:prstTxWarp>
              <a:noAutofit/>
            </a:bodyPr>
            <a:lstStyle/>
            <a:p>
              <a:pPr algn="ctr" defTabSz="912766" fontAlgn="base">
                <a:lnSpc>
                  <a:spcPct val="90000"/>
                </a:lnSpc>
                <a:spcBef>
                  <a:spcPct val="0"/>
                </a:spcBef>
                <a:spcAft>
                  <a:spcPct val="0"/>
                </a:spcAft>
                <a:defRPr/>
              </a:pPr>
              <a:endParaRPr lang="en-US" sz="2350"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4" name="Hexagon 113"/>
            <p:cNvSpPr>
              <a:spLocks noChangeAspect="1"/>
            </p:cNvSpPr>
            <p:nvPr/>
          </p:nvSpPr>
          <p:spPr bwMode="auto">
            <a:xfrm>
              <a:off x="5342466" y="2167466"/>
              <a:ext cx="666750" cy="576739"/>
            </a:xfrm>
            <a:prstGeom prst="hexagon">
              <a:avLst/>
            </a:prstGeom>
            <a:solidFill>
              <a:srgbClr val="00BCF2"/>
            </a:solidFill>
            <a:ln w="9525" cap="flat" cmpd="sng" algn="ctr">
              <a:noFill/>
              <a:prstDash val="solid"/>
              <a:headEnd type="none" w="med" len="med"/>
              <a:tailEnd type="none" w="med" len="med"/>
            </a:ln>
            <a:effectLst/>
          </p:spPr>
          <p:txBody>
            <a:bodyPr rot="0" spcFirstLastPara="0" vertOverflow="overflow" horzOverflow="overflow" vert="horz" wrap="square" lIns="179031" tIns="143225" rIns="179031" bIns="143225" numCol="1" spcCol="0" rtlCol="0" fromWordArt="0" anchor="t" anchorCtr="0" forceAA="0" compatLnSpc="1">
              <a:prstTxWarp prst="textNoShape">
                <a:avLst/>
              </a:prstTxWarp>
              <a:noAutofit/>
            </a:bodyPr>
            <a:lstStyle/>
            <a:p>
              <a:pPr algn="ctr" defTabSz="912766" fontAlgn="base">
                <a:lnSpc>
                  <a:spcPct val="90000"/>
                </a:lnSpc>
                <a:spcBef>
                  <a:spcPct val="0"/>
                </a:spcBef>
                <a:spcAft>
                  <a:spcPct val="0"/>
                </a:spcAft>
                <a:defRPr/>
              </a:pPr>
              <a:endParaRPr lang="en-US" sz="2350"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5" name="Hexagon 114"/>
            <p:cNvSpPr>
              <a:spLocks noChangeAspect="1"/>
            </p:cNvSpPr>
            <p:nvPr/>
          </p:nvSpPr>
          <p:spPr bwMode="auto">
            <a:xfrm>
              <a:off x="5900619" y="1866396"/>
              <a:ext cx="666750" cy="576739"/>
            </a:xfrm>
            <a:prstGeom prst="hexagon">
              <a:avLst/>
            </a:prstGeom>
            <a:solidFill>
              <a:srgbClr val="0078D7">
                <a:lumMod val="60000"/>
                <a:lumOff val="40000"/>
              </a:srgbClr>
            </a:solidFill>
            <a:ln w="9525" cap="flat" cmpd="sng" algn="ctr">
              <a:noFill/>
              <a:prstDash val="solid"/>
              <a:headEnd type="none" w="med" len="med"/>
              <a:tailEnd type="none" w="med" len="med"/>
            </a:ln>
            <a:effectLst/>
          </p:spPr>
          <p:txBody>
            <a:bodyPr rot="0" spcFirstLastPara="0" vertOverflow="overflow" horzOverflow="overflow" vert="horz" wrap="square" lIns="179031" tIns="143225" rIns="179031" bIns="143225" numCol="1" spcCol="0" rtlCol="0" fromWordArt="0" anchor="t" anchorCtr="0" forceAA="0" compatLnSpc="1">
              <a:prstTxWarp prst="textNoShape">
                <a:avLst/>
              </a:prstTxWarp>
              <a:noAutofit/>
            </a:bodyPr>
            <a:lstStyle/>
            <a:p>
              <a:pPr algn="ctr" defTabSz="912766" fontAlgn="base">
                <a:lnSpc>
                  <a:spcPct val="90000"/>
                </a:lnSpc>
                <a:spcBef>
                  <a:spcPct val="0"/>
                </a:spcBef>
                <a:spcAft>
                  <a:spcPct val="0"/>
                </a:spcAft>
                <a:defRPr/>
              </a:pPr>
              <a:endParaRPr lang="en-US" sz="2350"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6" name="Hexagon 115"/>
            <p:cNvSpPr>
              <a:spLocks noChangeAspect="1"/>
            </p:cNvSpPr>
            <p:nvPr/>
          </p:nvSpPr>
          <p:spPr bwMode="auto">
            <a:xfrm>
              <a:off x="5900619" y="2484462"/>
              <a:ext cx="666750" cy="576739"/>
            </a:xfrm>
            <a:prstGeom prst="hexagon">
              <a:avLst/>
            </a:prstGeom>
            <a:solidFill>
              <a:srgbClr val="0078D7">
                <a:lumMod val="40000"/>
                <a:lumOff val="60000"/>
              </a:srgbClr>
            </a:solidFill>
            <a:ln w="9525" cap="flat" cmpd="sng" algn="ctr">
              <a:noFill/>
              <a:prstDash val="solid"/>
              <a:headEnd type="none" w="med" len="med"/>
              <a:tailEnd type="none" w="med" len="med"/>
            </a:ln>
            <a:effectLst/>
          </p:spPr>
          <p:txBody>
            <a:bodyPr rot="0" spcFirstLastPara="0" vertOverflow="overflow" horzOverflow="overflow" vert="horz" wrap="square" lIns="179031" tIns="143225" rIns="179031" bIns="143225" numCol="1" spcCol="0" rtlCol="0" fromWordArt="0" anchor="t" anchorCtr="0" forceAA="0" compatLnSpc="1">
              <a:prstTxWarp prst="textNoShape">
                <a:avLst/>
              </a:prstTxWarp>
              <a:noAutofit/>
            </a:bodyPr>
            <a:lstStyle/>
            <a:p>
              <a:pPr algn="ctr" defTabSz="912766" fontAlgn="base">
                <a:lnSpc>
                  <a:spcPct val="90000"/>
                </a:lnSpc>
                <a:spcBef>
                  <a:spcPct val="0"/>
                </a:spcBef>
                <a:spcAft>
                  <a:spcPct val="0"/>
                </a:spcAft>
                <a:defRPr/>
              </a:pPr>
              <a:endParaRPr lang="en-US" sz="2350"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7" name="Hexagon 116"/>
            <p:cNvSpPr>
              <a:spLocks noChangeAspect="1"/>
            </p:cNvSpPr>
            <p:nvPr/>
          </p:nvSpPr>
          <p:spPr bwMode="auto">
            <a:xfrm>
              <a:off x="6458772" y="2175932"/>
              <a:ext cx="666750" cy="576739"/>
            </a:xfrm>
            <a:prstGeom prst="hexagon">
              <a:avLst/>
            </a:prstGeom>
            <a:solidFill>
              <a:srgbClr val="0078D7">
                <a:lumMod val="20000"/>
                <a:lumOff val="80000"/>
              </a:srgbClr>
            </a:solidFill>
            <a:ln w="9525" cap="flat" cmpd="sng" algn="ctr">
              <a:noFill/>
              <a:prstDash val="solid"/>
              <a:headEnd type="none" w="med" len="med"/>
              <a:tailEnd type="none" w="med" len="med"/>
            </a:ln>
            <a:effectLst/>
          </p:spPr>
          <p:txBody>
            <a:bodyPr rot="0" spcFirstLastPara="0" vertOverflow="overflow" horzOverflow="overflow" vert="horz" wrap="square" lIns="179031" tIns="143225" rIns="179031" bIns="143225" numCol="1" spcCol="0" rtlCol="0" fromWordArt="0" anchor="t" anchorCtr="0" forceAA="0" compatLnSpc="1">
              <a:prstTxWarp prst="textNoShape">
                <a:avLst/>
              </a:prstTxWarp>
              <a:noAutofit/>
            </a:bodyPr>
            <a:lstStyle/>
            <a:p>
              <a:pPr algn="ctr" defTabSz="912766" fontAlgn="base">
                <a:lnSpc>
                  <a:spcPct val="90000"/>
                </a:lnSpc>
                <a:spcBef>
                  <a:spcPct val="0"/>
                </a:spcBef>
                <a:spcAft>
                  <a:spcPct val="0"/>
                </a:spcAft>
                <a:defRPr/>
              </a:pPr>
              <a:endParaRPr lang="en-US" sz="2350"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8" name="Hexagon 117"/>
            <p:cNvSpPr>
              <a:spLocks noChangeAspect="1"/>
            </p:cNvSpPr>
            <p:nvPr/>
          </p:nvSpPr>
          <p:spPr bwMode="auto">
            <a:xfrm>
              <a:off x="6458772" y="2793998"/>
              <a:ext cx="666750" cy="576739"/>
            </a:xfrm>
            <a:prstGeom prst="hexagon">
              <a:avLst/>
            </a:prstGeom>
            <a:solidFill>
              <a:srgbClr val="0078D7">
                <a:lumMod val="75000"/>
              </a:srgbClr>
            </a:solidFill>
            <a:ln w="9525" cap="flat" cmpd="sng" algn="ctr">
              <a:noFill/>
              <a:prstDash val="solid"/>
              <a:headEnd type="none" w="med" len="med"/>
              <a:tailEnd type="none" w="med" len="med"/>
            </a:ln>
            <a:effectLst/>
          </p:spPr>
          <p:txBody>
            <a:bodyPr rot="0" spcFirstLastPara="0" vertOverflow="overflow" horzOverflow="overflow" vert="horz" wrap="square" lIns="179031" tIns="143225" rIns="179031" bIns="143225" numCol="1" spcCol="0" rtlCol="0" fromWordArt="0" anchor="t" anchorCtr="0" forceAA="0" compatLnSpc="1">
              <a:prstTxWarp prst="textNoShape">
                <a:avLst/>
              </a:prstTxWarp>
              <a:noAutofit/>
            </a:bodyPr>
            <a:lstStyle/>
            <a:p>
              <a:pPr algn="ctr" defTabSz="912766" fontAlgn="base">
                <a:lnSpc>
                  <a:spcPct val="90000"/>
                </a:lnSpc>
                <a:spcBef>
                  <a:spcPct val="0"/>
                </a:spcBef>
                <a:spcAft>
                  <a:spcPct val="0"/>
                </a:spcAft>
                <a:defRPr/>
              </a:pPr>
              <a:endParaRPr lang="en-US" sz="2350"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9" name="Hexagon 118"/>
            <p:cNvSpPr>
              <a:spLocks noChangeAspect="1"/>
            </p:cNvSpPr>
            <p:nvPr/>
          </p:nvSpPr>
          <p:spPr bwMode="auto">
            <a:xfrm>
              <a:off x="5342466" y="2785530"/>
              <a:ext cx="666750" cy="576739"/>
            </a:xfrm>
            <a:prstGeom prst="hexagon">
              <a:avLst/>
            </a:prstGeom>
            <a:solidFill>
              <a:srgbClr val="0078D7">
                <a:lumMod val="60000"/>
                <a:lumOff val="40000"/>
              </a:srgbClr>
            </a:solidFill>
            <a:ln w="9525" cap="flat" cmpd="sng" algn="ctr">
              <a:noFill/>
              <a:prstDash val="solid"/>
              <a:headEnd type="none" w="med" len="med"/>
              <a:tailEnd type="none" w="med" len="med"/>
            </a:ln>
            <a:effectLst/>
          </p:spPr>
          <p:txBody>
            <a:bodyPr rot="0" spcFirstLastPara="0" vertOverflow="overflow" horzOverflow="overflow" vert="horz" wrap="square" lIns="179031" tIns="143225" rIns="179031" bIns="143225" numCol="1" spcCol="0" rtlCol="0" fromWordArt="0" anchor="t" anchorCtr="0" forceAA="0" compatLnSpc="1">
              <a:prstTxWarp prst="textNoShape">
                <a:avLst/>
              </a:prstTxWarp>
              <a:noAutofit/>
            </a:bodyPr>
            <a:lstStyle/>
            <a:p>
              <a:pPr algn="ctr" defTabSz="912766" fontAlgn="base">
                <a:lnSpc>
                  <a:spcPct val="90000"/>
                </a:lnSpc>
                <a:spcBef>
                  <a:spcPct val="0"/>
                </a:spcBef>
                <a:spcAft>
                  <a:spcPct val="0"/>
                </a:spcAft>
                <a:defRPr/>
              </a:pPr>
              <a:endParaRPr lang="en-US" sz="2350"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0" name="Hexagon 119"/>
            <p:cNvSpPr>
              <a:spLocks noChangeAspect="1"/>
            </p:cNvSpPr>
            <p:nvPr/>
          </p:nvSpPr>
          <p:spPr bwMode="auto">
            <a:xfrm>
              <a:off x="7016925" y="1866396"/>
              <a:ext cx="666750" cy="576739"/>
            </a:xfrm>
            <a:prstGeom prst="hexagon">
              <a:avLst/>
            </a:prstGeom>
            <a:solidFill>
              <a:srgbClr val="002050"/>
            </a:solidFill>
            <a:ln w="9525" cap="flat" cmpd="sng" algn="ctr">
              <a:noFill/>
              <a:prstDash val="solid"/>
              <a:headEnd type="none" w="med" len="med"/>
              <a:tailEnd type="none" w="med" len="med"/>
            </a:ln>
            <a:effectLst/>
          </p:spPr>
          <p:txBody>
            <a:bodyPr rot="0" spcFirstLastPara="0" vertOverflow="overflow" horzOverflow="overflow" vert="horz" wrap="square" lIns="179031" tIns="143225" rIns="179031" bIns="143225" numCol="1" spcCol="0" rtlCol="0" fromWordArt="0" anchor="t" anchorCtr="0" forceAA="0" compatLnSpc="1">
              <a:prstTxWarp prst="textNoShape">
                <a:avLst/>
              </a:prstTxWarp>
              <a:noAutofit/>
            </a:bodyPr>
            <a:lstStyle/>
            <a:p>
              <a:pPr algn="ctr" defTabSz="912766" fontAlgn="base">
                <a:lnSpc>
                  <a:spcPct val="90000"/>
                </a:lnSpc>
                <a:spcBef>
                  <a:spcPct val="0"/>
                </a:spcBef>
                <a:spcAft>
                  <a:spcPct val="0"/>
                </a:spcAft>
                <a:defRPr/>
              </a:pPr>
              <a:endParaRPr lang="en-US" sz="2350"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1" name="Hexagon 120"/>
            <p:cNvSpPr>
              <a:spLocks noChangeAspect="1"/>
            </p:cNvSpPr>
            <p:nvPr/>
          </p:nvSpPr>
          <p:spPr bwMode="auto">
            <a:xfrm>
              <a:off x="7016925" y="2484462"/>
              <a:ext cx="666750" cy="576739"/>
            </a:xfrm>
            <a:prstGeom prst="hexagon">
              <a:avLst/>
            </a:prstGeom>
            <a:solidFill>
              <a:srgbClr val="0078D7">
                <a:lumMod val="20000"/>
                <a:lumOff val="80000"/>
              </a:srgbClr>
            </a:solidFill>
            <a:ln w="9525" cap="flat" cmpd="sng" algn="ctr">
              <a:noFill/>
              <a:prstDash val="solid"/>
              <a:headEnd type="none" w="med" len="med"/>
              <a:tailEnd type="none" w="med" len="med"/>
            </a:ln>
            <a:effectLst/>
          </p:spPr>
          <p:txBody>
            <a:bodyPr rot="0" spcFirstLastPara="0" vertOverflow="overflow" horzOverflow="overflow" vert="horz" wrap="square" lIns="179031" tIns="143225" rIns="179031" bIns="143225" numCol="1" spcCol="0" rtlCol="0" fromWordArt="0" anchor="t" anchorCtr="0" forceAA="0" compatLnSpc="1">
              <a:prstTxWarp prst="textNoShape">
                <a:avLst/>
              </a:prstTxWarp>
              <a:noAutofit/>
            </a:bodyPr>
            <a:lstStyle/>
            <a:p>
              <a:pPr algn="ctr" defTabSz="912766" fontAlgn="base">
                <a:lnSpc>
                  <a:spcPct val="90000"/>
                </a:lnSpc>
                <a:spcBef>
                  <a:spcPct val="0"/>
                </a:spcBef>
                <a:spcAft>
                  <a:spcPct val="0"/>
                </a:spcAft>
                <a:defRPr/>
              </a:pPr>
              <a:endParaRPr lang="en-US" sz="2350"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2" name="Hexagon 121"/>
            <p:cNvSpPr>
              <a:spLocks noChangeAspect="1"/>
            </p:cNvSpPr>
            <p:nvPr/>
          </p:nvSpPr>
          <p:spPr bwMode="auto">
            <a:xfrm>
              <a:off x="7575078" y="2175933"/>
              <a:ext cx="666750" cy="576739"/>
            </a:xfrm>
            <a:prstGeom prst="hexagon">
              <a:avLst/>
            </a:prstGeom>
            <a:solidFill>
              <a:srgbClr val="0078D7">
                <a:lumMod val="40000"/>
                <a:lumOff val="60000"/>
              </a:srgbClr>
            </a:solidFill>
            <a:ln w="9525" cap="flat" cmpd="sng" algn="ctr">
              <a:noFill/>
              <a:prstDash val="solid"/>
              <a:headEnd type="none" w="med" len="med"/>
              <a:tailEnd type="none" w="med" len="med"/>
            </a:ln>
            <a:effectLst/>
          </p:spPr>
          <p:txBody>
            <a:bodyPr rot="0" spcFirstLastPara="0" vertOverflow="overflow" horzOverflow="overflow" vert="horz" wrap="square" lIns="179031" tIns="143225" rIns="179031" bIns="143225" numCol="1" spcCol="0" rtlCol="0" fromWordArt="0" anchor="t" anchorCtr="0" forceAA="0" compatLnSpc="1">
              <a:prstTxWarp prst="textNoShape">
                <a:avLst/>
              </a:prstTxWarp>
              <a:noAutofit/>
            </a:bodyPr>
            <a:lstStyle/>
            <a:p>
              <a:pPr algn="ctr" defTabSz="912766" fontAlgn="base">
                <a:lnSpc>
                  <a:spcPct val="90000"/>
                </a:lnSpc>
                <a:spcBef>
                  <a:spcPct val="0"/>
                </a:spcBef>
                <a:spcAft>
                  <a:spcPct val="0"/>
                </a:spcAft>
                <a:defRPr/>
              </a:pPr>
              <a:endParaRPr lang="en-US" sz="2350"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3" name="Hexagon 122"/>
            <p:cNvSpPr>
              <a:spLocks noChangeAspect="1"/>
            </p:cNvSpPr>
            <p:nvPr/>
          </p:nvSpPr>
          <p:spPr bwMode="auto">
            <a:xfrm>
              <a:off x="8133231" y="1866396"/>
              <a:ext cx="666750" cy="576739"/>
            </a:xfrm>
            <a:prstGeom prst="hexagon">
              <a:avLst/>
            </a:prstGeom>
            <a:solidFill>
              <a:srgbClr val="0078D7">
                <a:lumMod val="20000"/>
                <a:lumOff val="80000"/>
              </a:srgbClr>
            </a:solidFill>
            <a:ln w="9525" cap="flat" cmpd="sng" algn="ctr">
              <a:noFill/>
              <a:prstDash val="solid"/>
              <a:headEnd type="none" w="med" len="med"/>
              <a:tailEnd type="none" w="med" len="med"/>
            </a:ln>
            <a:effectLst/>
          </p:spPr>
          <p:txBody>
            <a:bodyPr rot="0" spcFirstLastPara="0" vertOverflow="overflow" horzOverflow="overflow" vert="horz" wrap="square" lIns="179031" tIns="143225" rIns="179031" bIns="143225" numCol="1" spcCol="0" rtlCol="0" fromWordArt="0" anchor="t" anchorCtr="0" forceAA="0" compatLnSpc="1">
              <a:prstTxWarp prst="textNoShape">
                <a:avLst/>
              </a:prstTxWarp>
              <a:noAutofit/>
            </a:bodyPr>
            <a:lstStyle/>
            <a:p>
              <a:pPr algn="ctr" defTabSz="912766" fontAlgn="base">
                <a:lnSpc>
                  <a:spcPct val="90000"/>
                </a:lnSpc>
                <a:spcBef>
                  <a:spcPct val="0"/>
                </a:spcBef>
                <a:spcAft>
                  <a:spcPct val="0"/>
                </a:spcAft>
                <a:defRPr/>
              </a:pPr>
              <a:endParaRPr lang="en-US" sz="2350"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4" name="Hexagon 123"/>
            <p:cNvSpPr>
              <a:spLocks noChangeAspect="1"/>
            </p:cNvSpPr>
            <p:nvPr/>
          </p:nvSpPr>
          <p:spPr bwMode="auto">
            <a:xfrm>
              <a:off x="8133231" y="2484462"/>
              <a:ext cx="666750" cy="576739"/>
            </a:xfrm>
            <a:prstGeom prst="hexagon">
              <a:avLst/>
            </a:prstGeom>
            <a:solidFill>
              <a:srgbClr val="002050"/>
            </a:solidFill>
            <a:ln w="9525" cap="flat" cmpd="sng" algn="ctr">
              <a:noFill/>
              <a:prstDash val="solid"/>
              <a:headEnd type="none" w="med" len="med"/>
              <a:tailEnd type="none" w="med" len="med"/>
            </a:ln>
            <a:effectLst/>
          </p:spPr>
          <p:txBody>
            <a:bodyPr rot="0" spcFirstLastPara="0" vertOverflow="overflow" horzOverflow="overflow" vert="horz" wrap="square" lIns="179031" tIns="143225" rIns="179031" bIns="143225" numCol="1" spcCol="0" rtlCol="0" fromWordArt="0" anchor="t" anchorCtr="0" forceAA="0" compatLnSpc="1">
              <a:prstTxWarp prst="textNoShape">
                <a:avLst/>
              </a:prstTxWarp>
              <a:noAutofit/>
            </a:bodyPr>
            <a:lstStyle/>
            <a:p>
              <a:pPr algn="ctr" defTabSz="912766" fontAlgn="base">
                <a:lnSpc>
                  <a:spcPct val="90000"/>
                </a:lnSpc>
                <a:spcBef>
                  <a:spcPct val="0"/>
                </a:spcBef>
                <a:spcAft>
                  <a:spcPct val="0"/>
                </a:spcAft>
                <a:defRPr/>
              </a:pPr>
              <a:endParaRPr lang="en-US" sz="2350"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5" name="Hexagon 124"/>
            <p:cNvSpPr>
              <a:spLocks noChangeAspect="1"/>
            </p:cNvSpPr>
            <p:nvPr/>
          </p:nvSpPr>
          <p:spPr bwMode="auto">
            <a:xfrm>
              <a:off x="8691384" y="2175932"/>
              <a:ext cx="666750" cy="576739"/>
            </a:xfrm>
            <a:prstGeom prst="hexagon">
              <a:avLst/>
            </a:prstGeom>
            <a:solidFill>
              <a:srgbClr val="00BCF2"/>
            </a:solidFill>
            <a:ln w="9525" cap="flat" cmpd="sng" algn="ctr">
              <a:noFill/>
              <a:prstDash val="solid"/>
              <a:headEnd type="none" w="med" len="med"/>
              <a:tailEnd type="none" w="med" len="med"/>
            </a:ln>
            <a:effectLst/>
          </p:spPr>
          <p:txBody>
            <a:bodyPr rot="0" spcFirstLastPara="0" vertOverflow="overflow" horzOverflow="overflow" vert="horz" wrap="square" lIns="179031" tIns="143225" rIns="179031" bIns="143225" numCol="1" spcCol="0" rtlCol="0" fromWordArt="0" anchor="t" anchorCtr="0" forceAA="0" compatLnSpc="1">
              <a:prstTxWarp prst="textNoShape">
                <a:avLst/>
              </a:prstTxWarp>
              <a:noAutofit/>
            </a:bodyPr>
            <a:lstStyle/>
            <a:p>
              <a:pPr algn="ctr" defTabSz="912766" fontAlgn="base">
                <a:lnSpc>
                  <a:spcPct val="90000"/>
                </a:lnSpc>
                <a:spcBef>
                  <a:spcPct val="0"/>
                </a:spcBef>
                <a:spcAft>
                  <a:spcPct val="0"/>
                </a:spcAft>
                <a:defRPr/>
              </a:pPr>
              <a:endParaRPr lang="en-US" sz="2350"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6" name="Hexagon 125"/>
            <p:cNvSpPr>
              <a:spLocks noChangeAspect="1"/>
            </p:cNvSpPr>
            <p:nvPr/>
          </p:nvSpPr>
          <p:spPr bwMode="auto">
            <a:xfrm>
              <a:off x="8691384" y="2793998"/>
              <a:ext cx="666750" cy="576739"/>
            </a:xfrm>
            <a:prstGeom prst="hexagon">
              <a:avLst/>
            </a:prstGeom>
            <a:solidFill>
              <a:srgbClr val="0078D7">
                <a:lumMod val="60000"/>
                <a:lumOff val="40000"/>
              </a:srgbClr>
            </a:solidFill>
            <a:ln w="9525" cap="flat" cmpd="sng" algn="ctr">
              <a:noFill/>
              <a:prstDash val="solid"/>
              <a:headEnd type="none" w="med" len="med"/>
              <a:tailEnd type="none" w="med" len="med"/>
            </a:ln>
            <a:effectLst/>
          </p:spPr>
          <p:txBody>
            <a:bodyPr rot="0" spcFirstLastPara="0" vertOverflow="overflow" horzOverflow="overflow" vert="horz" wrap="square" lIns="179031" tIns="143225" rIns="179031" bIns="143225" numCol="1" spcCol="0" rtlCol="0" fromWordArt="0" anchor="t" anchorCtr="0" forceAA="0" compatLnSpc="1">
              <a:prstTxWarp prst="textNoShape">
                <a:avLst/>
              </a:prstTxWarp>
              <a:noAutofit/>
            </a:bodyPr>
            <a:lstStyle/>
            <a:p>
              <a:pPr algn="ctr" defTabSz="912766" fontAlgn="base">
                <a:lnSpc>
                  <a:spcPct val="90000"/>
                </a:lnSpc>
                <a:spcBef>
                  <a:spcPct val="0"/>
                </a:spcBef>
                <a:spcAft>
                  <a:spcPct val="0"/>
                </a:spcAft>
                <a:defRPr/>
              </a:pPr>
              <a:endParaRPr lang="en-US" sz="2350"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7" name="Hexagon 126"/>
            <p:cNvSpPr>
              <a:spLocks noChangeAspect="1"/>
            </p:cNvSpPr>
            <p:nvPr/>
          </p:nvSpPr>
          <p:spPr bwMode="auto">
            <a:xfrm>
              <a:off x="7575078" y="2793997"/>
              <a:ext cx="666750" cy="576739"/>
            </a:xfrm>
            <a:prstGeom prst="hexagon">
              <a:avLst/>
            </a:prstGeom>
            <a:solidFill>
              <a:srgbClr val="0078D7">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179031" tIns="143225" rIns="179031" bIns="143225" numCol="1" spcCol="0" rtlCol="0" fromWordArt="0" anchor="t" anchorCtr="0" forceAA="0" compatLnSpc="1">
              <a:prstTxWarp prst="textNoShape">
                <a:avLst/>
              </a:prstTxWarp>
              <a:noAutofit/>
            </a:bodyPr>
            <a:lstStyle/>
            <a:p>
              <a:pPr algn="ctr" defTabSz="912766" fontAlgn="base">
                <a:lnSpc>
                  <a:spcPct val="90000"/>
                </a:lnSpc>
                <a:spcBef>
                  <a:spcPct val="0"/>
                </a:spcBef>
                <a:spcAft>
                  <a:spcPct val="0"/>
                </a:spcAft>
                <a:defRPr/>
              </a:pPr>
              <a:endParaRPr lang="en-US" sz="2350"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8" name="Hexagon 127"/>
            <p:cNvSpPr>
              <a:spLocks noChangeAspect="1"/>
            </p:cNvSpPr>
            <p:nvPr/>
          </p:nvSpPr>
          <p:spPr bwMode="auto">
            <a:xfrm>
              <a:off x="9249537" y="1866396"/>
              <a:ext cx="666750" cy="576739"/>
            </a:xfrm>
            <a:prstGeom prst="hexagon">
              <a:avLst/>
            </a:prstGeom>
            <a:solidFill>
              <a:srgbClr val="0078D7">
                <a:lumMod val="60000"/>
                <a:lumOff val="40000"/>
              </a:srgbClr>
            </a:solidFill>
            <a:ln w="9525" cap="flat" cmpd="sng" algn="ctr">
              <a:noFill/>
              <a:prstDash val="solid"/>
              <a:headEnd type="none" w="med" len="med"/>
              <a:tailEnd type="none" w="med" len="med"/>
            </a:ln>
            <a:effectLst/>
          </p:spPr>
          <p:txBody>
            <a:bodyPr rot="0" spcFirstLastPara="0" vertOverflow="overflow" horzOverflow="overflow" vert="horz" wrap="square" lIns="179031" tIns="143225" rIns="179031" bIns="143225" numCol="1" spcCol="0" rtlCol="0" fromWordArt="0" anchor="t" anchorCtr="0" forceAA="0" compatLnSpc="1">
              <a:prstTxWarp prst="textNoShape">
                <a:avLst/>
              </a:prstTxWarp>
              <a:noAutofit/>
            </a:bodyPr>
            <a:lstStyle/>
            <a:p>
              <a:pPr algn="ctr" defTabSz="912766" fontAlgn="base">
                <a:lnSpc>
                  <a:spcPct val="90000"/>
                </a:lnSpc>
                <a:spcBef>
                  <a:spcPct val="0"/>
                </a:spcBef>
                <a:spcAft>
                  <a:spcPct val="0"/>
                </a:spcAft>
                <a:defRPr/>
              </a:pPr>
              <a:endParaRPr lang="en-US" sz="2350"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9" name="Hexagon 128"/>
            <p:cNvSpPr>
              <a:spLocks noChangeAspect="1"/>
            </p:cNvSpPr>
            <p:nvPr/>
          </p:nvSpPr>
          <p:spPr bwMode="auto">
            <a:xfrm>
              <a:off x="9249537" y="2484462"/>
              <a:ext cx="666750" cy="576739"/>
            </a:xfrm>
            <a:prstGeom prst="hexagon">
              <a:avLst/>
            </a:prstGeom>
            <a:solidFill>
              <a:srgbClr val="0078D7">
                <a:lumMod val="40000"/>
                <a:lumOff val="60000"/>
              </a:srgbClr>
            </a:solidFill>
            <a:ln w="9525" cap="flat" cmpd="sng" algn="ctr">
              <a:noFill/>
              <a:prstDash val="solid"/>
              <a:headEnd type="none" w="med" len="med"/>
              <a:tailEnd type="none" w="med" len="med"/>
            </a:ln>
            <a:effectLst/>
          </p:spPr>
          <p:txBody>
            <a:bodyPr rot="0" spcFirstLastPara="0" vertOverflow="overflow" horzOverflow="overflow" vert="horz" wrap="square" lIns="179031" tIns="143225" rIns="179031" bIns="143225" numCol="1" spcCol="0" rtlCol="0" fromWordArt="0" anchor="t" anchorCtr="0" forceAA="0" compatLnSpc="1">
              <a:prstTxWarp prst="textNoShape">
                <a:avLst/>
              </a:prstTxWarp>
              <a:noAutofit/>
            </a:bodyPr>
            <a:lstStyle/>
            <a:p>
              <a:pPr algn="ctr" defTabSz="912766" fontAlgn="base">
                <a:lnSpc>
                  <a:spcPct val="90000"/>
                </a:lnSpc>
                <a:spcBef>
                  <a:spcPct val="0"/>
                </a:spcBef>
                <a:spcAft>
                  <a:spcPct val="0"/>
                </a:spcAft>
                <a:defRPr/>
              </a:pPr>
              <a:endParaRPr lang="en-US" sz="2350"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30" name="Hexagon 129"/>
            <p:cNvSpPr>
              <a:spLocks noChangeAspect="1"/>
            </p:cNvSpPr>
            <p:nvPr/>
          </p:nvSpPr>
          <p:spPr bwMode="auto">
            <a:xfrm>
              <a:off x="9804400" y="2167467"/>
              <a:ext cx="666750" cy="576739"/>
            </a:xfrm>
            <a:prstGeom prst="hexagon">
              <a:avLst/>
            </a:prstGeom>
            <a:solidFill>
              <a:srgbClr val="0078D7">
                <a:lumMod val="20000"/>
                <a:lumOff val="80000"/>
              </a:srgbClr>
            </a:solidFill>
            <a:ln w="9525" cap="flat" cmpd="sng" algn="ctr">
              <a:noFill/>
              <a:prstDash val="solid"/>
              <a:headEnd type="none" w="med" len="med"/>
              <a:tailEnd type="none" w="med" len="med"/>
            </a:ln>
            <a:effectLst/>
          </p:spPr>
          <p:txBody>
            <a:bodyPr rot="0" spcFirstLastPara="0" vertOverflow="overflow" horzOverflow="overflow" vert="horz" wrap="square" lIns="179031" tIns="143225" rIns="179031" bIns="143225" numCol="1" spcCol="0" rtlCol="0" fromWordArt="0" anchor="t" anchorCtr="0" forceAA="0" compatLnSpc="1">
              <a:prstTxWarp prst="textNoShape">
                <a:avLst/>
              </a:prstTxWarp>
              <a:noAutofit/>
            </a:bodyPr>
            <a:lstStyle/>
            <a:p>
              <a:pPr algn="ctr" defTabSz="912766" fontAlgn="base">
                <a:lnSpc>
                  <a:spcPct val="90000"/>
                </a:lnSpc>
                <a:spcBef>
                  <a:spcPct val="0"/>
                </a:spcBef>
                <a:spcAft>
                  <a:spcPct val="0"/>
                </a:spcAft>
                <a:defRPr/>
              </a:pPr>
              <a:endParaRPr lang="en-US" sz="2350"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31" name="Hexagon 130"/>
            <p:cNvSpPr>
              <a:spLocks noChangeAspect="1"/>
            </p:cNvSpPr>
            <p:nvPr/>
          </p:nvSpPr>
          <p:spPr bwMode="auto">
            <a:xfrm>
              <a:off x="10362553" y="1857930"/>
              <a:ext cx="666750" cy="576739"/>
            </a:xfrm>
            <a:prstGeom prst="hexagon">
              <a:avLst/>
            </a:prstGeom>
            <a:solidFill>
              <a:srgbClr val="002050"/>
            </a:solidFill>
            <a:ln w="9525" cap="flat" cmpd="sng" algn="ctr">
              <a:noFill/>
              <a:prstDash val="solid"/>
              <a:headEnd type="none" w="med" len="med"/>
              <a:tailEnd type="none" w="med" len="med"/>
            </a:ln>
            <a:effectLst/>
          </p:spPr>
          <p:txBody>
            <a:bodyPr rot="0" spcFirstLastPara="0" vertOverflow="overflow" horzOverflow="overflow" vert="horz" wrap="square" lIns="179031" tIns="143225" rIns="179031" bIns="143225" numCol="1" spcCol="0" rtlCol="0" fromWordArt="0" anchor="t" anchorCtr="0" forceAA="0" compatLnSpc="1">
              <a:prstTxWarp prst="textNoShape">
                <a:avLst/>
              </a:prstTxWarp>
              <a:noAutofit/>
            </a:bodyPr>
            <a:lstStyle/>
            <a:p>
              <a:pPr algn="ctr" defTabSz="912766" fontAlgn="base">
                <a:lnSpc>
                  <a:spcPct val="90000"/>
                </a:lnSpc>
                <a:spcBef>
                  <a:spcPct val="0"/>
                </a:spcBef>
                <a:spcAft>
                  <a:spcPct val="0"/>
                </a:spcAft>
                <a:defRPr/>
              </a:pPr>
              <a:endParaRPr lang="en-US" sz="2350"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32" name="Hexagon 131"/>
            <p:cNvSpPr>
              <a:spLocks noChangeAspect="1"/>
            </p:cNvSpPr>
            <p:nvPr/>
          </p:nvSpPr>
          <p:spPr bwMode="auto">
            <a:xfrm>
              <a:off x="10362553" y="2475996"/>
              <a:ext cx="666750" cy="576739"/>
            </a:xfrm>
            <a:prstGeom prst="hexagon">
              <a:avLst/>
            </a:prstGeom>
            <a:solidFill>
              <a:srgbClr val="0078D7">
                <a:lumMod val="20000"/>
                <a:lumOff val="80000"/>
              </a:srgbClr>
            </a:solidFill>
            <a:ln w="9525" cap="flat" cmpd="sng" algn="ctr">
              <a:noFill/>
              <a:prstDash val="solid"/>
              <a:headEnd type="none" w="med" len="med"/>
              <a:tailEnd type="none" w="med" len="med"/>
            </a:ln>
            <a:effectLst/>
          </p:spPr>
          <p:txBody>
            <a:bodyPr rot="0" spcFirstLastPara="0" vertOverflow="overflow" horzOverflow="overflow" vert="horz" wrap="square" lIns="179031" tIns="143225" rIns="179031" bIns="143225" numCol="1" spcCol="0" rtlCol="0" fromWordArt="0" anchor="t" anchorCtr="0" forceAA="0" compatLnSpc="1">
              <a:prstTxWarp prst="textNoShape">
                <a:avLst/>
              </a:prstTxWarp>
              <a:noAutofit/>
            </a:bodyPr>
            <a:lstStyle/>
            <a:p>
              <a:pPr algn="ctr" defTabSz="912766" fontAlgn="base">
                <a:lnSpc>
                  <a:spcPct val="90000"/>
                </a:lnSpc>
                <a:spcBef>
                  <a:spcPct val="0"/>
                </a:spcBef>
                <a:spcAft>
                  <a:spcPct val="0"/>
                </a:spcAft>
                <a:defRPr/>
              </a:pPr>
              <a:endParaRPr lang="en-US" sz="2350"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33" name="Hexagon 132"/>
            <p:cNvSpPr>
              <a:spLocks noChangeAspect="1"/>
            </p:cNvSpPr>
            <p:nvPr/>
          </p:nvSpPr>
          <p:spPr bwMode="auto">
            <a:xfrm>
              <a:off x="10920706" y="2167466"/>
              <a:ext cx="666750" cy="576739"/>
            </a:xfrm>
            <a:prstGeom prst="hexagon">
              <a:avLst/>
            </a:prstGeom>
            <a:solidFill>
              <a:srgbClr val="00BCF2"/>
            </a:solidFill>
            <a:ln w="9525" cap="flat" cmpd="sng" algn="ctr">
              <a:noFill/>
              <a:prstDash val="solid"/>
              <a:headEnd type="none" w="med" len="med"/>
              <a:tailEnd type="none" w="med" len="med"/>
            </a:ln>
            <a:effectLst/>
          </p:spPr>
          <p:txBody>
            <a:bodyPr rot="0" spcFirstLastPara="0" vertOverflow="overflow" horzOverflow="overflow" vert="horz" wrap="square" lIns="179031" tIns="143225" rIns="179031" bIns="143225" numCol="1" spcCol="0" rtlCol="0" fromWordArt="0" anchor="t" anchorCtr="0" forceAA="0" compatLnSpc="1">
              <a:prstTxWarp prst="textNoShape">
                <a:avLst/>
              </a:prstTxWarp>
              <a:noAutofit/>
            </a:bodyPr>
            <a:lstStyle/>
            <a:p>
              <a:pPr algn="ctr" defTabSz="912766" fontAlgn="base">
                <a:lnSpc>
                  <a:spcPct val="90000"/>
                </a:lnSpc>
                <a:spcBef>
                  <a:spcPct val="0"/>
                </a:spcBef>
                <a:spcAft>
                  <a:spcPct val="0"/>
                </a:spcAft>
                <a:defRPr/>
              </a:pPr>
              <a:endParaRPr lang="en-US" sz="2350"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34" name="Hexagon 133"/>
            <p:cNvSpPr>
              <a:spLocks noChangeAspect="1"/>
            </p:cNvSpPr>
            <p:nvPr/>
          </p:nvSpPr>
          <p:spPr bwMode="auto">
            <a:xfrm>
              <a:off x="10920706" y="2785532"/>
              <a:ext cx="666750" cy="576739"/>
            </a:xfrm>
            <a:prstGeom prst="hexagon">
              <a:avLst/>
            </a:prstGeom>
            <a:solidFill>
              <a:srgbClr val="0078D7">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179031" tIns="143225" rIns="179031" bIns="143225" numCol="1" spcCol="0" rtlCol="0" fromWordArt="0" anchor="t" anchorCtr="0" forceAA="0" compatLnSpc="1">
              <a:prstTxWarp prst="textNoShape">
                <a:avLst/>
              </a:prstTxWarp>
              <a:noAutofit/>
            </a:bodyPr>
            <a:lstStyle/>
            <a:p>
              <a:pPr algn="ctr" defTabSz="912766" fontAlgn="base">
                <a:lnSpc>
                  <a:spcPct val="90000"/>
                </a:lnSpc>
                <a:spcBef>
                  <a:spcPct val="0"/>
                </a:spcBef>
                <a:spcAft>
                  <a:spcPct val="0"/>
                </a:spcAft>
                <a:defRPr/>
              </a:pPr>
              <a:endParaRPr lang="en-US" sz="2350"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35" name="Hexagon 134"/>
            <p:cNvSpPr>
              <a:spLocks noChangeAspect="1"/>
            </p:cNvSpPr>
            <p:nvPr/>
          </p:nvSpPr>
          <p:spPr bwMode="auto">
            <a:xfrm>
              <a:off x="9804400" y="2785531"/>
              <a:ext cx="666750" cy="576739"/>
            </a:xfrm>
            <a:prstGeom prst="hexagon">
              <a:avLst/>
            </a:prstGeom>
            <a:solidFill>
              <a:srgbClr val="0078D7">
                <a:lumMod val="75000"/>
              </a:srgbClr>
            </a:solidFill>
            <a:ln w="9525" cap="flat" cmpd="sng" algn="ctr">
              <a:noFill/>
              <a:prstDash val="solid"/>
              <a:headEnd type="none" w="med" len="med"/>
              <a:tailEnd type="none" w="med" len="med"/>
            </a:ln>
            <a:effectLst/>
          </p:spPr>
          <p:txBody>
            <a:bodyPr rot="0" spcFirstLastPara="0" vertOverflow="overflow" horzOverflow="overflow" vert="horz" wrap="square" lIns="179031" tIns="143225" rIns="179031" bIns="143225" numCol="1" spcCol="0" rtlCol="0" fromWordArt="0" anchor="t" anchorCtr="0" forceAA="0" compatLnSpc="1">
              <a:prstTxWarp prst="textNoShape">
                <a:avLst/>
              </a:prstTxWarp>
              <a:noAutofit/>
            </a:bodyPr>
            <a:lstStyle/>
            <a:p>
              <a:pPr algn="ctr" defTabSz="912766" fontAlgn="base">
                <a:lnSpc>
                  <a:spcPct val="90000"/>
                </a:lnSpc>
                <a:spcBef>
                  <a:spcPct val="0"/>
                </a:spcBef>
                <a:spcAft>
                  <a:spcPct val="0"/>
                </a:spcAft>
                <a:defRPr/>
              </a:pPr>
              <a:endParaRPr lang="en-US" sz="2350"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sp>
        <p:nvSpPr>
          <p:cNvPr id="136" name="TextBox 135"/>
          <p:cNvSpPr txBox="1"/>
          <p:nvPr/>
        </p:nvSpPr>
        <p:spPr>
          <a:xfrm>
            <a:off x="4166313" y="5795196"/>
            <a:ext cx="1166934" cy="621199"/>
          </a:xfrm>
          <a:prstGeom prst="rect">
            <a:avLst/>
          </a:prstGeom>
          <a:noFill/>
        </p:spPr>
        <p:txBody>
          <a:bodyPr wrap="square" lIns="179031" tIns="143225" rIns="179031" bIns="143225" rtlCol="0">
            <a:spAutoFit/>
          </a:bodyPr>
          <a:lstStyle/>
          <a:p>
            <a:pPr defTabSz="913030">
              <a:lnSpc>
                <a:spcPct val="90000"/>
              </a:lnSpc>
              <a:spcAft>
                <a:spcPts val="586"/>
              </a:spcAft>
              <a:defRPr/>
            </a:pPr>
            <a:r>
              <a:rPr lang="en-US" sz="2350" kern="0" dirty="0">
                <a:solidFill>
                  <a:sysClr val="windowText" lastClr="000000"/>
                </a:solidFill>
                <a:latin typeface="Segoe UI Semilight"/>
                <a:ea typeface="MS PGothic" panose="020B0600070205080204" pitchFamily="34" charset="-128"/>
              </a:rPr>
              <a:t>Azure</a:t>
            </a:r>
          </a:p>
        </p:txBody>
      </p:sp>
      <p:sp>
        <p:nvSpPr>
          <p:cNvPr id="137" name="Freeform 136"/>
          <p:cNvSpPr>
            <a:spLocks/>
          </p:cNvSpPr>
          <p:nvPr/>
        </p:nvSpPr>
        <p:spPr bwMode="auto">
          <a:xfrm>
            <a:off x="3926896" y="4800184"/>
            <a:ext cx="1755374" cy="971657"/>
          </a:xfrm>
          <a:custGeom>
            <a:avLst/>
            <a:gdLst>
              <a:gd name="T0" fmla="*/ 1662 w 2136"/>
              <a:gd name="T1" fmla="*/ 1181 h 1181"/>
              <a:gd name="T2" fmla="*/ 239 w 2136"/>
              <a:gd name="T3" fmla="*/ 1181 h 1181"/>
              <a:gd name="T4" fmla="*/ 0 w 2136"/>
              <a:gd name="T5" fmla="*/ 937 h 1181"/>
              <a:gd name="T6" fmla="*/ 181 w 2136"/>
              <a:gd name="T7" fmla="*/ 706 h 1181"/>
              <a:gd name="T8" fmla="*/ 462 w 2136"/>
              <a:gd name="T9" fmla="*/ 487 h 1181"/>
              <a:gd name="T10" fmla="*/ 974 w 2136"/>
              <a:gd name="T11" fmla="*/ 0 h 1181"/>
              <a:gd name="T12" fmla="*/ 1440 w 2136"/>
              <a:gd name="T13" fmla="*/ 294 h 1181"/>
              <a:gd name="T14" fmla="*/ 1662 w 2136"/>
              <a:gd name="T15" fmla="*/ 235 h 1181"/>
              <a:gd name="T16" fmla="*/ 2136 w 2136"/>
              <a:gd name="T17" fmla="*/ 710 h 1181"/>
              <a:gd name="T18" fmla="*/ 1662 w 2136"/>
              <a:gd name="T19" fmla="*/ 1181 h 1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36" h="1181">
                <a:moveTo>
                  <a:pt x="1662" y="1181"/>
                </a:moveTo>
                <a:cubicBezTo>
                  <a:pt x="239" y="1181"/>
                  <a:pt x="239" y="1181"/>
                  <a:pt x="239" y="1181"/>
                </a:cubicBezTo>
                <a:cubicBezTo>
                  <a:pt x="109" y="1181"/>
                  <a:pt x="0" y="1071"/>
                  <a:pt x="0" y="937"/>
                </a:cubicBezTo>
                <a:cubicBezTo>
                  <a:pt x="0" y="823"/>
                  <a:pt x="76" y="731"/>
                  <a:pt x="181" y="706"/>
                </a:cubicBezTo>
                <a:cubicBezTo>
                  <a:pt x="231" y="588"/>
                  <a:pt x="336" y="504"/>
                  <a:pt x="462" y="487"/>
                </a:cubicBezTo>
                <a:cubicBezTo>
                  <a:pt x="474" y="218"/>
                  <a:pt x="701" y="0"/>
                  <a:pt x="974" y="0"/>
                </a:cubicBezTo>
                <a:cubicBezTo>
                  <a:pt x="1175" y="0"/>
                  <a:pt x="1356" y="118"/>
                  <a:pt x="1440" y="294"/>
                </a:cubicBezTo>
                <a:cubicBezTo>
                  <a:pt x="1507" y="256"/>
                  <a:pt x="1582" y="235"/>
                  <a:pt x="1662" y="235"/>
                </a:cubicBezTo>
                <a:cubicBezTo>
                  <a:pt x="1922" y="235"/>
                  <a:pt x="2136" y="449"/>
                  <a:pt x="2136" y="710"/>
                </a:cubicBezTo>
                <a:cubicBezTo>
                  <a:pt x="2136" y="966"/>
                  <a:pt x="1922" y="1181"/>
                  <a:pt x="1662" y="1181"/>
                </a:cubicBezTo>
                <a:close/>
              </a:path>
            </a:pathLst>
          </a:custGeom>
          <a:solidFill>
            <a:srgbClr val="0078D7">
              <a:lumMod val="20000"/>
              <a:lumOff val="80000"/>
            </a:srgbClr>
          </a:solidFill>
          <a:ln>
            <a:noFill/>
          </a:ln>
        </p:spPr>
        <p:txBody>
          <a:bodyPr vert="horz" wrap="square" lIns="89515" tIns="44757" rIns="89515" bIns="44757" numCol="1" anchor="t" anchorCtr="0" compatLnSpc="1">
            <a:prstTxWarp prst="textNoShape">
              <a:avLst/>
            </a:prstTxWarp>
          </a:bodyPr>
          <a:lstStyle/>
          <a:p>
            <a:pPr defTabSz="913030">
              <a:defRPr/>
            </a:pPr>
            <a:endParaRPr lang="en-US" sz="1762" kern="0" dirty="0">
              <a:solidFill>
                <a:srgbClr val="505050"/>
              </a:solidFill>
              <a:latin typeface="Segoe UI Semilight"/>
              <a:ea typeface="MS PGothic" panose="020B0600070205080204" pitchFamily="34" charset="-128"/>
            </a:endParaRPr>
          </a:p>
        </p:txBody>
      </p:sp>
      <p:sp>
        <p:nvSpPr>
          <p:cNvPr id="138" name="TextBox 137"/>
          <p:cNvSpPr txBox="1"/>
          <p:nvPr/>
        </p:nvSpPr>
        <p:spPr>
          <a:xfrm>
            <a:off x="9615723" y="5757669"/>
            <a:ext cx="2840738" cy="620789"/>
          </a:xfrm>
          <a:prstGeom prst="rect">
            <a:avLst/>
          </a:prstGeom>
          <a:noFill/>
        </p:spPr>
        <p:txBody>
          <a:bodyPr wrap="square" lIns="179031" tIns="143225" rIns="179031" bIns="143225" rtlCol="0">
            <a:spAutoFit/>
          </a:bodyPr>
          <a:lstStyle/>
          <a:p>
            <a:pPr defTabSz="913030">
              <a:lnSpc>
                <a:spcPct val="90000"/>
              </a:lnSpc>
              <a:spcAft>
                <a:spcPts val="586"/>
              </a:spcAft>
              <a:defRPr/>
            </a:pPr>
            <a:r>
              <a:rPr lang="en-US" sz="2350" kern="0" dirty="0">
                <a:solidFill>
                  <a:sysClr val="windowText" lastClr="000000"/>
                </a:solidFill>
                <a:latin typeface="Segoe UI Semilight"/>
                <a:ea typeface="MS PGothic" panose="020B0600070205080204" pitchFamily="34" charset="-128"/>
              </a:rPr>
              <a:t>Other Clouds</a:t>
            </a:r>
          </a:p>
        </p:txBody>
      </p:sp>
      <p:sp>
        <p:nvSpPr>
          <p:cNvPr id="139" name="Freeform 138"/>
          <p:cNvSpPr>
            <a:spLocks/>
          </p:cNvSpPr>
          <p:nvPr/>
        </p:nvSpPr>
        <p:spPr bwMode="auto">
          <a:xfrm>
            <a:off x="9802150" y="4779706"/>
            <a:ext cx="1755374" cy="971657"/>
          </a:xfrm>
          <a:custGeom>
            <a:avLst/>
            <a:gdLst>
              <a:gd name="T0" fmla="*/ 1662 w 2136"/>
              <a:gd name="T1" fmla="*/ 1181 h 1181"/>
              <a:gd name="T2" fmla="*/ 239 w 2136"/>
              <a:gd name="T3" fmla="*/ 1181 h 1181"/>
              <a:gd name="T4" fmla="*/ 0 w 2136"/>
              <a:gd name="T5" fmla="*/ 937 h 1181"/>
              <a:gd name="T6" fmla="*/ 181 w 2136"/>
              <a:gd name="T7" fmla="*/ 706 h 1181"/>
              <a:gd name="T8" fmla="*/ 462 w 2136"/>
              <a:gd name="T9" fmla="*/ 487 h 1181"/>
              <a:gd name="T10" fmla="*/ 974 w 2136"/>
              <a:gd name="T11" fmla="*/ 0 h 1181"/>
              <a:gd name="T12" fmla="*/ 1440 w 2136"/>
              <a:gd name="T13" fmla="*/ 294 h 1181"/>
              <a:gd name="T14" fmla="*/ 1662 w 2136"/>
              <a:gd name="T15" fmla="*/ 235 h 1181"/>
              <a:gd name="T16" fmla="*/ 2136 w 2136"/>
              <a:gd name="T17" fmla="*/ 710 h 1181"/>
              <a:gd name="T18" fmla="*/ 1662 w 2136"/>
              <a:gd name="T19" fmla="*/ 1181 h 1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36" h="1181">
                <a:moveTo>
                  <a:pt x="1662" y="1181"/>
                </a:moveTo>
                <a:cubicBezTo>
                  <a:pt x="239" y="1181"/>
                  <a:pt x="239" y="1181"/>
                  <a:pt x="239" y="1181"/>
                </a:cubicBezTo>
                <a:cubicBezTo>
                  <a:pt x="109" y="1181"/>
                  <a:pt x="0" y="1071"/>
                  <a:pt x="0" y="937"/>
                </a:cubicBezTo>
                <a:cubicBezTo>
                  <a:pt x="0" y="823"/>
                  <a:pt x="76" y="731"/>
                  <a:pt x="181" y="706"/>
                </a:cubicBezTo>
                <a:cubicBezTo>
                  <a:pt x="231" y="588"/>
                  <a:pt x="336" y="504"/>
                  <a:pt x="462" y="487"/>
                </a:cubicBezTo>
                <a:cubicBezTo>
                  <a:pt x="474" y="218"/>
                  <a:pt x="701" y="0"/>
                  <a:pt x="974" y="0"/>
                </a:cubicBezTo>
                <a:cubicBezTo>
                  <a:pt x="1175" y="0"/>
                  <a:pt x="1356" y="118"/>
                  <a:pt x="1440" y="294"/>
                </a:cubicBezTo>
                <a:cubicBezTo>
                  <a:pt x="1507" y="256"/>
                  <a:pt x="1582" y="235"/>
                  <a:pt x="1662" y="235"/>
                </a:cubicBezTo>
                <a:cubicBezTo>
                  <a:pt x="1922" y="235"/>
                  <a:pt x="2136" y="449"/>
                  <a:pt x="2136" y="710"/>
                </a:cubicBezTo>
                <a:cubicBezTo>
                  <a:pt x="2136" y="966"/>
                  <a:pt x="1922" y="1181"/>
                  <a:pt x="1662" y="1181"/>
                </a:cubicBezTo>
                <a:close/>
              </a:path>
            </a:pathLst>
          </a:custGeom>
          <a:solidFill>
            <a:srgbClr val="FFC326"/>
          </a:solidFill>
          <a:ln>
            <a:noFill/>
          </a:ln>
        </p:spPr>
        <p:txBody>
          <a:bodyPr vert="horz" wrap="square" lIns="89515" tIns="44757" rIns="89515" bIns="44757" numCol="1" anchor="t" anchorCtr="0" compatLnSpc="1">
            <a:prstTxWarp prst="textNoShape">
              <a:avLst/>
            </a:prstTxWarp>
          </a:bodyPr>
          <a:lstStyle/>
          <a:p>
            <a:pPr defTabSz="913030">
              <a:defRPr/>
            </a:pPr>
            <a:endParaRPr lang="en-US" sz="1762" kern="0" dirty="0">
              <a:solidFill>
                <a:srgbClr val="505050"/>
              </a:solidFill>
              <a:latin typeface="Segoe UI Semilight"/>
              <a:ea typeface="MS PGothic" panose="020B0600070205080204" pitchFamily="34" charset="-128"/>
            </a:endParaRPr>
          </a:p>
        </p:txBody>
      </p:sp>
      <p:sp>
        <p:nvSpPr>
          <p:cNvPr id="140" name="TextBox 139"/>
          <p:cNvSpPr txBox="1"/>
          <p:nvPr/>
        </p:nvSpPr>
        <p:spPr>
          <a:xfrm>
            <a:off x="6577303" y="5745874"/>
            <a:ext cx="2510841" cy="1031628"/>
          </a:xfrm>
          <a:prstGeom prst="rect">
            <a:avLst/>
          </a:prstGeom>
          <a:noFill/>
        </p:spPr>
        <p:txBody>
          <a:bodyPr wrap="square" lIns="179031" tIns="143225" rIns="179031" bIns="143225" rtlCol="0">
            <a:spAutoFit/>
          </a:bodyPr>
          <a:lstStyle/>
          <a:p>
            <a:pPr algn="ctr" defTabSz="913030">
              <a:lnSpc>
                <a:spcPct val="90000"/>
              </a:lnSpc>
              <a:spcAft>
                <a:spcPts val="586"/>
              </a:spcAft>
              <a:defRPr/>
            </a:pPr>
            <a:r>
              <a:rPr lang="en-US" sz="2350" kern="0" dirty="0">
                <a:solidFill>
                  <a:sysClr val="windowText" lastClr="000000"/>
                </a:solidFill>
                <a:latin typeface="Segoe UI Semilight"/>
                <a:ea typeface="MS PGothic" panose="020B0600070205080204" pitchFamily="34" charset="-128"/>
              </a:rPr>
              <a:t>On Premise</a:t>
            </a:r>
          </a:p>
          <a:p>
            <a:pPr algn="ctr" defTabSz="913030">
              <a:lnSpc>
                <a:spcPct val="90000"/>
              </a:lnSpc>
              <a:spcAft>
                <a:spcPts val="586"/>
              </a:spcAft>
              <a:defRPr/>
            </a:pPr>
            <a:r>
              <a:rPr lang="en-US" sz="2350" kern="0" dirty="0">
                <a:solidFill>
                  <a:sysClr val="windowText" lastClr="000000"/>
                </a:solidFill>
                <a:latin typeface="Segoe UI Semilight"/>
                <a:ea typeface="MS PGothic" panose="020B0600070205080204" pitchFamily="34" charset="-128"/>
              </a:rPr>
              <a:t>Infrastructure</a:t>
            </a:r>
          </a:p>
        </p:txBody>
      </p:sp>
      <p:grpSp>
        <p:nvGrpSpPr>
          <p:cNvPr id="141" name="Group 8"/>
          <p:cNvGrpSpPr>
            <a:grpSpLocks noChangeAspect="1"/>
          </p:cNvGrpSpPr>
          <p:nvPr/>
        </p:nvGrpSpPr>
        <p:grpSpPr bwMode="auto">
          <a:xfrm>
            <a:off x="6835656" y="4393651"/>
            <a:ext cx="1771331" cy="1770234"/>
            <a:chOff x="4385" y="3099"/>
            <a:chExt cx="1613" cy="1612"/>
          </a:xfrm>
        </p:grpSpPr>
        <p:sp>
          <p:nvSpPr>
            <p:cNvPr id="142" name="AutoShape 7"/>
            <p:cNvSpPr>
              <a:spLocks noChangeAspect="1" noChangeArrowheads="1" noTextEdit="1"/>
            </p:cNvSpPr>
            <p:nvPr/>
          </p:nvSpPr>
          <p:spPr bwMode="auto">
            <a:xfrm>
              <a:off x="4385" y="3099"/>
              <a:ext cx="1613" cy="1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515" tIns="44757" rIns="89515" bIns="44757" numCol="1" anchor="t" anchorCtr="0" compatLnSpc="1">
              <a:prstTxWarp prst="textNoShape">
                <a:avLst/>
              </a:prstTxWarp>
            </a:bodyPr>
            <a:lstStyle/>
            <a:p>
              <a:pPr defTabSz="913030">
                <a:defRPr/>
              </a:pPr>
              <a:endParaRPr lang="en-US" sz="1762" b="1" kern="0" dirty="0">
                <a:solidFill>
                  <a:srgbClr val="505050"/>
                </a:solidFill>
                <a:latin typeface="Segoe UI Semilight"/>
                <a:ea typeface="MS PGothic" panose="020B0600070205080204" pitchFamily="34" charset="-128"/>
              </a:endParaRPr>
            </a:p>
          </p:txBody>
        </p:sp>
        <p:sp>
          <p:nvSpPr>
            <p:cNvPr id="143" name="Rectangle 9"/>
            <p:cNvSpPr>
              <a:spLocks noChangeArrowheads="1"/>
            </p:cNvSpPr>
            <p:nvPr/>
          </p:nvSpPr>
          <p:spPr bwMode="auto">
            <a:xfrm>
              <a:off x="5494" y="3463"/>
              <a:ext cx="253" cy="891"/>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515" tIns="44757" rIns="89515" bIns="44757" numCol="1" anchor="t" anchorCtr="0" compatLnSpc="1">
              <a:prstTxWarp prst="textNoShape">
                <a:avLst/>
              </a:prstTxWarp>
            </a:bodyPr>
            <a:lstStyle/>
            <a:p>
              <a:pPr defTabSz="913030">
                <a:defRPr/>
              </a:pPr>
              <a:endParaRPr lang="en-US" sz="1762" b="1" kern="0" dirty="0">
                <a:solidFill>
                  <a:srgbClr val="505050"/>
                </a:solidFill>
                <a:latin typeface="Segoe UI Semilight"/>
                <a:ea typeface="MS PGothic" panose="020B0600070205080204" pitchFamily="34" charset="-128"/>
              </a:endParaRPr>
            </a:p>
          </p:txBody>
        </p:sp>
        <p:sp>
          <p:nvSpPr>
            <p:cNvPr id="144" name="Rectangle 10"/>
            <p:cNvSpPr>
              <a:spLocks noChangeArrowheads="1"/>
            </p:cNvSpPr>
            <p:nvPr/>
          </p:nvSpPr>
          <p:spPr bwMode="auto">
            <a:xfrm>
              <a:off x="4638" y="3463"/>
              <a:ext cx="254" cy="891"/>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515" tIns="44757" rIns="89515" bIns="44757" numCol="1" anchor="t" anchorCtr="0" compatLnSpc="1">
              <a:prstTxWarp prst="textNoShape">
                <a:avLst/>
              </a:prstTxWarp>
            </a:bodyPr>
            <a:lstStyle/>
            <a:p>
              <a:pPr defTabSz="913030">
                <a:defRPr/>
              </a:pPr>
              <a:endParaRPr lang="en-US" sz="1762" b="1" kern="0" dirty="0">
                <a:solidFill>
                  <a:srgbClr val="505050"/>
                </a:solidFill>
                <a:latin typeface="Segoe UI Semilight"/>
                <a:ea typeface="MS PGothic" panose="020B0600070205080204" pitchFamily="34" charset="-128"/>
              </a:endParaRPr>
            </a:p>
          </p:txBody>
        </p:sp>
        <p:sp>
          <p:nvSpPr>
            <p:cNvPr id="145" name="Rectangle 11"/>
            <p:cNvSpPr>
              <a:spLocks noChangeArrowheads="1"/>
            </p:cNvSpPr>
            <p:nvPr/>
          </p:nvSpPr>
          <p:spPr bwMode="auto">
            <a:xfrm>
              <a:off x="4704" y="3531"/>
              <a:ext cx="314" cy="82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515" tIns="44757" rIns="89515" bIns="44757" numCol="1" anchor="t" anchorCtr="0" compatLnSpc="1">
              <a:prstTxWarp prst="textNoShape">
                <a:avLst/>
              </a:prstTxWarp>
            </a:bodyPr>
            <a:lstStyle/>
            <a:p>
              <a:pPr defTabSz="913030">
                <a:defRPr/>
              </a:pPr>
              <a:endParaRPr lang="en-US" sz="1762" b="1" kern="0" dirty="0">
                <a:solidFill>
                  <a:srgbClr val="505050"/>
                </a:solidFill>
                <a:latin typeface="Segoe UI Semilight"/>
                <a:ea typeface="MS PGothic" panose="020B0600070205080204" pitchFamily="34" charset="-128"/>
              </a:endParaRPr>
            </a:p>
          </p:txBody>
        </p:sp>
        <p:sp>
          <p:nvSpPr>
            <p:cNvPr id="146" name="Rectangle 145"/>
            <p:cNvSpPr>
              <a:spLocks noChangeArrowheads="1"/>
            </p:cNvSpPr>
            <p:nvPr/>
          </p:nvSpPr>
          <p:spPr bwMode="auto">
            <a:xfrm>
              <a:off x="5367" y="3653"/>
              <a:ext cx="313" cy="701"/>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515" tIns="44757" rIns="89515" bIns="44757" numCol="1" anchor="t" anchorCtr="0" compatLnSpc="1">
              <a:prstTxWarp prst="textNoShape">
                <a:avLst/>
              </a:prstTxWarp>
            </a:bodyPr>
            <a:lstStyle/>
            <a:p>
              <a:pPr defTabSz="913030">
                <a:defRPr/>
              </a:pPr>
              <a:endParaRPr lang="en-US" sz="1762" b="1" kern="0" dirty="0">
                <a:solidFill>
                  <a:srgbClr val="505050"/>
                </a:solidFill>
                <a:latin typeface="Segoe UI Semilight"/>
                <a:ea typeface="MS PGothic" panose="020B0600070205080204" pitchFamily="34" charset="-128"/>
              </a:endParaRPr>
            </a:p>
          </p:txBody>
        </p:sp>
        <p:sp>
          <p:nvSpPr>
            <p:cNvPr id="147" name="Rectangle 13"/>
            <p:cNvSpPr>
              <a:spLocks noChangeArrowheads="1"/>
            </p:cNvSpPr>
            <p:nvPr/>
          </p:nvSpPr>
          <p:spPr bwMode="auto">
            <a:xfrm>
              <a:off x="4968" y="3779"/>
              <a:ext cx="462" cy="57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515" tIns="44757" rIns="89515" bIns="44757" numCol="1" anchor="t" anchorCtr="0" compatLnSpc="1">
              <a:prstTxWarp prst="textNoShape">
                <a:avLst/>
              </a:prstTxWarp>
            </a:bodyPr>
            <a:lstStyle/>
            <a:p>
              <a:pPr defTabSz="913030">
                <a:defRPr/>
              </a:pPr>
              <a:endParaRPr lang="en-US" sz="1762" b="1" kern="0" dirty="0">
                <a:solidFill>
                  <a:srgbClr val="505050"/>
                </a:solidFill>
                <a:latin typeface="Segoe UI Semilight"/>
                <a:ea typeface="MS PGothic" panose="020B0600070205080204" pitchFamily="34" charset="-128"/>
              </a:endParaRPr>
            </a:p>
          </p:txBody>
        </p:sp>
        <p:sp>
          <p:nvSpPr>
            <p:cNvPr id="148" name="Rectangle 14"/>
            <p:cNvSpPr>
              <a:spLocks noChangeArrowheads="1"/>
            </p:cNvSpPr>
            <p:nvPr/>
          </p:nvSpPr>
          <p:spPr bwMode="auto">
            <a:xfrm>
              <a:off x="4945" y="3761"/>
              <a:ext cx="508" cy="18"/>
            </a:xfrm>
            <a:prstGeom prst="rect">
              <a:avLst/>
            </a:prstGeom>
            <a:solidFill>
              <a:srgbClr val="0078D7">
                <a:lumMod val="20000"/>
                <a:lumOff val="8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515" tIns="44757" rIns="89515" bIns="44757" numCol="1" anchor="t" anchorCtr="0" compatLnSpc="1">
              <a:prstTxWarp prst="textNoShape">
                <a:avLst/>
              </a:prstTxWarp>
            </a:bodyPr>
            <a:lstStyle/>
            <a:p>
              <a:pPr defTabSz="913030">
                <a:defRPr/>
              </a:pPr>
              <a:endParaRPr lang="en-US" sz="1762" b="1" kern="0" dirty="0">
                <a:solidFill>
                  <a:srgbClr val="505050"/>
                </a:solidFill>
                <a:latin typeface="Segoe UI Semilight"/>
                <a:ea typeface="MS PGothic" panose="020B0600070205080204" pitchFamily="34" charset="-128"/>
              </a:endParaRPr>
            </a:p>
          </p:txBody>
        </p:sp>
        <p:sp>
          <p:nvSpPr>
            <p:cNvPr id="149" name="Rectangle 15"/>
            <p:cNvSpPr>
              <a:spLocks noChangeArrowheads="1"/>
            </p:cNvSpPr>
            <p:nvPr/>
          </p:nvSpPr>
          <p:spPr bwMode="auto">
            <a:xfrm>
              <a:off x="5222" y="4238"/>
              <a:ext cx="61" cy="116"/>
            </a:xfrm>
            <a:prstGeom prst="rect">
              <a:avLst/>
            </a:prstGeom>
            <a:solidFill>
              <a:srgbClr val="0078D7">
                <a:lumMod val="7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515" tIns="44757" rIns="89515" bIns="44757" numCol="1" anchor="t" anchorCtr="0" compatLnSpc="1">
              <a:prstTxWarp prst="textNoShape">
                <a:avLst/>
              </a:prstTxWarp>
            </a:bodyPr>
            <a:lstStyle/>
            <a:p>
              <a:pPr defTabSz="913030">
                <a:defRPr/>
              </a:pPr>
              <a:endParaRPr lang="en-US" sz="1762" b="1" kern="0" dirty="0">
                <a:solidFill>
                  <a:srgbClr val="505050"/>
                </a:solidFill>
                <a:latin typeface="Segoe UI Semilight"/>
                <a:ea typeface="MS PGothic" panose="020B0600070205080204" pitchFamily="34" charset="-128"/>
              </a:endParaRPr>
            </a:p>
          </p:txBody>
        </p:sp>
        <p:sp>
          <p:nvSpPr>
            <p:cNvPr id="150" name="Rectangle 16"/>
            <p:cNvSpPr>
              <a:spLocks noChangeArrowheads="1"/>
            </p:cNvSpPr>
            <p:nvPr/>
          </p:nvSpPr>
          <p:spPr bwMode="auto">
            <a:xfrm>
              <a:off x="5117" y="4238"/>
              <a:ext cx="61" cy="116"/>
            </a:xfrm>
            <a:prstGeom prst="rect">
              <a:avLst/>
            </a:prstGeom>
            <a:solidFill>
              <a:srgbClr val="0078D7">
                <a:lumMod val="7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515" tIns="44757" rIns="89515" bIns="44757" numCol="1" anchor="t" anchorCtr="0" compatLnSpc="1">
              <a:prstTxWarp prst="textNoShape">
                <a:avLst/>
              </a:prstTxWarp>
            </a:bodyPr>
            <a:lstStyle/>
            <a:p>
              <a:pPr defTabSz="913030">
                <a:defRPr/>
              </a:pPr>
              <a:endParaRPr lang="en-US" sz="1762" b="1" kern="0" dirty="0">
                <a:solidFill>
                  <a:srgbClr val="505050"/>
                </a:solidFill>
                <a:latin typeface="Segoe UI Semilight"/>
                <a:ea typeface="MS PGothic" panose="020B0600070205080204" pitchFamily="34" charset="-128"/>
              </a:endParaRPr>
            </a:p>
          </p:txBody>
        </p:sp>
        <p:sp>
          <p:nvSpPr>
            <p:cNvPr id="151" name="Rectangle 17"/>
            <p:cNvSpPr>
              <a:spLocks noChangeArrowheads="1"/>
            </p:cNvSpPr>
            <p:nvPr/>
          </p:nvSpPr>
          <p:spPr bwMode="auto">
            <a:xfrm>
              <a:off x="5014" y="3831"/>
              <a:ext cx="372" cy="59"/>
            </a:xfrm>
            <a:prstGeom prst="rect">
              <a:avLst/>
            </a:prstGeom>
            <a:solidFill>
              <a:srgbClr val="0078D7">
                <a:lumMod val="7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515" tIns="44757" rIns="89515" bIns="44757" numCol="1" anchor="t" anchorCtr="0" compatLnSpc="1">
              <a:prstTxWarp prst="textNoShape">
                <a:avLst/>
              </a:prstTxWarp>
            </a:bodyPr>
            <a:lstStyle/>
            <a:p>
              <a:pPr defTabSz="913030">
                <a:defRPr/>
              </a:pPr>
              <a:endParaRPr lang="en-US" sz="1762" b="1" kern="0" dirty="0">
                <a:solidFill>
                  <a:srgbClr val="505050"/>
                </a:solidFill>
                <a:latin typeface="Segoe UI Semilight"/>
                <a:ea typeface="MS PGothic" panose="020B0600070205080204" pitchFamily="34" charset="-128"/>
              </a:endParaRPr>
            </a:p>
          </p:txBody>
        </p:sp>
        <p:sp>
          <p:nvSpPr>
            <p:cNvPr id="152" name="Rectangle 18"/>
            <p:cNvSpPr>
              <a:spLocks noChangeArrowheads="1"/>
            </p:cNvSpPr>
            <p:nvPr/>
          </p:nvSpPr>
          <p:spPr bwMode="auto">
            <a:xfrm>
              <a:off x="5014" y="3934"/>
              <a:ext cx="372" cy="59"/>
            </a:xfrm>
            <a:prstGeom prst="rect">
              <a:avLst/>
            </a:prstGeom>
            <a:solidFill>
              <a:srgbClr val="0078D7">
                <a:lumMod val="7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515" tIns="44757" rIns="89515" bIns="44757" numCol="1" anchor="t" anchorCtr="0" compatLnSpc="1">
              <a:prstTxWarp prst="textNoShape">
                <a:avLst/>
              </a:prstTxWarp>
            </a:bodyPr>
            <a:lstStyle/>
            <a:p>
              <a:pPr defTabSz="913030">
                <a:defRPr/>
              </a:pPr>
              <a:endParaRPr lang="en-US" sz="1762" b="1" kern="0" dirty="0">
                <a:solidFill>
                  <a:srgbClr val="505050"/>
                </a:solidFill>
                <a:latin typeface="Segoe UI Semilight"/>
                <a:ea typeface="MS PGothic" panose="020B0600070205080204" pitchFamily="34" charset="-128"/>
              </a:endParaRPr>
            </a:p>
          </p:txBody>
        </p:sp>
        <p:sp>
          <p:nvSpPr>
            <p:cNvPr id="153" name="Rectangle 19"/>
            <p:cNvSpPr>
              <a:spLocks noChangeArrowheads="1"/>
            </p:cNvSpPr>
            <p:nvPr/>
          </p:nvSpPr>
          <p:spPr bwMode="auto">
            <a:xfrm>
              <a:off x="5014" y="4038"/>
              <a:ext cx="372" cy="60"/>
            </a:xfrm>
            <a:prstGeom prst="rect">
              <a:avLst/>
            </a:prstGeom>
            <a:solidFill>
              <a:srgbClr val="0078D7">
                <a:lumMod val="7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515" tIns="44757" rIns="89515" bIns="44757" numCol="1" anchor="t" anchorCtr="0" compatLnSpc="1">
              <a:prstTxWarp prst="textNoShape">
                <a:avLst/>
              </a:prstTxWarp>
            </a:bodyPr>
            <a:lstStyle/>
            <a:p>
              <a:pPr defTabSz="913030">
                <a:defRPr/>
              </a:pPr>
              <a:endParaRPr lang="en-US" sz="1762" b="1" kern="0" dirty="0">
                <a:solidFill>
                  <a:srgbClr val="505050"/>
                </a:solidFill>
                <a:latin typeface="Segoe UI Semilight"/>
                <a:ea typeface="MS PGothic" panose="020B0600070205080204" pitchFamily="34" charset="-128"/>
              </a:endParaRPr>
            </a:p>
          </p:txBody>
        </p:sp>
        <p:sp>
          <p:nvSpPr>
            <p:cNvPr id="154" name="Rectangle 20"/>
            <p:cNvSpPr>
              <a:spLocks noChangeArrowheads="1"/>
            </p:cNvSpPr>
            <p:nvPr/>
          </p:nvSpPr>
          <p:spPr bwMode="auto">
            <a:xfrm>
              <a:off x="5014" y="4141"/>
              <a:ext cx="372" cy="61"/>
            </a:xfrm>
            <a:prstGeom prst="rect">
              <a:avLst/>
            </a:prstGeom>
            <a:solidFill>
              <a:srgbClr val="0078D7">
                <a:lumMod val="7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515" tIns="44757" rIns="89515" bIns="44757" numCol="1" anchor="t" anchorCtr="0" compatLnSpc="1">
              <a:prstTxWarp prst="textNoShape">
                <a:avLst/>
              </a:prstTxWarp>
            </a:bodyPr>
            <a:lstStyle/>
            <a:p>
              <a:pPr defTabSz="913030">
                <a:defRPr/>
              </a:pPr>
              <a:endParaRPr lang="en-US" sz="1762" b="1" kern="0" dirty="0">
                <a:solidFill>
                  <a:srgbClr val="505050"/>
                </a:solidFill>
                <a:latin typeface="Segoe UI Semilight"/>
                <a:ea typeface="MS PGothic" panose="020B0600070205080204" pitchFamily="34" charset="-128"/>
              </a:endParaRPr>
            </a:p>
          </p:txBody>
        </p:sp>
        <p:sp>
          <p:nvSpPr>
            <p:cNvPr id="155" name="Rectangle 21"/>
            <p:cNvSpPr>
              <a:spLocks noChangeArrowheads="1"/>
            </p:cNvSpPr>
            <p:nvPr/>
          </p:nvSpPr>
          <p:spPr bwMode="auto">
            <a:xfrm>
              <a:off x="5043" y="3689"/>
              <a:ext cx="179" cy="72"/>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515" tIns="44757" rIns="89515" bIns="44757" numCol="1" anchor="t" anchorCtr="0" compatLnSpc="1">
              <a:prstTxWarp prst="textNoShape">
                <a:avLst/>
              </a:prstTxWarp>
            </a:bodyPr>
            <a:lstStyle/>
            <a:p>
              <a:pPr defTabSz="913030">
                <a:defRPr/>
              </a:pPr>
              <a:endParaRPr lang="en-US" sz="1762" b="1" kern="0" dirty="0">
                <a:solidFill>
                  <a:srgbClr val="505050"/>
                </a:solidFill>
                <a:latin typeface="Segoe UI Semilight"/>
                <a:ea typeface="MS PGothic" panose="020B0600070205080204" pitchFamily="34" charset="-128"/>
              </a:endParaRPr>
            </a:p>
          </p:txBody>
        </p:sp>
      </p:grpSp>
      <p:sp>
        <p:nvSpPr>
          <p:cNvPr id="156" name="TextBox 155"/>
          <p:cNvSpPr txBox="1"/>
          <p:nvPr/>
        </p:nvSpPr>
        <p:spPr>
          <a:xfrm>
            <a:off x="898934" y="2945362"/>
            <a:ext cx="1881207" cy="921501"/>
          </a:xfrm>
          <a:prstGeom prst="rect">
            <a:avLst/>
          </a:prstGeom>
          <a:noFill/>
        </p:spPr>
        <p:txBody>
          <a:bodyPr wrap="square" lIns="179031" tIns="143225" rIns="179031" bIns="143225" rtlCol="0">
            <a:spAutoFit/>
          </a:bodyPr>
          <a:lstStyle/>
          <a:p>
            <a:pPr algn="ctr" defTabSz="913030">
              <a:lnSpc>
                <a:spcPct val="90000"/>
              </a:lnSpc>
              <a:spcAft>
                <a:spcPts val="586"/>
              </a:spcAft>
              <a:defRPr/>
            </a:pPr>
            <a:r>
              <a:rPr lang="en-US" sz="1960" kern="0" dirty="0">
                <a:gradFill>
                  <a:gsLst>
                    <a:gs pos="12097">
                      <a:srgbClr val="FFFFFF"/>
                    </a:gs>
                    <a:gs pos="34000">
                      <a:srgbClr val="FFFFFF"/>
                    </a:gs>
                  </a:gsLst>
                  <a:lin ang="5400000" scaled="0"/>
                </a:gradFill>
                <a:latin typeface="Segoe UI Semilight"/>
                <a:ea typeface="MS PGothic" panose="020B0600070205080204" pitchFamily="34" charset="-128"/>
              </a:rPr>
              <a:t>Lifecycle</a:t>
            </a:r>
          </a:p>
          <a:p>
            <a:pPr algn="ctr" defTabSz="913030">
              <a:lnSpc>
                <a:spcPct val="90000"/>
              </a:lnSpc>
              <a:spcAft>
                <a:spcPts val="586"/>
              </a:spcAft>
              <a:defRPr/>
            </a:pPr>
            <a:r>
              <a:rPr lang="en-US" sz="1960" kern="0" dirty="0">
                <a:gradFill>
                  <a:gsLst>
                    <a:gs pos="12097">
                      <a:srgbClr val="FFFFFF"/>
                    </a:gs>
                    <a:gs pos="34000">
                      <a:srgbClr val="FFFFFF"/>
                    </a:gs>
                  </a:gsLst>
                  <a:lin ang="5400000" scaled="0"/>
                </a:gradFill>
                <a:latin typeface="Segoe UI Semilight"/>
                <a:ea typeface="MS PGothic" panose="020B0600070205080204" pitchFamily="34" charset="-128"/>
              </a:rPr>
              <a:t>Management</a:t>
            </a:r>
          </a:p>
        </p:txBody>
      </p:sp>
      <p:sp>
        <p:nvSpPr>
          <p:cNvPr id="157" name="TextBox 156"/>
          <p:cNvSpPr txBox="1"/>
          <p:nvPr/>
        </p:nvSpPr>
        <p:spPr>
          <a:xfrm>
            <a:off x="4003209" y="3110015"/>
            <a:ext cx="1915663" cy="560757"/>
          </a:xfrm>
          <a:prstGeom prst="rect">
            <a:avLst/>
          </a:prstGeom>
          <a:noFill/>
        </p:spPr>
        <p:txBody>
          <a:bodyPr wrap="square" lIns="179031" tIns="143225" rIns="179031" bIns="143225" rtlCol="0">
            <a:spAutoFit/>
          </a:bodyPr>
          <a:lstStyle/>
          <a:p>
            <a:pPr algn="ctr" defTabSz="913030">
              <a:lnSpc>
                <a:spcPct val="90000"/>
              </a:lnSpc>
              <a:spcAft>
                <a:spcPts val="586"/>
              </a:spcAft>
              <a:defRPr/>
            </a:pPr>
            <a:r>
              <a:rPr lang="en-US" sz="1960" kern="0" dirty="0">
                <a:gradFill>
                  <a:gsLst>
                    <a:gs pos="12097">
                      <a:srgbClr val="FFFFFF"/>
                    </a:gs>
                    <a:gs pos="34000">
                      <a:srgbClr val="FFFFFF"/>
                    </a:gs>
                  </a:gsLst>
                  <a:lin ang="5400000" scaled="0"/>
                </a:gradFill>
                <a:latin typeface="Segoe UI Semilight"/>
                <a:ea typeface="MS PGothic" panose="020B0600070205080204" pitchFamily="34" charset="-128"/>
              </a:rPr>
              <a:t>Orchestration</a:t>
            </a:r>
          </a:p>
        </p:txBody>
      </p:sp>
      <p:sp>
        <p:nvSpPr>
          <p:cNvPr id="158" name="TextBox 157"/>
          <p:cNvSpPr txBox="1"/>
          <p:nvPr/>
        </p:nvSpPr>
        <p:spPr>
          <a:xfrm>
            <a:off x="9903864" y="2953434"/>
            <a:ext cx="1915663" cy="921501"/>
          </a:xfrm>
          <a:prstGeom prst="rect">
            <a:avLst/>
          </a:prstGeom>
          <a:noFill/>
        </p:spPr>
        <p:txBody>
          <a:bodyPr wrap="square" lIns="179031" tIns="143225" rIns="179031" bIns="143225" rtlCol="0">
            <a:spAutoFit/>
          </a:bodyPr>
          <a:lstStyle/>
          <a:p>
            <a:pPr algn="ctr" defTabSz="913030">
              <a:lnSpc>
                <a:spcPct val="90000"/>
              </a:lnSpc>
              <a:spcAft>
                <a:spcPts val="586"/>
              </a:spcAft>
              <a:defRPr/>
            </a:pPr>
            <a:r>
              <a:rPr lang="en-US" sz="1960" kern="0" dirty="0">
                <a:gradFill>
                  <a:gsLst>
                    <a:gs pos="12097">
                      <a:srgbClr val="FFFFFF"/>
                    </a:gs>
                    <a:gs pos="34000">
                      <a:srgbClr val="FFFFFF"/>
                    </a:gs>
                  </a:gsLst>
                  <a:lin ang="5400000" scaled="0"/>
                </a:gradFill>
                <a:latin typeface="Segoe UI Semilight"/>
                <a:ea typeface="MS PGothic" panose="020B0600070205080204" pitchFamily="34" charset="-128"/>
              </a:rPr>
              <a:t>Auto</a:t>
            </a:r>
          </a:p>
          <a:p>
            <a:pPr algn="ctr" defTabSz="913030">
              <a:lnSpc>
                <a:spcPct val="90000"/>
              </a:lnSpc>
              <a:spcAft>
                <a:spcPts val="586"/>
              </a:spcAft>
              <a:defRPr/>
            </a:pPr>
            <a:r>
              <a:rPr lang="en-US" sz="1960" kern="0" dirty="0">
                <a:gradFill>
                  <a:gsLst>
                    <a:gs pos="12097">
                      <a:srgbClr val="FFFFFF"/>
                    </a:gs>
                    <a:gs pos="34000">
                      <a:srgbClr val="FFFFFF"/>
                    </a:gs>
                  </a:gsLst>
                  <a:lin ang="5400000" scaled="0"/>
                </a:gradFill>
                <a:latin typeface="Segoe UI Semilight"/>
                <a:ea typeface="MS PGothic" panose="020B0600070205080204" pitchFamily="34" charset="-128"/>
              </a:rPr>
              <a:t>scaling</a:t>
            </a:r>
          </a:p>
        </p:txBody>
      </p:sp>
      <p:sp>
        <p:nvSpPr>
          <p:cNvPr id="159" name="TextBox 158"/>
          <p:cNvSpPr txBox="1"/>
          <p:nvPr/>
        </p:nvSpPr>
        <p:spPr>
          <a:xfrm>
            <a:off x="2546827" y="2969104"/>
            <a:ext cx="1623363" cy="842583"/>
          </a:xfrm>
          <a:prstGeom prst="rect">
            <a:avLst/>
          </a:prstGeom>
          <a:noFill/>
        </p:spPr>
        <p:txBody>
          <a:bodyPr wrap="square" lIns="179031" tIns="143225" rIns="179031" bIns="143225" rtlCol="0">
            <a:spAutoFit/>
          </a:bodyPr>
          <a:lstStyle/>
          <a:p>
            <a:pPr algn="ctr" defTabSz="913030">
              <a:lnSpc>
                <a:spcPct val="90000"/>
              </a:lnSpc>
              <a:spcAft>
                <a:spcPts val="586"/>
              </a:spcAft>
              <a:defRPr/>
            </a:pPr>
            <a:r>
              <a:rPr lang="en-US" sz="1960" kern="0" dirty="0">
                <a:gradFill>
                  <a:gsLst>
                    <a:gs pos="12097">
                      <a:srgbClr val="FFFFFF"/>
                    </a:gs>
                    <a:gs pos="34000">
                      <a:srgbClr val="FFFFFF"/>
                    </a:gs>
                  </a:gsLst>
                  <a:lin ang="5400000" scaled="0"/>
                </a:gradFill>
                <a:latin typeface="Segoe UI Semilight"/>
                <a:ea typeface="MS PGothic" panose="020B0600070205080204" pitchFamily="34" charset="-128"/>
              </a:rPr>
              <a:t>Always On</a:t>
            </a:r>
            <a:br>
              <a:rPr lang="en-US" sz="1960" kern="0" dirty="0">
                <a:gradFill>
                  <a:gsLst>
                    <a:gs pos="12097">
                      <a:srgbClr val="FFFFFF"/>
                    </a:gs>
                    <a:gs pos="34000">
                      <a:srgbClr val="FFFFFF"/>
                    </a:gs>
                  </a:gsLst>
                  <a:lin ang="5400000" scaled="0"/>
                </a:gradFill>
                <a:latin typeface="Segoe UI Semilight"/>
                <a:ea typeface="MS PGothic" panose="020B0600070205080204" pitchFamily="34" charset="-128"/>
              </a:rPr>
            </a:br>
            <a:r>
              <a:rPr lang="en-US" sz="1960" kern="0" dirty="0">
                <a:gradFill>
                  <a:gsLst>
                    <a:gs pos="12097">
                      <a:srgbClr val="FFFFFF"/>
                    </a:gs>
                    <a:gs pos="34000">
                      <a:srgbClr val="FFFFFF"/>
                    </a:gs>
                  </a:gsLst>
                  <a:lin ang="5400000" scaled="0"/>
                </a:gradFill>
                <a:latin typeface="Segoe UI Semilight"/>
                <a:ea typeface="MS PGothic" panose="020B0600070205080204" pitchFamily="34" charset="-128"/>
              </a:rPr>
              <a:t>Availability</a:t>
            </a:r>
          </a:p>
        </p:txBody>
      </p:sp>
      <p:sp>
        <p:nvSpPr>
          <p:cNvPr id="160" name="TextBox 159"/>
          <p:cNvSpPr txBox="1"/>
          <p:nvPr/>
        </p:nvSpPr>
        <p:spPr>
          <a:xfrm>
            <a:off x="8639430" y="2966516"/>
            <a:ext cx="2035771" cy="843025"/>
          </a:xfrm>
          <a:prstGeom prst="rect">
            <a:avLst/>
          </a:prstGeom>
          <a:noFill/>
        </p:spPr>
        <p:txBody>
          <a:bodyPr wrap="square" lIns="179031" tIns="143225" rIns="179031" bIns="143225" rtlCol="0">
            <a:spAutoFit/>
          </a:bodyPr>
          <a:lstStyle/>
          <a:p>
            <a:pPr algn="ctr" defTabSz="913030">
              <a:lnSpc>
                <a:spcPct val="90000"/>
              </a:lnSpc>
              <a:spcAft>
                <a:spcPts val="586"/>
              </a:spcAft>
              <a:defRPr/>
            </a:pPr>
            <a:r>
              <a:rPr lang="en-US" sz="1960" kern="0" dirty="0">
                <a:gradFill>
                  <a:gsLst>
                    <a:gs pos="12097">
                      <a:srgbClr val="FFFFFF"/>
                    </a:gs>
                    <a:gs pos="34000">
                      <a:srgbClr val="FFFFFF"/>
                    </a:gs>
                  </a:gsLst>
                  <a:lin ang="5400000" scaled="0"/>
                </a:gradFill>
                <a:latin typeface="Segoe UI Semilight"/>
                <a:ea typeface="MS PGothic" panose="020B0600070205080204" pitchFamily="34" charset="-128"/>
              </a:rPr>
              <a:t>Dev &amp; Ops Tooling</a:t>
            </a:r>
          </a:p>
        </p:txBody>
      </p:sp>
      <p:sp>
        <p:nvSpPr>
          <p:cNvPr id="161" name="TextBox 160"/>
          <p:cNvSpPr txBox="1"/>
          <p:nvPr/>
        </p:nvSpPr>
        <p:spPr>
          <a:xfrm>
            <a:off x="5625583" y="2963632"/>
            <a:ext cx="1886318" cy="843025"/>
          </a:xfrm>
          <a:prstGeom prst="rect">
            <a:avLst/>
          </a:prstGeom>
          <a:noFill/>
        </p:spPr>
        <p:txBody>
          <a:bodyPr wrap="square" lIns="179031" tIns="143225" rIns="179031" bIns="143225" rtlCol="0">
            <a:spAutoFit/>
          </a:bodyPr>
          <a:lstStyle/>
          <a:p>
            <a:pPr algn="ctr" defTabSz="913030">
              <a:lnSpc>
                <a:spcPct val="90000"/>
              </a:lnSpc>
              <a:spcAft>
                <a:spcPts val="586"/>
              </a:spcAft>
              <a:defRPr/>
            </a:pPr>
            <a:r>
              <a:rPr lang="en-US" sz="1960" kern="0" dirty="0">
                <a:gradFill>
                  <a:gsLst>
                    <a:gs pos="12097">
                      <a:srgbClr val="FFFFFF"/>
                    </a:gs>
                    <a:gs pos="34000">
                      <a:srgbClr val="FFFFFF"/>
                    </a:gs>
                  </a:gsLst>
                  <a:lin ang="5400000" scaled="0"/>
                </a:gradFill>
                <a:latin typeface="Segoe UI Semilight"/>
                <a:ea typeface="MS PGothic" panose="020B0600070205080204" pitchFamily="34" charset="-128"/>
              </a:rPr>
              <a:t>Programming Models</a:t>
            </a:r>
          </a:p>
        </p:txBody>
      </p:sp>
      <p:sp>
        <p:nvSpPr>
          <p:cNvPr id="164" name="TextBox 163"/>
          <p:cNvSpPr txBox="1"/>
          <p:nvPr/>
        </p:nvSpPr>
        <p:spPr>
          <a:xfrm>
            <a:off x="912519" y="5833593"/>
            <a:ext cx="2125887" cy="609039"/>
          </a:xfrm>
          <a:prstGeom prst="rect">
            <a:avLst/>
          </a:prstGeom>
          <a:noFill/>
        </p:spPr>
        <p:txBody>
          <a:bodyPr wrap="square" lIns="175512" tIns="140409" rIns="175512" bIns="140409" rtlCol="0">
            <a:spAutoFit/>
          </a:bodyPr>
          <a:lstStyle/>
          <a:p>
            <a:pPr defTabSz="895043">
              <a:lnSpc>
                <a:spcPct val="90000"/>
              </a:lnSpc>
              <a:spcAft>
                <a:spcPts val="575"/>
              </a:spcAft>
              <a:defRPr/>
            </a:pPr>
            <a:r>
              <a:rPr lang="en-US" sz="2304" kern="0" dirty="0">
                <a:solidFill>
                  <a:sysClr val="windowText" lastClr="000000"/>
                </a:solidFill>
                <a:latin typeface="Segoe UI Semilight"/>
                <a:ea typeface="MS PGothic" panose="020B0600070205080204" pitchFamily="34" charset="-128"/>
              </a:rPr>
              <a:t>Dev Machine</a:t>
            </a:r>
          </a:p>
        </p:txBody>
      </p:sp>
      <p:sp>
        <p:nvSpPr>
          <p:cNvPr id="228" name="TextBox 227"/>
          <p:cNvSpPr txBox="1"/>
          <p:nvPr/>
        </p:nvSpPr>
        <p:spPr>
          <a:xfrm>
            <a:off x="7172482" y="2981056"/>
            <a:ext cx="1915663" cy="843025"/>
          </a:xfrm>
          <a:prstGeom prst="rect">
            <a:avLst/>
          </a:prstGeom>
          <a:noFill/>
        </p:spPr>
        <p:txBody>
          <a:bodyPr wrap="square" lIns="179031" tIns="143225" rIns="179031" bIns="143225" rtlCol="0">
            <a:spAutoFit/>
          </a:bodyPr>
          <a:lstStyle/>
          <a:p>
            <a:pPr algn="ctr" defTabSz="913030">
              <a:lnSpc>
                <a:spcPct val="90000"/>
              </a:lnSpc>
              <a:spcAft>
                <a:spcPts val="586"/>
              </a:spcAft>
              <a:defRPr/>
            </a:pPr>
            <a:r>
              <a:rPr lang="en-US" sz="1960" kern="0" dirty="0">
                <a:gradFill>
                  <a:gsLst>
                    <a:gs pos="12097">
                      <a:srgbClr val="FFFFFF"/>
                    </a:gs>
                    <a:gs pos="34000">
                      <a:srgbClr val="FFFFFF"/>
                    </a:gs>
                  </a:gsLst>
                  <a:lin ang="5400000" scaled="0"/>
                </a:gradFill>
                <a:latin typeface="Segoe UI Semilight"/>
                <a:ea typeface="MS PGothic" panose="020B0600070205080204" pitchFamily="34" charset="-128"/>
              </a:rPr>
              <a:t>Health &amp; Monitoring</a:t>
            </a:r>
          </a:p>
        </p:txBody>
      </p:sp>
      <p:sp>
        <p:nvSpPr>
          <p:cNvPr id="172" name="Title 2"/>
          <p:cNvSpPr txBox="1">
            <a:spLocks/>
          </p:cNvSpPr>
          <p:nvPr/>
        </p:nvSpPr>
        <p:spPr>
          <a:xfrm>
            <a:off x="4084254" y="2031882"/>
            <a:ext cx="4329267" cy="502764"/>
          </a:xfrm>
          <a:prstGeom prst="rect">
            <a:avLst/>
          </a:prstGeom>
          <a:gradFill flip="none" rotWithShape="1">
            <a:gsLst>
              <a:gs pos="0">
                <a:schemeClr val="accent2">
                  <a:lumMod val="40000"/>
                  <a:lumOff val="60000"/>
                  <a:tint val="66000"/>
                  <a:satMod val="160000"/>
                </a:schemeClr>
              </a:gs>
              <a:gs pos="24000">
                <a:schemeClr val="accent2">
                  <a:lumMod val="40000"/>
                  <a:lumOff val="60000"/>
                  <a:tint val="44500"/>
                  <a:satMod val="160000"/>
                  <a:alpha val="99000"/>
                </a:schemeClr>
              </a:gs>
              <a:gs pos="100000">
                <a:schemeClr val="accent2">
                  <a:lumMod val="40000"/>
                  <a:lumOff val="60000"/>
                  <a:tint val="23500"/>
                  <a:satMod val="160000"/>
                </a:schemeClr>
              </a:gs>
            </a:gsLst>
            <a:lin ang="13500000" scaled="1"/>
            <a:tileRect/>
          </a:gradFill>
        </p:spPr>
        <p:txBody>
          <a:bodyPr vert="horz" wrap="square" lIns="143408" tIns="89629" rIns="143408" bIns="89629"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32563">
              <a:defRPr/>
            </a:pPr>
            <a:r>
              <a:rPr lang="en-US" sz="2800" dirty="0">
                <a:solidFill>
                  <a:srgbClr val="505050"/>
                </a:solidFill>
                <a:latin typeface="Segoe UI Light"/>
              </a:rPr>
              <a:t>c</a:t>
            </a:r>
            <a:r>
              <a:rPr lang="en-US" sz="2800" dirty="0" err="1">
                <a:solidFill>
                  <a:srgbClr val="505050"/>
                </a:solidFill>
                <a:latin typeface="Segoe UI Light"/>
              </a:rPr>
              <a:t>ontainers</a:t>
            </a:r>
            <a:r>
              <a:rPr lang="en-US" sz="2800" dirty="0">
                <a:solidFill>
                  <a:srgbClr val="505050"/>
                </a:solidFill>
                <a:latin typeface="Segoe UI Light"/>
              </a:rPr>
              <a:t> and microservices</a:t>
            </a:r>
            <a:endParaRPr lang="en-US" sz="1399" dirty="0">
              <a:solidFill>
                <a:srgbClr val="505050"/>
              </a:solidFill>
              <a:latin typeface="Segoe UI Light"/>
            </a:endParaRPr>
          </a:p>
          <a:p>
            <a:pPr defTabSz="932563">
              <a:defRPr/>
            </a:pPr>
            <a:endParaRPr lang="en-US" sz="2800" dirty="0">
              <a:solidFill>
                <a:srgbClr val="353535"/>
              </a:solidFill>
              <a:latin typeface="Segoe UI Light"/>
            </a:endParaRPr>
          </a:p>
        </p:txBody>
      </p:sp>
      <p:sp>
        <p:nvSpPr>
          <p:cNvPr id="165" name="Title 2"/>
          <p:cNvSpPr txBox="1">
            <a:spLocks/>
          </p:cNvSpPr>
          <p:nvPr/>
        </p:nvSpPr>
        <p:spPr>
          <a:xfrm>
            <a:off x="342893" y="275829"/>
            <a:ext cx="11654187" cy="899409"/>
          </a:xfrm>
          <a:prstGeom prst="rect">
            <a:avLst/>
          </a:prstGeom>
        </p:spPr>
        <p:txBody>
          <a:bodyPr vert="horz" wrap="square" lIns="143408" tIns="89629" rIns="143408" bIns="89629"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32563">
              <a:defRPr/>
            </a:pPr>
            <a:r>
              <a:rPr lang="en-US" sz="4704" dirty="0">
                <a:solidFill>
                  <a:srgbClr val="505050"/>
                </a:solidFill>
                <a:latin typeface="Segoe UI Light"/>
              </a:rPr>
              <a:t>Azure Service Fabric</a:t>
            </a:r>
          </a:p>
          <a:p>
            <a:pPr defTabSz="932563">
              <a:defRPr/>
            </a:pPr>
            <a:r>
              <a:rPr lang="en-US" sz="2800" dirty="0">
                <a:solidFill>
                  <a:srgbClr val="505050"/>
                </a:solidFill>
                <a:latin typeface="Segoe UI Light"/>
              </a:rPr>
              <a:t>Any OS, Any Cloud</a:t>
            </a:r>
          </a:p>
          <a:p>
            <a:pPr defTabSz="932563">
              <a:defRPr/>
            </a:pPr>
            <a:endParaRPr lang="en-US" sz="4704" dirty="0">
              <a:solidFill>
                <a:srgbClr val="353535"/>
              </a:solidFill>
              <a:latin typeface="Segoe UI Light"/>
            </a:endParaRPr>
          </a:p>
        </p:txBody>
      </p:sp>
      <p:pic>
        <p:nvPicPr>
          <p:cNvPr id="166" name="Picture 165"/>
          <p:cNvPicPr>
            <a:picLocks noChangeAspect="1"/>
          </p:cNvPicPr>
          <p:nvPr/>
        </p:nvPicPr>
        <p:blipFill>
          <a:blip r:embed="rId4"/>
          <a:stretch>
            <a:fillRect/>
          </a:stretch>
        </p:blipFill>
        <p:spPr>
          <a:xfrm>
            <a:off x="9798919" y="381649"/>
            <a:ext cx="643450" cy="709871"/>
          </a:xfrm>
          <a:prstGeom prst="rect">
            <a:avLst/>
          </a:prstGeom>
        </p:spPr>
      </p:pic>
      <p:pic>
        <p:nvPicPr>
          <p:cNvPr id="167" name="Picture 166"/>
          <p:cNvPicPr>
            <a:picLocks noChangeAspect="1"/>
          </p:cNvPicPr>
          <p:nvPr/>
        </p:nvPicPr>
        <p:blipFill>
          <a:blip r:embed="rId5"/>
          <a:stretch>
            <a:fillRect/>
          </a:stretch>
        </p:blipFill>
        <p:spPr>
          <a:xfrm>
            <a:off x="11021505" y="283989"/>
            <a:ext cx="758544" cy="905194"/>
          </a:xfrm>
          <a:prstGeom prst="rect">
            <a:avLst/>
          </a:prstGeom>
        </p:spPr>
      </p:pic>
      <p:pic>
        <p:nvPicPr>
          <p:cNvPr id="168" name="Picture 167"/>
          <p:cNvPicPr>
            <a:picLocks noChangeAspect="1"/>
          </p:cNvPicPr>
          <p:nvPr/>
        </p:nvPicPr>
        <p:blipFill>
          <a:blip r:embed="rId6"/>
          <a:stretch>
            <a:fillRect/>
          </a:stretch>
        </p:blipFill>
        <p:spPr>
          <a:xfrm>
            <a:off x="5496603" y="416435"/>
            <a:ext cx="576969" cy="576968"/>
          </a:xfrm>
          <a:prstGeom prst="rect">
            <a:avLst/>
          </a:prstGeom>
        </p:spPr>
      </p:pic>
    </p:spTree>
    <p:extLst>
      <p:ext uri="{BB962C8B-B14F-4D97-AF65-F5344CB8AC3E}">
        <p14:creationId xmlns:p14="http://schemas.microsoft.com/office/powerpoint/2010/main" val="3132977730"/>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59"/>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56"/>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57"/>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61"/>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228"/>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160"/>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15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6" grpId="0"/>
      <p:bldP spid="157" grpId="0"/>
      <p:bldP spid="158" grpId="0"/>
      <p:bldP spid="159" grpId="0"/>
      <p:bldP spid="160" grpId="0"/>
      <p:bldP spid="161" grpId="0"/>
      <p:bldP spid="228" grpId="0"/>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a:t>Agenda</a:t>
            </a:r>
          </a:p>
        </p:txBody>
      </p:sp>
      <p:sp>
        <p:nvSpPr>
          <p:cNvPr id="3" name="Text Placeholder 2"/>
          <p:cNvSpPr>
            <a:spLocks noGrp="1"/>
          </p:cNvSpPr>
          <p:nvPr>
            <p:ph type="body" sz="quarter" idx="10"/>
          </p:nvPr>
        </p:nvSpPr>
        <p:spPr>
          <a:xfrm>
            <a:off x="274638" y="1212850"/>
            <a:ext cx="11887200" cy="4801314"/>
          </a:xfrm>
        </p:spPr>
        <p:txBody>
          <a:bodyPr/>
          <a:lstStyle/>
          <a:p>
            <a:pPr marL="571500" indent="-571500">
              <a:buFont typeface="Wingdings" panose="05000000000000000000" pitchFamily="2" charset="2"/>
              <a:buChar char="Ø"/>
            </a:pPr>
            <a:r>
              <a:rPr lang="en-US" dirty="0">
                <a:cs typeface="Segoe UI Light" panose="020B0502040204020203" pitchFamily="34" charset="0"/>
              </a:rPr>
              <a:t>Scalability &amp; Architecting for Scale</a:t>
            </a:r>
          </a:p>
          <a:p>
            <a:pPr marL="571500" indent="-571500">
              <a:buFont typeface="Wingdings" panose="05000000000000000000" pitchFamily="2" charset="2"/>
              <a:buChar char="Ø"/>
            </a:pPr>
            <a:r>
              <a:rPr lang="en-US" dirty="0">
                <a:cs typeface="Segoe UI Light" panose="020B0502040204020203" pitchFamily="34" charset="0"/>
              </a:rPr>
              <a:t>Scaling Compute and Database</a:t>
            </a:r>
          </a:p>
          <a:p>
            <a:pPr marL="571500" indent="-571500">
              <a:buFont typeface="Wingdings" panose="05000000000000000000" pitchFamily="2" charset="2"/>
              <a:buChar char="Ø"/>
            </a:pPr>
            <a:r>
              <a:rPr lang="en-US" dirty="0">
                <a:cs typeface="Segoe UI Light" panose="020B0502040204020203" pitchFamily="34" charset="0"/>
              </a:rPr>
              <a:t>Caching Data</a:t>
            </a:r>
          </a:p>
          <a:p>
            <a:pPr marL="571500" indent="-571500">
              <a:buFont typeface="Wingdings" panose="05000000000000000000" pitchFamily="2" charset="2"/>
              <a:buChar char="Ø"/>
            </a:pPr>
            <a:r>
              <a:rPr lang="en-US" dirty="0">
                <a:cs typeface="Segoe UI Light" panose="020B0502040204020203" pitchFamily="34" charset="0"/>
              </a:rPr>
              <a:t>Scaling Globally with Traffic Manager</a:t>
            </a:r>
          </a:p>
          <a:p>
            <a:pPr marL="571500" indent="-571500">
              <a:buFont typeface="Wingdings" panose="05000000000000000000" pitchFamily="2" charset="2"/>
              <a:buChar char="Ø"/>
            </a:pPr>
            <a:r>
              <a:rPr lang="en-US" dirty="0">
                <a:cs typeface="Segoe UI Light" panose="020B0502040204020203" pitchFamily="34" charset="0"/>
              </a:rPr>
              <a:t>Azure CDN</a:t>
            </a:r>
          </a:p>
          <a:p>
            <a:pPr marL="571500" indent="-571500">
              <a:buFont typeface="Wingdings" panose="05000000000000000000" pitchFamily="2" charset="2"/>
              <a:buChar char="Ø"/>
            </a:pPr>
            <a:r>
              <a:rPr lang="en-US" dirty="0">
                <a:cs typeface="Segoe UI Light" panose="020B0502040204020203" pitchFamily="34" charset="0"/>
              </a:rPr>
              <a:t>Demo</a:t>
            </a:r>
          </a:p>
          <a:p>
            <a:r>
              <a:rPr lang="en-US" dirty="0"/>
              <a:t> </a:t>
            </a:r>
          </a:p>
        </p:txBody>
      </p:sp>
    </p:spTree>
    <p:extLst>
      <p:ext uri="{BB962C8B-B14F-4D97-AF65-F5344CB8AC3E}">
        <p14:creationId xmlns:p14="http://schemas.microsoft.com/office/powerpoint/2010/main" val="3453228423"/>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6" name="Picture 55"/>
          <p:cNvPicPr>
            <a:picLocks noChangeAspect="1"/>
          </p:cNvPicPr>
          <p:nvPr/>
        </p:nvPicPr>
        <p:blipFill rotWithShape="1">
          <a:blip r:embed="rId3">
            <a:lum bright="70000" contrast="-70000"/>
            <a:extLst>
              <a:ext uri="{BEBA8EAE-BF5A-486C-A8C5-ECC9F3942E4B}">
                <a14:imgProps xmlns:a14="http://schemas.microsoft.com/office/drawing/2010/main">
                  <a14:imgLayer r:embed="rId4">
                    <a14:imgEffect>
                      <a14:colorTemperature colorTemp="5900"/>
                    </a14:imgEffect>
                    <a14:imgEffect>
                      <a14:saturation sat="66000"/>
                    </a14:imgEffect>
                  </a14:imgLayer>
                </a14:imgProps>
              </a:ext>
              <a:ext uri="{28A0092B-C50C-407E-A947-70E740481C1C}">
                <a14:useLocalDpi xmlns:a14="http://schemas.microsoft.com/office/drawing/2010/main" val="0"/>
              </a:ext>
            </a:extLst>
          </a:blip>
          <a:srcRect t="33955" b="34327"/>
          <a:stretch/>
        </p:blipFill>
        <p:spPr>
          <a:xfrm>
            <a:off x="1573467" y="3346148"/>
            <a:ext cx="2279097" cy="761784"/>
          </a:xfrm>
          <a:prstGeom prst="rect">
            <a:avLst/>
          </a:prstGeom>
        </p:spPr>
      </p:pic>
      <p:pic>
        <p:nvPicPr>
          <p:cNvPr id="57" name="Picture 56"/>
          <p:cNvPicPr>
            <a:picLocks noChangeAspect="1"/>
          </p:cNvPicPr>
          <p:nvPr/>
        </p:nvPicPr>
        <p:blipFill rotWithShape="1">
          <a:blip r:embed="rId5">
            <a:lum bright="70000" contrast="-70000"/>
            <a:extLst>
              <a:ext uri="{BEBA8EAE-BF5A-486C-A8C5-ECC9F3942E4B}">
                <a14:imgProps xmlns:a14="http://schemas.microsoft.com/office/drawing/2010/main">
                  <a14:imgLayer r:embed="rId4">
                    <a14:imgEffect>
                      <a14:colorTemperature colorTemp="5900"/>
                    </a14:imgEffect>
                  </a14:imgLayer>
                </a14:imgProps>
              </a:ext>
              <a:ext uri="{28A0092B-C50C-407E-A947-70E740481C1C}">
                <a14:useLocalDpi xmlns:a14="http://schemas.microsoft.com/office/drawing/2010/main" val="0"/>
              </a:ext>
            </a:extLst>
          </a:blip>
          <a:srcRect t="33955" b="34327"/>
          <a:stretch/>
        </p:blipFill>
        <p:spPr>
          <a:xfrm>
            <a:off x="1573467" y="4188590"/>
            <a:ext cx="2279097" cy="761784"/>
          </a:xfrm>
          <a:prstGeom prst="rect">
            <a:avLst/>
          </a:prstGeom>
        </p:spPr>
      </p:pic>
      <p:pic>
        <p:nvPicPr>
          <p:cNvPr id="58" name="Picture 57"/>
          <p:cNvPicPr>
            <a:picLocks noChangeAspect="1"/>
          </p:cNvPicPr>
          <p:nvPr/>
        </p:nvPicPr>
        <p:blipFill rotWithShape="1">
          <a:blip r:embed="rId6">
            <a:lum bright="70000" contrast="-70000"/>
            <a:extLst>
              <a:ext uri="{28A0092B-C50C-407E-A947-70E740481C1C}">
                <a14:useLocalDpi xmlns:a14="http://schemas.microsoft.com/office/drawing/2010/main" val="0"/>
              </a:ext>
            </a:extLst>
          </a:blip>
          <a:srcRect t="33955" b="34327"/>
          <a:stretch/>
        </p:blipFill>
        <p:spPr>
          <a:xfrm>
            <a:off x="1573467" y="5031034"/>
            <a:ext cx="2288213" cy="761784"/>
          </a:xfrm>
          <a:prstGeom prst="rect">
            <a:avLst/>
          </a:prstGeom>
        </p:spPr>
      </p:pic>
      <p:sp>
        <p:nvSpPr>
          <p:cNvPr id="67" name="Rectangle 66"/>
          <p:cNvSpPr/>
          <p:nvPr/>
        </p:nvSpPr>
        <p:spPr>
          <a:xfrm>
            <a:off x="497284" y="2506044"/>
            <a:ext cx="3886433" cy="596071"/>
          </a:xfrm>
          <a:prstGeom prst="rect">
            <a:avLst/>
          </a:prstGeom>
        </p:spPr>
        <p:txBody>
          <a:bodyPr wrap="square">
            <a:spAutoFit/>
          </a:bodyPr>
          <a:lstStyle/>
          <a:p>
            <a:pPr marL="285695" indent="-285695" defTabSz="914049">
              <a:buFont typeface="Arial" panose="020B0604020202020204" pitchFamily="34" charset="0"/>
              <a:buChar char="•"/>
              <a:defRPr/>
            </a:pPr>
            <a:r>
              <a:rPr lang="en-US" sz="1598" kern="0" dirty="0">
                <a:solidFill>
                  <a:sysClr val="windowText" lastClr="000000"/>
                </a:solidFill>
                <a:latin typeface="+mj-lt"/>
              </a:rPr>
              <a:t>Scales by cloning the app on multiple servers/VMs/Containers</a:t>
            </a:r>
          </a:p>
        </p:txBody>
      </p:sp>
      <p:sp>
        <p:nvSpPr>
          <p:cNvPr id="71" name="Rectangle 70"/>
          <p:cNvSpPr/>
          <p:nvPr/>
        </p:nvSpPr>
        <p:spPr>
          <a:xfrm>
            <a:off x="783989" y="252917"/>
            <a:ext cx="5122515" cy="533636"/>
          </a:xfrm>
          <a:prstGeom prst="rect">
            <a:avLst/>
          </a:prstGeom>
        </p:spPr>
        <p:txBody>
          <a:bodyPr wrap="none">
            <a:spAutoFit/>
          </a:bodyPr>
          <a:lstStyle/>
          <a:p>
            <a:pPr defTabSz="914049">
              <a:defRPr/>
            </a:pPr>
            <a:r>
              <a:rPr lang="en-US" sz="2800" kern="0" dirty="0">
                <a:solidFill>
                  <a:sysClr val="windowText" lastClr="000000"/>
                </a:solidFill>
                <a:latin typeface="+mj-lt"/>
              </a:rPr>
              <a:t>Monolithic application approach</a:t>
            </a:r>
          </a:p>
        </p:txBody>
      </p:sp>
      <p:sp>
        <p:nvSpPr>
          <p:cNvPr id="72" name="Rectangle 71"/>
          <p:cNvSpPr/>
          <p:nvPr/>
        </p:nvSpPr>
        <p:spPr>
          <a:xfrm>
            <a:off x="6664082" y="269271"/>
            <a:ext cx="5563942" cy="533636"/>
          </a:xfrm>
          <a:prstGeom prst="rect">
            <a:avLst/>
          </a:prstGeom>
        </p:spPr>
        <p:txBody>
          <a:bodyPr wrap="none">
            <a:spAutoFit/>
          </a:bodyPr>
          <a:lstStyle/>
          <a:p>
            <a:pPr defTabSz="914049">
              <a:defRPr/>
            </a:pPr>
            <a:r>
              <a:rPr lang="en-US" sz="2800" kern="0" dirty="0" err="1">
                <a:solidFill>
                  <a:sysClr val="windowText" lastClr="000000"/>
                </a:solidFill>
                <a:latin typeface="+mj-lt"/>
              </a:rPr>
              <a:t>Microservices</a:t>
            </a:r>
            <a:r>
              <a:rPr lang="en-US" sz="2800" kern="0" dirty="0">
                <a:solidFill>
                  <a:sysClr val="windowText" lastClr="000000"/>
                </a:solidFill>
                <a:latin typeface="+mj-lt"/>
              </a:rPr>
              <a:t> application approach</a:t>
            </a:r>
          </a:p>
        </p:txBody>
      </p:sp>
      <p:sp>
        <p:nvSpPr>
          <p:cNvPr id="73" name="Rectangle 72"/>
          <p:cNvSpPr/>
          <p:nvPr/>
        </p:nvSpPr>
        <p:spPr>
          <a:xfrm>
            <a:off x="6347255" y="1130310"/>
            <a:ext cx="3185943" cy="847027"/>
          </a:xfrm>
          <a:prstGeom prst="rect">
            <a:avLst/>
          </a:prstGeom>
        </p:spPr>
        <p:txBody>
          <a:bodyPr wrap="square">
            <a:spAutoFit/>
          </a:bodyPr>
          <a:lstStyle/>
          <a:p>
            <a:pPr marL="285695" indent="-285695" defTabSz="914049">
              <a:buFont typeface="Arial" panose="020B0604020202020204" pitchFamily="34" charset="0"/>
              <a:buChar char="•"/>
              <a:defRPr/>
            </a:pPr>
            <a:r>
              <a:rPr lang="en-US" sz="1598" kern="0" dirty="0">
                <a:solidFill>
                  <a:sysClr val="windowText" lastClr="000000"/>
                </a:solidFill>
                <a:latin typeface="+mj-lt"/>
              </a:rPr>
              <a:t>A </a:t>
            </a:r>
            <a:r>
              <a:rPr lang="en-US" sz="1598" kern="0" dirty="0" err="1">
                <a:solidFill>
                  <a:sysClr val="windowText" lastClr="000000"/>
                </a:solidFill>
                <a:latin typeface="+mj-lt"/>
              </a:rPr>
              <a:t>microservice</a:t>
            </a:r>
            <a:r>
              <a:rPr lang="en-US" sz="1598" kern="0" dirty="0">
                <a:solidFill>
                  <a:sysClr val="windowText" lastClr="000000"/>
                </a:solidFill>
                <a:latin typeface="+mj-lt"/>
              </a:rPr>
              <a:t> application separates functionality into separate smaller services.</a:t>
            </a:r>
          </a:p>
        </p:txBody>
      </p:sp>
      <p:grpSp>
        <p:nvGrpSpPr>
          <p:cNvPr id="124" name="Group 123"/>
          <p:cNvGrpSpPr/>
          <p:nvPr/>
        </p:nvGrpSpPr>
        <p:grpSpPr>
          <a:xfrm>
            <a:off x="6819336" y="2407415"/>
            <a:ext cx="4807414" cy="4136648"/>
            <a:chOff x="6851987" y="2430462"/>
            <a:chExt cx="4808779" cy="4137821"/>
          </a:xfrm>
        </p:grpSpPr>
        <p:pic>
          <p:nvPicPr>
            <p:cNvPr id="74" name="Picture 73"/>
            <p:cNvPicPr>
              <a:picLocks noChangeAspect="1"/>
            </p:cNvPicPr>
            <p:nvPr/>
          </p:nvPicPr>
          <p:blipFill>
            <a:blip r:embed="rId7">
              <a:duotone>
                <a:schemeClr val="accent4">
                  <a:shade val="45000"/>
                  <a:satMod val="135000"/>
                </a:schemeClr>
                <a:prstClr val="white"/>
              </a:duotone>
            </a:blip>
            <a:stretch>
              <a:fillRect/>
            </a:stretch>
          </p:blipFill>
          <p:spPr>
            <a:xfrm>
              <a:off x="6851987" y="3328326"/>
              <a:ext cx="4808779" cy="3239957"/>
            </a:xfrm>
            <a:prstGeom prst="rect">
              <a:avLst/>
            </a:prstGeom>
          </p:spPr>
        </p:pic>
        <p:sp>
          <p:nvSpPr>
            <p:cNvPr id="75" name="Rectangle 74"/>
            <p:cNvSpPr/>
            <p:nvPr/>
          </p:nvSpPr>
          <p:spPr>
            <a:xfrm>
              <a:off x="6858001" y="2430462"/>
              <a:ext cx="4715072" cy="846799"/>
            </a:xfrm>
            <a:prstGeom prst="rect">
              <a:avLst/>
            </a:prstGeom>
          </p:spPr>
          <p:txBody>
            <a:bodyPr wrap="square">
              <a:spAutoFit/>
            </a:bodyPr>
            <a:lstStyle/>
            <a:p>
              <a:pPr marL="285695" indent="-285695" defTabSz="914049">
                <a:buFont typeface="Arial" panose="020B0604020202020204" pitchFamily="34" charset="0"/>
                <a:buChar char="•"/>
                <a:defRPr/>
              </a:pPr>
              <a:r>
                <a:rPr lang="en-US" sz="1598" kern="0" dirty="0">
                  <a:solidFill>
                    <a:sysClr val="windowText" lastClr="000000"/>
                  </a:solidFill>
                  <a:latin typeface="+mj-lt"/>
                </a:rPr>
                <a:t>Scales out by deploying each service independently creating instances of these services across servers/VMs/containers</a:t>
              </a:r>
            </a:p>
          </p:txBody>
        </p:sp>
      </p:grpSp>
      <p:sp>
        <p:nvSpPr>
          <p:cNvPr id="76" name="Hexagon 75"/>
          <p:cNvSpPr/>
          <p:nvPr/>
        </p:nvSpPr>
        <p:spPr bwMode="auto">
          <a:xfrm>
            <a:off x="9950980" y="1409239"/>
            <a:ext cx="272773" cy="244031"/>
          </a:xfrm>
          <a:prstGeom prst="hexagon">
            <a:avLst/>
          </a:prstGeom>
          <a:solidFill>
            <a:srgbClr val="FF0000"/>
          </a:solidFill>
          <a:ln w="9525" cap="flat" cmpd="sng" algn="ctr">
            <a:noFill/>
            <a:prstDash val="solid"/>
            <a:headEnd type="none" w="med" len="med"/>
            <a:tailEnd type="none" w="med" len="med"/>
          </a:ln>
          <a:effectLst/>
        </p:spPr>
        <p:txBody>
          <a:bodyPr lIns="91401" tIns="91401" rIns="34279" bIns="34279" rtlCol="0" anchor="b" anchorCtr="0"/>
          <a:lstStyle/>
          <a:p>
            <a:pPr algn="ctr" defTabSz="931869">
              <a:defRPr/>
            </a:pPr>
            <a:endParaRPr lang="en-US" sz="800" kern="0" dirty="0">
              <a:solidFill>
                <a:sysClr val="windowText" lastClr="000000"/>
              </a:solidFill>
              <a:latin typeface="+mj-lt"/>
              <a:ea typeface="Segoe UI" pitchFamily="34" charset="0"/>
              <a:cs typeface="Segoe UI" pitchFamily="34" charset="0"/>
            </a:endParaRPr>
          </a:p>
        </p:txBody>
      </p:sp>
      <p:sp>
        <p:nvSpPr>
          <p:cNvPr id="77" name="Hexagon 76"/>
          <p:cNvSpPr/>
          <p:nvPr/>
        </p:nvSpPr>
        <p:spPr bwMode="auto">
          <a:xfrm>
            <a:off x="11130658" y="1937092"/>
            <a:ext cx="272773" cy="244031"/>
          </a:xfrm>
          <a:prstGeom prst="hexagon">
            <a:avLst/>
          </a:prstGeom>
          <a:solidFill>
            <a:srgbClr val="FF8C00">
              <a:lumMod val="75000"/>
            </a:srgbClr>
          </a:solidFill>
          <a:ln w="9525" cap="flat" cmpd="sng" algn="ctr">
            <a:noFill/>
            <a:prstDash val="solid"/>
            <a:headEnd type="none" w="med" len="med"/>
            <a:tailEnd type="none" w="med" len="med"/>
          </a:ln>
          <a:effectLst/>
        </p:spPr>
        <p:txBody>
          <a:bodyPr lIns="91401" tIns="91401" rIns="34279" bIns="34279" rtlCol="0" anchor="b" anchorCtr="0"/>
          <a:lstStyle/>
          <a:p>
            <a:pPr algn="ctr" defTabSz="931869">
              <a:defRPr/>
            </a:pPr>
            <a:endParaRPr lang="en-US" sz="800" kern="0" dirty="0">
              <a:solidFill>
                <a:sysClr val="windowText" lastClr="000000"/>
              </a:solidFill>
              <a:latin typeface="+mj-lt"/>
              <a:ea typeface="Segoe UI" pitchFamily="34" charset="0"/>
              <a:cs typeface="Segoe UI" pitchFamily="34" charset="0"/>
            </a:endParaRPr>
          </a:p>
        </p:txBody>
      </p:sp>
      <p:sp>
        <p:nvSpPr>
          <p:cNvPr id="78" name="Hexagon 77"/>
          <p:cNvSpPr/>
          <p:nvPr/>
        </p:nvSpPr>
        <p:spPr bwMode="auto">
          <a:xfrm>
            <a:off x="11563477" y="1694798"/>
            <a:ext cx="272773" cy="244031"/>
          </a:xfrm>
          <a:prstGeom prst="hexagon">
            <a:avLst/>
          </a:prstGeom>
          <a:solidFill>
            <a:srgbClr val="7030A0"/>
          </a:solidFill>
          <a:ln w="9525" cap="flat" cmpd="sng" algn="ctr">
            <a:noFill/>
            <a:prstDash val="solid"/>
            <a:headEnd type="none" w="med" len="med"/>
            <a:tailEnd type="none" w="med" len="med"/>
          </a:ln>
          <a:effectLst/>
        </p:spPr>
        <p:txBody>
          <a:bodyPr lIns="91401" tIns="91401" rIns="34279" bIns="34279" rtlCol="0" anchor="b" anchorCtr="0"/>
          <a:lstStyle/>
          <a:p>
            <a:pPr algn="ctr" defTabSz="931869">
              <a:defRPr/>
            </a:pPr>
            <a:endParaRPr lang="en-US" sz="800" kern="0" dirty="0">
              <a:solidFill>
                <a:sysClr val="windowText" lastClr="000000"/>
              </a:solidFill>
              <a:latin typeface="+mj-lt"/>
              <a:ea typeface="Segoe UI" pitchFamily="34" charset="0"/>
              <a:cs typeface="Segoe UI" pitchFamily="34" charset="0"/>
            </a:endParaRPr>
          </a:p>
        </p:txBody>
      </p:sp>
      <p:sp>
        <p:nvSpPr>
          <p:cNvPr id="79" name="Hexagon 78"/>
          <p:cNvSpPr/>
          <p:nvPr/>
        </p:nvSpPr>
        <p:spPr bwMode="auto">
          <a:xfrm>
            <a:off x="9930001" y="1431512"/>
            <a:ext cx="272773" cy="244031"/>
          </a:xfrm>
          <a:prstGeom prst="hexagon">
            <a:avLst/>
          </a:prstGeom>
          <a:solidFill>
            <a:srgbClr val="FF0000"/>
          </a:solidFill>
          <a:ln w="9525" cap="flat" cmpd="sng" algn="ctr">
            <a:noFill/>
            <a:prstDash val="solid"/>
            <a:headEnd type="none" w="med" len="med"/>
            <a:tailEnd type="none" w="med" len="med"/>
          </a:ln>
          <a:effectLst/>
        </p:spPr>
        <p:txBody>
          <a:bodyPr lIns="91401" tIns="91401" rIns="34279" bIns="34279" rtlCol="0" anchor="b" anchorCtr="0"/>
          <a:lstStyle/>
          <a:p>
            <a:pPr algn="ctr" defTabSz="931869">
              <a:defRPr/>
            </a:pPr>
            <a:endParaRPr lang="en-US" sz="800" kern="0" dirty="0">
              <a:solidFill>
                <a:sysClr val="windowText" lastClr="000000"/>
              </a:solidFill>
              <a:latin typeface="+mj-lt"/>
              <a:ea typeface="Segoe UI" pitchFamily="34" charset="0"/>
              <a:cs typeface="Segoe UI" pitchFamily="34" charset="0"/>
            </a:endParaRPr>
          </a:p>
        </p:txBody>
      </p:sp>
      <p:sp>
        <p:nvSpPr>
          <p:cNvPr id="80" name="Hexagon 79"/>
          <p:cNvSpPr/>
          <p:nvPr/>
        </p:nvSpPr>
        <p:spPr bwMode="auto">
          <a:xfrm>
            <a:off x="9955039" y="1384597"/>
            <a:ext cx="272773" cy="244031"/>
          </a:xfrm>
          <a:prstGeom prst="hexagon">
            <a:avLst/>
          </a:prstGeom>
          <a:solidFill>
            <a:srgbClr val="FF0000"/>
          </a:solidFill>
          <a:ln w="9525" cap="flat" cmpd="sng" algn="ctr">
            <a:noFill/>
            <a:prstDash val="solid"/>
            <a:headEnd type="none" w="med" len="med"/>
            <a:tailEnd type="none" w="med" len="med"/>
          </a:ln>
          <a:effectLst/>
        </p:spPr>
        <p:txBody>
          <a:bodyPr lIns="91401" tIns="91401" rIns="34279" bIns="34279" rtlCol="0" anchor="b" anchorCtr="0"/>
          <a:lstStyle/>
          <a:p>
            <a:pPr algn="ctr" defTabSz="931869">
              <a:defRPr/>
            </a:pPr>
            <a:endParaRPr lang="en-US" sz="800" kern="0" dirty="0">
              <a:solidFill>
                <a:sysClr val="windowText" lastClr="000000"/>
              </a:solidFill>
              <a:latin typeface="+mj-lt"/>
              <a:ea typeface="Segoe UI" pitchFamily="34" charset="0"/>
              <a:cs typeface="Segoe UI" pitchFamily="34" charset="0"/>
            </a:endParaRPr>
          </a:p>
        </p:txBody>
      </p:sp>
      <p:sp>
        <p:nvSpPr>
          <p:cNvPr id="81" name="Hexagon 80"/>
          <p:cNvSpPr/>
          <p:nvPr/>
        </p:nvSpPr>
        <p:spPr bwMode="auto">
          <a:xfrm>
            <a:off x="9950567" y="1965054"/>
            <a:ext cx="272773" cy="244031"/>
          </a:xfrm>
          <a:prstGeom prst="hexagon">
            <a:avLst>
              <a:gd name="adj" fmla="val 55889"/>
              <a:gd name="vf" fmla="val 115470"/>
            </a:avLst>
          </a:prstGeom>
          <a:solidFill>
            <a:srgbClr val="FFC000"/>
          </a:solidFill>
          <a:ln w="9525" cap="flat" cmpd="sng" algn="ctr">
            <a:noFill/>
            <a:prstDash val="solid"/>
            <a:headEnd type="none" w="med" len="med"/>
            <a:tailEnd type="none" w="med" len="med"/>
          </a:ln>
          <a:effectLst/>
        </p:spPr>
        <p:txBody>
          <a:bodyPr lIns="91401" tIns="91401" rIns="34279" bIns="34279" rtlCol="0" anchor="b" anchorCtr="0"/>
          <a:lstStyle/>
          <a:p>
            <a:pPr algn="ctr" defTabSz="931869">
              <a:defRPr/>
            </a:pPr>
            <a:endParaRPr lang="en-US" sz="800" kern="0" dirty="0">
              <a:solidFill>
                <a:sysClr val="windowText" lastClr="000000"/>
              </a:solidFill>
              <a:latin typeface="+mj-lt"/>
              <a:ea typeface="Segoe UI" pitchFamily="34" charset="0"/>
              <a:cs typeface="Segoe UI" pitchFamily="34" charset="0"/>
            </a:endParaRPr>
          </a:p>
        </p:txBody>
      </p:sp>
      <p:sp>
        <p:nvSpPr>
          <p:cNvPr id="82" name="Hexagon 81"/>
          <p:cNvSpPr/>
          <p:nvPr/>
        </p:nvSpPr>
        <p:spPr bwMode="auto">
          <a:xfrm>
            <a:off x="9919984" y="1937092"/>
            <a:ext cx="272773" cy="244031"/>
          </a:xfrm>
          <a:prstGeom prst="hexagon">
            <a:avLst/>
          </a:prstGeom>
          <a:solidFill>
            <a:srgbClr val="FFC000"/>
          </a:solidFill>
          <a:ln w="9525" cap="flat" cmpd="sng" algn="ctr">
            <a:noFill/>
            <a:prstDash val="solid"/>
            <a:headEnd type="none" w="med" len="med"/>
            <a:tailEnd type="none" w="med" len="med"/>
          </a:ln>
          <a:effectLst/>
        </p:spPr>
        <p:txBody>
          <a:bodyPr lIns="91401" tIns="91401" rIns="34279" bIns="34279" rtlCol="0" anchor="b" anchorCtr="0"/>
          <a:lstStyle/>
          <a:p>
            <a:pPr algn="ctr" defTabSz="931869">
              <a:defRPr/>
            </a:pPr>
            <a:endParaRPr lang="en-US" sz="800" kern="0" dirty="0">
              <a:solidFill>
                <a:sysClr val="windowText" lastClr="000000"/>
              </a:solidFill>
              <a:latin typeface="+mj-lt"/>
              <a:ea typeface="Segoe UI" pitchFamily="34" charset="0"/>
              <a:cs typeface="Segoe UI" pitchFamily="34" charset="0"/>
            </a:endParaRPr>
          </a:p>
        </p:txBody>
      </p:sp>
      <p:sp>
        <p:nvSpPr>
          <p:cNvPr id="83" name="Hexagon 82"/>
          <p:cNvSpPr/>
          <p:nvPr/>
        </p:nvSpPr>
        <p:spPr bwMode="auto">
          <a:xfrm>
            <a:off x="9937206" y="1983411"/>
            <a:ext cx="272773" cy="244031"/>
          </a:xfrm>
          <a:prstGeom prst="hexagon">
            <a:avLst/>
          </a:prstGeom>
          <a:solidFill>
            <a:srgbClr val="FFC000"/>
          </a:solidFill>
          <a:ln w="9525" cap="flat" cmpd="sng" algn="ctr">
            <a:noFill/>
            <a:prstDash val="solid"/>
            <a:headEnd type="none" w="med" len="med"/>
            <a:tailEnd type="none" w="med" len="med"/>
          </a:ln>
          <a:effectLst/>
        </p:spPr>
        <p:txBody>
          <a:bodyPr lIns="91401" tIns="91401" rIns="34279" bIns="34279" rtlCol="0" anchor="b" anchorCtr="0"/>
          <a:lstStyle/>
          <a:p>
            <a:pPr algn="ctr" defTabSz="931869">
              <a:defRPr/>
            </a:pPr>
            <a:endParaRPr lang="en-US" sz="800" kern="0" dirty="0">
              <a:solidFill>
                <a:sysClr val="windowText" lastClr="000000"/>
              </a:solidFill>
              <a:latin typeface="+mj-lt"/>
              <a:ea typeface="Segoe UI" pitchFamily="34" charset="0"/>
              <a:cs typeface="Segoe UI" pitchFamily="34" charset="0"/>
            </a:endParaRPr>
          </a:p>
        </p:txBody>
      </p:sp>
      <p:sp>
        <p:nvSpPr>
          <p:cNvPr id="84" name="Hexagon 83"/>
          <p:cNvSpPr/>
          <p:nvPr/>
        </p:nvSpPr>
        <p:spPr bwMode="auto">
          <a:xfrm>
            <a:off x="10350067" y="1727865"/>
            <a:ext cx="272773" cy="244031"/>
          </a:xfrm>
          <a:prstGeom prst="hexagon">
            <a:avLst/>
          </a:prstGeom>
          <a:solidFill>
            <a:srgbClr val="92D050"/>
          </a:solidFill>
          <a:ln w="9525" cap="flat" cmpd="sng" algn="ctr">
            <a:noFill/>
            <a:prstDash val="solid"/>
            <a:headEnd type="none" w="med" len="med"/>
            <a:tailEnd type="none" w="med" len="med"/>
          </a:ln>
          <a:effectLst/>
        </p:spPr>
        <p:txBody>
          <a:bodyPr lIns="91401" tIns="91401" rIns="34279" bIns="34279" rtlCol="0" anchor="b" anchorCtr="0"/>
          <a:lstStyle/>
          <a:p>
            <a:pPr algn="ctr" defTabSz="931869">
              <a:defRPr/>
            </a:pPr>
            <a:endParaRPr lang="en-US" sz="800" kern="0" dirty="0">
              <a:solidFill>
                <a:sysClr val="windowText" lastClr="000000"/>
              </a:solidFill>
              <a:latin typeface="+mj-lt"/>
              <a:ea typeface="Segoe UI" pitchFamily="34" charset="0"/>
              <a:cs typeface="Segoe UI" pitchFamily="34" charset="0"/>
            </a:endParaRPr>
          </a:p>
        </p:txBody>
      </p:sp>
      <p:sp>
        <p:nvSpPr>
          <p:cNvPr id="85" name="Hexagon 84"/>
          <p:cNvSpPr/>
          <p:nvPr/>
        </p:nvSpPr>
        <p:spPr bwMode="auto">
          <a:xfrm>
            <a:off x="10391377" y="1678822"/>
            <a:ext cx="272773" cy="244031"/>
          </a:xfrm>
          <a:prstGeom prst="hexagon">
            <a:avLst/>
          </a:prstGeom>
          <a:solidFill>
            <a:srgbClr val="92D050"/>
          </a:solidFill>
          <a:ln w="9525" cap="flat" cmpd="sng" algn="ctr">
            <a:noFill/>
            <a:prstDash val="solid"/>
            <a:headEnd type="none" w="med" len="med"/>
            <a:tailEnd type="none" w="med" len="med"/>
          </a:ln>
          <a:effectLst/>
        </p:spPr>
        <p:txBody>
          <a:bodyPr lIns="91401" tIns="91401" rIns="34279" bIns="34279" rtlCol="0" anchor="b" anchorCtr="0"/>
          <a:lstStyle/>
          <a:p>
            <a:pPr algn="ctr" defTabSz="931869">
              <a:defRPr/>
            </a:pPr>
            <a:endParaRPr lang="en-US" sz="800" kern="0" dirty="0">
              <a:solidFill>
                <a:sysClr val="windowText" lastClr="000000"/>
              </a:solidFill>
              <a:latin typeface="+mj-lt"/>
              <a:ea typeface="Segoe UI" pitchFamily="34" charset="0"/>
              <a:cs typeface="Segoe UI" pitchFamily="34" charset="0"/>
            </a:endParaRPr>
          </a:p>
        </p:txBody>
      </p:sp>
      <p:sp>
        <p:nvSpPr>
          <p:cNvPr id="86" name="Hexagon 85"/>
          <p:cNvSpPr/>
          <p:nvPr/>
        </p:nvSpPr>
        <p:spPr bwMode="auto">
          <a:xfrm>
            <a:off x="10348195" y="1693415"/>
            <a:ext cx="272773" cy="244031"/>
          </a:xfrm>
          <a:prstGeom prst="hexagon">
            <a:avLst/>
          </a:prstGeom>
          <a:solidFill>
            <a:srgbClr val="92D050"/>
          </a:solidFill>
          <a:ln w="9525" cap="flat" cmpd="sng" algn="ctr">
            <a:noFill/>
            <a:prstDash val="solid"/>
            <a:headEnd type="none" w="med" len="med"/>
            <a:tailEnd type="none" w="med" len="med"/>
          </a:ln>
          <a:effectLst/>
        </p:spPr>
        <p:txBody>
          <a:bodyPr lIns="91401" tIns="91401" rIns="34279" bIns="34279" rtlCol="0" anchor="b" anchorCtr="0"/>
          <a:lstStyle/>
          <a:p>
            <a:pPr algn="ctr" defTabSz="931869">
              <a:defRPr/>
            </a:pPr>
            <a:endParaRPr lang="en-US" sz="800" kern="0" dirty="0">
              <a:solidFill>
                <a:sysClr val="windowText" lastClr="000000"/>
              </a:solidFill>
              <a:latin typeface="+mj-lt"/>
              <a:ea typeface="Segoe UI" pitchFamily="34" charset="0"/>
              <a:cs typeface="Segoe UI" pitchFamily="34" charset="0"/>
            </a:endParaRPr>
          </a:p>
        </p:txBody>
      </p:sp>
      <p:sp>
        <p:nvSpPr>
          <p:cNvPr id="87" name="Hexagon 86"/>
          <p:cNvSpPr/>
          <p:nvPr/>
        </p:nvSpPr>
        <p:spPr bwMode="auto">
          <a:xfrm>
            <a:off x="11083788" y="1364021"/>
            <a:ext cx="366514" cy="309784"/>
          </a:xfrm>
          <a:prstGeom prst="hexagon">
            <a:avLst/>
          </a:prstGeom>
          <a:solidFill>
            <a:srgbClr val="002060"/>
          </a:solidFill>
          <a:ln w="9525" cap="flat" cmpd="sng" algn="ctr">
            <a:noFill/>
            <a:prstDash val="solid"/>
            <a:headEnd type="none" w="med" len="med"/>
            <a:tailEnd type="none" w="med" len="med"/>
          </a:ln>
          <a:effectLst/>
        </p:spPr>
        <p:txBody>
          <a:bodyPr lIns="91401" tIns="91401" rIns="34279" bIns="34279" rtlCol="0" anchor="b" anchorCtr="0"/>
          <a:lstStyle/>
          <a:p>
            <a:pPr algn="ctr" defTabSz="931869">
              <a:defRPr/>
            </a:pPr>
            <a:endParaRPr lang="en-US" sz="800" kern="0" dirty="0">
              <a:solidFill>
                <a:sysClr val="windowText" lastClr="000000"/>
              </a:solidFill>
              <a:latin typeface="+mj-lt"/>
              <a:ea typeface="Segoe UI" pitchFamily="34" charset="0"/>
              <a:cs typeface="Segoe UI" pitchFamily="34" charset="0"/>
            </a:endParaRPr>
          </a:p>
        </p:txBody>
      </p:sp>
      <p:sp>
        <p:nvSpPr>
          <p:cNvPr id="88" name="Hexagon 87"/>
          <p:cNvSpPr/>
          <p:nvPr/>
        </p:nvSpPr>
        <p:spPr bwMode="auto">
          <a:xfrm>
            <a:off x="11083788" y="1928125"/>
            <a:ext cx="366514" cy="309784"/>
          </a:xfrm>
          <a:prstGeom prst="hexagon">
            <a:avLst/>
          </a:prstGeom>
          <a:solidFill>
            <a:srgbClr val="FF8C00">
              <a:lumMod val="75000"/>
            </a:srgbClr>
          </a:solidFill>
          <a:ln w="9525" cap="flat" cmpd="sng" algn="ctr">
            <a:noFill/>
            <a:prstDash val="solid"/>
            <a:headEnd type="none" w="med" len="med"/>
            <a:tailEnd type="none" w="med" len="med"/>
          </a:ln>
          <a:effectLst/>
        </p:spPr>
        <p:txBody>
          <a:bodyPr lIns="91401" tIns="91401" rIns="34279" bIns="34279" rtlCol="0" anchor="b" anchorCtr="0"/>
          <a:lstStyle/>
          <a:p>
            <a:pPr algn="ctr" defTabSz="931869">
              <a:defRPr/>
            </a:pPr>
            <a:endParaRPr lang="en-US" sz="800" kern="0" dirty="0">
              <a:solidFill>
                <a:sysClr val="windowText" lastClr="000000"/>
              </a:solidFill>
              <a:latin typeface="+mj-lt"/>
              <a:ea typeface="Segoe UI" pitchFamily="34" charset="0"/>
              <a:cs typeface="Segoe UI" pitchFamily="34" charset="0"/>
            </a:endParaRPr>
          </a:p>
        </p:txBody>
      </p:sp>
      <p:sp>
        <p:nvSpPr>
          <p:cNvPr id="89" name="Hexagon 88"/>
          <p:cNvSpPr/>
          <p:nvPr/>
        </p:nvSpPr>
        <p:spPr bwMode="auto">
          <a:xfrm>
            <a:off x="11501088" y="1652843"/>
            <a:ext cx="366514" cy="309784"/>
          </a:xfrm>
          <a:prstGeom prst="hexagon">
            <a:avLst/>
          </a:prstGeom>
          <a:solidFill>
            <a:srgbClr val="7030A0"/>
          </a:solidFill>
          <a:ln w="9525" cap="flat" cmpd="sng" algn="ctr">
            <a:noFill/>
            <a:prstDash val="solid"/>
            <a:headEnd type="none" w="med" len="med"/>
            <a:tailEnd type="none" w="med" len="med"/>
          </a:ln>
          <a:effectLst/>
        </p:spPr>
        <p:txBody>
          <a:bodyPr lIns="91401" tIns="91401" rIns="34279" bIns="34279" rtlCol="0" anchor="b" anchorCtr="0"/>
          <a:lstStyle/>
          <a:p>
            <a:pPr algn="ctr" defTabSz="931869">
              <a:defRPr/>
            </a:pPr>
            <a:endParaRPr lang="en-US" sz="800" kern="0" dirty="0">
              <a:solidFill>
                <a:sysClr val="windowText" lastClr="000000"/>
              </a:solidFill>
              <a:latin typeface="+mj-lt"/>
              <a:ea typeface="Segoe UI" pitchFamily="34" charset="0"/>
              <a:cs typeface="Segoe UI" pitchFamily="34" charset="0"/>
            </a:endParaRPr>
          </a:p>
        </p:txBody>
      </p:sp>
      <p:sp>
        <p:nvSpPr>
          <p:cNvPr id="91" name="Rounded Rectangle 90"/>
          <p:cNvSpPr/>
          <p:nvPr/>
        </p:nvSpPr>
        <p:spPr bwMode="auto">
          <a:xfrm>
            <a:off x="10918353" y="1294324"/>
            <a:ext cx="1023270" cy="1019150"/>
          </a:xfrm>
          <a:prstGeom prst="roundRect">
            <a:avLst/>
          </a:prstGeom>
          <a:noFill/>
          <a:ln w="10795" cap="flat" cmpd="sng" algn="ctr">
            <a:solidFill>
              <a:srgbClr val="404040"/>
            </a:solidFill>
            <a:prstDash val="lgDash"/>
            <a:headEnd type="none" w="med" len="med"/>
            <a:tailEnd type="none" w="med" len="med"/>
          </a:ln>
          <a:effectLst/>
        </p:spPr>
        <p:txBody>
          <a:bodyPr lIns="91401" tIns="91401" rIns="34279" bIns="34279" rtlCol="0" anchor="b" anchorCtr="0"/>
          <a:lstStyle/>
          <a:p>
            <a:pPr algn="ctr" defTabSz="931869">
              <a:defRPr/>
            </a:pPr>
            <a:endParaRPr lang="en-US" sz="800" kern="0" dirty="0">
              <a:solidFill>
                <a:sysClr val="windowText" lastClr="000000"/>
              </a:solidFill>
              <a:latin typeface="+mj-lt"/>
              <a:ea typeface="Segoe UI" pitchFamily="34" charset="0"/>
              <a:cs typeface="Segoe UI" pitchFamily="34" charset="0"/>
            </a:endParaRPr>
          </a:p>
        </p:txBody>
      </p:sp>
      <p:sp>
        <p:nvSpPr>
          <p:cNvPr id="66" name="Rectangle 65"/>
          <p:cNvSpPr/>
          <p:nvPr/>
        </p:nvSpPr>
        <p:spPr>
          <a:xfrm>
            <a:off x="497284" y="976339"/>
            <a:ext cx="3455850" cy="1348151"/>
          </a:xfrm>
          <a:prstGeom prst="rect">
            <a:avLst/>
          </a:prstGeom>
        </p:spPr>
        <p:txBody>
          <a:bodyPr wrap="square">
            <a:spAutoFit/>
          </a:bodyPr>
          <a:lstStyle/>
          <a:p>
            <a:pPr marL="285695" indent="-285695" defTabSz="896214">
              <a:buFont typeface="Arial" panose="020B0604020202020204" pitchFamily="34" charset="0"/>
              <a:buChar char="•"/>
              <a:defRPr/>
            </a:pPr>
            <a:r>
              <a:rPr lang="en-US" sz="1598" kern="0" dirty="0">
                <a:solidFill>
                  <a:sysClr val="windowText" lastClr="000000"/>
                </a:solidFill>
                <a:latin typeface="+mj-lt"/>
              </a:rPr>
              <a:t>A monolith app contains domain specific functionality and is normally divided by functional layers such as web, business and data</a:t>
            </a:r>
          </a:p>
        </p:txBody>
      </p:sp>
      <p:pic>
        <p:nvPicPr>
          <p:cNvPr id="68" name="Picture 67"/>
          <p:cNvPicPr>
            <a:picLocks noChangeAspect="1"/>
          </p:cNvPicPr>
          <p:nvPr/>
        </p:nvPicPr>
        <p:blipFill>
          <a:blip r:embed="rId8"/>
          <a:stretch>
            <a:fillRect/>
          </a:stretch>
        </p:blipFill>
        <p:spPr>
          <a:xfrm>
            <a:off x="4084260" y="1368023"/>
            <a:ext cx="605864" cy="602300"/>
          </a:xfrm>
          <a:prstGeom prst="rect">
            <a:avLst/>
          </a:prstGeom>
        </p:spPr>
      </p:pic>
      <p:pic>
        <p:nvPicPr>
          <p:cNvPr id="69" name="Picture 68"/>
          <p:cNvPicPr>
            <a:picLocks noChangeAspect="1"/>
          </p:cNvPicPr>
          <p:nvPr/>
        </p:nvPicPr>
        <p:blipFill>
          <a:blip r:embed="rId8"/>
          <a:stretch>
            <a:fillRect/>
          </a:stretch>
        </p:blipFill>
        <p:spPr>
          <a:xfrm>
            <a:off x="4382195" y="1423827"/>
            <a:ext cx="605864" cy="602300"/>
          </a:xfrm>
          <a:prstGeom prst="rect">
            <a:avLst/>
          </a:prstGeom>
        </p:spPr>
      </p:pic>
      <p:pic>
        <p:nvPicPr>
          <p:cNvPr id="70" name="Picture 69"/>
          <p:cNvPicPr>
            <a:picLocks noChangeAspect="1"/>
          </p:cNvPicPr>
          <p:nvPr/>
        </p:nvPicPr>
        <p:blipFill>
          <a:blip r:embed="rId8"/>
          <a:stretch>
            <a:fillRect/>
          </a:stretch>
        </p:blipFill>
        <p:spPr>
          <a:xfrm>
            <a:off x="4311651" y="1658568"/>
            <a:ext cx="605864" cy="602300"/>
          </a:xfrm>
          <a:prstGeom prst="rect">
            <a:avLst/>
          </a:prstGeom>
        </p:spPr>
      </p:pic>
      <p:grpSp>
        <p:nvGrpSpPr>
          <p:cNvPr id="122" name="Group 121"/>
          <p:cNvGrpSpPr/>
          <p:nvPr/>
        </p:nvGrpSpPr>
        <p:grpSpPr>
          <a:xfrm>
            <a:off x="9683625" y="946070"/>
            <a:ext cx="1023270" cy="1367402"/>
            <a:chOff x="9684608" y="945346"/>
            <a:chExt cx="1023560" cy="1367790"/>
          </a:xfrm>
        </p:grpSpPr>
        <p:sp>
          <p:nvSpPr>
            <p:cNvPr id="59" name="Hexagon 58"/>
            <p:cNvSpPr/>
            <p:nvPr/>
          </p:nvSpPr>
          <p:spPr bwMode="auto">
            <a:xfrm>
              <a:off x="9886641" y="1371114"/>
              <a:ext cx="366618" cy="309872"/>
            </a:xfrm>
            <a:prstGeom prst="hexagon">
              <a:avLst/>
            </a:prstGeom>
            <a:solidFill>
              <a:srgbClr val="FF0000"/>
            </a:solidFill>
            <a:ln w="9525" cap="flat" cmpd="sng" algn="ctr">
              <a:noFill/>
              <a:prstDash val="solid"/>
              <a:headEnd type="none" w="med" len="med"/>
              <a:tailEnd type="none" w="med" len="med"/>
            </a:ln>
            <a:effectLst/>
          </p:spPr>
          <p:txBody>
            <a:bodyPr lIns="91401" tIns="91401" rIns="34279" bIns="34279" rtlCol="0" anchor="b" anchorCtr="0"/>
            <a:lstStyle/>
            <a:p>
              <a:pPr algn="ctr" defTabSz="931869">
                <a:defRPr/>
              </a:pPr>
              <a:endParaRPr lang="en-US" sz="800" kern="0" dirty="0">
                <a:solidFill>
                  <a:sysClr val="windowText" lastClr="000000"/>
                </a:solidFill>
                <a:latin typeface="+mj-lt"/>
                <a:ea typeface="Segoe UI" pitchFamily="34" charset="0"/>
                <a:cs typeface="Segoe UI" pitchFamily="34" charset="0"/>
              </a:endParaRPr>
            </a:p>
          </p:txBody>
        </p:sp>
        <p:sp>
          <p:nvSpPr>
            <p:cNvPr id="60" name="Hexagon 59"/>
            <p:cNvSpPr/>
            <p:nvPr/>
          </p:nvSpPr>
          <p:spPr bwMode="auto">
            <a:xfrm>
              <a:off x="9886641" y="1935376"/>
              <a:ext cx="366618" cy="309872"/>
            </a:xfrm>
            <a:prstGeom prst="hexagon">
              <a:avLst/>
            </a:prstGeom>
            <a:solidFill>
              <a:srgbClr val="FFC000"/>
            </a:solidFill>
            <a:ln w="9525" cap="flat" cmpd="sng" algn="ctr">
              <a:noFill/>
              <a:prstDash val="solid"/>
              <a:headEnd type="none" w="med" len="med"/>
              <a:tailEnd type="none" w="med" len="med"/>
            </a:ln>
            <a:effectLst/>
          </p:spPr>
          <p:txBody>
            <a:bodyPr lIns="91401" tIns="91401" rIns="34279" bIns="34279" rtlCol="0" anchor="b" anchorCtr="0"/>
            <a:lstStyle/>
            <a:p>
              <a:pPr algn="ctr" defTabSz="931869">
                <a:defRPr/>
              </a:pPr>
              <a:endParaRPr lang="en-US" sz="800" kern="0" dirty="0">
                <a:solidFill>
                  <a:sysClr val="windowText" lastClr="000000"/>
                </a:solidFill>
                <a:latin typeface="+mj-lt"/>
                <a:ea typeface="Segoe UI" pitchFamily="34" charset="0"/>
                <a:cs typeface="Segoe UI" pitchFamily="34" charset="0"/>
              </a:endParaRPr>
            </a:p>
          </p:txBody>
        </p:sp>
        <p:sp>
          <p:nvSpPr>
            <p:cNvPr id="61" name="Hexagon 60"/>
            <p:cNvSpPr/>
            <p:nvPr/>
          </p:nvSpPr>
          <p:spPr bwMode="auto">
            <a:xfrm>
              <a:off x="10304059" y="1660017"/>
              <a:ext cx="366618" cy="309872"/>
            </a:xfrm>
            <a:prstGeom prst="hexagon">
              <a:avLst/>
            </a:prstGeom>
            <a:solidFill>
              <a:srgbClr val="92D050"/>
            </a:solidFill>
            <a:ln w="9525" cap="flat" cmpd="sng" algn="ctr">
              <a:noFill/>
              <a:prstDash val="solid"/>
              <a:headEnd type="none" w="med" len="med"/>
              <a:tailEnd type="none" w="med" len="med"/>
            </a:ln>
            <a:effectLst/>
          </p:spPr>
          <p:txBody>
            <a:bodyPr lIns="91401" tIns="91401" rIns="34279" bIns="34279" rtlCol="0" anchor="b" anchorCtr="0"/>
            <a:lstStyle/>
            <a:p>
              <a:pPr algn="ctr" defTabSz="931869">
                <a:defRPr/>
              </a:pPr>
              <a:endParaRPr lang="en-US" sz="800" kern="0" dirty="0">
                <a:solidFill>
                  <a:sysClr val="windowText" lastClr="000000"/>
                </a:solidFill>
                <a:latin typeface="+mj-lt"/>
                <a:ea typeface="Segoe UI" pitchFamily="34" charset="0"/>
                <a:cs typeface="Segoe UI" pitchFamily="34" charset="0"/>
              </a:endParaRPr>
            </a:p>
          </p:txBody>
        </p:sp>
        <p:sp>
          <p:nvSpPr>
            <p:cNvPr id="90" name="Rounded Rectangle 89"/>
            <p:cNvSpPr/>
            <p:nvPr/>
          </p:nvSpPr>
          <p:spPr bwMode="auto">
            <a:xfrm>
              <a:off x="9684608" y="1293697"/>
              <a:ext cx="1023560" cy="1019439"/>
            </a:xfrm>
            <a:prstGeom prst="roundRect">
              <a:avLst/>
            </a:prstGeom>
            <a:noFill/>
            <a:ln w="10795" cap="flat" cmpd="sng" algn="ctr">
              <a:solidFill>
                <a:srgbClr val="404040"/>
              </a:solidFill>
              <a:prstDash val="lgDash"/>
              <a:headEnd type="none" w="med" len="med"/>
              <a:tailEnd type="none" w="med" len="med"/>
            </a:ln>
            <a:effectLst/>
          </p:spPr>
          <p:txBody>
            <a:bodyPr lIns="91401" tIns="91401" rIns="34279" bIns="34279" rtlCol="0" anchor="b" anchorCtr="0"/>
            <a:lstStyle/>
            <a:p>
              <a:pPr algn="ctr" defTabSz="931869">
                <a:defRPr/>
              </a:pPr>
              <a:endParaRPr lang="en-US" sz="800" kern="0" dirty="0">
                <a:solidFill>
                  <a:sysClr val="windowText" lastClr="000000"/>
                </a:solidFill>
                <a:latin typeface="+mj-lt"/>
                <a:ea typeface="Segoe UI" pitchFamily="34" charset="0"/>
                <a:cs typeface="Segoe UI" pitchFamily="34" charset="0"/>
              </a:endParaRPr>
            </a:p>
          </p:txBody>
        </p:sp>
        <p:sp>
          <p:nvSpPr>
            <p:cNvPr id="93" name="Rectangle 92"/>
            <p:cNvSpPr/>
            <p:nvPr/>
          </p:nvSpPr>
          <p:spPr>
            <a:xfrm>
              <a:off x="9845620" y="945346"/>
              <a:ext cx="749330" cy="376791"/>
            </a:xfrm>
            <a:prstGeom prst="rect">
              <a:avLst/>
            </a:prstGeom>
          </p:spPr>
          <p:txBody>
            <a:bodyPr wrap="none">
              <a:spAutoFit/>
            </a:bodyPr>
            <a:lstStyle/>
            <a:p>
              <a:pPr defTabSz="914049">
                <a:defRPr/>
              </a:pPr>
              <a:r>
                <a:rPr lang="en-US" kern="0" dirty="0">
                  <a:solidFill>
                    <a:sysClr val="windowText" lastClr="000000"/>
                  </a:solidFill>
                  <a:latin typeface="+mj-lt"/>
                </a:rPr>
                <a:t>App 1</a:t>
              </a:r>
            </a:p>
          </p:txBody>
        </p:sp>
      </p:grpSp>
      <p:sp>
        <p:nvSpPr>
          <p:cNvPr id="94" name="Rectangle 93"/>
          <p:cNvSpPr/>
          <p:nvPr/>
        </p:nvSpPr>
        <p:spPr>
          <a:xfrm>
            <a:off x="11064448" y="932876"/>
            <a:ext cx="786721" cy="376684"/>
          </a:xfrm>
          <a:prstGeom prst="rect">
            <a:avLst/>
          </a:prstGeom>
        </p:spPr>
        <p:txBody>
          <a:bodyPr wrap="none">
            <a:spAutoFit/>
          </a:bodyPr>
          <a:lstStyle/>
          <a:p>
            <a:pPr defTabSz="914049">
              <a:defRPr/>
            </a:pPr>
            <a:r>
              <a:rPr lang="en-US" kern="0" dirty="0">
                <a:solidFill>
                  <a:sysClr val="windowText" lastClr="000000"/>
                </a:solidFill>
                <a:latin typeface="+mj-lt"/>
              </a:rPr>
              <a:t>App 2</a:t>
            </a:r>
          </a:p>
        </p:txBody>
      </p:sp>
      <p:sp>
        <p:nvSpPr>
          <p:cNvPr id="95" name="Hexagon 94"/>
          <p:cNvSpPr/>
          <p:nvPr/>
        </p:nvSpPr>
        <p:spPr bwMode="auto">
          <a:xfrm>
            <a:off x="11124135" y="1418429"/>
            <a:ext cx="272773" cy="244031"/>
          </a:xfrm>
          <a:prstGeom prst="hexagon">
            <a:avLst/>
          </a:prstGeom>
          <a:solidFill>
            <a:srgbClr val="002060"/>
          </a:solidFill>
          <a:ln w="9525" cap="flat" cmpd="sng" algn="ctr">
            <a:noFill/>
            <a:prstDash val="solid"/>
            <a:headEnd type="none" w="med" len="med"/>
            <a:tailEnd type="none" w="med" len="med"/>
          </a:ln>
          <a:effectLst/>
        </p:spPr>
        <p:txBody>
          <a:bodyPr lIns="91401" tIns="91401" rIns="34279" bIns="34279" rtlCol="0" anchor="b" anchorCtr="0"/>
          <a:lstStyle/>
          <a:p>
            <a:pPr algn="ctr" defTabSz="931869">
              <a:defRPr/>
            </a:pPr>
            <a:endParaRPr lang="en-US" sz="800" kern="0" dirty="0">
              <a:solidFill>
                <a:sysClr val="windowText" lastClr="000000"/>
              </a:solidFill>
              <a:latin typeface="+mj-lt"/>
              <a:ea typeface="Segoe UI" pitchFamily="34" charset="0"/>
              <a:cs typeface="Segoe UI" pitchFamily="34" charset="0"/>
            </a:endParaRPr>
          </a:p>
        </p:txBody>
      </p:sp>
      <p:sp>
        <p:nvSpPr>
          <p:cNvPr id="96" name="Hexagon 95"/>
          <p:cNvSpPr/>
          <p:nvPr/>
        </p:nvSpPr>
        <p:spPr bwMode="auto">
          <a:xfrm>
            <a:off x="11124135" y="1409239"/>
            <a:ext cx="272773" cy="244031"/>
          </a:xfrm>
          <a:prstGeom prst="hexagon">
            <a:avLst/>
          </a:prstGeom>
          <a:solidFill>
            <a:srgbClr val="002060"/>
          </a:solidFill>
          <a:ln w="9525" cap="flat" cmpd="sng" algn="ctr">
            <a:noFill/>
            <a:prstDash val="solid"/>
            <a:headEnd type="none" w="med" len="med"/>
            <a:tailEnd type="none" w="med" len="med"/>
          </a:ln>
          <a:effectLst/>
        </p:spPr>
        <p:txBody>
          <a:bodyPr lIns="91401" tIns="91401" rIns="34279" bIns="34279" rtlCol="0" anchor="b" anchorCtr="0"/>
          <a:lstStyle/>
          <a:p>
            <a:pPr algn="ctr" defTabSz="931869">
              <a:defRPr/>
            </a:pPr>
            <a:endParaRPr lang="en-US" sz="800" kern="0" dirty="0">
              <a:solidFill>
                <a:sysClr val="windowText" lastClr="000000"/>
              </a:solidFill>
              <a:latin typeface="+mj-lt"/>
              <a:ea typeface="Segoe UI" pitchFamily="34" charset="0"/>
              <a:cs typeface="Segoe UI" pitchFamily="34" charset="0"/>
            </a:endParaRPr>
          </a:p>
        </p:txBody>
      </p:sp>
      <p:sp>
        <p:nvSpPr>
          <p:cNvPr id="97" name="Hexagon 96"/>
          <p:cNvSpPr/>
          <p:nvPr/>
        </p:nvSpPr>
        <p:spPr bwMode="auto">
          <a:xfrm>
            <a:off x="11139121" y="1366087"/>
            <a:ext cx="272773" cy="244031"/>
          </a:xfrm>
          <a:prstGeom prst="hexagon">
            <a:avLst/>
          </a:prstGeom>
          <a:solidFill>
            <a:srgbClr val="002060"/>
          </a:solidFill>
          <a:ln w="9525" cap="flat" cmpd="sng" algn="ctr">
            <a:noFill/>
            <a:prstDash val="solid"/>
            <a:headEnd type="none" w="med" len="med"/>
            <a:tailEnd type="none" w="med" len="med"/>
          </a:ln>
          <a:effectLst/>
        </p:spPr>
        <p:txBody>
          <a:bodyPr lIns="91401" tIns="91401" rIns="34279" bIns="34279" rtlCol="0" anchor="b" anchorCtr="0"/>
          <a:lstStyle/>
          <a:p>
            <a:pPr algn="ctr" defTabSz="931869">
              <a:defRPr/>
            </a:pPr>
            <a:endParaRPr lang="en-US" sz="800" kern="0" dirty="0">
              <a:solidFill>
                <a:sysClr val="windowText" lastClr="000000"/>
              </a:solidFill>
              <a:latin typeface="+mj-lt"/>
              <a:ea typeface="Segoe UI" pitchFamily="34" charset="0"/>
              <a:cs typeface="Segoe UI" pitchFamily="34" charset="0"/>
            </a:endParaRPr>
          </a:p>
        </p:txBody>
      </p:sp>
      <p:sp>
        <p:nvSpPr>
          <p:cNvPr id="98" name="Hexagon 97"/>
          <p:cNvSpPr/>
          <p:nvPr/>
        </p:nvSpPr>
        <p:spPr bwMode="auto">
          <a:xfrm>
            <a:off x="11084870" y="1950055"/>
            <a:ext cx="272773" cy="244031"/>
          </a:xfrm>
          <a:prstGeom prst="hexagon">
            <a:avLst/>
          </a:prstGeom>
          <a:solidFill>
            <a:srgbClr val="FF8C00">
              <a:lumMod val="75000"/>
            </a:srgbClr>
          </a:solidFill>
          <a:ln w="9525" cap="flat" cmpd="sng" algn="ctr">
            <a:noFill/>
            <a:prstDash val="solid"/>
            <a:headEnd type="none" w="med" len="med"/>
            <a:tailEnd type="none" w="med" len="med"/>
          </a:ln>
          <a:effectLst/>
        </p:spPr>
        <p:txBody>
          <a:bodyPr lIns="91401" tIns="91401" rIns="34279" bIns="34279" rtlCol="0" anchor="b" anchorCtr="0"/>
          <a:lstStyle/>
          <a:p>
            <a:pPr algn="ctr" defTabSz="931869">
              <a:defRPr/>
            </a:pPr>
            <a:endParaRPr lang="en-US" sz="800" kern="0" dirty="0">
              <a:solidFill>
                <a:sysClr val="windowText" lastClr="000000"/>
              </a:solidFill>
              <a:latin typeface="+mj-lt"/>
              <a:ea typeface="Segoe UI" pitchFamily="34" charset="0"/>
              <a:cs typeface="Segoe UI" pitchFamily="34" charset="0"/>
            </a:endParaRPr>
          </a:p>
        </p:txBody>
      </p:sp>
      <p:sp>
        <p:nvSpPr>
          <p:cNvPr id="99" name="Hexagon 98"/>
          <p:cNvSpPr/>
          <p:nvPr/>
        </p:nvSpPr>
        <p:spPr bwMode="auto">
          <a:xfrm>
            <a:off x="11576715" y="1672136"/>
            <a:ext cx="272773" cy="244031"/>
          </a:xfrm>
          <a:prstGeom prst="hexagon">
            <a:avLst/>
          </a:prstGeom>
          <a:solidFill>
            <a:srgbClr val="7030A0"/>
          </a:solidFill>
          <a:ln w="9525" cap="flat" cmpd="sng" algn="ctr">
            <a:noFill/>
            <a:prstDash val="solid"/>
            <a:headEnd type="none" w="med" len="med"/>
            <a:tailEnd type="none" w="med" len="med"/>
          </a:ln>
          <a:effectLst/>
        </p:spPr>
        <p:txBody>
          <a:bodyPr lIns="91401" tIns="91401" rIns="34279" bIns="34279" rtlCol="0" anchor="b" anchorCtr="0"/>
          <a:lstStyle/>
          <a:p>
            <a:pPr algn="ctr" defTabSz="931869">
              <a:defRPr/>
            </a:pPr>
            <a:endParaRPr lang="en-US" sz="800" kern="0" dirty="0">
              <a:solidFill>
                <a:sysClr val="windowText" lastClr="000000"/>
              </a:solidFill>
              <a:latin typeface="+mj-lt"/>
              <a:ea typeface="Segoe UI" pitchFamily="34" charset="0"/>
              <a:cs typeface="Segoe UI" pitchFamily="34" charset="0"/>
            </a:endParaRPr>
          </a:p>
        </p:txBody>
      </p:sp>
      <p:sp>
        <p:nvSpPr>
          <p:cNvPr id="100" name="Hexagon 99"/>
          <p:cNvSpPr/>
          <p:nvPr/>
        </p:nvSpPr>
        <p:spPr bwMode="auto">
          <a:xfrm>
            <a:off x="11539082" y="1669172"/>
            <a:ext cx="272773" cy="244031"/>
          </a:xfrm>
          <a:prstGeom prst="hexagon">
            <a:avLst/>
          </a:prstGeom>
          <a:solidFill>
            <a:srgbClr val="7030A0"/>
          </a:solidFill>
          <a:ln w="9525" cap="flat" cmpd="sng" algn="ctr">
            <a:noFill/>
            <a:prstDash val="solid"/>
            <a:headEnd type="none" w="med" len="med"/>
            <a:tailEnd type="none" w="med" len="med"/>
          </a:ln>
          <a:effectLst/>
        </p:spPr>
        <p:txBody>
          <a:bodyPr lIns="91401" tIns="91401" rIns="34279" bIns="34279" rtlCol="0" anchor="b" anchorCtr="0"/>
          <a:lstStyle/>
          <a:p>
            <a:pPr algn="ctr" defTabSz="931869">
              <a:defRPr/>
            </a:pPr>
            <a:endParaRPr lang="en-US" sz="800" kern="0" dirty="0">
              <a:solidFill>
                <a:sysClr val="windowText" lastClr="000000"/>
              </a:solidFill>
              <a:latin typeface="+mj-lt"/>
              <a:ea typeface="Segoe UI" pitchFamily="34" charset="0"/>
              <a:cs typeface="Segoe UI" pitchFamily="34" charset="0"/>
            </a:endParaRPr>
          </a:p>
        </p:txBody>
      </p:sp>
      <p:sp>
        <p:nvSpPr>
          <p:cNvPr id="101" name="Hexagon 100"/>
          <p:cNvSpPr/>
          <p:nvPr/>
        </p:nvSpPr>
        <p:spPr bwMode="auto">
          <a:xfrm>
            <a:off x="11149962" y="1962758"/>
            <a:ext cx="272773" cy="244031"/>
          </a:xfrm>
          <a:prstGeom prst="hexagon">
            <a:avLst/>
          </a:prstGeom>
          <a:solidFill>
            <a:srgbClr val="FF8C00">
              <a:lumMod val="75000"/>
            </a:srgbClr>
          </a:solidFill>
          <a:ln w="9525" cap="flat" cmpd="sng" algn="ctr">
            <a:noFill/>
            <a:prstDash val="solid"/>
            <a:headEnd type="none" w="med" len="med"/>
            <a:tailEnd type="none" w="med" len="med"/>
          </a:ln>
          <a:effectLst/>
        </p:spPr>
        <p:txBody>
          <a:bodyPr lIns="91401" tIns="91401" rIns="34279" bIns="34279" rtlCol="0" anchor="b" anchorCtr="0"/>
          <a:lstStyle/>
          <a:p>
            <a:pPr algn="ctr" defTabSz="931869">
              <a:defRPr/>
            </a:pPr>
            <a:endParaRPr lang="en-US" sz="800" kern="0" dirty="0">
              <a:solidFill>
                <a:sysClr val="windowText" lastClr="000000"/>
              </a:solidFill>
              <a:latin typeface="+mj-lt"/>
              <a:ea typeface="Segoe UI" pitchFamily="34" charset="0"/>
              <a:cs typeface="Segoe UI" pitchFamily="34" charset="0"/>
            </a:endParaRPr>
          </a:p>
        </p:txBody>
      </p:sp>
      <p:cxnSp>
        <p:nvCxnSpPr>
          <p:cNvPr id="102" name="Straight Connector 101"/>
          <p:cNvCxnSpPr/>
          <p:nvPr/>
        </p:nvCxnSpPr>
        <p:spPr>
          <a:xfrm flipH="1">
            <a:off x="5986086" y="297771"/>
            <a:ext cx="3617" cy="6097078"/>
          </a:xfrm>
          <a:prstGeom prst="line">
            <a:avLst/>
          </a:prstGeom>
          <a:noFill/>
          <a:ln w="15875" cap="flat" cmpd="sng" algn="ctr">
            <a:solidFill>
              <a:sysClr val="windowText" lastClr="000000"/>
            </a:solidFill>
            <a:prstDash val="solid"/>
            <a:miter lim="800000"/>
          </a:ln>
          <a:effectLst/>
        </p:spPr>
      </p:cxnSp>
      <p:grpSp>
        <p:nvGrpSpPr>
          <p:cNvPr id="120" name="Group 119"/>
          <p:cNvGrpSpPr/>
          <p:nvPr/>
        </p:nvGrpSpPr>
        <p:grpSpPr>
          <a:xfrm>
            <a:off x="4005476" y="966623"/>
            <a:ext cx="1023270" cy="1340929"/>
            <a:chOff x="4004846" y="965905"/>
            <a:chExt cx="1023560" cy="1341310"/>
          </a:xfrm>
        </p:grpSpPr>
        <p:sp>
          <p:nvSpPr>
            <p:cNvPr id="62" name="Rounded Rectangle 61"/>
            <p:cNvSpPr/>
            <p:nvPr/>
          </p:nvSpPr>
          <p:spPr bwMode="auto">
            <a:xfrm>
              <a:off x="4004846" y="1287776"/>
              <a:ext cx="1023560" cy="1019439"/>
            </a:xfrm>
            <a:prstGeom prst="roundRect">
              <a:avLst/>
            </a:prstGeom>
            <a:solidFill>
              <a:sysClr val="window" lastClr="FFFFFF">
                <a:lumMod val="75000"/>
              </a:sysClr>
            </a:solidFill>
            <a:ln w="10795" cap="flat" cmpd="sng" algn="ctr">
              <a:solidFill>
                <a:srgbClr val="404040"/>
              </a:solidFill>
              <a:prstDash val="solid"/>
              <a:headEnd type="none" w="med" len="med"/>
              <a:tailEnd type="none" w="med" len="med"/>
            </a:ln>
            <a:effectLst/>
          </p:spPr>
          <p:txBody>
            <a:bodyPr lIns="91401" tIns="91401" rIns="34279" bIns="34279" rtlCol="0" anchor="b" anchorCtr="0"/>
            <a:lstStyle/>
            <a:p>
              <a:pPr algn="ctr" defTabSz="931869">
                <a:defRPr/>
              </a:pPr>
              <a:endParaRPr lang="en-US" sz="800" kern="0" dirty="0">
                <a:solidFill>
                  <a:sysClr val="windowText" lastClr="000000"/>
                </a:solidFill>
                <a:latin typeface="+mj-lt"/>
                <a:ea typeface="Segoe UI" pitchFamily="34" charset="0"/>
                <a:cs typeface="Segoe UI" pitchFamily="34" charset="0"/>
              </a:endParaRPr>
            </a:p>
          </p:txBody>
        </p:sp>
        <p:sp>
          <p:nvSpPr>
            <p:cNvPr id="63" name="Rectangle 62"/>
            <p:cNvSpPr/>
            <p:nvPr/>
          </p:nvSpPr>
          <p:spPr>
            <a:xfrm>
              <a:off x="4096326" y="1489621"/>
              <a:ext cx="286870" cy="309872"/>
            </a:xfrm>
            <a:prstGeom prst="rect">
              <a:avLst/>
            </a:prstGeom>
            <a:solidFill>
              <a:srgbClr val="FF0000"/>
            </a:solidFill>
            <a:ln w="9525" cap="flat" cmpd="sng" algn="ctr">
              <a:noFill/>
              <a:prstDash val="solid"/>
              <a:headEnd type="none" w="med" len="med"/>
              <a:tailEnd type="none" w="med" len="med"/>
            </a:ln>
            <a:effectLst/>
          </p:spPr>
          <p:txBody>
            <a:bodyPr lIns="91401" tIns="91401" rIns="34279" bIns="34279" rtlCol="0" anchor="b" anchorCtr="0"/>
            <a:lstStyle/>
            <a:p>
              <a:pPr algn="ctr" defTabSz="931869">
                <a:defRPr/>
              </a:pPr>
              <a:endParaRPr lang="en-US" sz="800" kern="0">
                <a:solidFill>
                  <a:sysClr val="windowText" lastClr="000000"/>
                </a:solidFill>
                <a:latin typeface="+mj-lt"/>
                <a:ea typeface="Segoe UI" pitchFamily="34" charset="0"/>
                <a:cs typeface="Segoe UI" pitchFamily="34" charset="0"/>
              </a:endParaRPr>
            </a:p>
          </p:txBody>
        </p:sp>
        <p:sp>
          <p:nvSpPr>
            <p:cNvPr id="64" name="Rectangle 63"/>
            <p:cNvSpPr/>
            <p:nvPr/>
          </p:nvSpPr>
          <p:spPr>
            <a:xfrm>
              <a:off x="4383196" y="1884030"/>
              <a:ext cx="286870" cy="309872"/>
            </a:xfrm>
            <a:prstGeom prst="rect">
              <a:avLst/>
            </a:prstGeom>
            <a:solidFill>
              <a:srgbClr val="92D050"/>
            </a:solidFill>
            <a:ln w="9525" cap="flat" cmpd="sng" algn="ctr">
              <a:noFill/>
              <a:prstDash val="solid"/>
              <a:headEnd type="none" w="med" len="med"/>
              <a:tailEnd type="none" w="med" len="med"/>
            </a:ln>
            <a:effectLst/>
          </p:spPr>
          <p:txBody>
            <a:bodyPr lIns="91401" tIns="91401" rIns="34279" bIns="34279" rtlCol="0" anchor="b" anchorCtr="0"/>
            <a:lstStyle/>
            <a:p>
              <a:pPr algn="ctr" defTabSz="931869">
                <a:defRPr/>
              </a:pPr>
              <a:endParaRPr lang="en-US" sz="800" kern="0">
                <a:solidFill>
                  <a:sysClr val="windowText" lastClr="000000"/>
                </a:solidFill>
                <a:latin typeface="+mj-lt"/>
                <a:ea typeface="Segoe UI" pitchFamily="34" charset="0"/>
                <a:cs typeface="Segoe UI" pitchFamily="34" charset="0"/>
              </a:endParaRPr>
            </a:p>
          </p:txBody>
        </p:sp>
        <p:sp>
          <p:nvSpPr>
            <p:cNvPr id="65" name="Rectangle 64"/>
            <p:cNvSpPr/>
            <p:nvPr/>
          </p:nvSpPr>
          <p:spPr>
            <a:xfrm>
              <a:off x="4670066" y="1489621"/>
              <a:ext cx="286870" cy="309872"/>
            </a:xfrm>
            <a:prstGeom prst="rect">
              <a:avLst/>
            </a:prstGeom>
            <a:solidFill>
              <a:srgbClr val="FFC000"/>
            </a:solidFill>
            <a:ln w="9525" cap="flat" cmpd="sng" algn="ctr">
              <a:noFill/>
              <a:prstDash val="solid"/>
              <a:headEnd type="none" w="med" len="med"/>
              <a:tailEnd type="none" w="med" len="med"/>
            </a:ln>
            <a:effectLst/>
          </p:spPr>
          <p:txBody>
            <a:bodyPr lIns="91401" tIns="91401" rIns="34279" bIns="34279" rtlCol="0" anchor="b" anchorCtr="0"/>
            <a:lstStyle/>
            <a:p>
              <a:pPr algn="ctr" defTabSz="931869">
                <a:defRPr/>
              </a:pPr>
              <a:endParaRPr lang="en-US" sz="800" kern="0">
                <a:solidFill>
                  <a:sysClr val="windowText" lastClr="000000"/>
                </a:solidFill>
                <a:latin typeface="+mj-lt"/>
                <a:ea typeface="Segoe UI" pitchFamily="34" charset="0"/>
                <a:cs typeface="Segoe UI" pitchFamily="34" charset="0"/>
              </a:endParaRPr>
            </a:p>
          </p:txBody>
        </p:sp>
        <p:sp>
          <p:nvSpPr>
            <p:cNvPr id="92" name="Rectangle 91"/>
            <p:cNvSpPr/>
            <p:nvPr/>
          </p:nvSpPr>
          <p:spPr>
            <a:xfrm>
              <a:off x="4160986" y="965905"/>
              <a:ext cx="749330" cy="376791"/>
            </a:xfrm>
            <a:prstGeom prst="rect">
              <a:avLst/>
            </a:prstGeom>
          </p:spPr>
          <p:txBody>
            <a:bodyPr wrap="none">
              <a:spAutoFit/>
            </a:bodyPr>
            <a:lstStyle/>
            <a:p>
              <a:pPr defTabSz="914049">
                <a:defRPr/>
              </a:pPr>
              <a:r>
                <a:rPr lang="en-US" kern="0" dirty="0">
                  <a:solidFill>
                    <a:sysClr val="windowText" lastClr="000000"/>
                  </a:solidFill>
                  <a:latin typeface="+mj-lt"/>
                </a:rPr>
                <a:t>App 1</a:t>
              </a:r>
            </a:p>
          </p:txBody>
        </p:sp>
      </p:grpSp>
      <p:sp>
        <p:nvSpPr>
          <p:cNvPr id="123" name="Hexagon 122"/>
          <p:cNvSpPr/>
          <p:nvPr/>
        </p:nvSpPr>
        <p:spPr bwMode="auto">
          <a:xfrm>
            <a:off x="9919402" y="1974442"/>
            <a:ext cx="272773" cy="244031"/>
          </a:xfrm>
          <a:prstGeom prst="hexagon">
            <a:avLst/>
          </a:prstGeom>
          <a:solidFill>
            <a:srgbClr val="FFC000"/>
          </a:solidFill>
          <a:ln w="9525" cap="flat" cmpd="sng" algn="ctr">
            <a:noFill/>
            <a:prstDash val="solid"/>
            <a:headEnd type="none" w="med" len="med"/>
            <a:tailEnd type="none" w="med" len="med"/>
          </a:ln>
          <a:effectLst/>
        </p:spPr>
        <p:txBody>
          <a:bodyPr lIns="91401" tIns="91401" rIns="34279" bIns="34279" rtlCol="0" anchor="b" anchorCtr="0"/>
          <a:lstStyle/>
          <a:p>
            <a:pPr algn="ctr" defTabSz="931869">
              <a:defRPr/>
            </a:pPr>
            <a:endParaRPr lang="en-US" sz="800" kern="0" dirty="0">
              <a:solidFill>
                <a:sysClr val="windowText" lastClr="000000"/>
              </a:solidFill>
              <a:latin typeface="+mj-lt"/>
              <a:ea typeface="Segoe UI" pitchFamily="34" charset="0"/>
              <a:cs typeface="Segoe UI" pitchFamily="34" charset="0"/>
            </a:endParaRPr>
          </a:p>
        </p:txBody>
      </p:sp>
      <p:sp>
        <p:nvSpPr>
          <p:cNvPr id="125" name="Hexagon 124"/>
          <p:cNvSpPr/>
          <p:nvPr/>
        </p:nvSpPr>
        <p:spPr bwMode="auto">
          <a:xfrm>
            <a:off x="9902764" y="1962625"/>
            <a:ext cx="272773" cy="244031"/>
          </a:xfrm>
          <a:prstGeom prst="hexagon">
            <a:avLst/>
          </a:prstGeom>
          <a:solidFill>
            <a:srgbClr val="FFC000"/>
          </a:solidFill>
          <a:ln w="9525" cap="flat" cmpd="sng" algn="ctr">
            <a:noFill/>
            <a:prstDash val="solid"/>
            <a:headEnd type="none" w="med" len="med"/>
            <a:tailEnd type="none" w="med" len="med"/>
          </a:ln>
          <a:effectLst/>
        </p:spPr>
        <p:txBody>
          <a:bodyPr lIns="91401" tIns="91401" rIns="34279" bIns="34279" rtlCol="0" anchor="b" anchorCtr="0"/>
          <a:lstStyle/>
          <a:p>
            <a:pPr algn="ctr" defTabSz="931869">
              <a:defRPr/>
            </a:pPr>
            <a:endParaRPr lang="en-US" sz="800" kern="0" dirty="0">
              <a:solidFill>
                <a:sysClr val="windowText" lastClr="000000"/>
              </a:solidFill>
              <a:latin typeface="+mj-lt"/>
              <a:ea typeface="Segoe UI" pitchFamily="34" charset="0"/>
              <a:cs typeface="Segoe UI" pitchFamily="34" charset="0"/>
            </a:endParaRPr>
          </a:p>
        </p:txBody>
      </p:sp>
      <p:sp>
        <p:nvSpPr>
          <p:cNvPr id="126" name="Hexagon 125"/>
          <p:cNvSpPr/>
          <p:nvPr/>
        </p:nvSpPr>
        <p:spPr bwMode="auto">
          <a:xfrm>
            <a:off x="11118429" y="1401737"/>
            <a:ext cx="272773" cy="244031"/>
          </a:xfrm>
          <a:prstGeom prst="hexagon">
            <a:avLst/>
          </a:prstGeom>
          <a:solidFill>
            <a:srgbClr val="002060"/>
          </a:solidFill>
          <a:ln w="9525" cap="flat" cmpd="sng" algn="ctr">
            <a:noFill/>
            <a:prstDash val="solid"/>
            <a:headEnd type="none" w="med" len="med"/>
            <a:tailEnd type="none" w="med" len="med"/>
          </a:ln>
          <a:effectLst/>
        </p:spPr>
        <p:txBody>
          <a:bodyPr lIns="91401" tIns="91401" rIns="34279" bIns="34279" rtlCol="0" anchor="b" anchorCtr="0"/>
          <a:lstStyle/>
          <a:p>
            <a:pPr algn="ctr" defTabSz="931869">
              <a:defRPr/>
            </a:pPr>
            <a:endParaRPr lang="en-US" sz="800" kern="0" dirty="0">
              <a:solidFill>
                <a:sysClr val="windowText" lastClr="000000"/>
              </a:solidFill>
              <a:latin typeface="+mj-lt"/>
              <a:ea typeface="Segoe UI" pitchFamily="34" charset="0"/>
              <a:cs typeface="Segoe UI" pitchFamily="34" charset="0"/>
            </a:endParaRPr>
          </a:p>
        </p:txBody>
      </p:sp>
      <p:sp>
        <p:nvSpPr>
          <p:cNvPr id="127" name="Hexagon 126"/>
          <p:cNvSpPr/>
          <p:nvPr/>
        </p:nvSpPr>
        <p:spPr bwMode="auto">
          <a:xfrm>
            <a:off x="11124182" y="1414569"/>
            <a:ext cx="272773" cy="244031"/>
          </a:xfrm>
          <a:prstGeom prst="hexagon">
            <a:avLst/>
          </a:prstGeom>
          <a:solidFill>
            <a:srgbClr val="002060"/>
          </a:solidFill>
          <a:ln w="9525" cap="flat" cmpd="sng" algn="ctr">
            <a:noFill/>
            <a:prstDash val="solid"/>
            <a:headEnd type="none" w="med" len="med"/>
            <a:tailEnd type="none" w="med" len="med"/>
          </a:ln>
          <a:effectLst/>
        </p:spPr>
        <p:txBody>
          <a:bodyPr lIns="91401" tIns="91401" rIns="34279" bIns="34279" rtlCol="0" anchor="b" anchorCtr="0"/>
          <a:lstStyle/>
          <a:p>
            <a:pPr algn="ctr" defTabSz="931869">
              <a:defRPr/>
            </a:pPr>
            <a:endParaRPr lang="en-US" sz="800" kern="0" dirty="0">
              <a:solidFill>
                <a:sysClr val="windowText" lastClr="000000"/>
              </a:solidFill>
              <a:latin typeface="+mj-lt"/>
              <a:ea typeface="Segoe UI" pitchFamily="34" charset="0"/>
              <a:cs typeface="Segoe UI" pitchFamily="34" charset="0"/>
            </a:endParaRPr>
          </a:p>
        </p:txBody>
      </p:sp>
      <p:sp>
        <p:nvSpPr>
          <p:cNvPr id="128" name="Hexagon 127"/>
          <p:cNvSpPr/>
          <p:nvPr/>
        </p:nvSpPr>
        <p:spPr bwMode="auto">
          <a:xfrm>
            <a:off x="11078036" y="1368175"/>
            <a:ext cx="272773" cy="244031"/>
          </a:xfrm>
          <a:prstGeom prst="hexagon">
            <a:avLst/>
          </a:prstGeom>
          <a:solidFill>
            <a:srgbClr val="002060"/>
          </a:solidFill>
          <a:ln w="9525" cap="flat" cmpd="sng" algn="ctr">
            <a:noFill/>
            <a:prstDash val="solid"/>
            <a:headEnd type="none" w="med" len="med"/>
            <a:tailEnd type="none" w="med" len="med"/>
          </a:ln>
          <a:effectLst/>
        </p:spPr>
        <p:txBody>
          <a:bodyPr lIns="91401" tIns="91401" rIns="34279" bIns="34279" rtlCol="0" anchor="b" anchorCtr="0"/>
          <a:lstStyle/>
          <a:p>
            <a:pPr algn="ctr" defTabSz="931869">
              <a:defRPr/>
            </a:pPr>
            <a:endParaRPr lang="en-US" sz="800" kern="0" dirty="0">
              <a:solidFill>
                <a:sysClr val="windowText" lastClr="000000"/>
              </a:solidFill>
              <a:latin typeface="+mj-lt"/>
              <a:ea typeface="Segoe UI" pitchFamily="34" charset="0"/>
              <a:cs typeface="Segoe UI" pitchFamily="34" charset="0"/>
            </a:endParaRPr>
          </a:p>
        </p:txBody>
      </p:sp>
      <p:sp>
        <p:nvSpPr>
          <p:cNvPr id="138" name="Hexagon 137"/>
          <p:cNvSpPr/>
          <p:nvPr/>
        </p:nvSpPr>
        <p:spPr bwMode="auto">
          <a:xfrm>
            <a:off x="10345448" y="1713645"/>
            <a:ext cx="272773" cy="244031"/>
          </a:xfrm>
          <a:prstGeom prst="hexagon">
            <a:avLst/>
          </a:prstGeom>
          <a:solidFill>
            <a:srgbClr val="92D050"/>
          </a:solidFill>
          <a:ln w="9525" cap="flat" cmpd="sng" algn="ctr">
            <a:noFill/>
            <a:prstDash val="solid"/>
            <a:headEnd type="none" w="med" len="med"/>
            <a:tailEnd type="none" w="med" len="med"/>
          </a:ln>
          <a:effectLst/>
        </p:spPr>
        <p:txBody>
          <a:bodyPr lIns="91401" tIns="91401" rIns="34279" bIns="34279" rtlCol="0" anchor="b" anchorCtr="0"/>
          <a:lstStyle/>
          <a:p>
            <a:pPr algn="ctr" defTabSz="931869">
              <a:defRPr/>
            </a:pPr>
            <a:endParaRPr lang="en-US" sz="800" kern="0" dirty="0">
              <a:solidFill>
                <a:sysClr val="windowText" lastClr="000000"/>
              </a:solidFill>
              <a:latin typeface="+mj-lt"/>
              <a:ea typeface="Segoe UI" pitchFamily="34" charset="0"/>
              <a:cs typeface="Segoe UI" pitchFamily="34" charset="0"/>
            </a:endParaRPr>
          </a:p>
        </p:txBody>
      </p:sp>
      <p:sp>
        <p:nvSpPr>
          <p:cNvPr id="140" name="Hexagon 139"/>
          <p:cNvSpPr/>
          <p:nvPr/>
        </p:nvSpPr>
        <p:spPr bwMode="auto">
          <a:xfrm>
            <a:off x="10366983" y="1709276"/>
            <a:ext cx="272773" cy="244031"/>
          </a:xfrm>
          <a:prstGeom prst="hexagon">
            <a:avLst/>
          </a:prstGeom>
          <a:solidFill>
            <a:srgbClr val="92D050"/>
          </a:solidFill>
          <a:ln w="9525" cap="flat" cmpd="sng" algn="ctr">
            <a:noFill/>
            <a:prstDash val="solid"/>
            <a:headEnd type="none" w="med" len="med"/>
            <a:tailEnd type="none" w="med" len="med"/>
          </a:ln>
          <a:effectLst/>
        </p:spPr>
        <p:txBody>
          <a:bodyPr lIns="91401" tIns="91401" rIns="34279" bIns="34279" rtlCol="0" anchor="b" anchorCtr="0"/>
          <a:lstStyle/>
          <a:p>
            <a:pPr algn="ctr" defTabSz="931869">
              <a:defRPr/>
            </a:pPr>
            <a:endParaRPr lang="en-US" sz="800" kern="0" dirty="0">
              <a:solidFill>
                <a:sysClr val="windowText" lastClr="000000"/>
              </a:solidFill>
              <a:latin typeface="+mj-lt"/>
              <a:ea typeface="Segoe UI" pitchFamily="34" charset="0"/>
              <a:cs typeface="Segoe UI" pitchFamily="34" charset="0"/>
            </a:endParaRPr>
          </a:p>
        </p:txBody>
      </p:sp>
    </p:spTree>
    <p:extLst>
      <p:ext uri="{BB962C8B-B14F-4D97-AF65-F5344CB8AC3E}">
        <p14:creationId xmlns:p14="http://schemas.microsoft.com/office/powerpoint/2010/main" val="233169901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67"/>
                                        </p:tgtEl>
                                        <p:attrNameLst>
                                          <p:attrName>style.visibility</p:attrName>
                                        </p:attrNameLst>
                                      </p:cBhvr>
                                      <p:to>
                                        <p:strVal val="visible"/>
                                      </p:to>
                                    </p:set>
                                    <p:animEffect transition="in" filter="fade">
                                      <p:cBhvr>
                                        <p:cTn id="7" dur="500"/>
                                        <p:tgtEl>
                                          <p:spTgt spid="67"/>
                                        </p:tgtEl>
                                      </p:cBhvr>
                                    </p:animEffect>
                                  </p:childTnLst>
                                </p:cTn>
                              </p:par>
                              <p:par>
                                <p:cTn id="8" presetID="10" presetClass="entr" presetSubtype="0" fill="hold" nodeType="withEffect">
                                  <p:stCondLst>
                                    <p:cond delay="0"/>
                                  </p:stCondLst>
                                  <p:childTnLst>
                                    <p:set>
                                      <p:cBhvr>
                                        <p:cTn id="9" dur="1" fill="hold">
                                          <p:stCondLst>
                                            <p:cond delay="0"/>
                                          </p:stCondLst>
                                        </p:cTn>
                                        <p:tgtEl>
                                          <p:spTgt spid="56"/>
                                        </p:tgtEl>
                                        <p:attrNameLst>
                                          <p:attrName>style.visibility</p:attrName>
                                        </p:attrNameLst>
                                      </p:cBhvr>
                                      <p:to>
                                        <p:strVal val="visible"/>
                                      </p:to>
                                    </p:set>
                                    <p:animEffect transition="in" filter="fade">
                                      <p:cBhvr>
                                        <p:cTn id="10" dur="500"/>
                                        <p:tgtEl>
                                          <p:spTgt spid="56"/>
                                        </p:tgtEl>
                                      </p:cBhvr>
                                    </p:animEffect>
                                  </p:childTnLst>
                                </p:cTn>
                              </p:par>
                              <p:par>
                                <p:cTn id="11" presetID="10" presetClass="entr" presetSubtype="0" fill="hold" nodeType="withEffect">
                                  <p:stCondLst>
                                    <p:cond delay="0"/>
                                  </p:stCondLst>
                                  <p:childTnLst>
                                    <p:set>
                                      <p:cBhvr>
                                        <p:cTn id="12" dur="1" fill="hold">
                                          <p:stCondLst>
                                            <p:cond delay="0"/>
                                          </p:stCondLst>
                                        </p:cTn>
                                        <p:tgtEl>
                                          <p:spTgt spid="57"/>
                                        </p:tgtEl>
                                        <p:attrNameLst>
                                          <p:attrName>style.visibility</p:attrName>
                                        </p:attrNameLst>
                                      </p:cBhvr>
                                      <p:to>
                                        <p:strVal val="visible"/>
                                      </p:to>
                                    </p:set>
                                    <p:animEffect transition="in" filter="fade">
                                      <p:cBhvr>
                                        <p:cTn id="13" dur="500"/>
                                        <p:tgtEl>
                                          <p:spTgt spid="57"/>
                                        </p:tgtEl>
                                      </p:cBhvr>
                                    </p:animEffect>
                                  </p:childTnLst>
                                </p:cTn>
                              </p:par>
                              <p:par>
                                <p:cTn id="14" presetID="10" presetClass="entr" presetSubtype="0" fill="hold" nodeType="withEffect">
                                  <p:stCondLst>
                                    <p:cond delay="0"/>
                                  </p:stCondLst>
                                  <p:childTnLst>
                                    <p:set>
                                      <p:cBhvr>
                                        <p:cTn id="15" dur="1" fill="hold">
                                          <p:stCondLst>
                                            <p:cond delay="0"/>
                                          </p:stCondLst>
                                        </p:cTn>
                                        <p:tgtEl>
                                          <p:spTgt spid="58"/>
                                        </p:tgtEl>
                                        <p:attrNameLst>
                                          <p:attrName>style.visibility</p:attrName>
                                        </p:attrNameLst>
                                      </p:cBhvr>
                                      <p:to>
                                        <p:strVal val="visible"/>
                                      </p:to>
                                    </p:set>
                                    <p:animEffect transition="in" filter="fade">
                                      <p:cBhvr>
                                        <p:cTn id="16" dur="500"/>
                                        <p:tgtEl>
                                          <p:spTgt spid="58"/>
                                        </p:tgtEl>
                                      </p:cBhvr>
                                    </p:animEffect>
                                  </p:childTnLst>
                                </p:cTn>
                              </p:par>
                              <p:par>
                                <p:cTn id="17" presetID="42" presetClass="path" presetSubtype="0" accel="50000" decel="50000" fill="hold" nodeType="withEffect">
                                  <p:stCondLst>
                                    <p:cond delay="0"/>
                                  </p:stCondLst>
                                  <p:childTnLst>
                                    <p:animMotion origin="layout" path="M -3.3878E-6 1.64321E-6 L -0.14488 0.29619 " pathEditMode="relative" rAng="0" ptsTypes="AA">
                                      <p:cBhvr>
                                        <p:cTn id="18" dur="2000" fill="hold"/>
                                        <p:tgtEl>
                                          <p:spTgt spid="68"/>
                                        </p:tgtEl>
                                        <p:attrNameLst>
                                          <p:attrName>ppt_x</p:attrName>
                                          <p:attrName>ppt_y</p:attrName>
                                        </p:attrNameLst>
                                      </p:cBhvr>
                                      <p:rCtr x="-7250" y="14798"/>
                                    </p:animMotion>
                                  </p:childTnLst>
                                </p:cTn>
                              </p:par>
                              <p:par>
                                <p:cTn id="19" presetID="42" presetClass="path" presetSubtype="0" accel="50000" decel="50000" fill="hold" nodeType="withEffect">
                                  <p:stCondLst>
                                    <p:cond delay="0"/>
                                  </p:stCondLst>
                                  <p:childTnLst>
                                    <p:animMotion origin="layout" path="M -1.34542E-6 -2.0699E-6 L -0.16888 0.41058 " pathEditMode="relative" rAng="0" ptsTypes="AA">
                                      <p:cBhvr>
                                        <p:cTn id="20" dur="2000" fill="hold"/>
                                        <p:tgtEl>
                                          <p:spTgt spid="69"/>
                                        </p:tgtEl>
                                        <p:attrNameLst>
                                          <p:attrName>ppt_x</p:attrName>
                                          <p:attrName>ppt_y</p:attrName>
                                        </p:attrNameLst>
                                      </p:cBhvr>
                                      <p:rCtr x="-8450" y="20517"/>
                                    </p:animMotion>
                                  </p:childTnLst>
                                </p:cTn>
                              </p:par>
                              <p:par>
                                <p:cTn id="21" presetID="42" presetClass="path" presetSubtype="0" accel="50000" decel="50000" fill="hold" nodeType="withEffect">
                                  <p:stCondLst>
                                    <p:cond delay="0"/>
                                  </p:stCondLst>
                                  <p:childTnLst>
                                    <p:animMotion origin="layout" path="M -4.80214E-6 -2.62823E-6 L -0.16517 0.49456 " pathEditMode="relative" rAng="0" ptsTypes="AA">
                                      <p:cBhvr>
                                        <p:cTn id="22" dur="2000" fill="hold"/>
                                        <p:tgtEl>
                                          <p:spTgt spid="70"/>
                                        </p:tgtEl>
                                        <p:attrNameLst>
                                          <p:attrName>ppt_x</p:attrName>
                                          <p:attrName>ppt_y</p:attrName>
                                        </p:attrNameLst>
                                      </p:cBhvr>
                                      <p:rCtr x="-8259" y="24716"/>
                                    </p:animMotion>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124"/>
                                        </p:tgtEl>
                                        <p:attrNameLst>
                                          <p:attrName>style.visibility</p:attrName>
                                        </p:attrNameLst>
                                      </p:cBhvr>
                                      <p:to>
                                        <p:strVal val="visible"/>
                                      </p:to>
                                    </p:set>
                                    <p:animEffect transition="in" filter="fade">
                                      <p:cBhvr>
                                        <p:cTn id="27" dur="500"/>
                                        <p:tgtEl>
                                          <p:spTgt spid="124"/>
                                        </p:tgtEl>
                                      </p:cBhvr>
                                    </p:animEffect>
                                  </p:childTnLst>
                                </p:cTn>
                              </p:par>
                            </p:childTnLst>
                          </p:cTn>
                        </p:par>
                        <p:par>
                          <p:cTn id="28" fill="hold">
                            <p:stCondLst>
                              <p:cond delay="500"/>
                            </p:stCondLst>
                            <p:childTnLst>
                              <p:par>
                                <p:cTn id="29" presetID="42" presetClass="path" presetSubtype="0" accel="50000" decel="50000" fill="hold" grpId="0" nodeType="afterEffect">
                                  <p:stCondLst>
                                    <p:cond delay="0"/>
                                  </p:stCondLst>
                                  <p:childTnLst>
                                    <p:animMotion origin="layout" path="M 2.4432E-6 -2.55561E-6 L -0.08936 0.28121 " pathEditMode="relative" rAng="0" ptsTypes="AA">
                                      <p:cBhvr>
                                        <p:cTn id="30" dur="2000" fill="hold"/>
                                        <p:tgtEl>
                                          <p:spTgt spid="76"/>
                                        </p:tgtEl>
                                        <p:attrNameLst>
                                          <p:attrName>ppt_x</p:attrName>
                                          <p:attrName>ppt_y</p:attrName>
                                        </p:attrNameLst>
                                      </p:cBhvr>
                                      <p:rCtr x="-4468" y="14049"/>
                                    </p:animMotion>
                                  </p:childTnLst>
                                </p:cTn>
                              </p:par>
                              <p:par>
                                <p:cTn id="31" presetID="42" presetClass="path" presetSubtype="0" accel="50000" decel="50000" fill="hold" grpId="0" nodeType="withEffect">
                                  <p:stCondLst>
                                    <p:cond delay="0"/>
                                  </p:stCondLst>
                                  <p:childTnLst>
                                    <p:animMotion origin="layout" path="M 1.87644E-6 -4.08534E-8 L -0.21764 0.39719 " pathEditMode="relative" rAng="0" ptsTypes="AA">
                                      <p:cBhvr>
                                        <p:cTn id="32" dur="2000" fill="hold"/>
                                        <p:tgtEl>
                                          <p:spTgt spid="79"/>
                                        </p:tgtEl>
                                        <p:attrNameLst>
                                          <p:attrName>ppt_x</p:attrName>
                                          <p:attrName>ppt_y</p:attrName>
                                        </p:attrNameLst>
                                      </p:cBhvr>
                                      <p:rCtr x="-10888" y="19859"/>
                                    </p:animMotion>
                                  </p:childTnLst>
                                </p:cTn>
                              </p:par>
                              <p:par>
                                <p:cTn id="33" presetID="42" presetClass="path" presetSubtype="0" accel="50000" decel="50000" fill="hold" grpId="0" nodeType="withEffect">
                                  <p:stCondLst>
                                    <p:cond delay="0"/>
                                  </p:stCondLst>
                                  <p:childTnLst>
                                    <p:animMotion origin="layout" path="M 4.59535E-8 -4.335E-6 L -0.1482 0.27985 " pathEditMode="relative" rAng="0" ptsTypes="AA">
                                      <p:cBhvr>
                                        <p:cTn id="34" dur="2000" fill="hold"/>
                                        <p:tgtEl>
                                          <p:spTgt spid="95"/>
                                        </p:tgtEl>
                                        <p:attrNameLst>
                                          <p:attrName>ppt_x</p:attrName>
                                          <p:attrName>ppt_y</p:attrName>
                                        </p:attrNameLst>
                                      </p:cBhvr>
                                      <p:rCtr x="-7416" y="13981"/>
                                    </p:animMotion>
                                  </p:childTnLst>
                                </p:cTn>
                              </p:par>
                              <p:par>
                                <p:cTn id="35" presetID="42" presetClass="path" presetSubtype="0" accel="50000" decel="50000" fill="hold" grpId="0" nodeType="withEffect">
                                  <p:stCondLst>
                                    <p:cond delay="0"/>
                                  </p:stCondLst>
                                  <p:childTnLst>
                                    <p:animMotion origin="layout" path="M 4.59535E-8 -2.55561E-6 L -0.04927 0.42284 " pathEditMode="relative" rAng="0" ptsTypes="AA">
                                      <p:cBhvr>
                                        <p:cTn id="36" dur="2000" fill="hold"/>
                                        <p:tgtEl>
                                          <p:spTgt spid="96"/>
                                        </p:tgtEl>
                                        <p:attrNameLst>
                                          <p:attrName>ppt_x</p:attrName>
                                          <p:attrName>ppt_y</p:attrName>
                                        </p:attrNameLst>
                                      </p:cBhvr>
                                      <p:rCtr x="-2464" y="21130"/>
                                    </p:animMotion>
                                  </p:childTnLst>
                                </p:cTn>
                              </p:par>
                              <p:par>
                                <p:cTn id="37" presetID="42" presetClass="path" presetSubtype="0" accel="50000" decel="50000" fill="hold" grpId="0" nodeType="withEffect">
                                  <p:stCondLst>
                                    <p:cond delay="0"/>
                                  </p:stCondLst>
                                  <p:childTnLst>
                                    <p:animMotion origin="layout" path="M 2.6168E-6 -2.16523E-6 L -0.00664 0.35475 " pathEditMode="relative" rAng="0" ptsTypes="AA">
                                      <p:cBhvr>
                                        <p:cTn id="38" dur="2000" fill="hold"/>
                                        <p:tgtEl>
                                          <p:spTgt spid="84"/>
                                        </p:tgtEl>
                                        <p:attrNameLst>
                                          <p:attrName>ppt_x</p:attrName>
                                          <p:attrName>ppt_y</p:attrName>
                                        </p:attrNameLst>
                                      </p:cBhvr>
                                      <p:rCtr x="-332" y="17726"/>
                                    </p:animMotion>
                                  </p:childTnLst>
                                </p:cTn>
                              </p:par>
                              <p:par>
                                <p:cTn id="39" presetID="42" presetClass="path" presetSubtype="0" accel="50000" decel="50000" fill="hold" grpId="0" nodeType="withEffect">
                                  <p:stCondLst>
                                    <p:cond delay="0"/>
                                  </p:stCondLst>
                                  <p:childTnLst>
                                    <p:animMotion origin="layout" path="M 1.26372E-6 2.9823E-6 L -0.02796 0.32297 " pathEditMode="relative" rAng="0" ptsTypes="AA">
                                      <p:cBhvr>
                                        <p:cTn id="40" dur="2000" fill="hold"/>
                                        <p:tgtEl>
                                          <p:spTgt spid="98"/>
                                        </p:tgtEl>
                                        <p:attrNameLst>
                                          <p:attrName>ppt_x</p:attrName>
                                          <p:attrName>ppt_y</p:attrName>
                                        </p:attrNameLst>
                                      </p:cBhvr>
                                      <p:rCtr x="-1404" y="16137"/>
                                    </p:animMotion>
                                  </p:childTnLst>
                                </p:cTn>
                              </p:par>
                              <p:par>
                                <p:cTn id="41" presetID="42" presetClass="path" presetSubtype="0" accel="50000" decel="50000" fill="hold" grpId="0" nodeType="withEffect">
                                  <p:stCondLst>
                                    <p:cond delay="0"/>
                                  </p:stCondLst>
                                  <p:childTnLst>
                                    <p:animMotion origin="layout" path="M -3.91626E-6 -4.52565E-6 L -0.05667 0.51635 " pathEditMode="relative" rAng="0" ptsTypes="AA">
                                      <p:cBhvr>
                                        <p:cTn id="42" dur="2000" fill="hold"/>
                                        <p:tgtEl>
                                          <p:spTgt spid="100"/>
                                        </p:tgtEl>
                                        <p:attrNameLst>
                                          <p:attrName>ppt_x</p:attrName>
                                          <p:attrName>ppt_y</p:attrName>
                                        </p:attrNameLst>
                                      </p:cBhvr>
                                      <p:rCtr x="-2834" y="25806"/>
                                    </p:animMotion>
                                  </p:childTnLst>
                                </p:cTn>
                              </p:par>
                              <p:par>
                                <p:cTn id="43" presetID="42" presetClass="path" presetSubtype="0" accel="50000" decel="50000" fill="hold" grpId="0" nodeType="withEffect">
                                  <p:stCondLst>
                                    <p:cond delay="0"/>
                                  </p:stCondLst>
                                  <p:childTnLst>
                                    <p:animMotion origin="layout" path="M 3.55885E-6 -4.54834E-6 L -0.34057 0.4065 " pathEditMode="relative" rAng="0" ptsTypes="AA">
                                      <p:cBhvr>
                                        <p:cTn id="44" dur="2000" fill="hold"/>
                                        <p:tgtEl>
                                          <p:spTgt spid="97"/>
                                        </p:tgtEl>
                                        <p:attrNameLst>
                                          <p:attrName>ppt_x</p:attrName>
                                          <p:attrName>ppt_y</p:attrName>
                                        </p:attrNameLst>
                                      </p:cBhvr>
                                      <p:rCtr x="-17028" y="20313"/>
                                    </p:animMotion>
                                  </p:childTnLst>
                                </p:cTn>
                              </p:par>
                              <p:par>
                                <p:cTn id="45" presetID="42" presetClass="path" presetSubtype="0" accel="50000" decel="50000" fill="hold" grpId="0" nodeType="withEffect">
                                  <p:stCondLst>
                                    <p:cond delay="0"/>
                                  </p:stCondLst>
                                  <p:childTnLst>
                                    <p:animMotion origin="layout" path="M -4.58259E-6 -1.31185E-6 L -0.06944 0.23831 " pathEditMode="relative" rAng="0" ptsTypes="AA">
                                      <p:cBhvr>
                                        <p:cTn id="46" dur="2000" fill="hold"/>
                                        <p:tgtEl>
                                          <p:spTgt spid="82"/>
                                        </p:tgtEl>
                                        <p:attrNameLst>
                                          <p:attrName>ppt_x</p:attrName>
                                          <p:attrName>ppt_y</p:attrName>
                                        </p:attrNameLst>
                                      </p:cBhvr>
                                      <p:rCtr x="-3472" y="11916"/>
                                    </p:animMotion>
                                  </p:childTnLst>
                                </p:cTn>
                              </p:par>
                              <p:par>
                                <p:cTn id="47" presetID="42" presetClass="path" presetSubtype="0" accel="50000" decel="50000" fill="hold" grpId="0" nodeType="withEffect">
                                  <p:stCondLst>
                                    <p:cond delay="0"/>
                                  </p:stCondLst>
                                  <p:childTnLst>
                                    <p:animMotion origin="layout" path="M -5.48889E-7 -1.31185E-6 L -0.15484 0.58602 " pathEditMode="relative" rAng="0" ptsTypes="AA">
                                      <p:cBhvr>
                                        <p:cTn id="48" dur="2000" fill="hold"/>
                                        <p:tgtEl>
                                          <p:spTgt spid="77"/>
                                        </p:tgtEl>
                                        <p:attrNameLst>
                                          <p:attrName>ppt_x</p:attrName>
                                          <p:attrName>ppt_y</p:attrName>
                                        </p:attrNameLst>
                                      </p:cBhvr>
                                      <p:rCtr x="-7748" y="29301"/>
                                    </p:animMotion>
                                  </p:childTnLst>
                                </p:cTn>
                              </p:par>
                              <p:par>
                                <p:cTn id="49" presetID="42" presetClass="path" presetSubtype="0" accel="50000" decel="50000" fill="hold" grpId="0" nodeType="withEffect">
                                  <p:stCondLst>
                                    <p:cond delay="0"/>
                                  </p:stCondLst>
                                  <p:childTnLst>
                                    <p:animMotion origin="layout" path="M 2.65509E-7 1.02587E-6 L -0.10391 0.65501 " pathEditMode="relative" rAng="0" ptsTypes="AA">
                                      <p:cBhvr>
                                        <p:cTn id="50" dur="2000" fill="hold"/>
                                        <p:tgtEl>
                                          <p:spTgt spid="86"/>
                                        </p:tgtEl>
                                        <p:attrNameLst>
                                          <p:attrName>ppt_x</p:attrName>
                                          <p:attrName>ppt_y</p:attrName>
                                        </p:attrNameLst>
                                      </p:cBhvr>
                                      <p:rCtr x="-5195" y="32751"/>
                                    </p:animMotion>
                                  </p:childTnLst>
                                </p:cTn>
                              </p:par>
                              <p:par>
                                <p:cTn id="51" presetID="42" presetClass="path" presetSubtype="0" accel="50000" decel="50000" fill="hold" grpId="0" nodeType="withEffect">
                                  <p:stCondLst>
                                    <p:cond delay="0"/>
                                  </p:stCondLst>
                                  <p:childTnLst>
                                    <p:animMotion origin="layout" path="M 1.28159E-6 -3.24557E-6 L -0.08948 0.57944 " pathEditMode="relative" rAng="0" ptsTypes="AA">
                                      <p:cBhvr>
                                        <p:cTn id="52" dur="2000" fill="hold"/>
                                        <p:tgtEl>
                                          <p:spTgt spid="83"/>
                                        </p:tgtEl>
                                        <p:attrNameLst>
                                          <p:attrName>ppt_x</p:attrName>
                                          <p:attrName>ppt_y</p:attrName>
                                        </p:attrNameLst>
                                      </p:cBhvr>
                                      <p:rCtr x="-4480" y="28961"/>
                                    </p:animMotion>
                                  </p:childTnLst>
                                </p:cTn>
                              </p:par>
                              <p:par>
                                <p:cTn id="53" presetID="42" presetClass="path" presetSubtype="0" accel="50000" decel="50000" fill="hold" grpId="0" nodeType="withEffect">
                                  <p:stCondLst>
                                    <p:cond delay="0"/>
                                  </p:stCondLst>
                                  <p:childTnLst>
                                    <p:animMotion origin="layout" path="M -2.33342E-6 -2.72356E-6 L -0.27891 0.46346 " pathEditMode="relative" rAng="0" ptsTypes="AA">
                                      <p:cBhvr>
                                        <p:cTn id="54" dur="2000" fill="hold"/>
                                        <p:tgtEl>
                                          <p:spTgt spid="101"/>
                                        </p:tgtEl>
                                        <p:attrNameLst>
                                          <p:attrName>ppt_x</p:attrName>
                                          <p:attrName>ppt_y</p:attrName>
                                        </p:attrNameLst>
                                      </p:cBhvr>
                                      <p:rCtr x="-13952" y="23173"/>
                                    </p:animMotion>
                                  </p:childTnLst>
                                </p:cTn>
                              </p:par>
                              <p:par>
                                <p:cTn id="55" presetID="42" presetClass="path" presetSubtype="0" accel="50000" decel="50000" fill="hold" grpId="0" nodeType="withEffect">
                                  <p:stCondLst>
                                    <p:cond delay="0"/>
                                  </p:stCondLst>
                                  <p:childTnLst>
                                    <p:animMotion origin="layout" path="M 1.35308E-6 4.06264E-6 L -0.32589 0.38198 " pathEditMode="relative" rAng="0" ptsTypes="AA">
                                      <p:cBhvr>
                                        <p:cTn id="56" dur="2000" fill="hold"/>
                                        <p:tgtEl>
                                          <p:spTgt spid="78"/>
                                        </p:tgtEl>
                                        <p:attrNameLst>
                                          <p:attrName>ppt_x</p:attrName>
                                          <p:attrName>ppt_y</p:attrName>
                                        </p:attrNameLst>
                                      </p:cBhvr>
                                      <p:rCtr x="-16301" y="19088"/>
                                    </p:animMotion>
                                  </p:childTnLst>
                                </p:cTn>
                              </p:par>
                              <p:par>
                                <p:cTn id="57" presetID="42" presetClass="path" presetSubtype="0" accel="50000" decel="50000" fill="hold" grpId="0" nodeType="withEffect">
                                  <p:stCondLst>
                                    <p:cond delay="0"/>
                                  </p:stCondLst>
                                  <p:childTnLst>
                                    <p:animMotion origin="layout" path="M 1.6339E-7 1.54789E-6 L -0.33138 0.52678 " pathEditMode="relative" rAng="0" ptsTypes="AA">
                                      <p:cBhvr>
                                        <p:cTn id="58" dur="2000" fill="hold"/>
                                        <p:tgtEl>
                                          <p:spTgt spid="99"/>
                                        </p:tgtEl>
                                        <p:attrNameLst>
                                          <p:attrName>ppt_x</p:attrName>
                                          <p:attrName>ppt_y</p:attrName>
                                        </p:attrNameLst>
                                      </p:cBhvr>
                                      <p:rCtr x="-16569" y="26328"/>
                                    </p:animMotion>
                                  </p:childTnLst>
                                </p:cTn>
                              </p:par>
                              <p:par>
                                <p:cTn id="59" presetID="42" presetClass="path" presetSubtype="0" accel="50000" decel="50000" fill="hold" grpId="0" nodeType="withEffect">
                                  <p:stCondLst>
                                    <p:cond delay="0"/>
                                  </p:stCondLst>
                                  <p:childTnLst>
                                    <p:animMotion origin="layout" path="M -2.85423E-6 1.89287E-6 L -0.21955 0.54607 " pathEditMode="relative" rAng="0" ptsTypes="AA">
                                      <p:cBhvr>
                                        <p:cTn id="60" dur="2000" fill="hold"/>
                                        <p:tgtEl>
                                          <p:spTgt spid="80"/>
                                        </p:tgtEl>
                                        <p:attrNameLst>
                                          <p:attrName>ppt_x</p:attrName>
                                          <p:attrName>ppt_y</p:attrName>
                                        </p:attrNameLst>
                                      </p:cBhvr>
                                      <p:rCtr x="-10978" y="27304"/>
                                    </p:animMotion>
                                  </p:childTnLst>
                                </p:cTn>
                              </p:par>
                              <p:par>
                                <p:cTn id="61" presetID="42" presetClass="path" presetSubtype="0" accel="50000" decel="50000" fill="hold" grpId="0" nodeType="withEffect">
                                  <p:stCondLst>
                                    <p:cond delay="0"/>
                                  </p:stCondLst>
                                  <p:childTnLst>
                                    <p:animMotion origin="layout" path="M 3.75032E-6 3.69496E-6 L -0.21177 0.36178 " pathEditMode="relative" rAng="0" ptsTypes="AA">
                                      <p:cBhvr>
                                        <p:cTn id="62" dur="2000" fill="hold"/>
                                        <p:tgtEl>
                                          <p:spTgt spid="85"/>
                                        </p:tgtEl>
                                        <p:attrNameLst>
                                          <p:attrName>ppt_x</p:attrName>
                                          <p:attrName>ppt_y</p:attrName>
                                        </p:attrNameLst>
                                      </p:cBhvr>
                                      <p:rCtr x="-10595" y="18089"/>
                                    </p:animMotion>
                                  </p:childTnLst>
                                </p:cTn>
                              </p:par>
                              <p:par>
                                <p:cTn id="63" presetID="42" presetClass="path" presetSubtype="0" accel="50000" decel="50000" fill="hold" grpId="0" nodeType="withEffect">
                                  <p:stCondLst>
                                    <p:cond delay="0"/>
                                  </p:stCondLst>
                                  <p:childTnLst>
                                    <p:animMotion origin="layout" path="M -4.4677E-7 -2.72356E-6 L -0.23768 0.46346 " pathEditMode="relative" rAng="0" ptsTypes="AA">
                                      <p:cBhvr>
                                        <p:cTn id="64" dur="2000" fill="hold"/>
                                        <p:tgtEl>
                                          <p:spTgt spid="125"/>
                                        </p:tgtEl>
                                        <p:attrNameLst>
                                          <p:attrName>ppt_x</p:attrName>
                                          <p:attrName>ppt_y</p:attrName>
                                        </p:attrNameLst>
                                      </p:cBhvr>
                                      <p:rCtr x="-11884" y="23173"/>
                                    </p:animMotion>
                                  </p:childTnLst>
                                </p:cTn>
                              </p:par>
                              <p:par>
                                <p:cTn id="65" presetID="42" presetClass="path" presetSubtype="0" accel="50000" decel="50000" fill="hold" grpId="0" nodeType="withEffect">
                                  <p:stCondLst>
                                    <p:cond delay="0"/>
                                  </p:stCondLst>
                                  <p:childTnLst>
                                    <p:animMotion origin="layout" path="M -0.00957 2.26055E-6 L -0.20896 0.66273 " pathEditMode="relative" rAng="0" ptsTypes="AA">
                                      <p:cBhvr>
                                        <p:cTn id="66" dur="2000" fill="hold"/>
                                        <p:tgtEl>
                                          <p:spTgt spid="126"/>
                                        </p:tgtEl>
                                        <p:attrNameLst>
                                          <p:attrName>ppt_x</p:attrName>
                                          <p:attrName>ppt_y</p:attrName>
                                        </p:attrNameLst>
                                      </p:cBhvr>
                                      <p:rCtr x="-9969" y="33137"/>
                                    </p:animMotion>
                                  </p:childTnLst>
                                </p:cTn>
                              </p:par>
                              <p:par>
                                <p:cTn id="67" presetID="42" presetClass="path" presetSubtype="0" accel="50000" decel="50000" fill="hold" grpId="0" nodeType="withEffect">
                                  <p:stCondLst>
                                    <p:cond delay="0"/>
                                  </p:stCondLst>
                                  <p:childTnLst>
                                    <p:animMotion origin="layout" path="M 1.85857E-6 -1.51158E-6 L -0.06115 0.55947 " pathEditMode="relative" rAng="0" ptsTypes="AA">
                                      <p:cBhvr>
                                        <p:cTn id="68" dur="2000" fill="hold"/>
                                        <p:tgtEl>
                                          <p:spTgt spid="128"/>
                                        </p:tgtEl>
                                        <p:attrNameLst>
                                          <p:attrName>ppt_x</p:attrName>
                                          <p:attrName>ppt_y</p:attrName>
                                        </p:attrNameLst>
                                      </p:cBhvr>
                                      <p:rCtr x="-3064" y="27962"/>
                                    </p:animMotion>
                                  </p:childTnLst>
                                </p:cTn>
                              </p:par>
                              <p:par>
                                <p:cTn id="69" presetID="42" presetClass="path" presetSubtype="0" accel="50000" decel="50000" fill="hold" grpId="0" nodeType="withEffect">
                                  <p:stCondLst>
                                    <p:cond delay="0"/>
                                  </p:stCondLst>
                                  <p:childTnLst>
                                    <p:animMotion origin="layout" path="M -4.43707E-6 5.03858E-7 L -0.14475 0.23763 " pathEditMode="relative" rAng="0" ptsTypes="AA">
                                      <p:cBhvr>
                                        <p:cTn id="70" dur="2000" fill="hold"/>
                                        <p:tgtEl>
                                          <p:spTgt spid="138"/>
                                        </p:tgtEl>
                                        <p:attrNameLst>
                                          <p:attrName>ppt_x</p:attrName>
                                          <p:attrName>ppt_y</p:attrName>
                                        </p:attrNameLst>
                                      </p:cBhvr>
                                      <p:rCtr x="-7238" y="11870"/>
                                    </p:animMotion>
                                  </p:childTnLst>
                                </p:cTn>
                              </p:par>
                              <p:par>
                                <p:cTn id="71" presetID="42" presetClass="path" presetSubtype="0" accel="50000" decel="50000" fill="hold" grpId="0" nodeType="withEffect">
                                  <p:stCondLst>
                                    <p:cond delay="0"/>
                                  </p:stCondLst>
                                  <p:childTnLst>
                                    <p:animMotion origin="layout" path="M -1.51902E-6 1.39355E-6 L 0.01711 0.53245 " pathEditMode="relative" rAng="0" ptsTypes="AA">
                                      <p:cBhvr>
                                        <p:cTn id="72" dur="2000" fill="hold"/>
                                        <p:tgtEl>
                                          <p:spTgt spid="140"/>
                                        </p:tgtEl>
                                        <p:attrNameLst>
                                          <p:attrName>ppt_x</p:attrName>
                                          <p:attrName>ppt_y</p:attrName>
                                        </p:attrNameLst>
                                      </p:cBhvr>
                                      <p:rCtr x="855" y="26623"/>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7" grpId="0"/>
      <p:bldP spid="76" grpId="0" animBg="1"/>
      <p:bldP spid="77" grpId="0" animBg="1"/>
      <p:bldP spid="78" grpId="0" animBg="1"/>
      <p:bldP spid="79" grpId="0" animBg="1"/>
      <p:bldP spid="80" grpId="0" animBg="1"/>
      <p:bldP spid="82" grpId="0" animBg="1"/>
      <p:bldP spid="83" grpId="0" animBg="1"/>
      <p:bldP spid="84" grpId="0" animBg="1"/>
      <p:bldP spid="85" grpId="0" animBg="1"/>
      <p:bldP spid="86" grpId="0" animBg="1"/>
      <p:bldP spid="95" grpId="0" animBg="1"/>
      <p:bldP spid="96" grpId="0" animBg="1"/>
      <p:bldP spid="97" grpId="0" animBg="1"/>
      <p:bldP spid="98" grpId="0" animBg="1"/>
      <p:bldP spid="99" grpId="0" animBg="1"/>
      <p:bldP spid="100" grpId="0" animBg="1"/>
      <p:bldP spid="101" grpId="0" animBg="1"/>
      <p:bldP spid="125" grpId="0" animBg="1"/>
      <p:bldP spid="126" grpId="0" animBg="1"/>
      <p:bldP spid="128" grpId="0" animBg="1"/>
      <p:bldP spid="138" grpId="0" animBg="1"/>
      <p:bldP spid="140" grpId="0" animBg="1"/>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0" name="Title 1"/>
          <p:cNvSpPr>
            <a:spLocks noGrp="1"/>
          </p:cNvSpPr>
          <p:nvPr>
            <p:ph type="title"/>
          </p:nvPr>
        </p:nvSpPr>
        <p:spPr>
          <a:xfrm>
            <a:off x="430175" y="120980"/>
            <a:ext cx="11887100" cy="917444"/>
          </a:xfrm>
        </p:spPr>
        <p:txBody>
          <a:bodyPr/>
          <a:lstStyle/>
          <a:p>
            <a:r>
              <a:rPr lang="en-US" dirty="0"/>
              <a:t>Services Powered by Service Fabric</a:t>
            </a:r>
          </a:p>
        </p:txBody>
      </p:sp>
      <p:pic>
        <p:nvPicPr>
          <p:cNvPr id="81" name="Picture 80"/>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257284" y="1066488"/>
            <a:ext cx="1114835" cy="1240641"/>
          </a:xfrm>
          <a:prstGeom prst="rect">
            <a:avLst/>
          </a:prstGeom>
        </p:spPr>
      </p:pic>
      <p:pic>
        <p:nvPicPr>
          <p:cNvPr id="82" name="Picture 8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452530" y="1059208"/>
            <a:ext cx="1097128" cy="1097125"/>
          </a:xfrm>
          <a:prstGeom prst="rect">
            <a:avLst/>
          </a:prstGeom>
        </p:spPr>
      </p:pic>
      <p:pic>
        <p:nvPicPr>
          <p:cNvPr id="83" name="Picture 82"/>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887222" y="4290202"/>
            <a:ext cx="874821" cy="874821"/>
          </a:xfrm>
          <a:prstGeom prst="rect">
            <a:avLst/>
          </a:prstGeom>
        </p:spPr>
      </p:pic>
      <p:pic>
        <p:nvPicPr>
          <p:cNvPr id="84" name="Picture 83"/>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0506989" y="1071209"/>
            <a:ext cx="1005697" cy="1005697"/>
          </a:xfrm>
          <a:prstGeom prst="rect">
            <a:avLst/>
          </a:prstGeom>
        </p:spPr>
      </p:pic>
      <p:pic>
        <p:nvPicPr>
          <p:cNvPr id="85" name="Picture 84"/>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7728924" y="1083195"/>
            <a:ext cx="988378" cy="988378"/>
          </a:xfrm>
          <a:prstGeom prst="rect">
            <a:avLst/>
          </a:prstGeom>
        </p:spPr>
      </p:pic>
      <p:pic>
        <p:nvPicPr>
          <p:cNvPr id="86" name="Picture 85"/>
          <p:cNvPicPr>
            <a:picLocks noChangeAspect="1"/>
          </p:cNvPicPr>
          <p:nvPr/>
        </p:nvPicPr>
        <p:blipFill>
          <a:blip r:embed="rId8"/>
          <a:stretch>
            <a:fillRect/>
          </a:stretch>
        </p:blipFill>
        <p:spPr>
          <a:xfrm>
            <a:off x="178069" y="4204374"/>
            <a:ext cx="2029135" cy="1217481"/>
          </a:xfrm>
          <a:prstGeom prst="rect">
            <a:avLst/>
          </a:prstGeom>
        </p:spPr>
      </p:pic>
      <p:pic>
        <p:nvPicPr>
          <p:cNvPr id="87" name="Picture 86"/>
          <p:cNvPicPr>
            <a:picLocks noChangeAspect="1"/>
          </p:cNvPicPr>
          <p:nvPr/>
        </p:nvPicPr>
        <p:blipFill>
          <a:blip r:embed="rId9"/>
          <a:stretch>
            <a:fillRect/>
          </a:stretch>
        </p:blipFill>
        <p:spPr>
          <a:xfrm>
            <a:off x="10789589" y="4136563"/>
            <a:ext cx="1184510" cy="1184510"/>
          </a:xfrm>
          <a:prstGeom prst="rect">
            <a:avLst/>
          </a:prstGeom>
        </p:spPr>
      </p:pic>
      <p:sp>
        <p:nvSpPr>
          <p:cNvPr id="88" name="TextBox 87"/>
          <p:cNvSpPr txBox="1"/>
          <p:nvPr/>
        </p:nvSpPr>
        <p:spPr>
          <a:xfrm>
            <a:off x="394821" y="2232180"/>
            <a:ext cx="2614018" cy="1023680"/>
          </a:xfrm>
          <a:prstGeom prst="rect">
            <a:avLst/>
          </a:prstGeom>
          <a:noFill/>
        </p:spPr>
        <p:txBody>
          <a:bodyPr wrap="none" lIns="182854" tIns="146283" rIns="182854" bIns="146283" rtlCol="0">
            <a:spAutoFit/>
          </a:bodyPr>
          <a:lstStyle/>
          <a:p>
            <a:pPr algn="ctr" defTabSz="914224">
              <a:lnSpc>
                <a:spcPct val="90000"/>
              </a:lnSpc>
              <a:spcAft>
                <a:spcPts val="600"/>
              </a:spcAft>
              <a:defRPr/>
            </a:pPr>
            <a:r>
              <a:rPr lang="en-US" sz="2800" kern="0">
                <a:gradFill>
                  <a:gsLst>
                    <a:gs pos="2917">
                      <a:schemeClr val="tx1"/>
                    </a:gs>
                    <a:gs pos="30000">
                      <a:schemeClr val="tx1"/>
                    </a:gs>
                  </a:gsLst>
                  <a:lin ang="5400000" scaled="0"/>
                </a:gradFill>
              </a:rPr>
              <a:t>SQL Database</a:t>
            </a:r>
          </a:p>
          <a:p>
            <a:pPr algn="ctr" defTabSz="914224">
              <a:lnSpc>
                <a:spcPct val="90000"/>
              </a:lnSpc>
              <a:spcAft>
                <a:spcPts val="600"/>
              </a:spcAft>
              <a:defRPr/>
            </a:pPr>
            <a:r>
              <a:rPr lang="en-US" kern="0">
                <a:gradFill>
                  <a:gsLst>
                    <a:gs pos="2917">
                      <a:schemeClr val="tx1"/>
                    </a:gs>
                    <a:gs pos="30000">
                      <a:schemeClr val="tx1"/>
                    </a:gs>
                  </a:gsLst>
                  <a:lin ang="5400000" scaled="0"/>
                </a:gradFill>
              </a:rPr>
              <a:t>2.1 million DBs</a:t>
            </a:r>
          </a:p>
        </p:txBody>
      </p:sp>
      <p:sp>
        <p:nvSpPr>
          <p:cNvPr id="89" name="TextBox 88"/>
          <p:cNvSpPr txBox="1"/>
          <p:nvPr/>
        </p:nvSpPr>
        <p:spPr>
          <a:xfrm>
            <a:off x="3483480" y="2155778"/>
            <a:ext cx="2880508" cy="1023680"/>
          </a:xfrm>
          <a:prstGeom prst="rect">
            <a:avLst/>
          </a:prstGeom>
          <a:noFill/>
        </p:spPr>
        <p:txBody>
          <a:bodyPr wrap="none" lIns="182854" tIns="146283" rIns="182854" bIns="146283" rtlCol="0">
            <a:spAutoFit/>
          </a:bodyPr>
          <a:lstStyle/>
          <a:p>
            <a:pPr algn="ctr" defTabSz="914224">
              <a:lnSpc>
                <a:spcPct val="90000"/>
              </a:lnSpc>
              <a:spcAft>
                <a:spcPts val="600"/>
              </a:spcAft>
              <a:defRPr/>
            </a:pPr>
            <a:r>
              <a:rPr lang="en-US" sz="2800" kern="0" dirty="0">
                <a:gradFill>
                  <a:gsLst>
                    <a:gs pos="2917">
                      <a:schemeClr val="tx1"/>
                    </a:gs>
                    <a:gs pos="30000">
                      <a:schemeClr val="tx1"/>
                    </a:gs>
                  </a:gsLst>
                  <a:lin ang="5400000" scaled="0"/>
                </a:gradFill>
              </a:rPr>
              <a:t>Cosmos DB</a:t>
            </a:r>
          </a:p>
          <a:p>
            <a:pPr algn="ctr" defTabSz="914224">
              <a:lnSpc>
                <a:spcPct val="90000"/>
              </a:lnSpc>
              <a:spcAft>
                <a:spcPts val="600"/>
              </a:spcAft>
              <a:defRPr/>
            </a:pPr>
            <a:r>
              <a:rPr lang="en-US" kern="0" dirty="0">
                <a:gradFill>
                  <a:gsLst>
                    <a:gs pos="2917">
                      <a:schemeClr val="tx1"/>
                    </a:gs>
                    <a:gs pos="30000">
                      <a:schemeClr val="tx1"/>
                    </a:gs>
                  </a:gsLst>
                  <a:lin ang="5400000" scaled="0"/>
                </a:gradFill>
              </a:rPr>
              <a:t>Billions transactions/day</a:t>
            </a:r>
            <a:endParaRPr lang="en-US" sz="2800" kern="0" dirty="0">
              <a:gradFill>
                <a:gsLst>
                  <a:gs pos="2917">
                    <a:schemeClr val="tx1"/>
                  </a:gs>
                  <a:gs pos="30000">
                    <a:schemeClr val="tx1"/>
                  </a:gs>
                </a:gsLst>
                <a:lin ang="5400000" scaled="0"/>
              </a:gradFill>
            </a:endParaRPr>
          </a:p>
        </p:txBody>
      </p:sp>
      <p:sp>
        <p:nvSpPr>
          <p:cNvPr id="90" name="TextBox 89"/>
          <p:cNvSpPr txBox="1"/>
          <p:nvPr/>
        </p:nvSpPr>
        <p:spPr>
          <a:xfrm>
            <a:off x="2477610" y="5307102"/>
            <a:ext cx="1642878" cy="690942"/>
          </a:xfrm>
          <a:prstGeom prst="rect">
            <a:avLst/>
          </a:prstGeom>
          <a:noFill/>
        </p:spPr>
        <p:txBody>
          <a:bodyPr wrap="none" lIns="182854" tIns="146283" rIns="182854" bIns="146283" rtlCol="0">
            <a:spAutoFit/>
          </a:bodyPr>
          <a:lstStyle/>
          <a:p>
            <a:pPr algn="ctr" defTabSz="914224">
              <a:lnSpc>
                <a:spcPct val="90000"/>
              </a:lnSpc>
              <a:spcAft>
                <a:spcPts val="600"/>
              </a:spcAft>
              <a:defRPr/>
            </a:pPr>
            <a:r>
              <a:rPr lang="en-US" sz="2800" kern="0">
                <a:gradFill>
                  <a:gsLst>
                    <a:gs pos="2917">
                      <a:schemeClr val="tx1"/>
                    </a:gs>
                    <a:gs pos="30000">
                      <a:schemeClr val="tx1"/>
                    </a:gs>
                  </a:gsLst>
                  <a:lin ang="5400000" scaled="0"/>
                </a:gradFill>
              </a:rPr>
              <a:t>Cortana</a:t>
            </a:r>
          </a:p>
        </p:txBody>
      </p:sp>
      <p:sp>
        <p:nvSpPr>
          <p:cNvPr id="91" name="TextBox 90"/>
          <p:cNvSpPr txBox="1"/>
          <p:nvPr/>
        </p:nvSpPr>
        <p:spPr>
          <a:xfrm>
            <a:off x="10377941" y="5369495"/>
            <a:ext cx="1778576" cy="690942"/>
          </a:xfrm>
          <a:prstGeom prst="rect">
            <a:avLst/>
          </a:prstGeom>
          <a:noFill/>
        </p:spPr>
        <p:txBody>
          <a:bodyPr wrap="none" lIns="182854" tIns="146283" rIns="182854" bIns="146283" rtlCol="0">
            <a:spAutoFit/>
          </a:bodyPr>
          <a:lstStyle/>
          <a:p>
            <a:pPr algn="ctr" defTabSz="914224">
              <a:lnSpc>
                <a:spcPct val="90000"/>
              </a:lnSpc>
              <a:spcAft>
                <a:spcPts val="600"/>
              </a:spcAft>
              <a:defRPr/>
            </a:pPr>
            <a:r>
              <a:rPr lang="en-US" sz="2800" kern="0">
                <a:gradFill>
                  <a:gsLst>
                    <a:gs pos="2917">
                      <a:schemeClr val="tx1"/>
                    </a:gs>
                    <a:gs pos="30000">
                      <a:schemeClr val="tx1"/>
                    </a:gs>
                  </a:gsLst>
                  <a:lin ang="5400000" scaled="0"/>
                </a:gradFill>
              </a:rPr>
              <a:t>Power BI</a:t>
            </a:r>
          </a:p>
        </p:txBody>
      </p:sp>
      <p:sp>
        <p:nvSpPr>
          <p:cNvPr id="92" name="TextBox 91"/>
          <p:cNvSpPr txBox="1"/>
          <p:nvPr/>
        </p:nvSpPr>
        <p:spPr>
          <a:xfrm>
            <a:off x="9914550" y="2058177"/>
            <a:ext cx="2190575" cy="1497675"/>
          </a:xfrm>
          <a:prstGeom prst="rect">
            <a:avLst/>
          </a:prstGeom>
          <a:noFill/>
        </p:spPr>
        <p:txBody>
          <a:bodyPr wrap="none" lIns="182854" tIns="146283" rIns="182854" bIns="146283" rtlCol="0">
            <a:spAutoFit/>
          </a:bodyPr>
          <a:lstStyle/>
          <a:p>
            <a:pPr algn="ctr" defTabSz="914224">
              <a:lnSpc>
                <a:spcPct val="90000"/>
              </a:lnSpc>
              <a:spcAft>
                <a:spcPts val="600"/>
              </a:spcAft>
              <a:defRPr/>
            </a:pPr>
            <a:r>
              <a:rPr lang="en-US" sz="2800" kern="0">
                <a:gradFill>
                  <a:gsLst>
                    <a:gs pos="2917">
                      <a:schemeClr val="tx1"/>
                    </a:gs>
                    <a:gs pos="30000">
                      <a:schemeClr val="tx1"/>
                    </a:gs>
                  </a:gsLst>
                  <a:lin ang="5400000" scaled="0"/>
                </a:gradFill>
              </a:rPr>
              <a:t>Event Hubs</a:t>
            </a:r>
            <a:endParaRPr lang="en-US" kern="0">
              <a:solidFill>
                <a:sysClr val="windowText" lastClr="000000"/>
              </a:solidFill>
            </a:endParaRPr>
          </a:p>
          <a:p>
            <a:pPr algn="ctr" defTabSz="914224">
              <a:lnSpc>
                <a:spcPct val="90000"/>
              </a:lnSpc>
              <a:spcAft>
                <a:spcPts val="600"/>
              </a:spcAft>
              <a:defRPr/>
            </a:pPr>
            <a:r>
              <a:rPr lang="en-US" kern="0">
                <a:solidFill>
                  <a:sysClr val="windowText" lastClr="000000"/>
                </a:solidFill>
                <a:ea typeface="Segoe UI" pitchFamily="34" charset="0"/>
                <a:cs typeface="Segoe UI" pitchFamily="34" charset="0"/>
              </a:rPr>
              <a:t>60</a:t>
            </a:r>
            <a:r>
              <a:rPr lang="en-US" kern="0" err="1">
                <a:solidFill>
                  <a:sysClr val="windowText" lastClr="000000"/>
                </a:solidFill>
                <a:ea typeface="Segoe UI" pitchFamily="34" charset="0"/>
                <a:cs typeface="Segoe UI" pitchFamily="34" charset="0"/>
              </a:rPr>
              <a:t>bn</a:t>
            </a:r>
            <a:r>
              <a:rPr lang="en-US" kern="0">
                <a:solidFill>
                  <a:sysClr val="windowText" lastClr="000000"/>
                </a:solidFill>
                <a:ea typeface="Segoe UI" pitchFamily="34" charset="0"/>
                <a:cs typeface="Segoe UI" pitchFamily="34" charset="0"/>
              </a:rPr>
              <a:t> events/day</a:t>
            </a:r>
          </a:p>
          <a:p>
            <a:pPr algn="ctr" defTabSz="914224">
              <a:lnSpc>
                <a:spcPct val="90000"/>
              </a:lnSpc>
              <a:spcAft>
                <a:spcPts val="600"/>
              </a:spcAft>
              <a:defRPr/>
            </a:pPr>
            <a:endParaRPr lang="en-US" sz="2800" kern="0">
              <a:gradFill>
                <a:gsLst>
                  <a:gs pos="2917">
                    <a:schemeClr val="tx1"/>
                  </a:gs>
                  <a:gs pos="30000">
                    <a:schemeClr val="tx1"/>
                  </a:gs>
                </a:gsLst>
                <a:lin ang="5400000" scaled="0"/>
              </a:gradFill>
            </a:endParaRPr>
          </a:p>
        </p:txBody>
      </p:sp>
      <p:sp>
        <p:nvSpPr>
          <p:cNvPr id="93" name="TextBox 92"/>
          <p:cNvSpPr txBox="1"/>
          <p:nvPr/>
        </p:nvSpPr>
        <p:spPr>
          <a:xfrm>
            <a:off x="6880580" y="2112031"/>
            <a:ext cx="2522463" cy="1023680"/>
          </a:xfrm>
          <a:prstGeom prst="rect">
            <a:avLst/>
          </a:prstGeom>
          <a:noFill/>
        </p:spPr>
        <p:txBody>
          <a:bodyPr wrap="none" lIns="182854" tIns="146283" rIns="182854" bIns="146283" rtlCol="0">
            <a:spAutoFit/>
          </a:bodyPr>
          <a:lstStyle/>
          <a:p>
            <a:pPr algn="ctr" defTabSz="914224">
              <a:lnSpc>
                <a:spcPct val="90000"/>
              </a:lnSpc>
              <a:spcAft>
                <a:spcPts val="600"/>
              </a:spcAft>
              <a:defRPr/>
            </a:pPr>
            <a:r>
              <a:rPr lang="en-US" sz="2800" kern="0" err="1">
                <a:gradFill>
                  <a:gsLst>
                    <a:gs pos="2917">
                      <a:schemeClr val="tx1"/>
                    </a:gs>
                    <a:gs pos="30000">
                      <a:schemeClr val="tx1"/>
                    </a:gs>
                  </a:gsLst>
                  <a:lin ang="5400000" scaled="0"/>
                </a:gradFill>
              </a:rPr>
              <a:t>IoT</a:t>
            </a:r>
            <a:r>
              <a:rPr lang="en-US" sz="2800" kern="0">
                <a:gradFill>
                  <a:gsLst>
                    <a:gs pos="2917">
                      <a:schemeClr val="tx1"/>
                    </a:gs>
                    <a:gs pos="30000">
                      <a:schemeClr val="tx1"/>
                    </a:gs>
                  </a:gsLst>
                  <a:lin ang="5400000" scaled="0"/>
                </a:gradFill>
              </a:rPr>
              <a:t> Hub</a:t>
            </a:r>
          </a:p>
          <a:p>
            <a:pPr algn="ctr" defTabSz="914224">
              <a:lnSpc>
                <a:spcPct val="90000"/>
              </a:lnSpc>
              <a:spcAft>
                <a:spcPts val="600"/>
              </a:spcAft>
              <a:defRPr/>
            </a:pPr>
            <a:r>
              <a:rPr lang="en-US" kern="0">
                <a:gradFill>
                  <a:gsLst>
                    <a:gs pos="2917">
                      <a:schemeClr val="tx1"/>
                    </a:gs>
                    <a:gs pos="30000">
                      <a:schemeClr val="tx1"/>
                    </a:gs>
                  </a:gsLst>
                  <a:lin ang="5400000" scaled="0"/>
                </a:gradFill>
              </a:rPr>
              <a:t>M</a:t>
            </a:r>
            <a:r>
              <a:rPr lang="en-US" kern="0" err="1">
                <a:gradFill>
                  <a:gsLst>
                    <a:gs pos="2917">
                      <a:schemeClr val="tx1"/>
                    </a:gs>
                    <a:gs pos="30000">
                      <a:schemeClr val="tx1"/>
                    </a:gs>
                  </a:gsLst>
                  <a:lin ang="5400000" scaled="0"/>
                </a:gradFill>
              </a:rPr>
              <a:t>illions</a:t>
            </a:r>
            <a:r>
              <a:rPr lang="en-US" kern="0">
                <a:gradFill>
                  <a:gsLst>
                    <a:gs pos="2917">
                      <a:schemeClr val="tx1"/>
                    </a:gs>
                    <a:gs pos="30000">
                      <a:schemeClr val="tx1"/>
                    </a:gs>
                  </a:gsLst>
                  <a:lin ang="5400000" scaled="0"/>
                </a:gradFill>
              </a:rPr>
              <a:t> of messages</a:t>
            </a:r>
            <a:endParaRPr lang="en-US" sz="2800" kern="0">
              <a:gradFill>
                <a:gsLst>
                  <a:gs pos="2917">
                    <a:schemeClr val="tx1"/>
                  </a:gs>
                  <a:gs pos="30000">
                    <a:schemeClr val="tx1"/>
                  </a:gs>
                </a:gsLst>
                <a:lin ang="5400000" scaled="0"/>
              </a:gradFill>
            </a:endParaRPr>
          </a:p>
        </p:txBody>
      </p:sp>
      <p:pic>
        <p:nvPicPr>
          <p:cNvPr id="94" name="Picture 93"/>
          <p:cNvPicPr>
            <a:picLocks noChangeAspect="1"/>
          </p:cNvPicPr>
          <p:nvPr/>
        </p:nvPicPr>
        <p:blipFill>
          <a:blip r:embed="rId10"/>
          <a:stretch>
            <a:fillRect/>
          </a:stretch>
        </p:blipFill>
        <p:spPr>
          <a:xfrm>
            <a:off x="4685920" y="4215964"/>
            <a:ext cx="2041806" cy="1143411"/>
          </a:xfrm>
          <a:prstGeom prst="rect">
            <a:avLst/>
          </a:prstGeom>
        </p:spPr>
      </p:pic>
      <p:pic>
        <p:nvPicPr>
          <p:cNvPr id="95" name="Picture 94"/>
          <p:cNvPicPr>
            <a:picLocks noChangeAspect="1"/>
          </p:cNvPicPr>
          <p:nvPr/>
        </p:nvPicPr>
        <p:blipFill>
          <a:blip r:embed="rId11"/>
          <a:stretch>
            <a:fillRect/>
          </a:stretch>
        </p:blipFill>
        <p:spPr>
          <a:xfrm>
            <a:off x="7552323" y="4026824"/>
            <a:ext cx="2638407" cy="1477508"/>
          </a:xfrm>
          <a:prstGeom prst="rect">
            <a:avLst/>
          </a:prstGeom>
        </p:spPr>
      </p:pic>
      <p:sp>
        <p:nvSpPr>
          <p:cNvPr id="96" name="TextBox 95"/>
          <p:cNvSpPr txBox="1"/>
          <p:nvPr/>
        </p:nvSpPr>
        <p:spPr>
          <a:xfrm>
            <a:off x="528150" y="5283842"/>
            <a:ext cx="1328975" cy="690942"/>
          </a:xfrm>
          <a:prstGeom prst="rect">
            <a:avLst/>
          </a:prstGeom>
          <a:noFill/>
        </p:spPr>
        <p:txBody>
          <a:bodyPr wrap="none" lIns="182854" tIns="146283" rIns="182854" bIns="146283" rtlCol="0">
            <a:spAutoFit/>
          </a:bodyPr>
          <a:lstStyle/>
          <a:p>
            <a:pPr algn="ctr" defTabSz="914224">
              <a:lnSpc>
                <a:spcPct val="90000"/>
              </a:lnSpc>
              <a:spcAft>
                <a:spcPts val="600"/>
              </a:spcAft>
              <a:defRPr/>
            </a:pPr>
            <a:r>
              <a:rPr lang="en-US" sz="2800" kern="0">
                <a:gradFill>
                  <a:gsLst>
                    <a:gs pos="2917">
                      <a:schemeClr val="tx1"/>
                    </a:gs>
                    <a:gs pos="30000">
                      <a:schemeClr val="tx1"/>
                    </a:gs>
                  </a:gsLst>
                  <a:lin ang="5400000" scaled="0"/>
                </a:gradFill>
              </a:rPr>
              <a:t>Skype</a:t>
            </a:r>
          </a:p>
        </p:txBody>
      </p:sp>
      <p:sp>
        <p:nvSpPr>
          <p:cNvPr id="97" name="TextBox 96"/>
          <p:cNvSpPr txBox="1"/>
          <p:nvPr/>
        </p:nvSpPr>
        <p:spPr>
          <a:xfrm>
            <a:off x="5009600" y="5365144"/>
            <a:ext cx="1405816" cy="690942"/>
          </a:xfrm>
          <a:prstGeom prst="rect">
            <a:avLst/>
          </a:prstGeom>
          <a:noFill/>
        </p:spPr>
        <p:txBody>
          <a:bodyPr wrap="none" lIns="182854" tIns="146283" rIns="182854" bIns="146283" rtlCol="0">
            <a:spAutoFit/>
          </a:bodyPr>
          <a:lstStyle/>
          <a:p>
            <a:pPr algn="ctr" defTabSz="914224">
              <a:lnSpc>
                <a:spcPct val="90000"/>
              </a:lnSpc>
              <a:spcAft>
                <a:spcPts val="600"/>
              </a:spcAft>
              <a:defRPr/>
            </a:pPr>
            <a:r>
              <a:rPr lang="en-US" sz="2800" kern="0">
                <a:gradFill>
                  <a:gsLst>
                    <a:gs pos="2917">
                      <a:schemeClr val="tx1"/>
                    </a:gs>
                    <a:gs pos="30000">
                      <a:schemeClr val="tx1"/>
                    </a:gs>
                  </a:gsLst>
                  <a:lin ang="5400000" scaled="0"/>
                </a:gradFill>
              </a:rPr>
              <a:t>Intune</a:t>
            </a:r>
          </a:p>
        </p:txBody>
      </p:sp>
      <p:sp>
        <p:nvSpPr>
          <p:cNvPr id="98" name="TextBox 97"/>
          <p:cNvSpPr txBox="1"/>
          <p:nvPr/>
        </p:nvSpPr>
        <p:spPr>
          <a:xfrm>
            <a:off x="7665927" y="5404528"/>
            <a:ext cx="1924084" cy="690942"/>
          </a:xfrm>
          <a:prstGeom prst="rect">
            <a:avLst/>
          </a:prstGeom>
          <a:noFill/>
        </p:spPr>
        <p:txBody>
          <a:bodyPr wrap="none" lIns="182854" tIns="146283" rIns="182854" bIns="146283" rtlCol="0">
            <a:spAutoFit/>
          </a:bodyPr>
          <a:lstStyle/>
          <a:p>
            <a:pPr algn="ctr" defTabSz="914224">
              <a:lnSpc>
                <a:spcPct val="90000"/>
              </a:lnSpc>
              <a:spcAft>
                <a:spcPts val="600"/>
              </a:spcAft>
              <a:defRPr/>
            </a:pPr>
            <a:r>
              <a:rPr lang="en-US" sz="2800" kern="0">
                <a:gradFill>
                  <a:gsLst>
                    <a:gs pos="2917">
                      <a:schemeClr val="tx1"/>
                    </a:gs>
                    <a:gs pos="30000">
                      <a:schemeClr val="tx1"/>
                    </a:gs>
                  </a:gsLst>
                  <a:lin ang="5400000" scaled="0"/>
                </a:gradFill>
              </a:rPr>
              <a:t>Dynamics</a:t>
            </a:r>
          </a:p>
        </p:txBody>
      </p:sp>
      <p:sp>
        <p:nvSpPr>
          <p:cNvPr id="99" name="TextBox 98"/>
          <p:cNvSpPr txBox="1"/>
          <p:nvPr/>
        </p:nvSpPr>
        <p:spPr>
          <a:xfrm>
            <a:off x="6767248" y="6087694"/>
            <a:ext cx="5546125" cy="634440"/>
          </a:xfrm>
          <a:prstGeom prst="rect">
            <a:avLst/>
          </a:prstGeom>
          <a:solidFill>
            <a:schemeClr val="accent6">
              <a:lumMod val="40000"/>
              <a:lumOff val="60000"/>
            </a:schemeClr>
          </a:solidFill>
        </p:spPr>
        <p:txBody>
          <a:bodyPr wrap="square" lIns="182854" tIns="146283" rIns="182854" bIns="146283" rtlCol="0">
            <a:spAutoFit/>
          </a:bodyPr>
          <a:lstStyle/>
          <a:p>
            <a:pPr defTabSz="914224">
              <a:lnSpc>
                <a:spcPct val="90000"/>
              </a:lnSpc>
              <a:spcAft>
                <a:spcPts val="600"/>
              </a:spcAft>
              <a:defRPr/>
            </a:pPr>
            <a:r>
              <a:rPr lang="en-US" sz="2400" kern="0" dirty="0">
                <a:gradFill>
                  <a:gsLst>
                    <a:gs pos="2917">
                      <a:schemeClr val="tx1"/>
                    </a:gs>
                    <a:gs pos="30000">
                      <a:schemeClr val="tx1"/>
                    </a:gs>
                  </a:gsLst>
                  <a:lin ang="5400000" scaled="0"/>
                </a:gradFill>
              </a:rPr>
              <a:t>30% of Azure cores run Service Fabric</a:t>
            </a:r>
          </a:p>
        </p:txBody>
      </p:sp>
      <p:sp>
        <p:nvSpPr>
          <p:cNvPr id="100" name="TextBox 99"/>
          <p:cNvSpPr txBox="1"/>
          <p:nvPr/>
        </p:nvSpPr>
        <p:spPr>
          <a:xfrm>
            <a:off x="201071" y="6098006"/>
            <a:ext cx="6474301" cy="627822"/>
          </a:xfrm>
          <a:prstGeom prst="rect">
            <a:avLst/>
          </a:prstGeom>
          <a:solidFill>
            <a:schemeClr val="accent6">
              <a:lumMod val="40000"/>
              <a:lumOff val="60000"/>
            </a:schemeClr>
          </a:solidFill>
        </p:spPr>
        <p:txBody>
          <a:bodyPr wrap="square" lIns="182854" tIns="146283" rIns="182854" bIns="146283" rtlCol="0">
            <a:spAutoFit/>
          </a:bodyPr>
          <a:lstStyle/>
          <a:p>
            <a:pPr defTabSz="914224">
              <a:lnSpc>
                <a:spcPct val="90000"/>
              </a:lnSpc>
              <a:spcAft>
                <a:spcPts val="600"/>
              </a:spcAft>
              <a:defRPr/>
            </a:pPr>
            <a:r>
              <a:rPr lang="en-US" sz="2400" kern="0" dirty="0">
                <a:gradFill>
                  <a:gsLst>
                    <a:gs pos="2917">
                      <a:schemeClr val="tx1"/>
                    </a:gs>
                    <a:gs pos="30000">
                      <a:schemeClr val="tx1"/>
                    </a:gs>
                  </a:gsLst>
                  <a:lin ang="5400000" scaled="0"/>
                </a:gradFill>
              </a:rPr>
              <a:t>Designed for mission critical tier 1 workloads</a:t>
            </a:r>
          </a:p>
        </p:txBody>
      </p:sp>
      <p:sp>
        <p:nvSpPr>
          <p:cNvPr id="101" name="TextBox 100"/>
          <p:cNvSpPr txBox="1"/>
          <p:nvPr/>
        </p:nvSpPr>
        <p:spPr>
          <a:xfrm>
            <a:off x="656427" y="3292027"/>
            <a:ext cx="10936889" cy="747314"/>
          </a:xfrm>
          <a:prstGeom prst="rect">
            <a:avLst/>
          </a:prstGeom>
          <a:solidFill>
            <a:srgbClr val="92D050"/>
          </a:solidFill>
        </p:spPr>
        <p:txBody>
          <a:bodyPr wrap="square" lIns="182854" tIns="146283" rIns="182854" bIns="146283" rtlCol="0">
            <a:spAutoFit/>
          </a:bodyPr>
          <a:lstStyle/>
          <a:p>
            <a:pPr algn="ctr" defTabSz="914224">
              <a:lnSpc>
                <a:spcPct val="90000"/>
              </a:lnSpc>
              <a:spcAft>
                <a:spcPts val="600"/>
              </a:spcAft>
              <a:defRPr/>
            </a:pPr>
            <a:r>
              <a:rPr lang="en-US" sz="3199" kern="0" dirty="0">
                <a:gradFill>
                  <a:gsLst>
                    <a:gs pos="2917">
                      <a:schemeClr val="tx1"/>
                    </a:gs>
                    <a:gs pos="30000">
                      <a:schemeClr val="tx1"/>
                    </a:gs>
                  </a:gsLst>
                  <a:lin ang="5400000" scaled="0"/>
                </a:gradFill>
              </a:rPr>
              <a:t>Microsoft runs its business on Service Fabric</a:t>
            </a:r>
          </a:p>
        </p:txBody>
      </p:sp>
    </p:spTree>
    <p:extLst>
      <p:ext uri="{BB962C8B-B14F-4D97-AF65-F5344CB8AC3E}">
        <p14:creationId xmlns:p14="http://schemas.microsoft.com/office/powerpoint/2010/main" val="203463418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00"/>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99"/>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0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9" grpId="0" animBg="1"/>
      <p:bldP spid="100" grpId="0" animBg="1"/>
      <p:bldP spid="101" grpId="0" animBg="1"/>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275546" y="2674427"/>
            <a:ext cx="10529125" cy="1828527"/>
          </a:xfrm>
        </p:spPr>
        <p:txBody>
          <a:bodyPr/>
          <a:lstStyle/>
          <a:p>
            <a:r>
              <a:rPr lang="en-US" dirty="0"/>
              <a:t>Running </a:t>
            </a:r>
            <a:r>
              <a:rPr lang="en-US" dirty="0" err="1"/>
              <a:t>Microservices</a:t>
            </a:r>
            <a:r>
              <a:rPr lang="en-US" dirty="0"/>
              <a:t> at Scale</a:t>
            </a:r>
          </a:p>
        </p:txBody>
      </p:sp>
    </p:spTree>
    <p:extLst>
      <p:ext uri="{BB962C8B-B14F-4D97-AF65-F5344CB8AC3E}">
        <p14:creationId xmlns:p14="http://schemas.microsoft.com/office/powerpoint/2010/main" val="392877994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ounded Rectangle 5"/>
          <p:cNvSpPr/>
          <p:nvPr/>
        </p:nvSpPr>
        <p:spPr>
          <a:xfrm>
            <a:off x="8232329" y="3815872"/>
            <a:ext cx="1532215" cy="2907286"/>
          </a:xfrm>
          <a:prstGeom prst="roundRect">
            <a:avLst/>
          </a:prstGeom>
          <a:solidFill>
            <a:schemeClr val="bg1">
              <a:lumMod val="60000"/>
              <a:lumOff val="40000"/>
            </a:schemeClr>
          </a:solidFill>
          <a:ln w="9525" cap="flat" cmpd="sng" algn="ctr">
            <a:noFill/>
            <a:prstDash val="solid"/>
          </a:ln>
          <a:effectLst>
            <a:outerShdw blurRad="38100" dist="25400" dir="5400000" rotWithShape="0">
              <a:srgbClr val="000000">
                <a:alpha val="40000"/>
              </a:srgbClr>
            </a:outerShdw>
          </a:effectLst>
        </p:spPr>
        <p:txBody>
          <a:bodyPr rtlCol="0" anchor="t"/>
          <a:lstStyle/>
          <a:p>
            <a:pPr algn="ctr" defTabSz="1243254">
              <a:defRPr/>
            </a:pPr>
            <a:r>
              <a:rPr lang="en-US" sz="2000" kern="0" dirty="0">
                <a:solidFill>
                  <a:srgbClr val="FFFFFF"/>
                </a:solidFill>
                <a:latin typeface="Segoe UI Light"/>
              </a:rPr>
              <a:t>Node 5</a:t>
            </a:r>
          </a:p>
        </p:txBody>
      </p:sp>
      <p:sp>
        <p:nvSpPr>
          <p:cNvPr id="7" name="Rounded Rectangle 6"/>
          <p:cNvSpPr/>
          <p:nvPr/>
        </p:nvSpPr>
        <p:spPr>
          <a:xfrm>
            <a:off x="6371902" y="3815872"/>
            <a:ext cx="1532215" cy="2907286"/>
          </a:xfrm>
          <a:prstGeom prst="roundRect">
            <a:avLst/>
          </a:prstGeom>
          <a:solidFill>
            <a:schemeClr val="bg1">
              <a:lumMod val="60000"/>
              <a:lumOff val="40000"/>
            </a:schemeClr>
          </a:solidFill>
          <a:ln w="9525" cap="flat" cmpd="sng" algn="ctr">
            <a:noFill/>
            <a:prstDash val="solid"/>
          </a:ln>
          <a:effectLst>
            <a:outerShdw blurRad="38100" dist="25400" dir="5400000" rotWithShape="0">
              <a:srgbClr val="000000">
                <a:alpha val="40000"/>
              </a:srgbClr>
            </a:outerShdw>
          </a:effectLst>
        </p:spPr>
        <p:txBody>
          <a:bodyPr rtlCol="0" anchor="t"/>
          <a:lstStyle/>
          <a:p>
            <a:pPr algn="ctr" defTabSz="1243254">
              <a:defRPr/>
            </a:pPr>
            <a:r>
              <a:rPr lang="en-US" sz="2000" kern="0" dirty="0">
                <a:solidFill>
                  <a:srgbClr val="FFFFFF"/>
                </a:solidFill>
                <a:latin typeface="Segoe UI Light"/>
              </a:rPr>
              <a:t>Node 4</a:t>
            </a:r>
          </a:p>
        </p:txBody>
      </p:sp>
      <p:sp>
        <p:nvSpPr>
          <p:cNvPr id="8" name="Rounded Rectangle 7"/>
          <p:cNvSpPr/>
          <p:nvPr/>
        </p:nvSpPr>
        <p:spPr>
          <a:xfrm>
            <a:off x="4511477" y="3815872"/>
            <a:ext cx="1532215" cy="2907286"/>
          </a:xfrm>
          <a:prstGeom prst="roundRect">
            <a:avLst/>
          </a:prstGeom>
          <a:solidFill>
            <a:schemeClr val="bg1">
              <a:lumMod val="60000"/>
              <a:lumOff val="40000"/>
            </a:schemeClr>
          </a:solidFill>
          <a:ln w="9525" cap="flat" cmpd="sng" algn="ctr">
            <a:noFill/>
            <a:prstDash val="solid"/>
          </a:ln>
          <a:effectLst>
            <a:outerShdw blurRad="38100" dist="25400" dir="5400000" rotWithShape="0">
              <a:srgbClr val="000000">
                <a:alpha val="40000"/>
              </a:srgbClr>
            </a:outerShdw>
          </a:effectLst>
        </p:spPr>
        <p:txBody>
          <a:bodyPr rtlCol="0" anchor="t"/>
          <a:lstStyle/>
          <a:p>
            <a:pPr algn="ctr" defTabSz="1243254">
              <a:defRPr/>
            </a:pPr>
            <a:r>
              <a:rPr lang="en-US" sz="2000" kern="0" dirty="0">
                <a:solidFill>
                  <a:srgbClr val="FFFFFF"/>
                </a:solidFill>
                <a:latin typeface="Segoe UI Light"/>
              </a:rPr>
              <a:t>Node 3</a:t>
            </a:r>
          </a:p>
        </p:txBody>
      </p:sp>
      <p:sp>
        <p:nvSpPr>
          <p:cNvPr id="9" name="Rounded Rectangle 8"/>
          <p:cNvSpPr/>
          <p:nvPr/>
        </p:nvSpPr>
        <p:spPr>
          <a:xfrm>
            <a:off x="10092756" y="3815872"/>
            <a:ext cx="1532215" cy="2907286"/>
          </a:xfrm>
          <a:prstGeom prst="roundRect">
            <a:avLst/>
          </a:prstGeom>
          <a:solidFill>
            <a:schemeClr val="bg1">
              <a:lumMod val="60000"/>
              <a:lumOff val="40000"/>
            </a:schemeClr>
          </a:solidFill>
          <a:ln w="9525" cap="flat" cmpd="sng" algn="ctr">
            <a:noFill/>
            <a:prstDash val="solid"/>
          </a:ln>
          <a:effectLst>
            <a:outerShdw blurRad="38100" dist="25400" dir="5400000" rotWithShape="0">
              <a:srgbClr val="000000">
                <a:alpha val="40000"/>
              </a:srgbClr>
            </a:outerShdw>
          </a:effectLst>
        </p:spPr>
        <p:txBody>
          <a:bodyPr rtlCol="0" anchor="t"/>
          <a:lstStyle/>
          <a:p>
            <a:pPr algn="ctr" defTabSz="1243254">
              <a:defRPr/>
            </a:pPr>
            <a:r>
              <a:rPr lang="en-US" sz="2000" kern="0" dirty="0">
                <a:solidFill>
                  <a:srgbClr val="FFFFFF"/>
                </a:solidFill>
                <a:latin typeface="Segoe UI Light"/>
              </a:rPr>
              <a:t>Node 6</a:t>
            </a:r>
          </a:p>
        </p:txBody>
      </p:sp>
      <p:sp>
        <p:nvSpPr>
          <p:cNvPr id="10" name="Rounded Rectangle 9"/>
          <p:cNvSpPr/>
          <p:nvPr/>
        </p:nvSpPr>
        <p:spPr>
          <a:xfrm>
            <a:off x="2651049" y="3815872"/>
            <a:ext cx="1532215" cy="2907286"/>
          </a:xfrm>
          <a:prstGeom prst="roundRect">
            <a:avLst/>
          </a:prstGeom>
          <a:solidFill>
            <a:schemeClr val="bg1">
              <a:lumMod val="60000"/>
              <a:lumOff val="40000"/>
            </a:schemeClr>
          </a:solidFill>
          <a:ln w="9525" cap="flat" cmpd="sng" algn="ctr">
            <a:noFill/>
            <a:prstDash val="solid"/>
          </a:ln>
          <a:effectLst>
            <a:outerShdw blurRad="38100" dist="25400" dir="5400000" rotWithShape="0">
              <a:srgbClr val="000000">
                <a:alpha val="40000"/>
              </a:srgbClr>
            </a:outerShdw>
          </a:effectLst>
        </p:spPr>
        <p:txBody>
          <a:bodyPr rtlCol="0" anchor="t"/>
          <a:lstStyle/>
          <a:p>
            <a:pPr algn="ctr" defTabSz="1243254">
              <a:defRPr/>
            </a:pPr>
            <a:r>
              <a:rPr lang="en-US" sz="2000" kern="0" dirty="0">
                <a:solidFill>
                  <a:srgbClr val="FFFFFF"/>
                </a:solidFill>
                <a:latin typeface="Segoe UI Light"/>
              </a:rPr>
              <a:t>Node 2</a:t>
            </a:r>
          </a:p>
        </p:txBody>
      </p:sp>
      <p:sp>
        <p:nvSpPr>
          <p:cNvPr id="11" name="Rounded Rectangle 10"/>
          <p:cNvSpPr/>
          <p:nvPr/>
        </p:nvSpPr>
        <p:spPr>
          <a:xfrm>
            <a:off x="764532" y="3802019"/>
            <a:ext cx="1532215" cy="2907286"/>
          </a:xfrm>
          <a:prstGeom prst="roundRect">
            <a:avLst/>
          </a:prstGeom>
          <a:solidFill>
            <a:schemeClr val="bg1">
              <a:lumMod val="60000"/>
              <a:lumOff val="40000"/>
            </a:schemeClr>
          </a:solidFill>
          <a:ln w="9525" cap="flat" cmpd="sng" algn="ctr">
            <a:noFill/>
            <a:prstDash val="solid"/>
          </a:ln>
          <a:effectLst>
            <a:outerShdw blurRad="38100" dist="25400" dir="5400000" rotWithShape="0">
              <a:srgbClr val="000000">
                <a:alpha val="40000"/>
              </a:srgbClr>
            </a:outerShdw>
          </a:effectLst>
        </p:spPr>
        <p:txBody>
          <a:bodyPr rtlCol="0" anchor="t"/>
          <a:lstStyle/>
          <a:p>
            <a:pPr algn="ctr" defTabSz="1243254">
              <a:defRPr/>
            </a:pPr>
            <a:r>
              <a:rPr lang="en-US" sz="2000" kern="0" dirty="0">
                <a:solidFill>
                  <a:srgbClr val="FFFFFF"/>
                </a:solidFill>
                <a:latin typeface="Segoe UI Light"/>
              </a:rPr>
              <a:t>Node 1</a:t>
            </a:r>
          </a:p>
        </p:txBody>
      </p:sp>
      <p:sp>
        <p:nvSpPr>
          <p:cNvPr id="12" name="Title 158"/>
          <p:cNvSpPr>
            <a:spLocks noGrp="1"/>
          </p:cNvSpPr>
          <p:nvPr>
            <p:ph type="title"/>
          </p:nvPr>
        </p:nvSpPr>
        <p:spPr>
          <a:xfrm>
            <a:off x="275482" y="295731"/>
            <a:ext cx="11887878" cy="917444"/>
          </a:xfrm>
        </p:spPr>
        <p:txBody>
          <a:bodyPr/>
          <a:lstStyle/>
          <a:p>
            <a:r>
              <a:rPr lang="en-US" dirty="0"/>
              <a:t>Service partitioning</a:t>
            </a:r>
          </a:p>
        </p:txBody>
      </p:sp>
      <p:sp>
        <p:nvSpPr>
          <p:cNvPr id="13" name="Rectangle 12"/>
          <p:cNvSpPr/>
          <p:nvPr/>
        </p:nvSpPr>
        <p:spPr>
          <a:xfrm>
            <a:off x="2845738" y="4545201"/>
            <a:ext cx="1142838" cy="320335"/>
          </a:xfrm>
          <a:prstGeom prst="rect">
            <a:avLst/>
          </a:prstGeom>
          <a:ln>
            <a:solidFill>
              <a:schemeClr val="tx1"/>
            </a:solidFill>
          </a:ln>
        </p:spPr>
        <p:style>
          <a:lnRef idx="1">
            <a:schemeClr val="accent3"/>
          </a:lnRef>
          <a:fillRef idx="3">
            <a:schemeClr val="accent3"/>
          </a:fillRef>
          <a:effectRef idx="2">
            <a:schemeClr val="accent3"/>
          </a:effectRef>
          <a:fontRef idx="minor">
            <a:schemeClr val="lt1"/>
          </a:fontRef>
        </p:style>
        <p:txBody>
          <a:bodyPr rtlCol="0" anchor="ctr"/>
          <a:lstStyle/>
          <a:p>
            <a:pPr algn="ctr" defTabSz="1243254">
              <a:defRPr/>
            </a:pPr>
            <a:r>
              <a:rPr lang="en-US" sz="2448" kern="0" dirty="0">
                <a:solidFill>
                  <a:sysClr val="window" lastClr="FFFFFF"/>
                </a:solidFill>
                <a:latin typeface="Segoe UI Light"/>
              </a:rPr>
              <a:t>P2</a:t>
            </a:r>
          </a:p>
        </p:txBody>
      </p:sp>
      <p:sp>
        <p:nvSpPr>
          <p:cNvPr id="14" name="Rectangle 13"/>
          <p:cNvSpPr/>
          <p:nvPr/>
        </p:nvSpPr>
        <p:spPr>
          <a:xfrm>
            <a:off x="4705401" y="5460842"/>
            <a:ext cx="1142838" cy="320335"/>
          </a:xfrm>
          <a:prstGeom prst="rect">
            <a:avLst/>
          </a:prstGeom>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defTabSz="1243254">
              <a:defRPr/>
            </a:pPr>
            <a:r>
              <a:rPr lang="en-US" sz="2448" kern="0" dirty="0">
                <a:solidFill>
                  <a:sysClr val="window" lastClr="FFFFFF"/>
                </a:solidFill>
                <a:latin typeface="Segoe UI Light"/>
              </a:rPr>
              <a:t>S</a:t>
            </a:r>
          </a:p>
        </p:txBody>
      </p:sp>
      <p:sp>
        <p:nvSpPr>
          <p:cNvPr id="15" name="Rectangle 14"/>
          <p:cNvSpPr/>
          <p:nvPr/>
        </p:nvSpPr>
        <p:spPr>
          <a:xfrm>
            <a:off x="6536029" y="4549121"/>
            <a:ext cx="1142838" cy="320335"/>
          </a:xfrm>
          <a:prstGeom prst="rect">
            <a:avLst/>
          </a:prstGeom>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43254">
              <a:defRPr/>
            </a:pPr>
            <a:r>
              <a:rPr lang="en-US" sz="2448" kern="0" dirty="0">
                <a:solidFill>
                  <a:sysClr val="window" lastClr="FFFFFF"/>
                </a:solidFill>
                <a:latin typeface="Segoe UI Light"/>
              </a:rPr>
              <a:t>S</a:t>
            </a:r>
          </a:p>
        </p:txBody>
      </p:sp>
      <p:sp>
        <p:nvSpPr>
          <p:cNvPr id="16" name="Rectangle 15"/>
          <p:cNvSpPr/>
          <p:nvPr/>
        </p:nvSpPr>
        <p:spPr>
          <a:xfrm>
            <a:off x="2832694" y="5007223"/>
            <a:ext cx="1142838" cy="320335"/>
          </a:xfrm>
          <a:prstGeom prst="rect">
            <a:avLst/>
          </a:prstGeom>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defTabSz="1243254">
              <a:defRPr/>
            </a:pPr>
            <a:r>
              <a:rPr lang="en-US" sz="2448" kern="0" dirty="0">
                <a:solidFill>
                  <a:sysClr val="window" lastClr="FFFFFF"/>
                </a:solidFill>
                <a:latin typeface="Segoe UI Light"/>
              </a:rPr>
              <a:t>S</a:t>
            </a:r>
          </a:p>
        </p:txBody>
      </p:sp>
      <p:sp>
        <p:nvSpPr>
          <p:cNvPr id="17" name="Rectangle 16"/>
          <p:cNvSpPr/>
          <p:nvPr/>
        </p:nvSpPr>
        <p:spPr>
          <a:xfrm>
            <a:off x="970301" y="5460842"/>
            <a:ext cx="1142838" cy="320335"/>
          </a:xfrm>
          <a:prstGeom prst="rect">
            <a:avLst/>
          </a:prstGeom>
          <a:ln>
            <a:solidFill>
              <a:schemeClr val="tx1"/>
            </a:solid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defTabSz="1243254">
              <a:defRPr/>
            </a:pPr>
            <a:r>
              <a:rPr lang="en-US" sz="2448" kern="0" dirty="0">
                <a:solidFill>
                  <a:sysClr val="windowText" lastClr="000000"/>
                </a:solidFill>
                <a:latin typeface="Segoe UI Light"/>
              </a:rPr>
              <a:t>P4</a:t>
            </a:r>
          </a:p>
        </p:txBody>
      </p:sp>
      <p:sp>
        <p:nvSpPr>
          <p:cNvPr id="18" name="Rectangle 17"/>
          <p:cNvSpPr/>
          <p:nvPr/>
        </p:nvSpPr>
        <p:spPr>
          <a:xfrm>
            <a:off x="4702932" y="5007223"/>
            <a:ext cx="1142838" cy="320335"/>
          </a:xfrm>
          <a:prstGeom prst="rect">
            <a:avLst/>
          </a:prstGeom>
          <a:ln/>
        </p:spPr>
        <p:style>
          <a:lnRef idx="1">
            <a:schemeClr val="accent3"/>
          </a:lnRef>
          <a:fillRef idx="3">
            <a:schemeClr val="accent3"/>
          </a:fillRef>
          <a:effectRef idx="2">
            <a:schemeClr val="accent3"/>
          </a:effectRef>
          <a:fontRef idx="minor">
            <a:schemeClr val="lt1"/>
          </a:fontRef>
        </p:style>
        <p:txBody>
          <a:bodyPr rtlCol="0" anchor="ctr"/>
          <a:lstStyle/>
          <a:p>
            <a:pPr algn="ctr" defTabSz="1243254">
              <a:defRPr/>
            </a:pPr>
            <a:r>
              <a:rPr lang="en-US" sz="2448" kern="0" dirty="0">
                <a:solidFill>
                  <a:sysClr val="window" lastClr="FFFFFF"/>
                </a:solidFill>
                <a:latin typeface="Segoe UI Light"/>
              </a:rPr>
              <a:t>S</a:t>
            </a:r>
          </a:p>
        </p:txBody>
      </p:sp>
      <p:sp>
        <p:nvSpPr>
          <p:cNvPr id="19" name="Rectangle 18"/>
          <p:cNvSpPr/>
          <p:nvPr/>
        </p:nvSpPr>
        <p:spPr>
          <a:xfrm>
            <a:off x="4702932" y="4553606"/>
            <a:ext cx="1142838" cy="320335"/>
          </a:xfrm>
          <a:prstGeom prst="rect">
            <a:avLst/>
          </a:prstGeom>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43254">
              <a:defRPr/>
            </a:pPr>
            <a:r>
              <a:rPr lang="en-US" sz="2448" kern="0" dirty="0">
                <a:solidFill>
                  <a:sysClr val="window" lastClr="FFFFFF"/>
                </a:solidFill>
                <a:latin typeface="Segoe UI Light"/>
              </a:rPr>
              <a:t>P1</a:t>
            </a:r>
          </a:p>
        </p:txBody>
      </p:sp>
      <p:sp>
        <p:nvSpPr>
          <p:cNvPr id="20" name="Rectangle 19"/>
          <p:cNvSpPr/>
          <p:nvPr/>
        </p:nvSpPr>
        <p:spPr>
          <a:xfrm>
            <a:off x="2845738" y="5458052"/>
            <a:ext cx="1142838" cy="320335"/>
          </a:xfrm>
          <a:prstGeom prst="rect">
            <a:avLst/>
          </a:prstGeom>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defTabSz="1243254">
              <a:defRPr/>
            </a:pPr>
            <a:r>
              <a:rPr lang="en-US" sz="2448" kern="0" dirty="0">
                <a:solidFill>
                  <a:sysClr val="windowText" lastClr="000000"/>
                </a:solidFill>
                <a:latin typeface="Segoe UI Light"/>
              </a:rPr>
              <a:t>S</a:t>
            </a:r>
          </a:p>
        </p:txBody>
      </p:sp>
      <p:sp>
        <p:nvSpPr>
          <p:cNvPr id="21" name="Rectangle 20"/>
          <p:cNvSpPr/>
          <p:nvPr/>
        </p:nvSpPr>
        <p:spPr>
          <a:xfrm>
            <a:off x="6536029" y="5007223"/>
            <a:ext cx="1142838" cy="320335"/>
          </a:xfrm>
          <a:prstGeom prst="rect">
            <a:avLst/>
          </a:prstGeom>
          <a:ln>
            <a:solidFill>
              <a:schemeClr val="tx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defTabSz="1243254">
              <a:defRPr/>
            </a:pPr>
            <a:r>
              <a:rPr lang="en-US" sz="2448" kern="0" dirty="0">
                <a:solidFill>
                  <a:sysClr val="window" lastClr="FFFFFF"/>
                </a:solidFill>
                <a:latin typeface="Segoe UI Light"/>
              </a:rPr>
              <a:t>P3</a:t>
            </a:r>
          </a:p>
        </p:txBody>
      </p:sp>
      <p:sp>
        <p:nvSpPr>
          <p:cNvPr id="22" name="Rectangle 21"/>
          <p:cNvSpPr/>
          <p:nvPr/>
        </p:nvSpPr>
        <p:spPr>
          <a:xfrm>
            <a:off x="970301" y="5007223"/>
            <a:ext cx="1142838" cy="320335"/>
          </a:xfrm>
          <a:prstGeom prst="rect">
            <a:avLst/>
          </a:prstGeom>
          <a:ln/>
        </p:spPr>
        <p:style>
          <a:lnRef idx="1">
            <a:schemeClr val="accent3"/>
          </a:lnRef>
          <a:fillRef idx="3">
            <a:schemeClr val="accent3"/>
          </a:fillRef>
          <a:effectRef idx="2">
            <a:schemeClr val="accent3"/>
          </a:effectRef>
          <a:fontRef idx="minor">
            <a:schemeClr val="lt1"/>
          </a:fontRef>
        </p:style>
        <p:txBody>
          <a:bodyPr rtlCol="0" anchor="ctr"/>
          <a:lstStyle/>
          <a:p>
            <a:pPr algn="ctr" defTabSz="1243254">
              <a:defRPr/>
            </a:pPr>
            <a:r>
              <a:rPr lang="en-US" sz="2448" kern="0" dirty="0">
                <a:solidFill>
                  <a:sysClr val="window" lastClr="FFFFFF"/>
                </a:solidFill>
                <a:latin typeface="Segoe UI Light"/>
              </a:rPr>
              <a:t>S</a:t>
            </a:r>
          </a:p>
        </p:txBody>
      </p:sp>
      <p:sp>
        <p:nvSpPr>
          <p:cNvPr id="23" name="Rectangle 22"/>
          <p:cNvSpPr/>
          <p:nvPr/>
        </p:nvSpPr>
        <p:spPr>
          <a:xfrm>
            <a:off x="6522511" y="5442537"/>
            <a:ext cx="1142838" cy="320335"/>
          </a:xfrm>
          <a:prstGeom prst="rect">
            <a:avLst/>
          </a:prstGeom>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defTabSz="1243254">
              <a:defRPr/>
            </a:pPr>
            <a:r>
              <a:rPr lang="en-US" sz="2448" kern="0" dirty="0">
                <a:solidFill>
                  <a:sysClr val="windowText" lastClr="000000"/>
                </a:solidFill>
                <a:latin typeface="Segoe UI Light"/>
              </a:rPr>
              <a:t>S</a:t>
            </a:r>
          </a:p>
        </p:txBody>
      </p:sp>
      <p:sp>
        <p:nvSpPr>
          <p:cNvPr id="24" name="Rectangle 23"/>
          <p:cNvSpPr/>
          <p:nvPr/>
        </p:nvSpPr>
        <p:spPr>
          <a:xfrm>
            <a:off x="958489" y="4545202"/>
            <a:ext cx="1144304" cy="328740"/>
          </a:xfrm>
          <a:prstGeom prst="rect">
            <a:avLst/>
          </a:prstGeom>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43254">
              <a:defRPr/>
            </a:pPr>
            <a:r>
              <a:rPr lang="en-US" sz="2448" kern="0" dirty="0">
                <a:solidFill>
                  <a:sysClr val="window" lastClr="FFFFFF"/>
                </a:solidFill>
                <a:latin typeface="Segoe UI Light"/>
              </a:rPr>
              <a:t>S</a:t>
            </a:r>
          </a:p>
        </p:txBody>
      </p:sp>
      <p:sp>
        <p:nvSpPr>
          <p:cNvPr id="25" name="Text Placeholder 1"/>
          <p:cNvSpPr txBox="1">
            <a:spLocks/>
          </p:cNvSpPr>
          <p:nvPr/>
        </p:nvSpPr>
        <p:spPr>
          <a:xfrm>
            <a:off x="308453" y="1320441"/>
            <a:ext cx="12236301" cy="1861737"/>
          </a:xfrm>
          <a:prstGeom prst="rect">
            <a:avLst/>
          </a:prstGeom>
        </p:spPr>
        <p:txBody>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2834" indent="-342834" defTabSz="932563" fontAlgn="ctr">
              <a:defRPr/>
            </a:pPr>
            <a:r>
              <a:rPr lang="en-US" sz="3199" dirty="0">
                <a:solidFill>
                  <a:schemeClr val="tx1"/>
                </a:solidFill>
              </a:rPr>
              <a:t>Services can be partitioned for scale-out.</a:t>
            </a:r>
          </a:p>
          <a:p>
            <a:pPr marL="342834" indent="-342834" defTabSz="932563" fontAlgn="ctr">
              <a:defRPr/>
            </a:pPr>
            <a:r>
              <a:rPr lang="en-US" sz="3199" dirty="0">
                <a:solidFill>
                  <a:schemeClr val="tx1"/>
                </a:solidFill>
              </a:rPr>
              <a:t>You can choose your own partitioning scheme.</a:t>
            </a:r>
          </a:p>
          <a:p>
            <a:pPr marL="342834" indent="-342834" defTabSz="932563" fontAlgn="ctr">
              <a:defRPr/>
            </a:pPr>
            <a:r>
              <a:rPr lang="en-US" sz="3199" dirty="0">
                <a:solidFill>
                  <a:schemeClr val="tx1"/>
                </a:solidFill>
              </a:rPr>
              <a:t>Service partitions are striped across machines in the cluster.</a:t>
            </a:r>
          </a:p>
          <a:p>
            <a:pPr marL="342834" indent="-342834" defTabSz="932563" fontAlgn="ctr">
              <a:defRPr/>
            </a:pPr>
            <a:r>
              <a:rPr lang="en-US" sz="3199" dirty="0">
                <a:solidFill>
                  <a:schemeClr val="tx1"/>
                </a:solidFill>
              </a:rPr>
              <a:t>Replicas automatically scale out &amp; in on cluster changes</a:t>
            </a:r>
          </a:p>
        </p:txBody>
      </p:sp>
    </p:spTree>
    <p:extLst>
      <p:ext uri="{BB962C8B-B14F-4D97-AF65-F5344CB8AC3E}">
        <p14:creationId xmlns:p14="http://schemas.microsoft.com/office/powerpoint/2010/main" val="137130938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fade">
                                      <p:cBhvr>
                                        <p:cTn id="7" dur="500"/>
                                        <p:tgtEl>
                                          <p:spTgt spid="15"/>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9"/>
                                        </p:tgtEl>
                                        <p:attrNameLst>
                                          <p:attrName>style.visibility</p:attrName>
                                        </p:attrNameLst>
                                      </p:cBhvr>
                                      <p:to>
                                        <p:strVal val="visible"/>
                                      </p:to>
                                    </p:set>
                                    <p:animEffect transition="in" filter="fade">
                                      <p:cBhvr>
                                        <p:cTn id="10" dur="500"/>
                                        <p:tgtEl>
                                          <p:spTgt spid="19"/>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24"/>
                                        </p:tgtEl>
                                        <p:attrNameLst>
                                          <p:attrName>style.visibility</p:attrName>
                                        </p:attrNameLst>
                                      </p:cBhvr>
                                      <p:to>
                                        <p:strVal val="visible"/>
                                      </p:to>
                                    </p:set>
                                    <p:animEffect transition="in" filter="fade">
                                      <p:cBhvr>
                                        <p:cTn id="13" dur="500"/>
                                        <p:tgtEl>
                                          <p:spTgt spid="24"/>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grpId="0" nodeType="clickEffect">
                                  <p:stCondLst>
                                    <p:cond delay="0"/>
                                  </p:stCondLst>
                                  <p:childTnLst>
                                    <p:set>
                                      <p:cBhvr>
                                        <p:cTn id="17" dur="1" fill="hold">
                                          <p:stCondLst>
                                            <p:cond delay="0"/>
                                          </p:stCondLst>
                                        </p:cTn>
                                        <p:tgtEl>
                                          <p:spTgt spid="13"/>
                                        </p:tgtEl>
                                        <p:attrNameLst>
                                          <p:attrName>style.visibility</p:attrName>
                                        </p:attrNameLst>
                                      </p:cBhvr>
                                      <p:to>
                                        <p:strVal val="visible"/>
                                      </p:to>
                                    </p:set>
                                    <p:animEffect transition="in" filter="fade">
                                      <p:cBhvr>
                                        <p:cTn id="18" dur="500"/>
                                        <p:tgtEl>
                                          <p:spTgt spid="13"/>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22"/>
                                        </p:tgtEl>
                                        <p:attrNameLst>
                                          <p:attrName>style.visibility</p:attrName>
                                        </p:attrNameLst>
                                      </p:cBhvr>
                                      <p:to>
                                        <p:strVal val="visible"/>
                                      </p:to>
                                    </p:set>
                                    <p:animEffect transition="in" filter="fade">
                                      <p:cBhvr>
                                        <p:cTn id="21" dur="500"/>
                                        <p:tgtEl>
                                          <p:spTgt spid="22"/>
                                        </p:tgtEl>
                                      </p:cBhvr>
                                    </p:animEffect>
                                  </p:childTnLst>
                                </p:cTn>
                              </p:par>
                              <p:par>
                                <p:cTn id="22" presetID="10" presetClass="entr" presetSubtype="0" fill="hold" grpId="1" nodeType="withEffect">
                                  <p:stCondLst>
                                    <p:cond delay="0"/>
                                  </p:stCondLst>
                                  <p:childTnLst>
                                    <p:set>
                                      <p:cBhvr>
                                        <p:cTn id="23" dur="1" fill="hold">
                                          <p:stCondLst>
                                            <p:cond delay="0"/>
                                          </p:stCondLst>
                                        </p:cTn>
                                        <p:tgtEl>
                                          <p:spTgt spid="18"/>
                                        </p:tgtEl>
                                        <p:attrNameLst>
                                          <p:attrName>style.visibility</p:attrName>
                                        </p:attrNameLst>
                                      </p:cBhvr>
                                      <p:to>
                                        <p:strVal val="visible"/>
                                      </p:to>
                                    </p:set>
                                    <p:animEffect transition="in" filter="fade">
                                      <p:cBhvr>
                                        <p:cTn id="24" dur="500"/>
                                        <p:tgtEl>
                                          <p:spTgt spid="18"/>
                                        </p:tgtEl>
                                      </p:cBhvr>
                                    </p:animEffect>
                                  </p:childTnLst>
                                </p:cTn>
                              </p:par>
                            </p:childTnLst>
                          </p:cTn>
                        </p:par>
                        <p:par>
                          <p:cTn id="25" fill="hold">
                            <p:stCondLst>
                              <p:cond delay="500"/>
                            </p:stCondLst>
                            <p:childTnLst>
                              <p:par>
                                <p:cTn id="26" presetID="10" presetClass="entr" presetSubtype="0" fill="hold" grpId="0" nodeType="afterEffect">
                                  <p:stCondLst>
                                    <p:cond delay="0"/>
                                  </p:stCondLst>
                                  <p:childTnLst>
                                    <p:set>
                                      <p:cBhvr>
                                        <p:cTn id="27" dur="1" fill="hold">
                                          <p:stCondLst>
                                            <p:cond delay="0"/>
                                          </p:stCondLst>
                                        </p:cTn>
                                        <p:tgtEl>
                                          <p:spTgt spid="16"/>
                                        </p:tgtEl>
                                        <p:attrNameLst>
                                          <p:attrName>style.visibility</p:attrName>
                                        </p:attrNameLst>
                                      </p:cBhvr>
                                      <p:to>
                                        <p:strVal val="visible"/>
                                      </p:to>
                                    </p:set>
                                    <p:animEffect transition="in" filter="fade">
                                      <p:cBhvr>
                                        <p:cTn id="28" dur="500"/>
                                        <p:tgtEl>
                                          <p:spTgt spid="16"/>
                                        </p:tgtEl>
                                      </p:cBhvr>
                                    </p:animEffect>
                                  </p:childTnLst>
                                </p:cTn>
                              </p:par>
                              <p:par>
                                <p:cTn id="29" presetID="10" presetClass="entr" presetSubtype="0" fill="hold" grpId="1" nodeType="withEffect">
                                  <p:stCondLst>
                                    <p:cond delay="0"/>
                                  </p:stCondLst>
                                  <p:childTnLst>
                                    <p:set>
                                      <p:cBhvr>
                                        <p:cTn id="30" dur="1" fill="hold">
                                          <p:stCondLst>
                                            <p:cond delay="0"/>
                                          </p:stCondLst>
                                        </p:cTn>
                                        <p:tgtEl>
                                          <p:spTgt spid="14"/>
                                        </p:tgtEl>
                                        <p:attrNameLst>
                                          <p:attrName>style.visibility</p:attrName>
                                        </p:attrNameLst>
                                      </p:cBhvr>
                                      <p:to>
                                        <p:strVal val="visible"/>
                                      </p:to>
                                    </p:set>
                                    <p:animEffect transition="in" filter="fade">
                                      <p:cBhvr>
                                        <p:cTn id="31" dur="500"/>
                                        <p:tgtEl>
                                          <p:spTgt spid="14"/>
                                        </p:tgtEl>
                                      </p:cBhvr>
                                    </p:animEffect>
                                  </p:childTnLst>
                                </p:cTn>
                              </p:par>
                              <p:par>
                                <p:cTn id="32" presetID="10" presetClass="entr" presetSubtype="0" fill="hold" grpId="1" nodeType="withEffect">
                                  <p:stCondLst>
                                    <p:cond delay="0"/>
                                  </p:stCondLst>
                                  <p:childTnLst>
                                    <p:set>
                                      <p:cBhvr>
                                        <p:cTn id="33" dur="1" fill="hold">
                                          <p:stCondLst>
                                            <p:cond delay="0"/>
                                          </p:stCondLst>
                                        </p:cTn>
                                        <p:tgtEl>
                                          <p:spTgt spid="21"/>
                                        </p:tgtEl>
                                        <p:attrNameLst>
                                          <p:attrName>style.visibility</p:attrName>
                                        </p:attrNameLst>
                                      </p:cBhvr>
                                      <p:to>
                                        <p:strVal val="visible"/>
                                      </p:to>
                                    </p:set>
                                    <p:animEffect transition="in" filter="fade">
                                      <p:cBhvr>
                                        <p:cTn id="34" dur="500"/>
                                        <p:tgtEl>
                                          <p:spTgt spid="21"/>
                                        </p:tgtEl>
                                      </p:cBhvr>
                                    </p:animEffect>
                                  </p:childTnLst>
                                </p:cTn>
                              </p:par>
                            </p:childTnLst>
                          </p:cTn>
                        </p:par>
                        <p:par>
                          <p:cTn id="35" fill="hold">
                            <p:stCondLst>
                              <p:cond delay="1000"/>
                            </p:stCondLst>
                            <p:childTnLst>
                              <p:par>
                                <p:cTn id="36" presetID="10" presetClass="entr" presetSubtype="0" fill="hold" grpId="1" nodeType="afterEffect">
                                  <p:stCondLst>
                                    <p:cond delay="0"/>
                                  </p:stCondLst>
                                  <p:childTnLst>
                                    <p:set>
                                      <p:cBhvr>
                                        <p:cTn id="37" dur="1" fill="hold">
                                          <p:stCondLst>
                                            <p:cond delay="0"/>
                                          </p:stCondLst>
                                        </p:cTn>
                                        <p:tgtEl>
                                          <p:spTgt spid="20"/>
                                        </p:tgtEl>
                                        <p:attrNameLst>
                                          <p:attrName>style.visibility</p:attrName>
                                        </p:attrNameLst>
                                      </p:cBhvr>
                                      <p:to>
                                        <p:strVal val="visible"/>
                                      </p:to>
                                    </p:set>
                                    <p:animEffect transition="in" filter="fade">
                                      <p:cBhvr>
                                        <p:cTn id="38" dur="500"/>
                                        <p:tgtEl>
                                          <p:spTgt spid="20"/>
                                        </p:tgtEl>
                                      </p:cBhvr>
                                    </p:animEffect>
                                  </p:childTnLst>
                                </p:cTn>
                              </p:par>
                              <p:par>
                                <p:cTn id="39" presetID="10" presetClass="entr" presetSubtype="0" fill="hold" grpId="1" nodeType="withEffect">
                                  <p:stCondLst>
                                    <p:cond delay="0"/>
                                  </p:stCondLst>
                                  <p:childTnLst>
                                    <p:set>
                                      <p:cBhvr>
                                        <p:cTn id="40" dur="1" fill="hold">
                                          <p:stCondLst>
                                            <p:cond delay="0"/>
                                          </p:stCondLst>
                                        </p:cTn>
                                        <p:tgtEl>
                                          <p:spTgt spid="17"/>
                                        </p:tgtEl>
                                        <p:attrNameLst>
                                          <p:attrName>style.visibility</p:attrName>
                                        </p:attrNameLst>
                                      </p:cBhvr>
                                      <p:to>
                                        <p:strVal val="visible"/>
                                      </p:to>
                                    </p:set>
                                    <p:animEffect transition="in" filter="fade">
                                      <p:cBhvr>
                                        <p:cTn id="41" dur="500"/>
                                        <p:tgtEl>
                                          <p:spTgt spid="17"/>
                                        </p:tgtEl>
                                      </p:cBhvr>
                                    </p:animEffect>
                                  </p:childTnLst>
                                </p:cTn>
                              </p:par>
                              <p:par>
                                <p:cTn id="42" presetID="10" presetClass="entr" presetSubtype="0" fill="hold" grpId="1" nodeType="withEffect">
                                  <p:stCondLst>
                                    <p:cond delay="0"/>
                                  </p:stCondLst>
                                  <p:childTnLst>
                                    <p:set>
                                      <p:cBhvr>
                                        <p:cTn id="43" dur="1" fill="hold">
                                          <p:stCondLst>
                                            <p:cond delay="0"/>
                                          </p:stCondLst>
                                        </p:cTn>
                                        <p:tgtEl>
                                          <p:spTgt spid="23"/>
                                        </p:tgtEl>
                                        <p:attrNameLst>
                                          <p:attrName>style.visibility</p:attrName>
                                        </p:attrNameLst>
                                      </p:cBhvr>
                                      <p:to>
                                        <p:strVal val="visible"/>
                                      </p:to>
                                    </p:set>
                                    <p:animEffect transition="in" filter="fade">
                                      <p:cBhvr>
                                        <p:cTn id="44" dur="500"/>
                                        <p:tgtEl>
                                          <p:spTgt spid="23"/>
                                        </p:tgtEl>
                                      </p:cBhvr>
                                    </p:animEffect>
                                  </p:childTnLst>
                                </p:cTn>
                              </p:par>
                            </p:childTnLst>
                          </p:cTn>
                        </p:par>
                      </p:childTnLst>
                    </p:cTn>
                  </p:par>
                  <p:par>
                    <p:cTn id="45" fill="hold">
                      <p:stCondLst>
                        <p:cond delay="indefinite"/>
                      </p:stCondLst>
                      <p:childTnLst>
                        <p:par>
                          <p:cTn id="46" fill="hold">
                            <p:stCondLst>
                              <p:cond delay="0"/>
                            </p:stCondLst>
                            <p:childTnLst>
                              <p:par>
                                <p:cTn id="47" presetID="10" presetClass="entr" presetSubtype="0" fill="hold" grpId="0" nodeType="clickEffect">
                                  <p:stCondLst>
                                    <p:cond delay="0"/>
                                  </p:stCondLst>
                                  <p:childTnLst>
                                    <p:set>
                                      <p:cBhvr>
                                        <p:cTn id="48" dur="1" fill="hold">
                                          <p:stCondLst>
                                            <p:cond delay="0"/>
                                          </p:stCondLst>
                                        </p:cTn>
                                        <p:tgtEl>
                                          <p:spTgt spid="6"/>
                                        </p:tgtEl>
                                        <p:attrNameLst>
                                          <p:attrName>style.visibility</p:attrName>
                                        </p:attrNameLst>
                                      </p:cBhvr>
                                      <p:to>
                                        <p:strVal val="visible"/>
                                      </p:to>
                                    </p:set>
                                    <p:animEffect transition="in" filter="fade">
                                      <p:cBhvr>
                                        <p:cTn id="49" dur="500"/>
                                        <p:tgtEl>
                                          <p:spTgt spid="6"/>
                                        </p:tgtEl>
                                      </p:cBhvr>
                                    </p:animEffect>
                                  </p:childTnLst>
                                </p:cTn>
                              </p:par>
                              <p:par>
                                <p:cTn id="50" presetID="10" presetClass="entr" presetSubtype="0" fill="hold" grpId="0" nodeType="withEffect">
                                  <p:stCondLst>
                                    <p:cond delay="0"/>
                                  </p:stCondLst>
                                  <p:childTnLst>
                                    <p:set>
                                      <p:cBhvr>
                                        <p:cTn id="51" dur="1" fill="hold">
                                          <p:stCondLst>
                                            <p:cond delay="0"/>
                                          </p:stCondLst>
                                        </p:cTn>
                                        <p:tgtEl>
                                          <p:spTgt spid="9"/>
                                        </p:tgtEl>
                                        <p:attrNameLst>
                                          <p:attrName>style.visibility</p:attrName>
                                        </p:attrNameLst>
                                      </p:cBhvr>
                                      <p:to>
                                        <p:strVal val="visible"/>
                                      </p:to>
                                    </p:set>
                                    <p:animEffect transition="in" filter="fade">
                                      <p:cBhvr>
                                        <p:cTn id="52" dur="500"/>
                                        <p:tgtEl>
                                          <p:spTgt spid="9"/>
                                        </p:tgtEl>
                                      </p:cBhvr>
                                    </p:animEffect>
                                  </p:childTnLst>
                                </p:cTn>
                              </p:par>
                            </p:childTnLst>
                          </p:cTn>
                        </p:par>
                        <p:par>
                          <p:cTn id="53" fill="hold">
                            <p:stCondLst>
                              <p:cond delay="500"/>
                            </p:stCondLst>
                            <p:childTnLst>
                              <p:par>
                                <p:cTn id="54" presetID="42" presetClass="path" presetSubtype="0" accel="50000" decel="50000" fill="hold" grpId="0" nodeType="afterEffect">
                                  <p:stCondLst>
                                    <p:cond delay="0"/>
                                  </p:stCondLst>
                                  <p:childTnLst>
                                    <p:animMotion origin="layout" path="M 9.82895E-7 4.67998E-6 L 0.29653 -0.06877 " pathEditMode="relative" rAng="0" ptsTypes="AA">
                                      <p:cBhvr>
                                        <p:cTn id="55" dur="2000" fill="hold"/>
                                        <p:tgtEl>
                                          <p:spTgt spid="18"/>
                                        </p:tgtEl>
                                        <p:attrNameLst>
                                          <p:attrName>ppt_x</p:attrName>
                                          <p:attrName>ppt_y</p:attrName>
                                        </p:attrNameLst>
                                      </p:cBhvr>
                                      <p:rCtr x="14820" y="-3450"/>
                                    </p:animMotion>
                                  </p:childTnLst>
                                </p:cTn>
                              </p:par>
                              <p:par>
                                <p:cTn id="56" presetID="42" presetClass="path" presetSubtype="0" accel="50000" decel="50000" fill="hold" grpId="0" nodeType="withEffect">
                                  <p:stCondLst>
                                    <p:cond delay="0"/>
                                  </p:stCondLst>
                                  <p:childTnLst>
                                    <p:animMotion origin="layout" path="M -4.31453E-6 3.19564E-6 L -0.00026 -0.06491 " pathEditMode="relative" rAng="0" ptsTypes="AA">
                                      <p:cBhvr>
                                        <p:cTn id="57" dur="2000" fill="hold"/>
                                        <p:tgtEl>
                                          <p:spTgt spid="14"/>
                                        </p:tgtEl>
                                        <p:attrNameLst>
                                          <p:attrName>ppt_x</p:attrName>
                                          <p:attrName>ppt_y</p:attrName>
                                        </p:attrNameLst>
                                      </p:cBhvr>
                                      <p:rCtr x="102" y="-2928"/>
                                    </p:animMotion>
                                  </p:childTnLst>
                                </p:cTn>
                              </p:par>
                              <p:par>
                                <p:cTn id="58" presetID="42" presetClass="path" presetSubtype="0" accel="50000" decel="50000" fill="hold" grpId="0" nodeType="withEffect">
                                  <p:stCondLst>
                                    <p:cond delay="0"/>
                                  </p:stCondLst>
                                  <p:childTnLst>
                                    <p:animMotion origin="layout" path="M -3.27802E-6 -0.0025 L 0.30228 0.0009 " pathEditMode="relative" rAng="0" ptsTypes="AA">
                                      <p:cBhvr>
                                        <p:cTn id="59" dur="2000" fill="hold"/>
                                        <p:tgtEl>
                                          <p:spTgt spid="21"/>
                                        </p:tgtEl>
                                        <p:attrNameLst>
                                          <p:attrName>ppt_x</p:attrName>
                                          <p:attrName>ppt_y</p:attrName>
                                        </p:attrNameLst>
                                      </p:cBhvr>
                                      <p:rCtr x="15114" y="159"/>
                                    </p:animMotion>
                                  </p:childTnLst>
                                </p:cTn>
                              </p:par>
                              <p:par>
                                <p:cTn id="60" presetID="42" presetClass="path" presetSubtype="0" accel="50000" decel="50000" fill="hold" grpId="0" nodeType="withEffect">
                                  <p:stCondLst>
                                    <p:cond delay="0"/>
                                  </p:stCondLst>
                                  <p:childTnLst>
                                    <p:animMotion origin="layout" path="M -2.55297E-8 -2.87789E-6 L 0.60033 -0.13322 " pathEditMode="relative" rAng="0" ptsTypes="AA">
                                      <p:cBhvr>
                                        <p:cTn id="61" dur="2000" fill="hold"/>
                                        <p:tgtEl>
                                          <p:spTgt spid="20"/>
                                        </p:tgtEl>
                                        <p:attrNameLst>
                                          <p:attrName>ppt_x</p:attrName>
                                          <p:attrName>ppt_y</p:attrName>
                                        </p:attrNameLst>
                                      </p:cBhvr>
                                      <p:rCtr x="30010" y="-6673"/>
                                    </p:animMotion>
                                  </p:childTnLst>
                                </p:cTn>
                              </p:par>
                              <p:par>
                                <p:cTn id="62" presetID="42" presetClass="path" presetSubtype="0" accel="50000" decel="50000" fill="hold" grpId="0" nodeType="withEffect">
                                  <p:stCondLst>
                                    <p:cond delay="0"/>
                                  </p:stCondLst>
                                  <p:childTnLst>
                                    <p:animMotion origin="layout" path="M -0.0129 0.06105 L 0.59663 -0.06832 " pathEditMode="relative" rAng="0" ptsTypes="AA">
                                      <p:cBhvr>
                                        <p:cTn id="63" dur="2000" fill="hold"/>
                                        <p:tgtEl>
                                          <p:spTgt spid="17"/>
                                        </p:tgtEl>
                                        <p:attrNameLst>
                                          <p:attrName>ppt_x</p:attrName>
                                          <p:attrName>ppt_y</p:attrName>
                                        </p:attrNameLst>
                                      </p:cBhvr>
                                      <p:rCtr x="30470" y="-6468"/>
                                    </p:animMotion>
                                  </p:childTnLst>
                                </p:cTn>
                              </p:par>
                              <p:par>
                                <p:cTn id="64" presetID="42" presetClass="path" presetSubtype="0" accel="50000" decel="50000" fill="hold" grpId="0" nodeType="withEffect">
                                  <p:stCondLst>
                                    <p:cond delay="0"/>
                                  </p:stCondLst>
                                  <p:childTnLst>
                                    <p:animMotion origin="layout" path="M -2.08833E-6 -3.24557E-6 L 0.00103 -0.06468 " pathEditMode="relative" rAng="0" ptsTypes="AA">
                                      <p:cBhvr>
                                        <p:cTn id="65" dur="2000" fill="hold"/>
                                        <p:tgtEl>
                                          <p:spTgt spid="23"/>
                                        </p:tgtEl>
                                        <p:attrNameLst>
                                          <p:attrName>ppt_x</p:attrName>
                                          <p:attrName>ppt_y</p:attrName>
                                        </p:attrNameLst>
                                      </p:cBhvr>
                                      <p:rCtr x="153" y="-2951"/>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9" grpId="0" animBg="1"/>
      <p:bldP spid="13" grpId="0" animBg="1"/>
      <p:bldP spid="14" grpId="0" animBg="1"/>
      <p:bldP spid="14" grpId="1" animBg="1"/>
      <p:bldP spid="15" grpId="0" animBg="1"/>
      <p:bldP spid="16" grpId="0" animBg="1"/>
      <p:bldP spid="17" grpId="0" animBg="1"/>
      <p:bldP spid="17" grpId="1" animBg="1"/>
      <p:bldP spid="18" grpId="0" animBg="1"/>
      <p:bldP spid="18" grpId="1" animBg="1"/>
      <p:bldP spid="19" grpId="0" animBg="1"/>
      <p:bldP spid="20" grpId="0" animBg="1"/>
      <p:bldP spid="20" grpId="1" animBg="1"/>
      <p:bldP spid="21" grpId="0" animBg="1"/>
      <p:bldP spid="21" grpId="1" animBg="1"/>
      <p:bldP spid="22" grpId="0" animBg="1"/>
      <p:bldP spid="23" grpId="0" animBg="1"/>
      <p:bldP spid="23" grpId="1" animBg="1"/>
      <p:bldP spid="24" grpId="0" animBg="1"/>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Scaling Azure SQL Database</a:t>
            </a:r>
          </a:p>
        </p:txBody>
      </p:sp>
    </p:spTree>
    <p:extLst>
      <p:ext uri="{BB962C8B-B14F-4D97-AF65-F5344CB8AC3E}">
        <p14:creationId xmlns:p14="http://schemas.microsoft.com/office/powerpoint/2010/main" val="1896578542"/>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caling Azure SQL Database</a:t>
            </a:r>
          </a:p>
        </p:txBody>
      </p:sp>
      <p:sp>
        <p:nvSpPr>
          <p:cNvPr id="4" name="Content Placeholder 3"/>
          <p:cNvSpPr txBox="1">
            <a:spLocks/>
          </p:cNvSpPr>
          <p:nvPr/>
        </p:nvSpPr>
        <p:spPr>
          <a:xfrm>
            <a:off x="519248" y="1371825"/>
            <a:ext cx="5487830" cy="1645579"/>
          </a:xfrm>
          <a:prstGeom prst="rect">
            <a:avLst/>
          </a:prstGeom>
        </p:spPr>
        <p:txBody>
          <a:bodyPr vert="horz" wrap="square" lIns="0" tIns="0" rIns="0" bIns="0" rtlCol="0">
            <a:norm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3900" dirty="0">
                <a:solidFill>
                  <a:schemeClr val="bg2">
                    <a:lumMod val="10000"/>
                  </a:schemeClr>
                </a:solidFill>
              </a:rPr>
              <a:t>Scale Up (vertical)</a:t>
            </a:r>
          </a:p>
          <a:p>
            <a:r>
              <a:rPr lang="en-US" sz="3200" dirty="0"/>
              <a:t>Add more resources to the database node</a:t>
            </a:r>
          </a:p>
        </p:txBody>
      </p:sp>
      <p:sp>
        <p:nvSpPr>
          <p:cNvPr id="5" name="Content Placeholder 4"/>
          <p:cNvSpPr txBox="1">
            <a:spLocks/>
          </p:cNvSpPr>
          <p:nvPr/>
        </p:nvSpPr>
        <p:spPr>
          <a:xfrm>
            <a:off x="6281201" y="1371825"/>
            <a:ext cx="5739426" cy="1645579"/>
          </a:xfrm>
          <a:prstGeom prst="rect">
            <a:avLst/>
          </a:prstGeom>
        </p:spPr>
        <p:txBody>
          <a:bodyPr>
            <a:normAutofit lnSpcReduction="10000"/>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3900" dirty="0">
                <a:solidFill>
                  <a:schemeClr val="bg2">
                    <a:lumMod val="10000"/>
                  </a:schemeClr>
                </a:solidFill>
              </a:rPr>
              <a:t>Scale Out (horizontal)</a:t>
            </a:r>
            <a:endParaRPr lang="en-US" dirty="0">
              <a:solidFill>
                <a:srgbClr val="C00000"/>
              </a:solidFill>
            </a:endParaRPr>
          </a:p>
          <a:p>
            <a:pPr marL="0" indent="0">
              <a:buFont typeface="Arial" pitchFamily="34" charset="0"/>
              <a:buNone/>
            </a:pPr>
            <a:r>
              <a:rPr lang="en-US" sz="3500" dirty="0"/>
              <a:t>Partition data to host on multiple nodes</a:t>
            </a:r>
            <a:r>
              <a:rPr lang="en-US" dirty="0"/>
              <a:t>.</a:t>
            </a:r>
          </a:p>
        </p:txBody>
      </p:sp>
      <p:sp>
        <p:nvSpPr>
          <p:cNvPr id="6" name="Flowchart: Magnetic Disk 5"/>
          <p:cNvSpPr/>
          <p:nvPr/>
        </p:nvSpPr>
        <p:spPr bwMode="auto">
          <a:xfrm>
            <a:off x="599655" y="5256057"/>
            <a:ext cx="1141676" cy="928238"/>
          </a:xfrm>
          <a:prstGeom prst="flowChartMagneticDisk">
            <a:avLst/>
          </a:prstGeom>
          <a:solidFill>
            <a:srgbClr val="FFC000"/>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r>
              <a:rPr lang="en-US" spc="-50" dirty="0">
                <a:gradFill>
                  <a:gsLst>
                    <a:gs pos="0">
                      <a:srgbClr val="FFFFFF"/>
                    </a:gs>
                    <a:gs pos="100000">
                      <a:srgbClr val="FFFFFF"/>
                    </a:gs>
                  </a:gsLst>
                  <a:lin ang="5400000" scaled="0"/>
                </a:gradFill>
                <a:latin typeface="Segoe UI" pitchFamily="34" charset="0"/>
                <a:ea typeface="Segoe UI" pitchFamily="34" charset="0"/>
                <a:cs typeface="Segoe UI" pitchFamily="34" charset="0"/>
              </a:rPr>
              <a:t>Basic</a:t>
            </a:r>
          </a:p>
        </p:txBody>
      </p:sp>
      <p:sp>
        <p:nvSpPr>
          <p:cNvPr id="7" name="Flowchart: Magnetic Disk 6"/>
          <p:cNvSpPr/>
          <p:nvPr/>
        </p:nvSpPr>
        <p:spPr bwMode="auto">
          <a:xfrm>
            <a:off x="1970555" y="4726710"/>
            <a:ext cx="1476007" cy="1457585"/>
          </a:xfrm>
          <a:prstGeom prst="flowChartMagneticDisk">
            <a:avLst/>
          </a:prstGeom>
          <a:solidFill>
            <a:srgbClr val="92D050"/>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r>
              <a:rPr lang="en-US" spc="-50" dirty="0">
                <a:gradFill>
                  <a:gsLst>
                    <a:gs pos="0">
                      <a:srgbClr val="FFFFFF"/>
                    </a:gs>
                    <a:gs pos="100000">
                      <a:srgbClr val="FFFFFF"/>
                    </a:gs>
                  </a:gsLst>
                  <a:lin ang="5400000" scaled="0"/>
                </a:gradFill>
                <a:latin typeface="Segoe UI" pitchFamily="34" charset="0"/>
                <a:ea typeface="Segoe UI" pitchFamily="34" charset="0"/>
                <a:cs typeface="Segoe UI" pitchFamily="34" charset="0"/>
              </a:rPr>
              <a:t>Standard</a:t>
            </a:r>
          </a:p>
        </p:txBody>
      </p:sp>
      <p:sp>
        <p:nvSpPr>
          <p:cNvPr id="8" name="Flowchart: Magnetic Disk 7"/>
          <p:cNvSpPr/>
          <p:nvPr/>
        </p:nvSpPr>
        <p:spPr bwMode="auto">
          <a:xfrm>
            <a:off x="3675786" y="3839379"/>
            <a:ext cx="1846711" cy="2344916"/>
          </a:xfrm>
          <a:prstGeom prst="flowChartMagneticDisk">
            <a:avLst/>
          </a:prstGeom>
          <a:solidFill>
            <a:schemeClr val="accent4">
              <a:lumMod val="50000"/>
            </a:schemeClr>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r>
              <a:rPr lang="en-US" spc="-50" dirty="0">
                <a:gradFill>
                  <a:gsLst>
                    <a:gs pos="0">
                      <a:srgbClr val="FFFFFF"/>
                    </a:gs>
                    <a:gs pos="100000">
                      <a:srgbClr val="FFFFFF"/>
                    </a:gs>
                  </a:gsLst>
                  <a:lin ang="5400000" scaled="0"/>
                </a:gradFill>
                <a:latin typeface="Segoe UI" pitchFamily="34" charset="0"/>
                <a:ea typeface="Segoe UI" pitchFamily="34" charset="0"/>
                <a:cs typeface="Segoe UI" pitchFamily="34" charset="0"/>
              </a:rPr>
              <a:t>Premium</a:t>
            </a:r>
          </a:p>
        </p:txBody>
      </p:sp>
      <p:sp>
        <p:nvSpPr>
          <p:cNvPr id="9" name="Flowchart: Magnetic Disk 8"/>
          <p:cNvSpPr/>
          <p:nvPr/>
        </p:nvSpPr>
        <p:spPr bwMode="auto">
          <a:xfrm>
            <a:off x="8384419" y="3176380"/>
            <a:ext cx="1141676" cy="928238"/>
          </a:xfrm>
          <a:prstGeom prst="flowChartMagneticDisk">
            <a:avLst/>
          </a:prstGeom>
          <a:solidFill>
            <a:srgbClr val="FFC000"/>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r>
              <a:rPr lang="en-US" spc="-50" dirty="0">
                <a:gradFill>
                  <a:gsLst>
                    <a:gs pos="0">
                      <a:srgbClr val="FFFFFF"/>
                    </a:gs>
                    <a:gs pos="100000">
                      <a:srgbClr val="FFFFFF"/>
                    </a:gs>
                  </a:gsLst>
                  <a:lin ang="5400000" scaled="0"/>
                </a:gradFill>
                <a:latin typeface="Segoe UI" pitchFamily="34" charset="0"/>
                <a:ea typeface="Segoe UI" pitchFamily="34" charset="0"/>
                <a:cs typeface="Segoe UI" pitchFamily="34" charset="0"/>
              </a:rPr>
              <a:t>Shard </a:t>
            </a:r>
            <a:r>
              <a:rPr lang="en-US" spc="-50" dirty="0" err="1">
                <a:gradFill>
                  <a:gsLst>
                    <a:gs pos="0">
                      <a:srgbClr val="FFFFFF"/>
                    </a:gs>
                    <a:gs pos="100000">
                      <a:srgbClr val="FFFFFF"/>
                    </a:gs>
                  </a:gsLst>
                  <a:lin ang="5400000" scaled="0"/>
                </a:gradFill>
                <a:latin typeface="Segoe UI" pitchFamily="34" charset="0"/>
                <a:ea typeface="Segoe UI" pitchFamily="34" charset="0"/>
                <a:cs typeface="Segoe UI" pitchFamily="34" charset="0"/>
              </a:rPr>
              <a:t>mgr</a:t>
            </a:r>
            <a:endParaRPr lang="en-US" spc="-50" dirty="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nvGrpSpPr>
          <p:cNvPr id="10" name="Group 9"/>
          <p:cNvGrpSpPr/>
          <p:nvPr/>
        </p:nvGrpSpPr>
        <p:grpSpPr>
          <a:xfrm>
            <a:off x="6646617" y="5805283"/>
            <a:ext cx="1369068" cy="488563"/>
            <a:chOff x="6390674" y="5611540"/>
            <a:chExt cx="2377560" cy="1033623"/>
          </a:xfrm>
        </p:grpSpPr>
        <p:sp>
          <p:nvSpPr>
            <p:cNvPr id="11" name="Rounded Rectangle 10"/>
            <p:cNvSpPr/>
            <p:nvPr/>
          </p:nvSpPr>
          <p:spPr bwMode="auto">
            <a:xfrm>
              <a:off x="6390674" y="5611540"/>
              <a:ext cx="2377560" cy="1033623"/>
            </a:xfrm>
            <a:prstGeom prst="roundRect">
              <a:avLst/>
            </a:prstGeom>
            <a:solidFill>
              <a:schemeClr val="accent4">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t" anchorCtr="0" forceAA="0" compatLnSpc="1">
              <a:prstTxWarp prst="textNoShape">
                <a:avLst/>
              </a:prstTxWarp>
              <a:noAutofit/>
            </a:bodyPr>
            <a:lstStyle/>
            <a:p>
              <a:pPr algn="ctr" defTabSz="914099" fontAlgn="base">
                <a:spcBef>
                  <a:spcPct val="0"/>
                </a:spcBef>
                <a:spcAft>
                  <a:spcPct val="0"/>
                </a:spcAft>
              </a:pPr>
              <a:endParaRPr lang="en-US" sz="1600" spc="-50" dirty="0">
                <a:solidFill>
                  <a:schemeClr val="bg1"/>
                </a:solidFill>
                <a:latin typeface="Segoe UI" pitchFamily="34" charset="0"/>
                <a:ea typeface="Segoe UI" pitchFamily="34" charset="0"/>
                <a:cs typeface="Segoe UI" pitchFamily="34" charset="0"/>
              </a:endParaRPr>
            </a:p>
          </p:txBody>
        </p:sp>
        <p:sp>
          <p:nvSpPr>
            <p:cNvPr id="12" name="Oval 11"/>
            <p:cNvSpPr/>
            <p:nvPr/>
          </p:nvSpPr>
          <p:spPr bwMode="auto">
            <a:xfrm>
              <a:off x="6439204" y="6089849"/>
              <a:ext cx="100792" cy="108396"/>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13" name="Rectangle 12"/>
            <p:cNvSpPr/>
            <p:nvPr/>
          </p:nvSpPr>
          <p:spPr bwMode="auto">
            <a:xfrm>
              <a:off x="8296143" y="5948540"/>
              <a:ext cx="384413" cy="7482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14" name="Rectangle 13"/>
            <p:cNvSpPr/>
            <p:nvPr/>
          </p:nvSpPr>
          <p:spPr bwMode="auto">
            <a:xfrm>
              <a:off x="8296143" y="6081287"/>
              <a:ext cx="384413" cy="7482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15" name="Rectangle 14"/>
            <p:cNvSpPr/>
            <p:nvPr/>
          </p:nvSpPr>
          <p:spPr bwMode="auto">
            <a:xfrm>
              <a:off x="8296143" y="6214033"/>
              <a:ext cx="384413" cy="7482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sp>
        <p:nvSpPr>
          <p:cNvPr id="16" name="Flowchart: Magnetic Disk 15"/>
          <p:cNvSpPr/>
          <p:nvPr/>
        </p:nvSpPr>
        <p:spPr bwMode="auto">
          <a:xfrm>
            <a:off x="7111983" y="4821959"/>
            <a:ext cx="631858" cy="445174"/>
          </a:xfrm>
          <a:prstGeom prst="flowChartMagneticDisk">
            <a:avLst/>
          </a:prstGeom>
          <a:solidFill>
            <a:srgbClr val="FFC000"/>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t" anchorCtr="0" forceAA="0" compatLnSpc="1">
            <a:prstTxWarp prst="textNoShape">
              <a:avLst/>
            </a:prstTxWarp>
            <a:noAutofit/>
          </a:bodyPr>
          <a:lstStyle/>
          <a:p>
            <a:pPr algn="ctr" defTabSz="914099" fontAlgn="base">
              <a:spcBef>
                <a:spcPct val="0"/>
              </a:spcBef>
              <a:spcAft>
                <a:spcPct val="0"/>
              </a:spcAft>
            </a:pPr>
            <a:r>
              <a:rPr lang="en-US" sz="1200" spc="-50" dirty="0">
                <a:gradFill>
                  <a:gsLst>
                    <a:gs pos="0">
                      <a:srgbClr val="FFFFFF"/>
                    </a:gs>
                    <a:gs pos="100000">
                      <a:srgbClr val="FFFFFF"/>
                    </a:gs>
                  </a:gsLst>
                  <a:lin ang="5400000" scaled="0"/>
                </a:gradFill>
                <a:latin typeface="Segoe UI" pitchFamily="34" charset="0"/>
                <a:ea typeface="Segoe UI" pitchFamily="34" charset="0"/>
                <a:cs typeface="Segoe UI" pitchFamily="34" charset="0"/>
              </a:rPr>
              <a:t>Shard1</a:t>
            </a:r>
          </a:p>
        </p:txBody>
      </p:sp>
      <p:sp>
        <p:nvSpPr>
          <p:cNvPr id="17" name="Flowchart: Magnetic Disk 16"/>
          <p:cNvSpPr/>
          <p:nvPr/>
        </p:nvSpPr>
        <p:spPr bwMode="auto">
          <a:xfrm>
            <a:off x="8736089" y="4845718"/>
            <a:ext cx="631858" cy="445174"/>
          </a:xfrm>
          <a:prstGeom prst="flowChartMagneticDisk">
            <a:avLst/>
          </a:prstGeom>
          <a:solidFill>
            <a:srgbClr val="FFC000"/>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t" anchorCtr="0" forceAA="0" compatLnSpc="1">
            <a:prstTxWarp prst="textNoShape">
              <a:avLst/>
            </a:prstTxWarp>
            <a:noAutofit/>
          </a:bodyPr>
          <a:lstStyle/>
          <a:p>
            <a:pPr algn="ctr" defTabSz="914099" fontAlgn="base">
              <a:spcBef>
                <a:spcPct val="0"/>
              </a:spcBef>
              <a:spcAft>
                <a:spcPct val="0"/>
              </a:spcAft>
            </a:pPr>
            <a:r>
              <a:rPr lang="en-US" sz="1200" spc="-50" dirty="0">
                <a:gradFill>
                  <a:gsLst>
                    <a:gs pos="0">
                      <a:srgbClr val="FFFFFF"/>
                    </a:gs>
                    <a:gs pos="100000">
                      <a:srgbClr val="FFFFFF"/>
                    </a:gs>
                  </a:gsLst>
                  <a:lin ang="5400000" scaled="0"/>
                </a:gradFill>
                <a:latin typeface="Segoe UI" pitchFamily="34" charset="0"/>
                <a:ea typeface="Segoe UI" pitchFamily="34" charset="0"/>
                <a:cs typeface="Segoe UI" pitchFamily="34" charset="0"/>
              </a:rPr>
              <a:t>Shard2</a:t>
            </a:r>
          </a:p>
        </p:txBody>
      </p:sp>
      <p:sp>
        <p:nvSpPr>
          <p:cNvPr id="18" name="Flowchart: Magnetic Disk 17"/>
          <p:cNvSpPr/>
          <p:nvPr/>
        </p:nvSpPr>
        <p:spPr bwMode="auto">
          <a:xfrm>
            <a:off x="10360195" y="4821959"/>
            <a:ext cx="631858" cy="445174"/>
          </a:xfrm>
          <a:prstGeom prst="flowChartMagneticDisk">
            <a:avLst/>
          </a:prstGeom>
          <a:solidFill>
            <a:srgbClr val="FFC000"/>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t" anchorCtr="0" forceAA="0" compatLnSpc="1">
            <a:prstTxWarp prst="textNoShape">
              <a:avLst/>
            </a:prstTxWarp>
            <a:noAutofit/>
          </a:bodyPr>
          <a:lstStyle/>
          <a:p>
            <a:pPr algn="ctr" defTabSz="914099" fontAlgn="base">
              <a:spcBef>
                <a:spcPct val="0"/>
              </a:spcBef>
              <a:spcAft>
                <a:spcPct val="0"/>
              </a:spcAft>
            </a:pPr>
            <a:r>
              <a:rPr lang="en-US" sz="1200" spc="-50" dirty="0">
                <a:gradFill>
                  <a:gsLst>
                    <a:gs pos="0">
                      <a:srgbClr val="FFFFFF"/>
                    </a:gs>
                    <a:gs pos="100000">
                      <a:srgbClr val="FFFFFF"/>
                    </a:gs>
                  </a:gsLst>
                  <a:lin ang="5400000" scaled="0"/>
                </a:gradFill>
                <a:latin typeface="Segoe UI" pitchFamily="34" charset="0"/>
                <a:ea typeface="Segoe UI" pitchFamily="34" charset="0"/>
                <a:cs typeface="Segoe UI" pitchFamily="34" charset="0"/>
              </a:rPr>
              <a:t>Shard 3</a:t>
            </a:r>
          </a:p>
        </p:txBody>
      </p:sp>
      <p:grpSp>
        <p:nvGrpSpPr>
          <p:cNvPr id="19" name="Group 18"/>
          <p:cNvGrpSpPr/>
          <p:nvPr/>
        </p:nvGrpSpPr>
        <p:grpSpPr>
          <a:xfrm>
            <a:off x="8270723" y="5811566"/>
            <a:ext cx="1369068" cy="488563"/>
            <a:chOff x="6390674" y="5611540"/>
            <a:chExt cx="2377560" cy="1033623"/>
          </a:xfrm>
        </p:grpSpPr>
        <p:sp>
          <p:nvSpPr>
            <p:cNvPr id="20" name="Rounded Rectangle 19"/>
            <p:cNvSpPr/>
            <p:nvPr/>
          </p:nvSpPr>
          <p:spPr bwMode="auto">
            <a:xfrm>
              <a:off x="6390674" y="5611540"/>
              <a:ext cx="2377560" cy="1033623"/>
            </a:xfrm>
            <a:prstGeom prst="roundRect">
              <a:avLst/>
            </a:prstGeom>
            <a:solidFill>
              <a:schemeClr val="accent4">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t" anchorCtr="0" forceAA="0" compatLnSpc="1">
              <a:prstTxWarp prst="textNoShape">
                <a:avLst/>
              </a:prstTxWarp>
              <a:noAutofit/>
            </a:bodyPr>
            <a:lstStyle/>
            <a:p>
              <a:pPr algn="ctr" defTabSz="914099" fontAlgn="base">
                <a:spcBef>
                  <a:spcPct val="0"/>
                </a:spcBef>
                <a:spcAft>
                  <a:spcPct val="0"/>
                </a:spcAft>
              </a:pPr>
              <a:endParaRPr lang="en-US" sz="1600" spc="-50" dirty="0">
                <a:solidFill>
                  <a:schemeClr val="bg1"/>
                </a:solidFill>
                <a:latin typeface="Segoe UI" pitchFamily="34" charset="0"/>
                <a:ea typeface="Segoe UI" pitchFamily="34" charset="0"/>
                <a:cs typeface="Segoe UI" pitchFamily="34" charset="0"/>
              </a:endParaRPr>
            </a:p>
          </p:txBody>
        </p:sp>
        <p:sp>
          <p:nvSpPr>
            <p:cNvPr id="21" name="Oval 20"/>
            <p:cNvSpPr/>
            <p:nvPr/>
          </p:nvSpPr>
          <p:spPr bwMode="auto">
            <a:xfrm>
              <a:off x="6439204" y="6089849"/>
              <a:ext cx="100792" cy="108396"/>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22" name="Rectangle 21"/>
            <p:cNvSpPr/>
            <p:nvPr/>
          </p:nvSpPr>
          <p:spPr bwMode="auto">
            <a:xfrm>
              <a:off x="8296143" y="5948540"/>
              <a:ext cx="384413" cy="7482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23" name="Rectangle 22"/>
            <p:cNvSpPr/>
            <p:nvPr/>
          </p:nvSpPr>
          <p:spPr bwMode="auto">
            <a:xfrm>
              <a:off x="8296143" y="6081287"/>
              <a:ext cx="384413" cy="7482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24" name="Rectangle 23"/>
            <p:cNvSpPr/>
            <p:nvPr/>
          </p:nvSpPr>
          <p:spPr bwMode="auto">
            <a:xfrm>
              <a:off x="8296143" y="6214033"/>
              <a:ext cx="384413" cy="7482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nvGrpSpPr>
          <p:cNvPr id="25" name="Group 24"/>
          <p:cNvGrpSpPr/>
          <p:nvPr/>
        </p:nvGrpSpPr>
        <p:grpSpPr>
          <a:xfrm>
            <a:off x="9966497" y="5811566"/>
            <a:ext cx="1369068" cy="488563"/>
            <a:chOff x="6390674" y="5611540"/>
            <a:chExt cx="2377560" cy="1033623"/>
          </a:xfrm>
        </p:grpSpPr>
        <p:sp>
          <p:nvSpPr>
            <p:cNvPr id="26" name="Rounded Rectangle 25"/>
            <p:cNvSpPr/>
            <p:nvPr/>
          </p:nvSpPr>
          <p:spPr bwMode="auto">
            <a:xfrm>
              <a:off x="6390674" y="5611540"/>
              <a:ext cx="2377560" cy="1033623"/>
            </a:xfrm>
            <a:prstGeom prst="roundRect">
              <a:avLst/>
            </a:prstGeom>
            <a:solidFill>
              <a:schemeClr val="accent4">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t" anchorCtr="0" forceAA="0" compatLnSpc="1">
              <a:prstTxWarp prst="textNoShape">
                <a:avLst/>
              </a:prstTxWarp>
              <a:noAutofit/>
            </a:bodyPr>
            <a:lstStyle/>
            <a:p>
              <a:pPr algn="ctr" defTabSz="914099" fontAlgn="base">
                <a:spcBef>
                  <a:spcPct val="0"/>
                </a:spcBef>
                <a:spcAft>
                  <a:spcPct val="0"/>
                </a:spcAft>
              </a:pPr>
              <a:endParaRPr lang="en-US" sz="1600" spc="-50" dirty="0">
                <a:solidFill>
                  <a:schemeClr val="bg1"/>
                </a:solidFill>
                <a:latin typeface="Segoe UI" pitchFamily="34" charset="0"/>
                <a:ea typeface="Segoe UI" pitchFamily="34" charset="0"/>
                <a:cs typeface="Segoe UI" pitchFamily="34" charset="0"/>
              </a:endParaRPr>
            </a:p>
          </p:txBody>
        </p:sp>
        <p:sp>
          <p:nvSpPr>
            <p:cNvPr id="27" name="Oval 26"/>
            <p:cNvSpPr/>
            <p:nvPr/>
          </p:nvSpPr>
          <p:spPr bwMode="auto">
            <a:xfrm>
              <a:off x="6439204" y="6089849"/>
              <a:ext cx="100792" cy="108396"/>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28" name="Rectangle 27"/>
            <p:cNvSpPr/>
            <p:nvPr/>
          </p:nvSpPr>
          <p:spPr bwMode="auto">
            <a:xfrm>
              <a:off x="8296143" y="5948540"/>
              <a:ext cx="384413" cy="7482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29" name="Rectangle 28"/>
            <p:cNvSpPr/>
            <p:nvPr/>
          </p:nvSpPr>
          <p:spPr bwMode="auto">
            <a:xfrm>
              <a:off x="8296143" y="6081287"/>
              <a:ext cx="384413" cy="7482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30" name="Rectangle 29"/>
            <p:cNvSpPr/>
            <p:nvPr/>
          </p:nvSpPr>
          <p:spPr bwMode="auto">
            <a:xfrm>
              <a:off x="8296143" y="6214033"/>
              <a:ext cx="384413" cy="7482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sp>
        <p:nvSpPr>
          <p:cNvPr id="31" name="Down Arrow 30"/>
          <p:cNvSpPr/>
          <p:nvPr/>
        </p:nvSpPr>
        <p:spPr bwMode="auto">
          <a:xfrm rot="2365912">
            <a:off x="7538962" y="3838314"/>
            <a:ext cx="770892" cy="1047972"/>
          </a:xfrm>
          <a:prstGeom prst="downArrow">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32" name="Down Arrow 31"/>
          <p:cNvSpPr/>
          <p:nvPr/>
        </p:nvSpPr>
        <p:spPr bwMode="auto">
          <a:xfrm rot="18965509">
            <a:off x="9638483" y="3799186"/>
            <a:ext cx="770892" cy="1125580"/>
          </a:xfrm>
          <a:prstGeom prst="downArrow">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33" name="Down Arrow 32"/>
          <p:cNvSpPr/>
          <p:nvPr/>
        </p:nvSpPr>
        <p:spPr bwMode="auto">
          <a:xfrm>
            <a:off x="8666572" y="4161143"/>
            <a:ext cx="770892" cy="615215"/>
          </a:xfrm>
          <a:prstGeom prst="downArrow">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34" name="Down Arrow 33"/>
          <p:cNvSpPr/>
          <p:nvPr/>
        </p:nvSpPr>
        <p:spPr bwMode="auto">
          <a:xfrm>
            <a:off x="7252534" y="5305599"/>
            <a:ext cx="367738" cy="472307"/>
          </a:xfrm>
          <a:prstGeom prst="downArrow">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35" name="Down Arrow 34"/>
          <p:cNvSpPr/>
          <p:nvPr/>
        </p:nvSpPr>
        <p:spPr bwMode="auto">
          <a:xfrm>
            <a:off x="8863855" y="5309574"/>
            <a:ext cx="367738" cy="472307"/>
          </a:xfrm>
          <a:prstGeom prst="downArrow">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36" name="Down Arrow 35"/>
          <p:cNvSpPr/>
          <p:nvPr/>
        </p:nvSpPr>
        <p:spPr bwMode="auto">
          <a:xfrm>
            <a:off x="10502897" y="5315500"/>
            <a:ext cx="367738" cy="472307"/>
          </a:xfrm>
          <a:prstGeom prst="downArrow">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104803939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afterEffect">
                                  <p:stCondLst>
                                    <p:cond delay="500"/>
                                  </p:stCondLst>
                                  <p:childTnLst>
                                    <p:set>
                                      <p:cBhvr>
                                        <p:cTn id="6" dur="1" fill="hold">
                                          <p:stCondLst>
                                            <p:cond delay="0"/>
                                          </p:stCondLst>
                                        </p:cTn>
                                        <p:tgtEl>
                                          <p:spTgt spid="4">
                                            <p:txEl>
                                              <p:pRg st="0" end="0"/>
                                            </p:txEl>
                                          </p:spTgt>
                                        </p:tgtEl>
                                        <p:attrNameLst>
                                          <p:attrName>style.visibility</p:attrName>
                                        </p:attrNameLst>
                                      </p:cBhvr>
                                      <p:to>
                                        <p:strVal val="visible"/>
                                      </p:to>
                                    </p:set>
                                  </p:childTnLst>
                                </p:cTn>
                              </p:par>
                            </p:childTnLst>
                          </p:cTn>
                        </p:par>
                        <p:par>
                          <p:cTn id="7" fill="hold">
                            <p:stCondLst>
                              <p:cond delay="500"/>
                            </p:stCondLst>
                            <p:childTnLst>
                              <p:par>
                                <p:cTn id="8" presetID="1" presetClass="entr" presetSubtype="0" fill="hold" grpId="0" nodeType="afterEffect">
                                  <p:stCondLst>
                                    <p:cond delay="1000"/>
                                  </p:stCondLst>
                                  <p:childTnLst>
                                    <p:set>
                                      <p:cBhvr>
                                        <p:cTn id="9" dur="1" fill="hold">
                                          <p:stCondLst>
                                            <p:cond delay="0"/>
                                          </p:stCondLst>
                                        </p:cTn>
                                        <p:tgtEl>
                                          <p:spTgt spid="4">
                                            <p:txEl>
                                              <p:pRg st="1" end="1"/>
                                            </p:txEl>
                                          </p:spTgt>
                                        </p:tgtEl>
                                        <p:attrNameLst>
                                          <p:attrName>style.visibility</p:attrName>
                                        </p:attrNameLst>
                                      </p:cBhvr>
                                      <p:to>
                                        <p:strVal val="visible"/>
                                      </p:to>
                                    </p:set>
                                  </p:childTnLst>
                                </p:cTn>
                              </p:par>
                            </p:childTnLst>
                          </p:cTn>
                        </p:par>
                        <p:par>
                          <p:cTn id="10" fill="hold">
                            <p:stCondLst>
                              <p:cond delay="1500"/>
                            </p:stCondLst>
                            <p:childTnLst>
                              <p:par>
                                <p:cTn id="11" presetID="1" presetClass="entr" presetSubtype="0" fill="hold" grpId="0" nodeType="afterEffect">
                                  <p:stCondLst>
                                    <p:cond delay="500"/>
                                  </p:stCondLst>
                                  <p:childTnLst>
                                    <p:set>
                                      <p:cBhvr>
                                        <p:cTn id="12" dur="1" fill="hold">
                                          <p:stCondLst>
                                            <p:cond delay="0"/>
                                          </p:stCondLst>
                                        </p:cTn>
                                        <p:tgtEl>
                                          <p:spTgt spid="5">
                                            <p:txEl>
                                              <p:pRg st="0" end="0"/>
                                            </p:txEl>
                                          </p:spTgt>
                                        </p:tgtEl>
                                        <p:attrNameLst>
                                          <p:attrName>style.visibility</p:attrName>
                                        </p:attrNameLst>
                                      </p:cBhvr>
                                      <p:to>
                                        <p:strVal val="visible"/>
                                      </p:to>
                                    </p:set>
                                  </p:childTnLst>
                                </p:cTn>
                              </p:par>
                            </p:childTnLst>
                          </p:cTn>
                        </p:par>
                        <p:par>
                          <p:cTn id="13" fill="hold">
                            <p:stCondLst>
                              <p:cond delay="2000"/>
                            </p:stCondLst>
                            <p:childTnLst>
                              <p:par>
                                <p:cTn id="14" presetID="1" presetClass="entr" presetSubtype="0" fill="hold" grpId="0" nodeType="afterEffect">
                                  <p:stCondLst>
                                    <p:cond delay="1000"/>
                                  </p:stCondLst>
                                  <p:childTnLst>
                                    <p:set>
                                      <p:cBhvr>
                                        <p:cTn id="15" dur="1" fill="hold">
                                          <p:stCondLst>
                                            <p:cond delay="0"/>
                                          </p:stCondLst>
                                        </p:cTn>
                                        <p:tgtEl>
                                          <p:spTgt spid="5">
                                            <p:txEl>
                                              <p:pRg st="1" end="1"/>
                                            </p:txEl>
                                          </p:spTgt>
                                        </p:tgtEl>
                                        <p:attrNameLst>
                                          <p:attrName>style.visibility</p:attrName>
                                        </p:attrNameLst>
                                      </p:cBhvr>
                                      <p:to>
                                        <p:strVal val="visible"/>
                                      </p:to>
                                    </p:set>
                                  </p:childTnLst>
                                </p:cTn>
                              </p:par>
                            </p:childTnLst>
                          </p:cTn>
                        </p:par>
                      </p:childTnLst>
                    </p:cTn>
                  </p:par>
                  <p:par>
                    <p:cTn id="16" fill="hold">
                      <p:stCondLst>
                        <p:cond delay="indefinite"/>
                      </p:stCondLst>
                      <p:childTnLst>
                        <p:par>
                          <p:cTn id="17" fill="hold">
                            <p:stCondLst>
                              <p:cond delay="0"/>
                            </p:stCondLst>
                            <p:childTnLst>
                              <p:par>
                                <p:cTn id="18" presetID="1" presetClass="entr" presetSubtype="0" fill="hold" grpId="0" nodeType="clickEffect">
                                  <p:stCondLst>
                                    <p:cond delay="0"/>
                                  </p:stCondLst>
                                  <p:childTnLst>
                                    <p:set>
                                      <p:cBhvr>
                                        <p:cTn id="19" dur="1" fill="hold">
                                          <p:stCondLst>
                                            <p:cond delay="0"/>
                                          </p:stCondLst>
                                        </p:cTn>
                                        <p:tgtEl>
                                          <p:spTgt spid="6"/>
                                        </p:tgtEl>
                                        <p:attrNameLst>
                                          <p:attrName>style.visibility</p:attrName>
                                        </p:attrNameLst>
                                      </p:cBhvr>
                                      <p:to>
                                        <p:strVal val="visible"/>
                                      </p:to>
                                    </p:set>
                                  </p:childTnLst>
                                </p:cTn>
                              </p:par>
                            </p:childTnLst>
                          </p:cTn>
                        </p:par>
                        <p:par>
                          <p:cTn id="20" fill="hold">
                            <p:stCondLst>
                              <p:cond delay="0"/>
                            </p:stCondLst>
                            <p:childTnLst>
                              <p:par>
                                <p:cTn id="21" presetID="2" presetClass="entr" presetSubtype="4" fill="hold" grpId="0" nodeType="afterEffect">
                                  <p:stCondLst>
                                    <p:cond delay="1000"/>
                                  </p:stCondLst>
                                  <p:childTnLst>
                                    <p:set>
                                      <p:cBhvr>
                                        <p:cTn id="22" dur="1" fill="hold">
                                          <p:stCondLst>
                                            <p:cond delay="0"/>
                                          </p:stCondLst>
                                        </p:cTn>
                                        <p:tgtEl>
                                          <p:spTgt spid="7"/>
                                        </p:tgtEl>
                                        <p:attrNameLst>
                                          <p:attrName>style.visibility</p:attrName>
                                        </p:attrNameLst>
                                      </p:cBhvr>
                                      <p:to>
                                        <p:strVal val="visible"/>
                                      </p:to>
                                    </p:set>
                                    <p:anim calcmode="lin" valueType="num">
                                      <p:cBhvr additive="base">
                                        <p:cTn id="23" dur="500" fill="hold"/>
                                        <p:tgtEl>
                                          <p:spTgt spid="7"/>
                                        </p:tgtEl>
                                        <p:attrNameLst>
                                          <p:attrName>ppt_x</p:attrName>
                                        </p:attrNameLst>
                                      </p:cBhvr>
                                      <p:tavLst>
                                        <p:tav tm="0">
                                          <p:val>
                                            <p:strVal val="#ppt_x"/>
                                          </p:val>
                                        </p:tav>
                                        <p:tav tm="100000">
                                          <p:val>
                                            <p:strVal val="#ppt_x"/>
                                          </p:val>
                                        </p:tav>
                                      </p:tavLst>
                                    </p:anim>
                                    <p:anim calcmode="lin" valueType="num">
                                      <p:cBhvr additive="base">
                                        <p:cTn id="24" dur="500" fill="hold"/>
                                        <p:tgtEl>
                                          <p:spTgt spid="7"/>
                                        </p:tgtEl>
                                        <p:attrNameLst>
                                          <p:attrName>ppt_y</p:attrName>
                                        </p:attrNameLst>
                                      </p:cBhvr>
                                      <p:tavLst>
                                        <p:tav tm="0">
                                          <p:val>
                                            <p:strVal val="1+#ppt_h/2"/>
                                          </p:val>
                                        </p:tav>
                                        <p:tav tm="100000">
                                          <p:val>
                                            <p:strVal val="#ppt_y"/>
                                          </p:val>
                                        </p:tav>
                                      </p:tavLst>
                                    </p:anim>
                                  </p:childTnLst>
                                </p:cTn>
                              </p:par>
                              <p:par>
                                <p:cTn id="25" presetID="2" presetClass="entr" presetSubtype="4" fill="hold" grpId="0" nodeType="withEffect">
                                  <p:stCondLst>
                                    <p:cond delay="2000"/>
                                  </p:stCondLst>
                                  <p:childTnLst>
                                    <p:set>
                                      <p:cBhvr>
                                        <p:cTn id="26" dur="1" fill="hold">
                                          <p:stCondLst>
                                            <p:cond delay="0"/>
                                          </p:stCondLst>
                                        </p:cTn>
                                        <p:tgtEl>
                                          <p:spTgt spid="8"/>
                                        </p:tgtEl>
                                        <p:attrNameLst>
                                          <p:attrName>style.visibility</p:attrName>
                                        </p:attrNameLst>
                                      </p:cBhvr>
                                      <p:to>
                                        <p:strVal val="visible"/>
                                      </p:to>
                                    </p:set>
                                    <p:anim calcmode="lin" valueType="num">
                                      <p:cBhvr additive="base">
                                        <p:cTn id="27" dur="500" fill="hold"/>
                                        <p:tgtEl>
                                          <p:spTgt spid="8"/>
                                        </p:tgtEl>
                                        <p:attrNameLst>
                                          <p:attrName>ppt_x</p:attrName>
                                        </p:attrNameLst>
                                      </p:cBhvr>
                                      <p:tavLst>
                                        <p:tav tm="0">
                                          <p:val>
                                            <p:strVal val="#ppt_x"/>
                                          </p:val>
                                        </p:tav>
                                        <p:tav tm="100000">
                                          <p:val>
                                            <p:strVal val="#ppt_x"/>
                                          </p:val>
                                        </p:tav>
                                      </p:tavLst>
                                    </p:anim>
                                    <p:anim calcmode="lin" valueType="num">
                                      <p:cBhvr additive="base">
                                        <p:cTn id="28" dur="500" fill="hold"/>
                                        <p:tgtEl>
                                          <p:spTgt spid="8"/>
                                        </p:tgtEl>
                                        <p:attrNameLst>
                                          <p:attrName>ppt_y</p:attrName>
                                        </p:attrNameLst>
                                      </p:cBhvr>
                                      <p:tavLst>
                                        <p:tav tm="0">
                                          <p:val>
                                            <p:strVal val="1+#ppt_h/2"/>
                                          </p:val>
                                        </p:tav>
                                        <p:tav tm="100000">
                                          <p:val>
                                            <p:strVal val="#ppt_y"/>
                                          </p:val>
                                        </p:tav>
                                      </p:tavLst>
                                    </p:anim>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grpId="0" nodeType="clickEffect">
                                  <p:stCondLst>
                                    <p:cond delay="0"/>
                                  </p:stCondLst>
                                  <p:childTnLst>
                                    <p:set>
                                      <p:cBhvr>
                                        <p:cTn id="32" dur="1" fill="hold">
                                          <p:stCondLst>
                                            <p:cond delay="0"/>
                                          </p:stCondLst>
                                        </p:cTn>
                                        <p:tgtEl>
                                          <p:spTgt spid="9"/>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22" presetClass="entr" presetSubtype="1" fill="hold" grpId="0" nodeType="clickEffect">
                                  <p:stCondLst>
                                    <p:cond delay="0"/>
                                  </p:stCondLst>
                                  <p:childTnLst>
                                    <p:set>
                                      <p:cBhvr>
                                        <p:cTn id="36" dur="1" fill="hold">
                                          <p:stCondLst>
                                            <p:cond delay="0"/>
                                          </p:stCondLst>
                                        </p:cTn>
                                        <p:tgtEl>
                                          <p:spTgt spid="31"/>
                                        </p:tgtEl>
                                        <p:attrNameLst>
                                          <p:attrName>style.visibility</p:attrName>
                                        </p:attrNameLst>
                                      </p:cBhvr>
                                      <p:to>
                                        <p:strVal val="visible"/>
                                      </p:to>
                                    </p:set>
                                    <p:animEffect transition="in" filter="wipe(up)">
                                      <p:cBhvr>
                                        <p:cTn id="37" dur="500"/>
                                        <p:tgtEl>
                                          <p:spTgt spid="31"/>
                                        </p:tgtEl>
                                      </p:cBhvr>
                                    </p:animEffect>
                                  </p:childTnLst>
                                </p:cTn>
                              </p:par>
                              <p:par>
                                <p:cTn id="38" presetID="22" presetClass="entr" presetSubtype="1" fill="hold" grpId="0" nodeType="withEffect">
                                  <p:stCondLst>
                                    <p:cond delay="0"/>
                                  </p:stCondLst>
                                  <p:childTnLst>
                                    <p:set>
                                      <p:cBhvr>
                                        <p:cTn id="39" dur="1" fill="hold">
                                          <p:stCondLst>
                                            <p:cond delay="0"/>
                                          </p:stCondLst>
                                        </p:cTn>
                                        <p:tgtEl>
                                          <p:spTgt spid="33"/>
                                        </p:tgtEl>
                                        <p:attrNameLst>
                                          <p:attrName>style.visibility</p:attrName>
                                        </p:attrNameLst>
                                      </p:cBhvr>
                                      <p:to>
                                        <p:strVal val="visible"/>
                                      </p:to>
                                    </p:set>
                                    <p:animEffect transition="in" filter="wipe(up)">
                                      <p:cBhvr>
                                        <p:cTn id="40" dur="500"/>
                                        <p:tgtEl>
                                          <p:spTgt spid="33"/>
                                        </p:tgtEl>
                                      </p:cBhvr>
                                    </p:animEffect>
                                  </p:childTnLst>
                                </p:cTn>
                              </p:par>
                              <p:par>
                                <p:cTn id="41" presetID="22" presetClass="entr" presetSubtype="1" fill="hold" grpId="0" nodeType="withEffect">
                                  <p:stCondLst>
                                    <p:cond delay="0"/>
                                  </p:stCondLst>
                                  <p:childTnLst>
                                    <p:set>
                                      <p:cBhvr>
                                        <p:cTn id="42" dur="1" fill="hold">
                                          <p:stCondLst>
                                            <p:cond delay="0"/>
                                          </p:stCondLst>
                                        </p:cTn>
                                        <p:tgtEl>
                                          <p:spTgt spid="32"/>
                                        </p:tgtEl>
                                        <p:attrNameLst>
                                          <p:attrName>style.visibility</p:attrName>
                                        </p:attrNameLst>
                                      </p:cBhvr>
                                      <p:to>
                                        <p:strVal val="visible"/>
                                      </p:to>
                                    </p:set>
                                    <p:animEffect transition="in" filter="wipe(up)">
                                      <p:cBhvr>
                                        <p:cTn id="43" dur="500"/>
                                        <p:tgtEl>
                                          <p:spTgt spid="32"/>
                                        </p:tgtEl>
                                      </p:cBhvr>
                                    </p:animEffect>
                                  </p:childTnLst>
                                </p:cTn>
                              </p:par>
                            </p:childTnLst>
                          </p:cTn>
                        </p:par>
                        <p:par>
                          <p:cTn id="44" fill="hold">
                            <p:stCondLst>
                              <p:cond delay="500"/>
                            </p:stCondLst>
                            <p:childTnLst>
                              <p:par>
                                <p:cTn id="45" presetID="22" presetClass="entr" presetSubtype="1" fill="hold" grpId="0" nodeType="afterEffect">
                                  <p:stCondLst>
                                    <p:cond delay="250"/>
                                  </p:stCondLst>
                                  <p:childTnLst>
                                    <p:set>
                                      <p:cBhvr>
                                        <p:cTn id="46" dur="1" fill="hold">
                                          <p:stCondLst>
                                            <p:cond delay="0"/>
                                          </p:stCondLst>
                                        </p:cTn>
                                        <p:tgtEl>
                                          <p:spTgt spid="16"/>
                                        </p:tgtEl>
                                        <p:attrNameLst>
                                          <p:attrName>style.visibility</p:attrName>
                                        </p:attrNameLst>
                                      </p:cBhvr>
                                      <p:to>
                                        <p:strVal val="visible"/>
                                      </p:to>
                                    </p:set>
                                    <p:animEffect transition="in" filter="wipe(up)">
                                      <p:cBhvr>
                                        <p:cTn id="47" dur="500"/>
                                        <p:tgtEl>
                                          <p:spTgt spid="16"/>
                                        </p:tgtEl>
                                      </p:cBhvr>
                                    </p:animEffect>
                                  </p:childTnLst>
                                </p:cTn>
                              </p:par>
                            </p:childTnLst>
                          </p:cTn>
                        </p:par>
                        <p:par>
                          <p:cTn id="48" fill="hold">
                            <p:stCondLst>
                              <p:cond delay="1250"/>
                            </p:stCondLst>
                            <p:childTnLst>
                              <p:par>
                                <p:cTn id="49" presetID="22" presetClass="entr" presetSubtype="1" fill="hold" grpId="0" nodeType="afterEffect">
                                  <p:stCondLst>
                                    <p:cond delay="250"/>
                                  </p:stCondLst>
                                  <p:childTnLst>
                                    <p:set>
                                      <p:cBhvr>
                                        <p:cTn id="50" dur="1" fill="hold">
                                          <p:stCondLst>
                                            <p:cond delay="0"/>
                                          </p:stCondLst>
                                        </p:cTn>
                                        <p:tgtEl>
                                          <p:spTgt spid="17"/>
                                        </p:tgtEl>
                                        <p:attrNameLst>
                                          <p:attrName>style.visibility</p:attrName>
                                        </p:attrNameLst>
                                      </p:cBhvr>
                                      <p:to>
                                        <p:strVal val="visible"/>
                                      </p:to>
                                    </p:set>
                                    <p:animEffect transition="in" filter="wipe(up)">
                                      <p:cBhvr>
                                        <p:cTn id="51" dur="500"/>
                                        <p:tgtEl>
                                          <p:spTgt spid="17"/>
                                        </p:tgtEl>
                                      </p:cBhvr>
                                    </p:animEffect>
                                  </p:childTnLst>
                                </p:cTn>
                              </p:par>
                            </p:childTnLst>
                          </p:cTn>
                        </p:par>
                        <p:par>
                          <p:cTn id="52" fill="hold">
                            <p:stCondLst>
                              <p:cond delay="2000"/>
                            </p:stCondLst>
                            <p:childTnLst>
                              <p:par>
                                <p:cTn id="53" presetID="22" presetClass="entr" presetSubtype="1" fill="hold" grpId="0" nodeType="afterEffect">
                                  <p:stCondLst>
                                    <p:cond delay="250"/>
                                  </p:stCondLst>
                                  <p:childTnLst>
                                    <p:set>
                                      <p:cBhvr>
                                        <p:cTn id="54" dur="1" fill="hold">
                                          <p:stCondLst>
                                            <p:cond delay="0"/>
                                          </p:stCondLst>
                                        </p:cTn>
                                        <p:tgtEl>
                                          <p:spTgt spid="18"/>
                                        </p:tgtEl>
                                        <p:attrNameLst>
                                          <p:attrName>style.visibility</p:attrName>
                                        </p:attrNameLst>
                                      </p:cBhvr>
                                      <p:to>
                                        <p:strVal val="visible"/>
                                      </p:to>
                                    </p:set>
                                    <p:animEffect transition="in" filter="wipe(up)">
                                      <p:cBhvr>
                                        <p:cTn id="55" dur="500"/>
                                        <p:tgtEl>
                                          <p:spTgt spid="18"/>
                                        </p:tgtEl>
                                      </p:cBhvr>
                                    </p:animEffect>
                                  </p:childTnLst>
                                </p:cTn>
                              </p:par>
                            </p:childTnLst>
                          </p:cTn>
                        </p:par>
                        <p:par>
                          <p:cTn id="56" fill="hold">
                            <p:stCondLst>
                              <p:cond delay="2750"/>
                            </p:stCondLst>
                            <p:childTnLst>
                              <p:par>
                                <p:cTn id="57" presetID="22" presetClass="entr" presetSubtype="1" fill="hold" grpId="0" nodeType="afterEffect">
                                  <p:stCondLst>
                                    <p:cond delay="0"/>
                                  </p:stCondLst>
                                  <p:childTnLst>
                                    <p:set>
                                      <p:cBhvr>
                                        <p:cTn id="58" dur="1" fill="hold">
                                          <p:stCondLst>
                                            <p:cond delay="0"/>
                                          </p:stCondLst>
                                        </p:cTn>
                                        <p:tgtEl>
                                          <p:spTgt spid="34"/>
                                        </p:tgtEl>
                                        <p:attrNameLst>
                                          <p:attrName>style.visibility</p:attrName>
                                        </p:attrNameLst>
                                      </p:cBhvr>
                                      <p:to>
                                        <p:strVal val="visible"/>
                                      </p:to>
                                    </p:set>
                                    <p:animEffect transition="in" filter="wipe(up)">
                                      <p:cBhvr>
                                        <p:cTn id="59" dur="500"/>
                                        <p:tgtEl>
                                          <p:spTgt spid="34"/>
                                        </p:tgtEl>
                                      </p:cBhvr>
                                    </p:animEffect>
                                  </p:childTnLst>
                                </p:cTn>
                              </p:par>
                            </p:childTnLst>
                          </p:cTn>
                        </p:par>
                        <p:par>
                          <p:cTn id="60" fill="hold">
                            <p:stCondLst>
                              <p:cond delay="3250"/>
                            </p:stCondLst>
                            <p:childTnLst>
                              <p:par>
                                <p:cTn id="61" presetID="22" presetClass="entr" presetSubtype="1" fill="hold" grpId="0" nodeType="afterEffect">
                                  <p:stCondLst>
                                    <p:cond delay="0"/>
                                  </p:stCondLst>
                                  <p:childTnLst>
                                    <p:set>
                                      <p:cBhvr>
                                        <p:cTn id="62" dur="1" fill="hold">
                                          <p:stCondLst>
                                            <p:cond delay="0"/>
                                          </p:stCondLst>
                                        </p:cTn>
                                        <p:tgtEl>
                                          <p:spTgt spid="35"/>
                                        </p:tgtEl>
                                        <p:attrNameLst>
                                          <p:attrName>style.visibility</p:attrName>
                                        </p:attrNameLst>
                                      </p:cBhvr>
                                      <p:to>
                                        <p:strVal val="visible"/>
                                      </p:to>
                                    </p:set>
                                    <p:animEffect transition="in" filter="wipe(up)">
                                      <p:cBhvr>
                                        <p:cTn id="63" dur="500"/>
                                        <p:tgtEl>
                                          <p:spTgt spid="35"/>
                                        </p:tgtEl>
                                      </p:cBhvr>
                                    </p:animEffect>
                                  </p:childTnLst>
                                </p:cTn>
                              </p:par>
                            </p:childTnLst>
                          </p:cTn>
                        </p:par>
                        <p:par>
                          <p:cTn id="64" fill="hold">
                            <p:stCondLst>
                              <p:cond delay="3750"/>
                            </p:stCondLst>
                            <p:childTnLst>
                              <p:par>
                                <p:cTn id="65" presetID="22" presetClass="entr" presetSubtype="1" fill="hold" grpId="0" nodeType="afterEffect">
                                  <p:stCondLst>
                                    <p:cond delay="0"/>
                                  </p:stCondLst>
                                  <p:childTnLst>
                                    <p:set>
                                      <p:cBhvr>
                                        <p:cTn id="66" dur="1" fill="hold">
                                          <p:stCondLst>
                                            <p:cond delay="0"/>
                                          </p:stCondLst>
                                        </p:cTn>
                                        <p:tgtEl>
                                          <p:spTgt spid="36"/>
                                        </p:tgtEl>
                                        <p:attrNameLst>
                                          <p:attrName>style.visibility</p:attrName>
                                        </p:attrNameLst>
                                      </p:cBhvr>
                                      <p:to>
                                        <p:strVal val="visible"/>
                                      </p:to>
                                    </p:set>
                                    <p:animEffect transition="in" filter="wipe(up)">
                                      <p:cBhvr>
                                        <p:cTn id="67" dur="500"/>
                                        <p:tgtEl>
                                          <p:spTgt spid="36"/>
                                        </p:tgtEl>
                                      </p:cBhvr>
                                    </p:animEffect>
                                  </p:childTnLst>
                                </p:cTn>
                              </p:par>
                            </p:childTnLst>
                          </p:cTn>
                        </p:par>
                        <p:par>
                          <p:cTn id="68" fill="hold">
                            <p:stCondLst>
                              <p:cond delay="4250"/>
                            </p:stCondLst>
                            <p:childTnLst>
                              <p:par>
                                <p:cTn id="69" presetID="22" presetClass="entr" presetSubtype="1" fill="hold" nodeType="afterEffect">
                                  <p:stCondLst>
                                    <p:cond delay="0"/>
                                  </p:stCondLst>
                                  <p:childTnLst>
                                    <p:set>
                                      <p:cBhvr>
                                        <p:cTn id="70" dur="1" fill="hold">
                                          <p:stCondLst>
                                            <p:cond delay="0"/>
                                          </p:stCondLst>
                                        </p:cTn>
                                        <p:tgtEl>
                                          <p:spTgt spid="10"/>
                                        </p:tgtEl>
                                        <p:attrNameLst>
                                          <p:attrName>style.visibility</p:attrName>
                                        </p:attrNameLst>
                                      </p:cBhvr>
                                      <p:to>
                                        <p:strVal val="visible"/>
                                      </p:to>
                                    </p:set>
                                    <p:animEffect transition="in" filter="wipe(up)">
                                      <p:cBhvr>
                                        <p:cTn id="71" dur="500"/>
                                        <p:tgtEl>
                                          <p:spTgt spid="10"/>
                                        </p:tgtEl>
                                      </p:cBhvr>
                                    </p:animEffect>
                                  </p:childTnLst>
                                </p:cTn>
                              </p:par>
                            </p:childTnLst>
                          </p:cTn>
                        </p:par>
                        <p:par>
                          <p:cTn id="72" fill="hold">
                            <p:stCondLst>
                              <p:cond delay="4750"/>
                            </p:stCondLst>
                            <p:childTnLst>
                              <p:par>
                                <p:cTn id="73" presetID="22" presetClass="entr" presetSubtype="1" fill="hold" nodeType="afterEffect">
                                  <p:stCondLst>
                                    <p:cond delay="0"/>
                                  </p:stCondLst>
                                  <p:childTnLst>
                                    <p:set>
                                      <p:cBhvr>
                                        <p:cTn id="74" dur="1" fill="hold">
                                          <p:stCondLst>
                                            <p:cond delay="0"/>
                                          </p:stCondLst>
                                        </p:cTn>
                                        <p:tgtEl>
                                          <p:spTgt spid="19"/>
                                        </p:tgtEl>
                                        <p:attrNameLst>
                                          <p:attrName>style.visibility</p:attrName>
                                        </p:attrNameLst>
                                      </p:cBhvr>
                                      <p:to>
                                        <p:strVal val="visible"/>
                                      </p:to>
                                    </p:set>
                                    <p:animEffect transition="in" filter="wipe(up)">
                                      <p:cBhvr>
                                        <p:cTn id="75" dur="500"/>
                                        <p:tgtEl>
                                          <p:spTgt spid="19"/>
                                        </p:tgtEl>
                                      </p:cBhvr>
                                    </p:animEffect>
                                  </p:childTnLst>
                                </p:cTn>
                              </p:par>
                            </p:childTnLst>
                          </p:cTn>
                        </p:par>
                        <p:par>
                          <p:cTn id="76" fill="hold">
                            <p:stCondLst>
                              <p:cond delay="5250"/>
                            </p:stCondLst>
                            <p:childTnLst>
                              <p:par>
                                <p:cTn id="77" presetID="22" presetClass="entr" presetSubtype="1" fill="hold" nodeType="afterEffect">
                                  <p:stCondLst>
                                    <p:cond delay="0"/>
                                  </p:stCondLst>
                                  <p:childTnLst>
                                    <p:set>
                                      <p:cBhvr>
                                        <p:cTn id="78" dur="1" fill="hold">
                                          <p:stCondLst>
                                            <p:cond delay="0"/>
                                          </p:stCondLst>
                                        </p:cTn>
                                        <p:tgtEl>
                                          <p:spTgt spid="25"/>
                                        </p:tgtEl>
                                        <p:attrNameLst>
                                          <p:attrName>style.visibility</p:attrName>
                                        </p:attrNameLst>
                                      </p:cBhvr>
                                      <p:to>
                                        <p:strVal val="visible"/>
                                      </p:to>
                                    </p:set>
                                    <p:animEffect transition="in" filter="wipe(up)">
                                      <p:cBhvr>
                                        <p:cTn id="79" dur="5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p:bldP spid="5" grpId="0" build="p"/>
      <p:bldP spid="6" grpId="0" animBg="1"/>
      <p:bldP spid="7" grpId="0" animBg="1"/>
      <p:bldP spid="8" grpId="0" animBg="1"/>
      <p:bldP spid="9" grpId="0" animBg="1"/>
      <p:bldP spid="16" grpId="0" animBg="1"/>
      <p:bldP spid="17" grpId="0" animBg="1"/>
      <p:bldP spid="18" grpId="0" animBg="1"/>
      <p:bldP spid="31" grpId="0" animBg="1"/>
      <p:bldP spid="32" grpId="0" animBg="1"/>
      <p:bldP spid="33" grpId="0" animBg="1"/>
      <p:bldP spid="34" grpId="0" animBg="1"/>
      <p:bldP spid="35" grpId="0" animBg="1"/>
      <p:bldP spid="36" grpId="0" animBg="1"/>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zure SQL Database Active Geo-Replication</a:t>
            </a:r>
          </a:p>
        </p:txBody>
      </p:sp>
      <p:sp>
        <p:nvSpPr>
          <p:cNvPr id="3" name="Text Placeholder 2"/>
          <p:cNvSpPr>
            <a:spLocks noGrp="1"/>
          </p:cNvSpPr>
          <p:nvPr>
            <p:ph type="body" sz="quarter" idx="10"/>
          </p:nvPr>
        </p:nvSpPr>
        <p:spPr>
          <a:xfrm>
            <a:off x="274638" y="1212850"/>
            <a:ext cx="5962935" cy="4795159"/>
          </a:xfrm>
        </p:spPr>
        <p:txBody>
          <a:bodyPr/>
          <a:lstStyle/>
          <a:p>
            <a:r>
              <a:rPr lang="en-US" sz="3600" dirty="0"/>
              <a:t>Available in Premium Tier</a:t>
            </a:r>
          </a:p>
          <a:p>
            <a:endParaRPr lang="en-US" sz="3600" dirty="0"/>
          </a:p>
          <a:p>
            <a:r>
              <a:rPr lang="en-US" sz="3600" dirty="0"/>
              <a:t>Multiple read-only secondary's (max 4)</a:t>
            </a:r>
          </a:p>
          <a:p>
            <a:endParaRPr lang="en-US" sz="3600" dirty="0"/>
          </a:p>
          <a:p>
            <a:r>
              <a:rPr lang="en-US" sz="3600" dirty="0"/>
              <a:t>Application uses secondary's for read only workloads</a:t>
            </a:r>
          </a:p>
          <a:p>
            <a:endParaRPr lang="en-US" dirty="0"/>
          </a:p>
        </p:txBody>
      </p:sp>
      <p:pic>
        <p:nvPicPr>
          <p:cNvPr id="6" name="Picture 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479928" y="3169360"/>
            <a:ext cx="469562" cy="590106"/>
          </a:xfrm>
          <a:prstGeom prst="rect">
            <a:avLst/>
          </a:prstGeom>
        </p:spPr>
      </p:pic>
      <p:sp>
        <p:nvSpPr>
          <p:cNvPr id="7" name="Rounded Rectangle 6"/>
          <p:cNvSpPr/>
          <p:nvPr/>
        </p:nvSpPr>
        <p:spPr bwMode="auto">
          <a:xfrm>
            <a:off x="7041188" y="3222945"/>
            <a:ext cx="1372138" cy="546375"/>
          </a:xfrm>
          <a:prstGeom prst="roundRect">
            <a:avLst/>
          </a:prstGeom>
          <a:solidFill>
            <a:schemeClr val="accent1"/>
          </a:solidFill>
          <a:ln w="28575">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pPr>
            <a:r>
              <a:rPr lang="en-US" sz="1632" dirty="0">
                <a:solidFill>
                  <a:srgbClr val="FFFFFF"/>
                </a:solidFill>
              </a:rPr>
              <a:t>Application</a:t>
            </a:r>
            <a:endParaRPr lang="en-US" sz="1224" dirty="0">
              <a:solidFill>
                <a:srgbClr val="FFFFFF"/>
              </a:solidFill>
            </a:endParaRPr>
          </a:p>
        </p:txBody>
      </p:sp>
      <p:cxnSp>
        <p:nvCxnSpPr>
          <p:cNvPr id="8" name="Straight Arrow Connector 7"/>
          <p:cNvCxnSpPr>
            <a:stCxn id="7" idx="3"/>
          </p:cNvCxnSpPr>
          <p:nvPr/>
        </p:nvCxnSpPr>
        <p:spPr>
          <a:xfrm flipV="1">
            <a:off x="8413326" y="3496132"/>
            <a:ext cx="755660" cy="1"/>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5" name="Can 14"/>
          <p:cNvSpPr/>
          <p:nvPr/>
        </p:nvSpPr>
        <p:spPr bwMode="auto">
          <a:xfrm>
            <a:off x="9168986" y="3169360"/>
            <a:ext cx="1072567" cy="876536"/>
          </a:xfrm>
          <a:prstGeom prst="can">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600" dirty="0">
                <a:gradFill>
                  <a:gsLst>
                    <a:gs pos="0">
                      <a:srgbClr val="FFFFFF"/>
                    </a:gs>
                    <a:gs pos="100000">
                      <a:srgbClr val="FFFFFF"/>
                    </a:gs>
                  </a:gsLst>
                  <a:lin ang="5400000" scaled="0"/>
                </a:gradFill>
                <a:ea typeface="Segoe UI" pitchFamily="34" charset="0"/>
                <a:cs typeface="Segoe UI" pitchFamily="34" charset="0"/>
              </a:rPr>
              <a:t>r/w Primary</a:t>
            </a:r>
          </a:p>
        </p:txBody>
      </p:sp>
      <p:sp>
        <p:nvSpPr>
          <p:cNvPr id="16" name="Can 15"/>
          <p:cNvSpPr/>
          <p:nvPr/>
        </p:nvSpPr>
        <p:spPr bwMode="auto">
          <a:xfrm>
            <a:off x="10332991" y="1916221"/>
            <a:ext cx="1188707" cy="849529"/>
          </a:xfrm>
          <a:prstGeom prst="can">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600" dirty="0">
                <a:gradFill>
                  <a:gsLst>
                    <a:gs pos="0">
                      <a:srgbClr val="FFFFFF"/>
                    </a:gs>
                    <a:gs pos="100000">
                      <a:srgbClr val="FFFFFF"/>
                    </a:gs>
                  </a:gsLst>
                  <a:lin ang="5400000" scaled="0"/>
                </a:gradFill>
                <a:ea typeface="Segoe UI" pitchFamily="34" charset="0"/>
                <a:cs typeface="Segoe UI" pitchFamily="34" charset="0"/>
              </a:rPr>
              <a:t>r/o Replica 1</a:t>
            </a:r>
          </a:p>
        </p:txBody>
      </p:sp>
      <p:sp>
        <p:nvSpPr>
          <p:cNvPr id="17" name="Can 16"/>
          <p:cNvSpPr/>
          <p:nvPr/>
        </p:nvSpPr>
        <p:spPr bwMode="auto">
          <a:xfrm>
            <a:off x="10333251" y="4320213"/>
            <a:ext cx="1188707" cy="849529"/>
          </a:xfrm>
          <a:prstGeom prst="can">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600" dirty="0">
                <a:gradFill>
                  <a:gsLst>
                    <a:gs pos="0">
                      <a:srgbClr val="FFFFFF"/>
                    </a:gs>
                    <a:gs pos="100000">
                      <a:srgbClr val="FFFFFF"/>
                    </a:gs>
                  </a:gsLst>
                  <a:lin ang="5400000" scaled="0"/>
                </a:gradFill>
                <a:ea typeface="Segoe UI" pitchFamily="34" charset="0"/>
                <a:cs typeface="Segoe UI" pitchFamily="34" charset="0"/>
              </a:rPr>
              <a:t>r/o Replica 4</a:t>
            </a:r>
          </a:p>
        </p:txBody>
      </p:sp>
      <p:sp>
        <p:nvSpPr>
          <p:cNvPr id="19" name="Down Arrow 18"/>
          <p:cNvSpPr/>
          <p:nvPr/>
        </p:nvSpPr>
        <p:spPr bwMode="auto">
          <a:xfrm rot="13381975">
            <a:off x="10531015" y="2846952"/>
            <a:ext cx="182878" cy="539981"/>
          </a:xfrm>
          <a:prstGeom prst="downArrow">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0" name="Down Arrow 19"/>
          <p:cNvSpPr/>
          <p:nvPr/>
        </p:nvSpPr>
        <p:spPr bwMode="auto">
          <a:xfrm rot="18766896">
            <a:off x="10521835" y="3588127"/>
            <a:ext cx="182878" cy="539981"/>
          </a:xfrm>
          <a:prstGeom prst="downArrow">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21" name="Straight Arrow Connector 20"/>
          <p:cNvCxnSpPr>
            <a:stCxn id="7" idx="3"/>
            <a:endCxn id="17" idx="2"/>
          </p:cNvCxnSpPr>
          <p:nvPr/>
        </p:nvCxnSpPr>
        <p:spPr>
          <a:xfrm>
            <a:off x="8413326" y="3496133"/>
            <a:ext cx="1919925" cy="1248845"/>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4" name="Straight Arrow Connector 23"/>
          <p:cNvCxnSpPr>
            <a:stCxn id="7" idx="3"/>
            <a:endCxn id="16" idx="2"/>
          </p:cNvCxnSpPr>
          <p:nvPr/>
        </p:nvCxnSpPr>
        <p:spPr>
          <a:xfrm flipV="1">
            <a:off x="8413326" y="2340986"/>
            <a:ext cx="1919665" cy="1155147"/>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15040822"/>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err="1"/>
              <a:t>Sharding</a:t>
            </a:r>
            <a:r>
              <a:rPr lang="en-US" dirty="0"/>
              <a:t> Pattern</a:t>
            </a:r>
          </a:p>
        </p:txBody>
      </p:sp>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469238" y="1212849"/>
            <a:ext cx="6500390" cy="3866899"/>
          </a:xfrm>
          <a:prstGeom prst="rect">
            <a:avLst/>
          </a:prstGeom>
        </p:spPr>
      </p:pic>
      <p:sp>
        <p:nvSpPr>
          <p:cNvPr id="2" name="Rectangle 1"/>
          <p:cNvSpPr/>
          <p:nvPr/>
        </p:nvSpPr>
        <p:spPr>
          <a:xfrm>
            <a:off x="270159" y="5535658"/>
            <a:ext cx="11894043" cy="646331"/>
          </a:xfrm>
          <a:prstGeom prst="rect">
            <a:avLst/>
          </a:prstGeom>
        </p:spPr>
        <p:txBody>
          <a:bodyPr wrap="square">
            <a:spAutoFit/>
          </a:bodyPr>
          <a:lstStyle/>
          <a:p>
            <a:r>
              <a:rPr lang="en-US" dirty="0"/>
              <a:t>Divide a data store into a set of horizontal partitions or shards. This pattern can improve scalability when storing and accessing large volumes of data.</a:t>
            </a:r>
            <a:endParaRPr lang="en-US" dirty="0">
              <a:effectLst/>
            </a:endParaRPr>
          </a:p>
        </p:txBody>
      </p:sp>
    </p:spTree>
    <p:extLst>
      <p:ext uri="{BB962C8B-B14F-4D97-AF65-F5344CB8AC3E}">
        <p14:creationId xmlns:p14="http://schemas.microsoft.com/office/powerpoint/2010/main" val="1518336113"/>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QL Azure Scaling Out</a:t>
            </a:r>
          </a:p>
        </p:txBody>
      </p:sp>
      <p:sp>
        <p:nvSpPr>
          <p:cNvPr id="3" name="Text Placeholder 2"/>
          <p:cNvSpPr>
            <a:spLocks noGrp="1"/>
          </p:cNvSpPr>
          <p:nvPr>
            <p:ph type="body" sz="quarter" idx="10"/>
          </p:nvPr>
        </p:nvSpPr>
        <p:spPr>
          <a:xfrm>
            <a:off x="274638" y="1212850"/>
            <a:ext cx="5732908" cy="5287601"/>
          </a:xfrm>
        </p:spPr>
        <p:txBody>
          <a:bodyPr/>
          <a:lstStyle/>
          <a:p>
            <a:r>
              <a:rPr lang="en-US" dirty="0"/>
              <a:t>Shard Map Manager and Shard DBs</a:t>
            </a:r>
          </a:p>
          <a:p>
            <a:endParaRPr lang="en-US" dirty="0"/>
          </a:p>
          <a:p>
            <a:endParaRPr lang="en-US" dirty="0"/>
          </a:p>
          <a:p>
            <a:endParaRPr lang="en-US" dirty="0"/>
          </a:p>
          <a:p>
            <a:pPr marL="571500" indent="-571500">
              <a:buFont typeface="Arial" panose="020B0604020202020204" pitchFamily="34" charset="0"/>
              <a:buChar char="•"/>
            </a:pPr>
            <a:r>
              <a:rPr lang="en-US" sz="3600" dirty="0"/>
              <a:t>Data-dependent routing </a:t>
            </a:r>
          </a:p>
          <a:p>
            <a:pPr marL="571500" indent="-571500">
              <a:buFont typeface="Arial" panose="020B0604020202020204" pitchFamily="34" charset="0"/>
              <a:buChar char="•"/>
            </a:pPr>
            <a:r>
              <a:rPr lang="en-US" sz="3600" dirty="0"/>
              <a:t>Multi-shard querying</a:t>
            </a:r>
          </a:p>
          <a:p>
            <a:pPr marL="571500" indent="-571500">
              <a:buFont typeface="Arial" panose="020B0604020202020204" pitchFamily="34" charset="0"/>
              <a:buChar char="•"/>
            </a:pPr>
            <a:r>
              <a:rPr lang="en-US" sz="3600" dirty="0"/>
              <a:t>Elastic database pool </a:t>
            </a:r>
          </a:p>
        </p:txBody>
      </p:sp>
      <p:sp>
        <p:nvSpPr>
          <p:cNvPr id="4" name="Flowchart: Magnetic Disk 3"/>
          <p:cNvSpPr/>
          <p:nvPr/>
        </p:nvSpPr>
        <p:spPr bwMode="auto">
          <a:xfrm>
            <a:off x="4663773" y="2602584"/>
            <a:ext cx="1343773" cy="1319891"/>
          </a:xfrm>
          <a:prstGeom prst="flowChartMagneticDisk">
            <a:avLst/>
          </a:prstGeom>
          <a:solidFill>
            <a:srgbClr val="FFC000"/>
          </a:solidFill>
          <a:ln>
            <a:solidFill>
              <a:schemeClr val="bg1">
                <a:lumMod val="9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r>
              <a:rPr lang="en-US" spc="-50" dirty="0">
                <a:gradFill>
                  <a:gsLst>
                    <a:gs pos="0">
                      <a:srgbClr val="FFFFFF"/>
                    </a:gs>
                    <a:gs pos="100000">
                      <a:srgbClr val="FFFFFF"/>
                    </a:gs>
                  </a:gsLst>
                  <a:lin ang="5400000" scaled="0"/>
                </a:gradFill>
                <a:latin typeface="Segoe UI" pitchFamily="34" charset="0"/>
                <a:ea typeface="Segoe UI" pitchFamily="34" charset="0"/>
                <a:cs typeface="Segoe UI" pitchFamily="34" charset="0"/>
              </a:rPr>
              <a:t>Shard Map</a:t>
            </a:r>
          </a:p>
          <a:p>
            <a:pPr algn="ctr" defTabSz="914099" fontAlgn="base">
              <a:spcBef>
                <a:spcPct val="0"/>
              </a:spcBef>
              <a:spcAft>
                <a:spcPct val="0"/>
              </a:spcAft>
            </a:pPr>
            <a:r>
              <a:rPr lang="en-US" spc="-50" dirty="0">
                <a:gradFill>
                  <a:gsLst>
                    <a:gs pos="0">
                      <a:srgbClr val="FFFFFF"/>
                    </a:gs>
                    <a:gs pos="100000">
                      <a:srgbClr val="FFFFFF"/>
                    </a:gs>
                  </a:gsLst>
                  <a:lin ang="5400000" scaled="0"/>
                </a:gradFill>
                <a:latin typeface="Segoe UI" pitchFamily="34" charset="0"/>
                <a:ea typeface="Segoe UI" pitchFamily="34" charset="0"/>
                <a:cs typeface="Segoe UI" pitchFamily="34" charset="0"/>
              </a:rPr>
              <a:t>Manager</a:t>
            </a:r>
          </a:p>
        </p:txBody>
      </p:sp>
      <p:graphicFrame>
        <p:nvGraphicFramePr>
          <p:cNvPr id="5" name="Table 4"/>
          <p:cNvGraphicFramePr>
            <a:graphicFrameLocks noGrp="1"/>
          </p:cNvGraphicFramePr>
          <p:nvPr>
            <p:extLst>
              <p:ext uri="{D42A27DB-BD31-4B8C-83A1-F6EECF244321}">
                <p14:modId xmlns:p14="http://schemas.microsoft.com/office/powerpoint/2010/main" val="270614273"/>
              </p:ext>
            </p:extLst>
          </p:nvPr>
        </p:nvGraphicFramePr>
        <p:xfrm>
          <a:off x="7667786" y="1215085"/>
          <a:ext cx="2001795" cy="1371600"/>
        </p:xfrm>
        <a:graphic>
          <a:graphicData uri="http://schemas.openxmlformats.org/drawingml/2006/table">
            <a:tbl>
              <a:tblPr firstRow="1" bandRow="1">
                <a:tableStyleId>{5C22544A-7EE6-4342-B048-85BDC9FD1C3A}</a:tableStyleId>
              </a:tblPr>
              <a:tblGrid>
                <a:gridCol w="792205">
                  <a:extLst>
                    <a:ext uri="{9D8B030D-6E8A-4147-A177-3AD203B41FA5}">
                      <a16:colId xmlns:a16="http://schemas.microsoft.com/office/drawing/2014/main" val="20000"/>
                    </a:ext>
                  </a:extLst>
                </a:gridCol>
                <a:gridCol w="1209590">
                  <a:extLst>
                    <a:ext uri="{9D8B030D-6E8A-4147-A177-3AD203B41FA5}">
                      <a16:colId xmlns:a16="http://schemas.microsoft.com/office/drawing/2014/main" val="20001"/>
                    </a:ext>
                  </a:extLst>
                </a:gridCol>
              </a:tblGrid>
              <a:tr h="225963">
                <a:tc>
                  <a:txBody>
                    <a:bodyPr/>
                    <a:lstStyle/>
                    <a:p>
                      <a:r>
                        <a:rPr lang="en-US" sz="1200" dirty="0"/>
                        <a:t>Key</a:t>
                      </a:r>
                    </a:p>
                  </a:txBody>
                  <a:tcPr/>
                </a:tc>
                <a:tc>
                  <a:txBody>
                    <a:bodyPr/>
                    <a:lstStyle/>
                    <a:p>
                      <a:r>
                        <a:rPr lang="en-US" sz="1200" dirty="0"/>
                        <a:t>Shard</a:t>
                      </a:r>
                    </a:p>
                  </a:txBody>
                  <a:tcPr/>
                </a:tc>
                <a:extLst>
                  <a:ext uri="{0D108BD9-81ED-4DB2-BD59-A6C34878D82A}">
                    <a16:rowId xmlns:a16="http://schemas.microsoft.com/office/drawing/2014/main" val="10000"/>
                  </a:ext>
                </a:extLst>
              </a:tr>
              <a:tr h="0">
                <a:tc>
                  <a:txBody>
                    <a:bodyPr/>
                    <a:lstStyle/>
                    <a:p>
                      <a:r>
                        <a:rPr lang="en-US" sz="1200" dirty="0"/>
                        <a:t>1</a:t>
                      </a:r>
                    </a:p>
                  </a:txBody>
                  <a:tcPr/>
                </a:tc>
                <a:tc>
                  <a:txBody>
                    <a:bodyPr/>
                    <a:lstStyle/>
                    <a:p>
                      <a:r>
                        <a:rPr lang="en-US" sz="1200" dirty="0"/>
                        <a:t>Server 1, DB A</a:t>
                      </a:r>
                    </a:p>
                  </a:txBody>
                  <a:tcPr/>
                </a:tc>
                <a:extLst>
                  <a:ext uri="{0D108BD9-81ED-4DB2-BD59-A6C34878D82A}">
                    <a16:rowId xmlns:a16="http://schemas.microsoft.com/office/drawing/2014/main" val="10001"/>
                  </a:ext>
                </a:extLst>
              </a:tr>
              <a:tr h="0">
                <a:tc>
                  <a:txBody>
                    <a:bodyPr/>
                    <a:lstStyle/>
                    <a:p>
                      <a:r>
                        <a:rPr lang="en-US" sz="1200" dirty="0"/>
                        <a:t>2</a:t>
                      </a:r>
                    </a:p>
                  </a:txBody>
                  <a:tcPr/>
                </a:tc>
                <a:tc>
                  <a:txBody>
                    <a:bodyPr/>
                    <a:lstStyle/>
                    <a:p>
                      <a:r>
                        <a:rPr lang="en-US" sz="1200" dirty="0"/>
                        <a:t>Server 1, DB A</a:t>
                      </a:r>
                    </a:p>
                  </a:txBody>
                  <a:tcPr/>
                </a:tc>
                <a:extLst>
                  <a:ext uri="{0D108BD9-81ED-4DB2-BD59-A6C34878D82A}">
                    <a16:rowId xmlns:a16="http://schemas.microsoft.com/office/drawing/2014/main" val="10002"/>
                  </a:ext>
                </a:extLst>
              </a:tr>
              <a:tr h="0">
                <a:tc>
                  <a:txBody>
                    <a:bodyPr/>
                    <a:lstStyle/>
                    <a:p>
                      <a:r>
                        <a:rPr lang="en-US" sz="1200" dirty="0"/>
                        <a:t>3</a:t>
                      </a:r>
                    </a:p>
                  </a:txBody>
                  <a:tcPr/>
                </a:tc>
                <a:tc>
                  <a:txBody>
                    <a:bodyPr/>
                    <a:lstStyle/>
                    <a:p>
                      <a:r>
                        <a:rPr lang="en-US" sz="1200" dirty="0"/>
                        <a:t>Server 1, DB A</a:t>
                      </a:r>
                    </a:p>
                  </a:txBody>
                  <a:tcPr/>
                </a:tc>
                <a:extLst>
                  <a:ext uri="{0D108BD9-81ED-4DB2-BD59-A6C34878D82A}">
                    <a16:rowId xmlns:a16="http://schemas.microsoft.com/office/drawing/2014/main" val="10003"/>
                  </a:ext>
                </a:extLst>
              </a:tr>
              <a:tr h="0">
                <a:tc>
                  <a:txBody>
                    <a:bodyPr/>
                    <a:lstStyle/>
                    <a:p>
                      <a:r>
                        <a:rPr lang="en-US" sz="1200" dirty="0"/>
                        <a:t>4</a:t>
                      </a:r>
                    </a:p>
                  </a:txBody>
                  <a:tcPr/>
                </a:tc>
                <a:tc>
                  <a:txBody>
                    <a:bodyPr/>
                    <a:lstStyle/>
                    <a:p>
                      <a:pPr marL="0" marR="0" indent="0" algn="l" defTabSz="914684" rtl="0" eaLnBrk="1" fontAlgn="auto" latinLnBrk="0" hangingPunct="1">
                        <a:lnSpc>
                          <a:spcPct val="100000"/>
                        </a:lnSpc>
                        <a:spcBef>
                          <a:spcPts val="0"/>
                        </a:spcBef>
                        <a:spcAft>
                          <a:spcPts val="0"/>
                        </a:spcAft>
                        <a:buClrTx/>
                        <a:buSzTx/>
                        <a:buFontTx/>
                        <a:buNone/>
                        <a:tabLst/>
                        <a:defRPr/>
                      </a:pPr>
                      <a:r>
                        <a:rPr lang="en-US" sz="1200" dirty="0"/>
                        <a:t>Server 1, DB A</a:t>
                      </a:r>
                    </a:p>
                  </a:txBody>
                  <a:tcPr/>
                </a:tc>
                <a:extLst>
                  <a:ext uri="{0D108BD9-81ED-4DB2-BD59-A6C34878D82A}">
                    <a16:rowId xmlns:a16="http://schemas.microsoft.com/office/drawing/2014/main" val="10004"/>
                  </a:ext>
                </a:extLst>
              </a:tr>
            </a:tbl>
          </a:graphicData>
        </a:graphic>
      </p:graphicFrame>
      <p:graphicFrame>
        <p:nvGraphicFramePr>
          <p:cNvPr id="7" name="Table 6"/>
          <p:cNvGraphicFramePr>
            <a:graphicFrameLocks noGrp="1"/>
          </p:cNvGraphicFramePr>
          <p:nvPr>
            <p:extLst>
              <p:ext uri="{D42A27DB-BD31-4B8C-83A1-F6EECF244321}">
                <p14:modId xmlns:p14="http://schemas.microsoft.com/office/powerpoint/2010/main" val="3819635892"/>
              </p:ext>
            </p:extLst>
          </p:nvPr>
        </p:nvGraphicFramePr>
        <p:xfrm>
          <a:off x="7667786" y="3678199"/>
          <a:ext cx="2001795" cy="1219200"/>
        </p:xfrm>
        <a:graphic>
          <a:graphicData uri="http://schemas.openxmlformats.org/drawingml/2006/table">
            <a:tbl>
              <a:tblPr firstRow="1" bandRow="1">
                <a:tableStyleId>{5C22544A-7EE6-4342-B048-85BDC9FD1C3A}</a:tableStyleId>
              </a:tblPr>
              <a:tblGrid>
                <a:gridCol w="792205">
                  <a:extLst>
                    <a:ext uri="{9D8B030D-6E8A-4147-A177-3AD203B41FA5}">
                      <a16:colId xmlns:a16="http://schemas.microsoft.com/office/drawing/2014/main" val="20000"/>
                    </a:ext>
                  </a:extLst>
                </a:gridCol>
                <a:gridCol w="1209590">
                  <a:extLst>
                    <a:ext uri="{9D8B030D-6E8A-4147-A177-3AD203B41FA5}">
                      <a16:colId xmlns:a16="http://schemas.microsoft.com/office/drawing/2014/main" val="20001"/>
                    </a:ext>
                  </a:extLst>
                </a:gridCol>
              </a:tblGrid>
              <a:tr h="197130">
                <a:tc>
                  <a:txBody>
                    <a:bodyPr/>
                    <a:lstStyle/>
                    <a:p>
                      <a:r>
                        <a:rPr lang="en-US" sz="900" dirty="0"/>
                        <a:t>Key Range</a:t>
                      </a:r>
                    </a:p>
                  </a:txBody>
                  <a:tcPr/>
                </a:tc>
                <a:tc>
                  <a:txBody>
                    <a:bodyPr/>
                    <a:lstStyle/>
                    <a:p>
                      <a:r>
                        <a:rPr lang="en-US" sz="1000" dirty="0"/>
                        <a:t>Shard</a:t>
                      </a:r>
                    </a:p>
                  </a:txBody>
                  <a:tcPr/>
                </a:tc>
                <a:extLst>
                  <a:ext uri="{0D108BD9-81ED-4DB2-BD59-A6C34878D82A}">
                    <a16:rowId xmlns:a16="http://schemas.microsoft.com/office/drawing/2014/main" val="10000"/>
                  </a:ext>
                </a:extLst>
              </a:tr>
              <a:tr h="0">
                <a:tc>
                  <a:txBody>
                    <a:bodyPr/>
                    <a:lstStyle/>
                    <a:p>
                      <a:r>
                        <a:rPr lang="en-US" sz="1000" dirty="0"/>
                        <a:t>100-500</a:t>
                      </a:r>
                    </a:p>
                  </a:txBody>
                  <a:tcPr/>
                </a:tc>
                <a:tc>
                  <a:txBody>
                    <a:bodyPr/>
                    <a:lstStyle/>
                    <a:p>
                      <a:r>
                        <a:rPr lang="en-US" sz="1000" dirty="0"/>
                        <a:t>Server 1, DB C</a:t>
                      </a:r>
                    </a:p>
                  </a:txBody>
                  <a:tcPr/>
                </a:tc>
                <a:extLst>
                  <a:ext uri="{0D108BD9-81ED-4DB2-BD59-A6C34878D82A}">
                    <a16:rowId xmlns:a16="http://schemas.microsoft.com/office/drawing/2014/main" val="10001"/>
                  </a:ext>
                </a:extLst>
              </a:tr>
              <a:tr h="0">
                <a:tc>
                  <a:txBody>
                    <a:bodyPr/>
                    <a:lstStyle/>
                    <a:p>
                      <a:r>
                        <a:rPr lang="en-US" sz="1000" dirty="0"/>
                        <a:t>500-1000</a:t>
                      </a:r>
                    </a:p>
                  </a:txBody>
                  <a:tcPr/>
                </a:tc>
                <a:tc>
                  <a:txBody>
                    <a:bodyPr/>
                    <a:lstStyle/>
                    <a:p>
                      <a:r>
                        <a:rPr lang="en-US" sz="1000" dirty="0"/>
                        <a:t>Server 2, DB D</a:t>
                      </a:r>
                    </a:p>
                  </a:txBody>
                  <a:tcPr/>
                </a:tc>
                <a:extLst>
                  <a:ext uri="{0D108BD9-81ED-4DB2-BD59-A6C34878D82A}">
                    <a16:rowId xmlns:a16="http://schemas.microsoft.com/office/drawing/2014/main" val="10002"/>
                  </a:ext>
                </a:extLst>
              </a:tr>
              <a:tr h="0">
                <a:tc>
                  <a:txBody>
                    <a:bodyPr/>
                    <a:lstStyle/>
                    <a:p>
                      <a:r>
                        <a:rPr lang="en-US" sz="1000" dirty="0"/>
                        <a:t>1000-1500</a:t>
                      </a:r>
                    </a:p>
                  </a:txBody>
                  <a:tcPr/>
                </a:tc>
                <a:tc>
                  <a:txBody>
                    <a:bodyPr/>
                    <a:lstStyle/>
                    <a:p>
                      <a:r>
                        <a:rPr lang="en-US" sz="1000" dirty="0"/>
                        <a:t>Server 3, DB E</a:t>
                      </a:r>
                    </a:p>
                  </a:txBody>
                  <a:tcPr/>
                </a:tc>
                <a:extLst>
                  <a:ext uri="{0D108BD9-81ED-4DB2-BD59-A6C34878D82A}">
                    <a16:rowId xmlns:a16="http://schemas.microsoft.com/office/drawing/2014/main" val="10003"/>
                  </a:ext>
                </a:extLst>
              </a:tr>
              <a:tr h="0">
                <a:tc>
                  <a:txBody>
                    <a:bodyPr/>
                    <a:lstStyle/>
                    <a:p>
                      <a:r>
                        <a:rPr lang="en-US" sz="1000" dirty="0"/>
                        <a:t>1500-2000</a:t>
                      </a:r>
                    </a:p>
                  </a:txBody>
                  <a:tcPr/>
                </a:tc>
                <a:tc>
                  <a:txBody>
                    <a:bodyPr/>
                    <a:lstStyle/>
                    <a:p>
                      <a:pPr marL="0" marR="0" indent="0" algn="l" defTabSz="914684" rtl="0" eaLnBrk="1" fontAlgn="auto" latinLnBrk="0" hangingPunct="1">
                        <a:lnSpc>
                          <a:spcPct val="100000"/>
                        </a:lnSpc>
                        <a:spcBef>
                          <a:spcPts val="0"/>
                        </a:spcBef>
                        <a:spcAft>
                          <a:spcPts val="0"/>
                        </a:spcAft>
                        <a:buClrTx/>
                        <a:buSzTx/>
                        <a:buFontTx/>
                        <a:buNone/>
                        <a:tabLst/>
                        <a:defRPr/>
                      </a:pPr>
                      <a:r>
                        <a:rPr lang="en-US" sz="1000" dirty="0"/>
                        <a:t>Server 4, DB F</a:t>
                      </a:r>
                    </a:p>
                  </a:txBody>
                  <a:tcPr/>
                </a:tc>
                <a:extLst>
                  <a:ext uri="{0D108BD9-81ED-4DB2-BD59-A6C34878D82A}">
                    <a16:rowId xmlns:a16="http://schemas.microsoft.com/office/drawing/2014/main" val="10004"/>
                  </a:ext>
                </a:extLst>
              </a:tr>
            </a:tbl>
          </a:graphicData>
        </a:graphic>
      </p:graphicFrame>
      <p:pic>
        <p:nvPicPr>
          <p:cNvPr id="8" name="Picture 2" descr="C:\Users\daiken\AppData\Local\Microsoft\Windows\Temporary Internet Files\Content.IE5\UWY6LG0D\MCj04348450000[1].png"/>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10496993" y="1390866"/>
            <a:ext cx="930245" cy="1239505"/>
          </a:xfrm>
          <a:prstGeom prst="rect">
            <a:avLst/>
          </a:prstGeom>
          <a:noFill/>
        </p:spPr>
      </p:pic>
      <p:cxnSp>
        <p:nvCxnSpPr>
          <p:cNvPr id="9" name="Elbow Connector 8"/>
          <p:cNvCxnSpPr>
            <a:stCxn id="4" idx="4"/>
          </p:cNvCxnSpPr>
          <p:nvPr/>
        </p:nvCxnSpPr>
        <p:spPr>
          <a:xfrm flipV="1">
            <a:off x="6007546" y="2123240"/>
            <a:ext cx="1338965" cy="1139290"/>
          </a:xfrm>
          <a:prstGeom prst="bentConnector3">
            <a:avLst>
              <a:gd name="adj1" fmla="val 50000"/>
            </a:avLst>
          </a:prstGeom>
          <a:ln>
            <a:solidFill>
              <a:schemeClr val="tx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0" name="Elbow Connector 9"/>
          <p:cNvCxnSpPr>
            <a:stCxn id="4" idx="4"/>
          </p:cNvCxnSpPr>
          <p:nvPr/>
        </p:nvCxnSpPr>
        <p:spPr>
          <a:xfrm>
            <a:off x="6007546" y="3262530"/>
            <a:ext cx="1338965" cy="1323823"/>
          </a:xfrm>
          <a:prstGeom prst="bentConnector3">
            <a:avLst/>
          </a:prstGeom>
          <a:ln>
            <a:solidFill>
              <a:schemeClr val="tx1">
                <a:lumMod val="50000"/>
              </a:schemeClr>
            </a:solidFill>
            <a:tailEnd type="triangle"/>
          </a:ln>
        </p:spPr>
        <p:style>
          <a:lnRef idx="1">
            <a:schemeClr val="accent1"/>
          </a:lnRef>
          <a:fillRef idx="0">
            <a:schemeClr val="accent1"/>
          </a:fillRef>
          <a:effectRef idx="0">
            <a:schemeClr val="accent1"/>
          </a:effectRef>
          <a:fontRef idx="minor">
            <a:schemeClr val="tx1"/>
          </a:fontRef>
        </p:style>
      </p:cxnSp>
      <p:pic>
        <p:nvPicPr>
          <p:cNvPr id="11" name="Picture 2" descr="C:\Users\daiken\AppData\Local\Microsoft\Windows\Temporary Internet Files\Content.IE5\UWY6LG0D\MCj04348450000[1].png"/>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11307530" y="3768981"/>
            <a:ext cx="563341" cy="750624"/>
          </a:xfrm>
          <a:prstGeom prst="rect">
            <a:avLst/>
          </a:prstGeom>
          <a:noFill/>
        </p:spPr>
      </p:pic>
      <p:pic>
        <p:nvPicPr>
          <p:cNvPr id="12" name="Picture 2" descr="C:\Users\daiken\AppData\Local\Microsoft\Windows\Temporary Internet Files\Content.IE5\UWY6LG0D\MCj04348450000[1].png"/>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11307530" y="4620481"/>
            <a:ext cx="553609" cy="737656"/>
          </a:xfrm>
          <a:prstGeom prst="rect">
            <a:avLst/>
          </a:prstGeom>
          <a:noFill/>
        </p:spPr>
      </p:pic>
      <p:pic>
        <p:nvPicPr>
          <p:cNvPr id="13" name="Picture 2" descr="C:\Users\daiken\AppData\Local\Microsoft\Windows\Temporary Internet Files\Content.IE5\UWY6LG0D\MCj04348450000[1].png"/>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9766355" y="3768981"/>
            <a:ext cx="991584" cy="1321237"/>
          </a:xfrm>
          <a:prstGeom prst="rect">
            <a:avLst/>
          </a:prstGeom>
          <a:noFill/>
        </p:spPr>
      </p:pic>
      <p:sp>
        <p:nvSpPr>
          <p:cNvPr id="14" name="Flowchart: Magnetic Disk 13"/>
          <p:cNvSpPr/>
          <p:nvPr/>
        </p:nvSpPr>
        <p:spPr bwMode="auto">
          <a:xfrm>
            <a:off x="11378805" y="1503953"/>
            <a:ext cx="506627" cy="420130"/>
          </a:xfrm>
          <a:prstGeom prst="flowChartMagneticDisk">
            <a:avLst/>
          </a:prstGeom>
          <a:solidFill>
            <a:srgbClr val="92D050"/>
          </a:solidFill>
          <a:ln>
            <a:solidFill>
              <a:schemeClr val="bg1">
                <a:lumMod val="9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t" anchorCtr="0" forceAA="0" compatLnSpc="1">
            <a:prstTxWarp prst="textNoShape">
              <a:avLst/>
            </a:prstTxWarp>
            <a:noAutofit/>
          </a:bodyPr>
          <a:lstStyle/>
          <a:p>
            <a:pPr algn="ctr" defTabSz="914099" fontAlgn="base">
              <a:spcBef>
                <a:spcPct val="0"/>
              </a:spcBef>
              <a:spcAft>
                <a:spcPct val="0"/>
              </a:spcAft>
            </a:pPr>
            <a:r>
              <a:rPr lang="en-US" sz="1200" spc="-50" dirty="0">
                <a:gradFill>
                  <a:gsLst>
                    <a:gs pos="0">
                      <a:srgbClr val="FFFFFF"/>
                    </a:gs>
                    <a:gs pos="100000">
                      <a:srgbClr val="FFFFFF"/>
                    </a:gs>
                  </a:gsLst>
                  <a:lin ang="5400000" scaled="0"/>
                </a:gradFill>
                <a:latin typeface="Segoe UI" pitchFamily="34" charset="0"/>
                <a:ea typeface="Segoe UI" pitchFamily="34" charset="0"/>
                <a:cs typeface="Segoe UI" pitchFamily="34" charset="0"/>
              </a:rPr>
              <a:t>DB A</a:t>
            </a:r>
          </a:p>
        </p:txBody>
      </p:sp>
      <p:sp>
        <p:nvSpPr>
          <p:cNvPr id="15" name="Flowchart: Magnetic Disk 14"/>
          <p:cNvSpPr/>
          <p:nvPr/>
        </p:nvSpPr>
        <p:spPr bwMode="auto">
          <a:xfrm>
            <a:off x="10579308" y="4058643"/>
            <a:ext cx="392151" cy="325281"/>
          </a:xfrm>
          <a:prstGeom prst="flowChartMagneticDisk">
            <a:avLst/>
          </a:prstGeom>
          <a:solidFill>
            <a:srgbClr val="92D050"/>
          </a:solidFill>
          <a:ln>
            <a:solidFill>
              <a:schemeClr val="bg1">
                <a:lumMod val="9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t" anchorCtr="0" forceAA="0" compatLnSpc="1">
            <a:prstTxWarp prst="textNoShape">
              <a:avLst/>
            </a:prstTxWarp>
            <a:noAutofit/>
          </a:bodyPr>
          <a:lstStyle/>
          <a:p>
            <a:pPr algn="ctr" defTabSz="914099" fontAlgn="base">
              <a:spcBef>
                <a:spcPct val="0"/>
              </a:spcBef>
              <a:spcAft>
                <a:spcPct val="0"/>
              </a:spcAft>
            </a:pPr>
            <a:r>
              <a:rPr lang="en-US" sz="900" spc="-50" dirty="0">
                <a:gradFill>
                  <a:gsLst>
                    <a:gs pos="0">
                      <a:srgbClr val="FFFFFF"/>
                    </a:gs>
                    <a:gs pos="100000">
                      <a:srgbClr val="FFFFFF"/>
                    </a:gs>
                  </a:gsLst>
                  <a:lin ang="5400000" scaled="0"/>
                </a:gradFill>
                <a:latin typeface="Segoe UI" pitchFamily="34" charset="0"/>
                <a:ea typeface="Segoe UI" pitchFamily="34" charset="0"/>
                <a:cs typeface="Segoe UI" pitchFamily="34" charset="0"/>
              </a:rPr>
              <a:t>DB C</a:t>
            </a:r>
          </a:p>
        </p:txBody>
      </p:sp>
      <p:sp>
        <p:nvSpPr>
          <p:cNvPr id="16" name="Flowchart: Magnetic Disk 15"/>
          <p:cNvSpPr/>
          <p:nvPr/>
        </p:nvSpPr>
        <p:spPr bwMode="auto">
          <a:xfrm>
            <a:off x="10586741" y="4430467"/>
            <a:ext cx="395906" cy="311771"/>
          </a:xfrm>
          <a:prstGeom prst="flowChartMagneticDisk">
            <a:avLst/>
          </a:prstGeom>
          <a:solidFill>
            <a:srgbClr val="92D050"/>
          </a:solidFill>
          <a:ln>
            <a:solidFill>
              <a:schemeClr val="bg1">
                <a:lumMod val="9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t" anchorCtr="0" forceAA="0" compatLnSpc="1">
            <a:prstTxWarp prst="textNoShape">
              <a:avLst/>
            </a:prstTxWarp>
            <a:noAutofit/>
          </a:bodyPr>
          <a:lstStyle/>
          <a:p>
            <a:pPr algn="ctr" defTabSz="914099" fontAlgn="base">
              <a:spcBef>
                <a:spcPct val="0"/>
              </a:spcBef>
              <a:spcAft>
                <a:spcPct val="0"/>
              </a:spcAft>
            </a:pPr>
            <a:r>
              <a:rPr lang="en-US" sz="900" spc="-50" dirty="0">
                <a:gradFill>
                  <a:gsLst>
                    <a:gs pos="0">
                      <a:srgbClr val="FFFFFF"/>
                    </a:gs>
                    <a:gs pos="100000">
                      <a:srgbClr val="FFFFFF"/>
                    </a:gs>
                  </a:gsLst>
                  <a:lin ang="5400000" scaled="0"/>
                </a:gradFill>
                <a:latin typeface="Segoe UI" pitchFamily="34" charset="0"/>
                <a:ea typeface="Segoe UI" pitchFamily="34" charset="0"/>
                <a:cs typeface="Segoe UI" pitchFamily="34" charset="0"/>
              </a:rPr>
              <a:t>DB D</a:t>
            </a:r>
          </a:p>
        </p:txBody>
      </p:sp>
      <p:sp>
        <p:nvSpPr>
          <p:cNvPr id="17" name="Flowchart: Magnetic Disk 16"/>
          <p:cNvSpPr/>
          <p:nvPr/>
        </p:nvSpPr>
        <p:spPr bwMode="auto">
          <a:xfrm>
            <a:off x="11378804" y="2016938"/>
            <a:ext cx="506627" cy="420130"/>
          </a:xfrm>
          <a:prstGeom prst="flowChartMagneticDisk">
            <a:avLst/>
          </a:prstGeom>
          <a:solidFill>
            <a:srgbClr val="92D050"/>
          </a:solidFill>
          <a:ln>
            <a:solidFill>
              <a:schemeClr val="bg1">
                <a:lumMod val="9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t" anchorCtr="0" forceAA="0" compatLnSpc="1">
            <a:prstTxWarp prst="textNoShape">
              <a:avLst/>
            </a:prstTxWarp>
            <a:noAutofit/>
          </a:bodyPr>
          <a:lstStyle/>
          <a:p>
            <a:pPr algn="ctr" defTabSz="914099" fontAlgn="base">
              <a:spcBef>
                <a:spcPct val="0"/>
              </a:spcBef>
              <a:spcAft>
                <a:spcPct val="0"/>
              </a:spcAft>
            </a:pPr>
            <a:r>
              <a:rPr lang="en-US" sz="1200" spc="-50" dirty="0">
                <a:gradFill>
                  <a:gsLst>
                    <a:gs pos="0">
                      <a:srgbClr val="FFFFFF"/>
                    </a:gs>
                    <a:gs pos="100000">
                      <a:srgbClr val="FFFFFF"/>
                    </a:gs>
                  </a:gsLst>
                  <a:lin ang="5400000" scaled="0"/>
                </a:gradFill>
                <a:latin typeface="Segoe UI" pitchFamily="34" charset="0"/>
                <a:ea typeface="Segoe UI" pitchFamily="34" charset="0"/>
                <a:cs typeface="Segoe UI" pitchFamily="34" charset="0"/>
              </a:rPr>
              <a:t>DB B</a:t>
            </a:r>
          </a:p>
        </p:txBody>
      </p:sp>
      <p:sp>
        <p:nvSpPr>
          <p:cNvPr id="18" name="Flowchart: Magnetic Disk 17"/>
          <p:cNvSpPr/>
          <p:nvPr/>
        </p:nvSpPr>
        <p:spPr bwMode="auto">
          <a:xfrm>
            <a:off x="11777222" y="3922475"/>
            <a:ext cx="377145" cy="350549"/>
          </a:xfrm>
          <a:prstGeom prst="flowChartMagneticDisk">
            <a:avLst/>
          </a:prstGeom>
          <a:solidFill>
            <a:srgbClr val="92D050"/>
          </a:solidFill>
          <a:ln>
            <a:solidFill>
              <a:schemeClr val="bg1">
                <a:lumMod val="9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t" anchorCtr="0" forceAA="0" compatLnSpc="1">
            <a:prstTxWarp prst="textNoShape">
              <a:avLst/>
            </a:prstTxWarp>
            <a:noAutofit/>
          </a:bodyPr>
          <a:lstStyle/>
          <a:p>
            <a:pPr algn="ctr" defTabSz="914099" fontAlgn="base">
              <a:spcBef>
                <a:spcPct val="0"/>
              </a:spcBef>
              <a:spcAft>
                <a:spcPct val="0"/>
              </a:spcAft>
            </a:pPr>
            <a:r>
              <a:rPr lang="en-US" sz="900" spc="-50" dirty="0">
                <a:gradFill>
                  <a:gsLst>
                    <a:gs pos="0">
                      <a:srgbClr val="FFFFFF"/>
                    </a:gs>
                    <a:gs pos="100000">
                      <a:srgbClr val="FFFFFF"/>
                    </a:gs>
                  </a:gsLst>
                  <a:lin ang="5400000" scaled="0"/>
                </a:gradFill>
                <a:latin typeface="Segoe UI" pitchFamily="34" charset="0"/>
                <a:ea typeface="Segoe UI" pitchFamily="34" charset="0"/>
                <a:cs typeface="Segoe UI" pitchFamily="34" charset="0"/>
              </a:rPr>
              <a:t>DB E</a:t>
            </a:r>
          </a:p>
        </p:txBody>
      </p:sp>
      <p:sp>
        <p:nvSpPr>
          <p:cNvPr id="19" name="Flowchart: Magnetic Disk 18"/>
          <p:cNvSpPr/>
          <p:nvPr/>
        </p:nvSpPr>
        <p:spPr bwMode="auto">
          <a:xfrm>
            <a:off x="11735653" y="4750105"/>
            <a:ext cx="377145" cy="350549"/>
          </a:xfrm>
          <a:prstGeom prst="flowChartMagneticDisk">
            <a:avLst/>
          </a:prstGeom>
          <a:solidFill>
            <a:srgbClr val="92D050"/>
          </a:solidFill>
          <a:ln>
            <a:solidFill>
              <a:schemeClr val="bg1">
                <a:lumMod val="9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t" anchorCtr="0" forceAA="0" compatLnSpc="1">
            <a:prstTxWarp prst="textNoShape">
              <a:avLst/>
            </a:prstTxWarp>
            <a:noAutofit/>
          </a:bodyPr>
          <a:lstStyle/>
          <a:p>
            <a:pPr algn="ctr" defTabSz="914099" fontAlgn="base">
              <a:spcBef>
                <a:spcPct val="0"/>
              </a:spcBef>
              <a:spcAft>
                <a:spcPct val="0"/>
              </a:spcAft>
            </a:pPr>
            <a:r>
              <a:rPr lang="en-US" sz="900" spc="-50" dirty="0">
                <a:gradFill>
                  <a:gsLst>
                    <a:gs pos="0">
                      <a:srgbClr val="FFFFFF"/>
                    </a:gs>
                    <a:gs pos="100000">
                      <a:srgbClr val="FFFFFF"/>
                    </a:gs>
                  </a:gsLst>
                  <a:lin ang="5400000" scaled="0"/>
                </a:gradFill>
                <a:latin typeface="Segoe UI" pitchFamily="34" charset="0"/>
                <a:ea typeface="Segoe UI" pitchFamily="34" charset="0"/>
                <a:cs typeface="Segoe UI" pitchFamily="34" charset="0"/>
              </a:rPr>
              <a:t>DB F</a:t>
            </a:r>
          </a:p>
        </p:txBody>
      </p:sp>
      <p:pic>
        <p:nvPicPr>
          <p:cNvPr id="25" name="Picture 24"/>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732360" y="2935757"/>
            <a:ext cx="469562" cy="590106"/>
          </a:xfrm>
          <a:prstGeom prst="rect">
            <a:avLst/>
          </a:prstGeom>
        </p:spPr>
      </p:pic>
      <p:sp>
        <p:nvSpPr>
          <p:cNvPr id="26" name="TextBox 25"/>
          <p:cNvSpPr txBox="1"/>
          <p:nvPr/>
        </p:nvSpPr>
        <p:spPr>
          <a:xfrm>
            <a:off x="1513648" y="3451602"/>
            <a:ext cx="888826" cy="430309"/>
          </a:xfrm>
          <a:prstGeom prst="rect">
            <a:avLst/>
          </a:prstGeom>
          <a:noFill/>
        </p:spPr>
        <p:txBody>
          <a:bodyPr wrap="square" rtlCol="0">
            <a:spAutoFit/>
          </a:bodyPr>
          <a:lstStyle/>
          <a:p>
            <a:pPr algn="ctr"/>
            <a:r>
              <a:rPr lang="en-US" sz="1071" dirty="0">
                <a:solidFill>
                  <a:schemeClr val="tx2"/>
                </a:solidFill>
              </a:rPr>
              <a:t>Application </a:t>
            </a:r>
          </a:p>
          <a:p>
            <a:pPr algn="ctr"/>
            <a:r>
              <a:rPr lang="en-US" sz="1071" dirty="0">
                <a:solidFill>
                  <a:schemeClr val="tx2"/>
                </a:solidFill>
              </a:rPr>
              <a:t>Developer</a:t>
            </a:r>
          </a:p>
        </p:txBody>
      </p:sp>
      <p:sp>
        <p:nvSpPr>
          <p:cNvPr id="27" name="Rounded Rectangle 26"/>
          <p:cNvSpPr/>
          <p:nvPr/>
        </p:nvSpPr>
        <p:spPr bwMode="auto">
          <a:xfrm>
            <a:off x="2535975" y="2989342"/>
            <a:ext cx="1372138" cy="546375"/>
          </a:xfrm>
          <a:prstGeom prst="roundRect">
            <a:avLst/>
          </a:prstGeom>
          <a:solidFill>
            <a:schemeClr val="accent1"/>
          </a:solidFill>
          <a:ln w="28575">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pPr>
            <a:r>
              <a:rPr lang="en-US" sz="1632" dirty="0">
                <a:solidFill>
                  <a:srgbClr val="FFFFFF"/>
                </a:solidFill>
              </a:rPr>
              <a:t>Application</a:t>
            </a:r>
            <a:endParaRPr lang="en-US" sz="1224" dirty="0">
              <a:solidFill>
                <a:srgbClr val="FFFFFF"/>
              </a:solidFill>
            </a:endParaRPr>
          </a:p>
        </p:txBody>
      </p:sp>
      <p:cxnSp>
        <p:nvCxnSpPr>
          <p:cNvPr id="29" name="Straight Arrow Connector 28"/>
          <p:cNvCxnSpPr>
            <a:stCxn id="27" idx="3"/>
          </p:cNvCxnSpPr>
          <p:nvPr/>
        </p:nvCxnSpPr>
        <p:spPr>
          <a:xfrm flipV="1">
            <a:off x="3908113" y="3262529"/>
            <a:ext cx="755660" cy="1"/>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6" name="TextBox 5"/>
          <p:cNvSpPr txBox="1"/>
          <p:nvPr/>
        </p:nvSpPr>
        <p:spPr>
          <a:xfrm>
            <a:off x="7585567" y="2457507"/>
            <a:ext cx="1521891" cy="627864"/>
          </a:xfrm>
          <a:prstGeom prst="rect">
            <a:avLst/>
          </a:prstGeom>
          <a:noFill/>
        </p:spPr>
        <p:txBody>
          <a:bodyPr wrap="non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rPr>
              <a:t>List Map</a:t>
            </a:r>
          </a:p>
        </p:txBody>
      </p:sp>
      <p:sp>
        <p:nvSpPr>
          <p:cNvPr id="20" name="TextBox 19"/>
          <p:cNvSpPr txBox="1"/>
          <p:nvPr/>
        </p:nvSpPr>
        <p:spPr>
          <a:xfrm>
            <a:off x="7604874" y="4786722"/>
            <a:ext cx="1925848" cy="627864"/>
          </a:xfrm>
          <a:prstGeom prst="rect">
            <a:avLst/>
          </a:prstGeom>
          <a:noFill/>
        </p:spPr>
        <p:txBody>
          <a:bodyPr wrap="non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rPr>
              <a:t>Range Map</a:t>
            </a:r>
          </a:p>
        </p:txBody>
      </p:sp>
    </p:spTree>
    <p:extLst>
      <p:ext uri="{BB962C8B-B14F-4D97-AF65-F5344CB8AC3E}">
        <p14:creationId xmlns:p14="http://schemas.microsoft.com/office/powerpoint/2010/main" val="1254707109"/>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enancy models for SaaS Apps</a:t>
            </a:r>
          </a:p>
        </p:txBody>
      </p:sp>
      <p:sp>
        <p:nvSpPr>
          <p:cNvPr id="3" name="Text Placeholder 2"/>
          <p:cNvSpPr>
            <a:spLocks noGrp="1"/>
          </p:cNvSpPr>
          <p:nvPr>
            <p:ph type="body" sz="quarter" idx="10"/>
          </p:nvPr>
        </p:nvSpPr>
        <p:spPr>
          <a:xfrm>
            <a:off x="274638" y="1212850"/>
            <a:ext cx="8457086" cy="5139869"/>
          </a:xfrm>
        </p:spPr>
        <p:txBody>
          <a:bodyPr/>
          <a:lstStyle/>
          <a:p>
            <a:r>
              <a:rPr lang="en-US" dirty="0">
                <a:solidFill>
                  <a:schemeClr val="tx1"/>
                </a:solidFill>
              </a:rPr>
              <a:t>Single tenant per database</a:t>
            </a:r>
          </a:p>
          <a:p>
            <a:pPr lvl="1"/>
            <a:r>
              <a:rPr lang="en-US" dirty="0">
                <a:solidFill>
                  <a:schemeClr val="tx1"/>
                </a:solidFill>
              </a:rPr>
              <a:t>Each tenant’s data is stored in a different database</a:t>
            </a:r>
          </a:p>
          <a:p>
            <a:pPr lvl="1"/>
            <a:r>
              <a:rPr lang="en-US" dirty="0">
                <a:solidFill>
                  <a:schemeClr val="tx1"/>
                </a:solidFill>
              </a:rPr>
              <a:t>Better isolation of tenants as compared to multi-tenant model</a:t>
            </a:r>
          </a:p>
          <a:p>
            <a:r>
              <a:rPr lang="en-US" dirty="0">
                <a:solidFill>
                  <a:schemeClr val="tx1"/>
                </a:solidFill>
              </a:rPr>
              <a:t>Multiple tenants per database</a:t>
            </a:r>
          </a:p>
          <a:p>
            <a:pPr lvl="1"/>
            <a:r>
              <a:rPr lang="en-US" dirty="0">
                <a:solidFill>
                  <a:schemeClr val="tx1"/>
                </a:solidFill>
              </a:rPr>
              <a:t>Multiple tenants share the same database</a:t>
            </a:r>
          </a:p>
          <a:p>
            <a:pPr lvl="1"/>
            <a:r>
              <a:rPr lang="en-US" dirty="0">
                <a:solidFill>
                  <a:schemeClr val="tx1"/>
                </a:solidFill>
              </a:rPr>
              <a:t>Less isolation of tenants as compared to single tenant model</a:t>
            </a:r>
          </a:p>
          <a:p>
            <a:pPr lvl="1"/>
            <a:r>
              <a:rPr lang="en-US" dirty="0">
                <a:solidFill>
                  <a:schemeClr val="tx1"/>
                </a:solidFill>
              </a:rPr>
              <a:t>Typically more cost-effective than the single tenant model</a:t>
            </a:r>
          </a:p>
          <a:p>
            <a:r>
              <a:rPr lang="en-US" dirty="0">
                <a:solidFill>
                  <a:schemeClr val="tx1"/>
                </a:solidFill>
              </a:rPr>
              <a:t>Hybrid model</a:t>
            </a:r>
          </a:p>
          <a:p>
            <a:pPr lvl="1"/>
            <a:r>
              <a:rPr lang="en-US" dirty="0">
                <a:solidFill>
                  <a:schemeClr val="tx1"/>
                </a:solidFill>
              </a:rPr>
              <a:t>Some tenants share databases, others get their own database</a:t>
            </a:r>
          </a:p>
          <a:p>
            <a:pPr lvl="1"/>
            <a:r>
              <a:rPr lang="en-US" dirty="0">
                <a:solidFill>
                  <a:schemeClr val="tx1"/>
                </a:solidFill>
              </a:rPr>
              <a:t>E.g., premium or paying customers get their own databases, while free tier customers share databases</a:t>
            </a:r>
          </a:p>
          <a:p>
            <a:endParaRPr lang="en-US" dirty="0"/>
          </a:p>
        </p:txBody>
      </p:sp>
      <p:grpSp>
        <p:nvGrpSpPr>
          <p:cNvPr id="6" name="Group 5"/>
          <p:cNvGrpSpPr/>
          <p:nvPr/>
        </p:nvGrpSpPr>
        <p:grpSpPr>
          <a:xfrm>
            <a:off x="8885237" y="3802062"/>
            <a:ext cx="3352800" cy="2667000"/>
            <a:chOff x="8885237" y="906462"/>
            <a:chExt cx="3352800" cy="2667000"/>
          </a:xfrm>
        </p:grpSpPr>
        <p:sp>
          <p:nvSpPr>
            <p:cNvPr id="7" name="Rounded Rectangle 6"/>
            <p:cNvSpPr/>
            <p:nvPr/>
          </p:nvSpPr>
          <p:spPr bwMode="auto">
            <a:xfrm>
              <a:off x="8885237" y="906462"/>
              <a:ext cx="3352800" cy="2667000"/>
            </a:xfrm>
            <a:prstGeom prst="roundRect">
              <a:avLst/>
            </a:prstGeom>
            <a:ln>
              <a:headEnd type="none" w="med" len="med"/>
              <a:tailEnd type="none" w="med" len="med"/>
            </a:ln>
          </p:spPr>
          <p:style>
            <a:lnRef idx="1">
              <a:schemeClr val="accent2"/>
            </a:lnRef>
            <a:fillRef idx="2">
              <a:schemeClr val="accent2"/>
            </a:fillRef>
            <a:effectRef idx="1">
              <a:schemeClr val="accent2"/>
            </a:effectRef>
            <a:fontRef idx="minor">
              <a:schemeClr val="dk1"/>
            </a:fontRef>
          </p:style>
          <p:txBody>
            <a:bodyPr vert="horz" wrap="square" lIns="0" tIns="46637" rIns="0" bIns="46637" numCol="1" rtlCol="0" anchor="b" anchorCtr="0" compatLnSpc="1">
              <a:prstTxWarp prst="textNoShape">
                <a:avLst/>
              </a:prstTxWarp>
            </a:bodyPr>
            <a:lstStyle/>
            <a:p>
              <a:pPr algn="ctr" defTabSz="932472" fontAlgn="base">
                <a:spcBef>
                  <a:spcPct val="0"/>
                </a:spcBef>
                <a:spcAft>
                  <a:spcPct val="0"/>
                </a:spcAft>
              </a:pPr>
              <a:r>
                <a:rPr lang="en-US" sz="2000" dirty="0">
                  <a:gradFill>
                    <a:gsLst>
                      <a:gs pos="0">
                        <a:srgbClr val="FFFFFF"/>
                      </a:gs>
                      <a:gs pos="100000">
                        <a:srgbClr val="FFFFFF"/>
                      </a:gs>
                    </a:gsLst>
                    <a:lin ang="5400000" scaled="0"/>
                  </a:gradFill>
                </a:rPr>
                <a:t>Multi-tenant per database</a:t>
              </a:r>
            </a:p>
          </p:txBody>
        </p:sp>
        <p:sp>
          <p:nvSpPr>
            <p:cNvPr id="8" name="Can 7"/>
            <p:cNvSpPr/>
            <p:nvPr/>
          </p:nvSpPr>
          <p:spPr bwMode="auto">
            <a:xfrm>
              <a:off x="9175167" y="1342012"/>
              <a:ext cx="1065687" cy="1467212"/>
            </a:xfrm>
            <a:prstGeom prst="can">
              <a:avLst/>
            </a:prstGeom>
            <a:solidFill>
              <a:srgbClr val="92D050"/>
            </a:solidFill>
            <a:ln w="28575">
              <a:solidFill>
                <a:srgbClr val="00B050"/>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400" dirty="0">
                  <a:solidFill>
                    <a:srgbClr val="000000"/>
                  </a:solidFill>
                </a:rPr>
                <a:t>DB</a:t>
              </a:r>
              <a:r>
                <a:rPr lang="en-US" sz="1400" baseline="-25000" dirty="0">
                  <a:solidFill>
                    <a:srgbClr val="000000"/>
                  </a:solidFill>
                </a:rPr>
                <a:t>1</a:t>
              </a:r>
            </a:p>
            <a:p>
              <a:pPr algn="ctr" defTabSz="932472" fontAlgn="base">
                <a:spcBef>
                  <a:spcPct val="0"/>
                </a:spcBef>
                <a:spcAft>
                  <a:spcPct val="0"/>
                </a:spcAft>
              </a:pPr>
              <a:endParaRPr lang="en-US" sz="1400" baseline="-25000" dirty="0">
                <a:solidFill>
                  <a:srgbClr val="000000"/>
                </a:solidFill>
              </a:endParaRPr>
            </a:p>
            <a:p>
              <a:pPr algn="ctr" defTabSz="932472" fontAlgn="base">
                <a:spcBef>
                  <a:spcPct val="0"/>
                </a:spcBef>
                <a:spcAft>
                  <a:spcPct val="0"/>
                </a:spcAft>
              </a:pPr>
              <a:endParaRPr lang="en-US" sz="1400" baseline="-25000" dirty="0">
                <a:solidFill>
                  <a:srgbClr val="000000"/>
                </a:solidFill>
              </a:endParaRPr>
            </a:p>
            <a:p>
              <a:pPr algn="ctr" defTabSz="932472" fontAlgn="base">
                <a:spcBef>
                  <a:spcPct val="0"/>
                </a:spcBef>
                <a:spcAft>
                  <a:spcPct val="0"/>
                </a:spcAft>
              </a:pPr>
              <a:endParaRPr lang="en-US" sz="1400" baseline="-25000" dirty="0">
                <a:solidFill>
                  <a:srgbClr val="000000"/>
                </a:solidFill>
              </a:endParaRPr>
            </a:p>
            <a:p>
              <a:pPr algn="ctr" defTabSz="932472" fontAlgn="base">
                <a:spcBef>
                  <a:spcPct val="0"/>
                </a:spcBef>
                <a:spcAft>
                  <a:spcPct val="0"/>
                </a:spcAft>
              </a:pPr>
              <a:endParaRPr lang="en-US" sz="1400" baseline="-25000" dirty="0">
                <a:solidFill>
                  <a:srgbClr val="000000"/>
                </a:solidFill>
              </a:endParaRPr>
            </a:p>
            <a:p>
              <a:pPr algn="ctr" defTabSz="932472" fontAlgn="base">
                <a:spcBef>
                  <a:spcPct val="0"/>
                </a:spcBef>
                <a:spcAft>
                  <a:spcPct val="0"/>
                </a:spcAft>
              </a:pPr>
              <a:endParaRPr lang="en-US" sz="1400" baseline="-25000" dirty="0">
                <a:solidFill>
                  <a:srgbClr val="000000"/>
                </a:solidFill>
              </a:endParaRPr>
            </a:p>
          </p:txBody>
        </p:sp>
        <p:sp>
          <p:nvSpPr>
            <p:cNvPr id="9" name="Rounded Rectangle 8"/>
            <p:cNvSpPr/>
            <p:nvPr/>
          </p:nvSpPr>
          <p:spPr>
            <a:xfrm>
              <a:off x="9247944" y="1926387"/>
              <a:ext cx="923637" cy="193964"/>
            </a:xfrm>
            <a:prstGeom prst="roundRect">
              <a:avLst/>
            </a:prstGeom>
            <a:solidFill>
              <a:srgbClr val="FFC000"/>
            </a:solidFill>
            <a:ln w="254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srgbClr val="505050">
                      <a:lumMod val="50000"/>
                    </a:srgbClr>
                  </a:solidFill>
                </a:rPr>
                <a:t>Customer 1</a:t>
              </a:r>
            </a:p>
          </p:txBody>
        </p:sp>
        <p:sp>
          <p:nvSpPr>
            <p:cNvPr id="10" name="Rounded Rectangle 9"/>
            <p:cNvSpPr/>
            <p:nvPr/>
          </p:nvSpPr>
          <p:spPr>
            <a:xfrm>
              <a:off x="9246190" y="2172279"/>
              <a:ext cx="923637" cy="193964"/>
            </a:xfrm>
            <a:prstGeom prst="roundRect">
              <a:avLst/>
            </a:prstGeom>
            <a:solidFill>
              <a:srgbClr val="FFC000"/>
            </a:solidFill>
            <a:ln w="254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srgbClr val="505050">
                      <a:lumMod val="50000"/>
                    </a:srgbClr>
                  </a:solidFill>
                </a:rPr>
                <a:t>Customer 2</a:t>
              </a:r>
            </a:p>
          </p:txBody>
        </p:sp>
        <p:sp>
          <p:nvSpPr>
            <p:cNvPr id="11" name="Rounded Rectangle 10"/>
            <p:cNvSpPr/>
            <p:nvPr/>
          </p:nvSpPr>
          <p:spPr>
            <a:xfrm>
              <a:off x="9241568" y="2427407"/>
              <a:ext cx="923637" cy="193964"/>
            </a:xfrm>
            <a:prstGeom prst="roundRect">
              <a:avLst/>
            </a:prstGeom>
            <a:solidFill>
              <a:srgbClr val="FFC000"/>
            </a:solidFill>
            <a:ln w="254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srgbClr val="505050">
                      <a:lumMod val="50000"/>
                    </a:srgbClr>
                  </a:solidFill>
                </a:rPr>
                <a:t>Customer 3</a:t>
              </a:r>
            </a:p>
          </p:txBody>
        </p:sp>
        <p:sp>
          <p:nvSpPr>
            <p:cNvPr id="12" name="Can 11"/>
            <p:cNvSpPr/>
            <p:nvPr/>
          </p:nvSpPr>
          <p:spPr bwMode="auto">
            <a:xfrm>
              <a:off x="10333037" y="1342012"/>
              <a:ext cx="1065687" cy="1467212"/>
            </a:xfrm>
            <a:prstGeom prst="can">
              <a:avLst/>
            </a:prstGeom>
            <a:solidFill>
              <a:srgbClr val="92D050"/>
            </a:solidFill>
            <a:ln w="28575">
              <a:solidFill>
                <a:srgbClr val="00B050"/>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400" dirty="0">
                  <a:solidFill>
                    <a:srgbClr val="000000"/>
                  </a:solidFill>
                </a:rPr>
                <a:t>DB</a:t>
              </a:r>
              <a:r>
                <a:rPr lang="en-US" sz="1400" baseline="-25000" dirty="0">
                  <a:solidFill>
                    <a:srgbClr val="000000"/>
                  </a:solidFill>
                </a:rPr>
                <a:t>2</a:t>
              </a:r>
            </a:p>
            <a:p>
              <a:pPr algn="ctr" defTabSz="932472" fontAlgn="base">
                <a:spcBef>
                  <a:spcPct val="0"/>
                </a:spcBef>
                <a:spcAft>
                  <a:spcPct val="0"/>
                </a:spcAft>
              </a:pPr>
              <a:endParaRPr lang="en-US" sz="1400" baseline="-25000" dirty="0">
                <a:solidFill>
                  <a:srgbClr val="000000"/>
                </a:solidFill>
              </a:endParaRPr>
            </a:p>
            <a:p>
              <a:pPr algn="ctr" defTabSz="932472" fontAlgn="base">
                <a:spcBef>
                  <a:spcPct val="0"/>
                </a:spcBef>
                <a:spcAft>
                  <a:spcPct val="0"/>
                </a:spcAft>
              </a:pPr>
              <a:endParaRPr lang="en-US" sz="1400" baseline="-25000" dirty="0">
                <a:solidFill>
                  <a:srgbClr val="000000"/>
                </a:solidFill>
              </a:endParaRPr>
            </a:p>
            <a:p>
              <a:pPr algn="ctr" defTabSz="932472" fontAlgn="base">
                <a:spcBef>
                  <a:spcPct val="0"/>
                </a:spcBef>
                <a:spcAft>
                  <a:spcPct val="0"/>
                </a:spcAft>
              </a:pPr>
              <a:endParaRPr lang="en-US" sz="1400" baseline="-25000" dirty="0">
                <a:solidFill>
                  <a:srgbClr val="000000"/>
                </a:solidFill>
              </a:endParaRPr>
            </a:p>
            <a:p>
              <a:pPr algn="ctr" defTabSz="932472" fontAlgn="base">
                <a:spcBef>
                  <a:spcPct val="0"/>
                </a:spcBef>
                <a:spcAft>
                  <a:spcPct val="0"/>
                </a:spcAft>
              </a:pPr>
              <a:endParaRPr lang="en-US" sz="1400" baseline="-25000" dirty="0">
                <a:solidFill>
                  <a:srgbClr val="000000"/>
                </a:solidFill>
              </a:endParaRPr>
            </a:p>
            <a:p>
              <a:pPr algn="ctr" defTabSz="932472" fontAlgn="base">
                <a:spcBef>
                  <a:spcPct val="0"/>
                </a:spcBef>
                <a:spcAft>
                  <a:spcPct val="0"/>
                </a:spcAft>
              </a:pPr>
              <a:endParaRPr lang="en-US" sz="1400" baseline="-25000" dirty="0">
                <a:solidFill>
                  <a:srgbClr val="000000"/>
                </a:solidFill>
              </a:endParaRPr>
            </a:p>
          </p:txBody>
        </p:sp>
        <p:sp>
          <p:nvSpPr>
            <p:cNvPr id="13" name="Rounded Rectangle 12"/>
            <p:cNvSpPr/>
            <p:nvPr/>
          </p:nvSpPr>
          <p:spPr>
            <a:xfrm>
              <a:off x="10405814" y="1926387"/>
              <a:ext cx="923637" cy="193964"/>
            </a:xfrm>
            <a:prstGeom prst="roundRect">
              <a:avLst/>
            </a:prstGeom>
            <a:solidFill>
              <a:srgbClr val="FFC000"/>
            </a:solidFill>
            <a:ln w="254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srgbClr val="505050">
                      <a:lumMod val="50000"/>
                    </a:srgbClr>
                  </a:solidFill>
                </a:rPr>
                <a:t>Customer 4</a:t>
              </a:r>
            </a:p>
          </p:txBody>
        </p:sp>
        <p:sp>
          <p:nvSpPr>
            <p:cNvPr id="14" name="Rounded Rectangle 13"/>
            <p:cNvSpPr/>
            <p:nvPr/>
          </p:nvSpPr>
          <p:spPr>
            <a:xfrm>
              <a:off x="10404060" y="2172279"/>
              <a:ext cx="923637" cy="193964"/>
            </a:xfrm>
            <a:prstGeom prst="roundRect">
              <a:avLst/>
            </a:prstGeom>
            <a:solidFill>
              <a:srgbClr val="FFC000"/>
            </a:solidFill>
            <a:ln w="254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srgbClr val="505050">
                      <a:lumMod val="50000"/>
                    </a:srgbClr>
                  </a:solidFill>
                </a:rPr>
                <a:t>Customer 5</a:t>
              </a:r>
            </a:p>
          </p:txBody>
        </p:sp>
        <p:sp>
          <p:nvSpPr>
            <p:cNvPr id="15" name="Rounded Rectangle 14"/>
            <p:cNvSpPr/>
            <p:nvPr/>
          </p:nvSpPr>
          <p:spPr>
            <a:xfrm>
              <a:off x="10399438" y="2427407"/>
              <a:ext cx="923637" cy="193964"/>
            </a:xfrm>
            <a:prstGeom prst="roundRect">
              <a:avLst/>
            </a:prstGeom>
            <a:solidFill>
              <a:srgbClr val="FFC000"/>
            </a:solidFill>
            <a:ln w="254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srgbClr val="505050">
                      <a:lumMod val="50000"/>
                    </a:srgbClr>
                  </a:solidFill>
                </a:rPr>
                <a:t>Customer 6</a:t>
              </a:r>
            </a:p>
          </p:txBody>
        </p:sp>
        <p:sp>
          <p:nvSpPr>
            <p:cNvPr id="16" name="TextBox 15"/>
            <p:cNvSpPr txBox="1"/>
            <p:nvPr/>
          </p:nvSpPr>
          <p:spPr>
            <a:xfrm>
              <a:off x="11552237" y="2049462"/>
              <a:ext cx="595356" cy="627864"/>
            </a:xfrm>
            <a:prstGeom prst="rect">
              <a:avLst/>
            </a:prstGeom>
            <a:noFill/>
          </p:spPr>
          <p:txBody>
            <a:bodyPr wrap="none" lIns="182880" tIns="146304" rIns="182880" bIns="146304" rtlCol="0">
              <a:spAutoFit/>
            </a:bodyPr>
            <a:lstStyle/>
            <a:p>
              <a:pPr>
                <a:lnSpc>
                  <a:spcPct val="90000"/>
                </a:lnSpc>
                <a:spcAft>
                  <a:spcPts val="600"/>
                </a:spcAft>
              </a:pPr>
              <a:r>
                <a:rPr lang="en-US" sz="2400" dirty="0">
                  <a:gradFill>
                    <a:gsLst>
                      <a:gs pos="2917">
                        <a:srgbClr val="FFFFFF"/>
                      </a:gs>
                      <a:gs pos="30000">
                        <a:srgbClr val="FFFFFF"/>
                      </a:gs>
                    </a:gsLst>
                    <a:lin ang="5400000" scaled="0"/>
                  </a:gradFill>
                </a:rPr>
                <a:t>…</a:t>
              </a:r>
            </a:p>
          </p:txBody>
        </p:sp>
      </p:grpSp>
      <p:grpSp>
        <p:nvGrpSpPr>
          <p:cNvPr id="17" name="Group 16"/>
          <p:cNvGrpSpPr/>
          <p:nvPr/>
        </p:nvGrpSpPr>
        <p:grpSpPr>
          <a:xfrm>
            <a:off x="8885237" y="805652"/>
            <a:ext cx="3352800" cy="2667000"/>
            <a:chOff x="8885237" y="906462"/>
            <a:chExt cx="3352800" cy="2667000"/>
          </a:xfrm>
        </p:grpSpPr>
        <p:sp>
          <p:nvSpPr>
            <p:cNvPr id="18" name="Rounded Rectangle 17"/>
            <p:cNvSpPr/>
            <p:nvPr/>
          </p:nvSpPr>
          <p:spPr bwMode="auto">
            <a:xfrm>
              <a:off x="8885237" y="906462"/>
              <a:ext cx="3352800" cy="2667000"/>
            </a:xfrm>
            <a:prstGeom prst="roundRect">
              <a:avLst/>
            </a:prstGeom>
            <a:ln>
              <a:headEnd type="none" w="med" len="med"/>
              <a:tailEnd type="none" w="med" len="med"/>
            </a:ln>
          </p:spPr>
          <p:style>
            <a:lnRef idx="1">
              <a:schemeClr val="accent2"/>
            </a:lnRef>
            <a:fillRef idx="2">
              <a:schemeClr val="accent2"/>
            </a:fillRef>
            <a:effectRef idx="1">
              <a:schemeClr val="accent2"/>
            </a:effectRef>
            <a:fontRef idx="minor">
              <a:schemeClr val="dk1"/>
            </a:fontRef>
          </p:style>
          <p:txBody>
            <a:bodyPr vert="horz" wrap="square" lIns="0" tIns="46637" rIns="0" bIns="46637" numCol="1" rtlCol="0" anchor="b" anchorCtr="0" compatLnSpc="1">
              <a:prstTxWarp prst="textNoShape">
                <a:avLst/>
              </a:prstTxWarp>
            </a:bodyPr>
            <a:lstStyle/>
            <a:p>
              <a:pPr algn="ctr" defTabSz="932472" fontAlgn="base">
                <a:spcBef>
                  <a:spcPct val="0"/>
                </a:spcBef>
                <a:spcAft>
                  <a:spcPct val="0"/>
                </a:spcAft>
              </a:pPr>
              <a:r>
                <a:rPr lang="en-US" sz="2000" dirty="0">
                  <a:gradFill>
                    <a:gsLst>
                      <a:gs pos="0">
                        <a:srgbClr val="FFFFFF"/>
                      </a:gs>
                      <a:gs pos="100000">
                        <a:srgbClr val="FFFFFF"/>
                      </a:gs>
                    </a:gsLst>
                    <a:lin ang="5400000" scaled="0"/>
                  </a:gradFill>
                </a:rPr>
                <a:t>Single-tenant per database</a:t>
              </a:r>
            </a:p>
          </p:txBody>
        </p:sp>
        <p:sp>
          <p:nvSpPr>
            <p:cNvPr id="19" name="Can 18"/>
            <p:cNvSpPr/>
            <p:nvPr/>
          </p:nvSpPr>
          <p:spPr bwMode="auto">
            <a:xfrm>
              <a:off x="9175167" y="1342012"/>
              <a:ext cx="1065687" cy="1467212"/>
            </a:xfrm>
            <a:prstGeom prst="can">
              <a:avLst/>
            </a:prstGeom>
            <a:solidFill>
              <a:srgbClr val="92D050"/>
            </a:solidFill>
            <a:ln w="28575">
              <a:solidFill>
                <a:srgbClr val="00B050"/>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400" dirty="0">
                  <a:solidFill>
                    <a:srgbClr val="000000"/>
                  </a:solidFill>
                </a:rPr>
                <a:t>DB</a:t>
              </a:r>
              <a:r>
                <a:rPr lang="en-US" sz="1400" baseline="-25000" dirty="0">
                  <a:solidFill>
                    <a:srgbClr val="000000"/>
                  </a:solidFill>
                </a:rPr>
                <a:t>1</a:t>
              </a:r>
            </a:p>
            <a:p>
              <a:pPr algn="ctr" defTabSz="932472" fontAlgn="base">
                <a:spcBef>
                  <a:spcPct val="0"/>
                </a:spcBef>
                <a:spcAft>
                  <a:spcPct val="0"/>
                </a:spcAft>
              </a:pPr>
              <a:endParaRPr lang="en-US" sz="1400" baseline="-25000" dirty="0">
                <a:solidFill>
                  <a:srgbClr val="000000"/>
                </a:solidFill>
              </a:endParaRPr>
            </a:p>
            <a:p>
              <a:pPr algn="ctr" defTabSz="932472" fontAlgn="base">
                <a:spcBef>
                  <a:spcPct val="0"/>
                </a:spcBef>
                <a:spcAft>
                  <a:spcPct val="0"/>
                </a:spcAft>
              </a:pPr>
              <a:endParaRPr lang="en-US" sz="1400" baseline="-25000" dirty="0">
                <a:solidFill>
                  <a:srgbClr val="000000"/>
                </a:solidFill>
              </a:endParaRPr>
            </a:p>
            <a:p>
              <a:pPr algn="ctr" defTabSz="932472" fontAlgn="base">
                <a:spcBef>
                  <a:spcPct val="0"/>
                </a:spcBef>
                <a:spcAft>
                  <a:spcPct val="0"/>
                </a:spcAft>
              </a:pPr>
              <a:endParaRPr lang="en-US" sz="1400" baseline="-25000" dirty="0">
                <a:solidFill>
                  <a:srgbClr val="000000"/>
                </a:solidFill>
              </a:endParaRPr>
            </a:p>
            <a:p>
              <a:pPr algn="ctr" defTabSz="932472" fontAlgn="base">
                <a:spcBef>
                  <a:spcPct val="0"/>
                </a:spcBef>
                <a:spcAft>
                  <a:spcPct val="0"/>
                </a:spcAft>
              </a:pPr>
              <a:endParaRPr lang="en-US" sz="1400" baseline="-25000" dirty="0">
                <a:solidFill>
                  <a:srgbClr val="000000"/>
                </a:solidFill>
              </a:endParaRPr>
            </a:p>
            <a:p>
              <a:pPr algn="ctr" defTabSz="932472" fontAlgn="base">
                <a:spcBef>
                  <a:spcPct val="0"/>
                </a:spcBef>
                <a:spcAft>
                  <a:spcPct val="0"/>
                </a:spcAft>
              </a:pPr>
              <a:endParaRPr lang="en-US" sz="1400" baseline="-25000" dirty="0">
                <a:solidFill>
                  <a:srgbClr val="000000"/>
                </a:solidFill>
              </a:endParaRPr>
            </a:p>
          </p:txBody>
        </p:sp>
        <p:sp>
          <p:nvSpPr>
            <p:cNvPr id="20" name="Rounded Rectangle 19"/>
            <p:cNvSpPr/>
            <p:nvPr/>
          </p:nvSpPr>
          <p:spPr>
            <a:xfrm>
              <a:off x="9247944" y="1926386"/>
              <a:ext cx="923637" cy="750939"/>
            </a:xfrm>
            <a:prstGeom prst="roundRect">
              <a:avLst/>
            </a:prstGeom>
            <a:solidFill>
              <a:srgbClr val="FFC000"/>
            </a:solidFill>
            <a:ln w="254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srgbClr val="505050">
                      <a:lumMod val="50000"/>
                    </a:srgbClr>
                  </a:solidFill>
                </a:rPr>
                <a:t>Customer 1</a:t>
              </a:r>
            </a:p>
          </p:txBody>
        </p:sp>
        <p:sp>
          <p:nvSpPr>
            <p:cNvPr id="21" name="Can 20"/>
            <p:cNvSpPr/>
            <p:nvPr/>
          </p:nvSpPr>
          <p:spPr bwMode="auto">
            <a:xfrm>
              <a:off x="10333037" y="1342012"/>
              <a:ext cx="1065687" cy="1467212"/>
            </a:xfrm>
            <a:prstGeom prst="can">
              <a:avLst/>
            </a:prstGeom>
            <a:solidFill>
              <a:srgbClr val="92D050"/>
            </a:solidFill>
            <a:ln w="28575">
              <a:solidFill>
                <a:srgbClr val="00B050"/>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400" dirty="0">
                  <a:solidFill>
                    <a:srgbClr val="000000"/>
                  </a:solidFill>
                </a:rPr>
                <a:t>DB</a:t>
              </a:r>
              <a:r>
                <a:rPr lang="en-US" sz="1400" baseline="-25000" dirty="0">
                  <a:solidFill>
                    <a:srgbClr val="000000"/>
                  </a:solidFill>
                </a:rPr>
                <a:t>2</a:t>
              </a:r>
            </a:p>
            <a:p>
              <a:pPr algn="ctr" defTabSz="932472" fontAlgn="base">
                <a:spcBef>
                  <a:spcPct val="0"/>
                </a:spcBef>
                <a:spcAft>
                  <a:spcPct val="0"/>
                </a:spcAft>
              </a:pPr>
              <a:endParaRPr lang="en-US" sz="1400" baseline="-25000" dirty="0">
                <a:solidFill>
                  <a:srgbClr val="000000"/>
                </a:solidFill>
              </a:endParaRPr>
            </a:p>
            <a:p>
              <a:pPr algn="ctr" defTabSz="932472" fontAlgn="base">
                <a:spcBef>
                  <a:spcPct val="0"/>
                </a:spcBef>
                <a:spcAft>
                  <a:spcPct val="0"/>
                </a:spcAft>
              </a:pPr>
              <a:endParaRPr lang="en-US" sz="1400" baseline="-25000" dirty="0">
                <a:solidFill>
                  <a:srgbClr val="000000"/>
                </a:solidFill>
              </a:endParaRPr>
            </a:p>
            <a:p>
              <a:pPr algn="ctr" defTabSz="932472" fontAlgn="base">
                <a:spcBef>
                  <a:spcPct val="0"/>
                </a:spcBef>
                <a:spcAft>
                  <a:spcPct val="0"/>
                </a:spcAft>
              </a:pPr>
              <a:endParaRPr lang="en-US" sz="1400" baseline="-25000" dirty="0">
                <a:solidFill>
                  <a:srgbClr val="000000"/>
                </a:solidFill>
              </a:endParaRPr>
            </a:p>
            <a:p>
              <a:pPr algn="ctr" defTabSz="932472" fontAlgn="base">
                <a:spcBef>
                  <a:spcPct val="0"/>
                </a:spcBef>
                <a:spcAft>
                  <a:spcPct val="0"/>
                </a:spcAft>
              </a:pPr>
              <a:endParaRPr lang="en-US" sz="1400" baseline="-25000" dirty="0">
                <a:solidFill>
                  <a:srgbClr val="000000"/>
                </a:solidFill>
              </a:endParaRPr>
            </a:p>
            <a:p>
              <a:pPr algn="ctr" defTabSz="932472" fontAlgn="base">
                <a:spcBef>
                  <a:spcPct val="0"/>
                </a:spcBef>
                <a:spcAft>
                  <a:spcPct val="0"/>
                </a:spcAft>
              </a:pPr>
              <a:endParaRPr lang="en-US" sz="1400" baseline="-25000" dirty="0">
                <a:solidFill>
                  <a:srgbClr val="000000"/>
                </a:solidFill>
              </a:endParaRPr>
            </a:p>
          </p:txBody>
        </p:sp>
        <p:sp>
          <p:nvSpPr>
            <p:cNvPr id="22" name="Rounded Rectangle 21"/>
            <p:cNvSpPr/>
            <p:nvPr/>
          </p:nvSpPr>
          <p:spPr>
            <a:xfrm>
              <a:off x="10405814" y="1926386"/>
              <a:ext cx="923637" cy="750939"/>
            </a:xfrm>
            <a:prstGeom prst="roundRect">
              <a:avLst/>
            </a:prstGeom>
            <a:solidFill>
              <a:srgbClr val="FFC000"/>
            </a:solidFill>
            <a:ln w="254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srgbClr val="505050">
                      <a:lumMod val="50000"/>
                    </a:srgbClr>
                  </a:solidFill>
                </a:rPr>
                <a:t>Customer 2</a:t>
              </a:r>
            </a:p>
          </p:txBody>
        </p:sp>
        <p:sp>
          <p:nvSpPr>
            <p:cNvPr id="23" name="TextBox 22"/>
            <p:cNvSpPr txBox="1"/>
            <p:nvPr/>
          </p:nvSpPr>
          <p:spPr>
            <a:xfrm>
              <a:off x="11552237" y="2049462"/>
              <a:ext cx="595356" cy="627864"/>
            </a:xfrm>
            <a:prstGeom prst="rect">
              <a:avLst/>
            </a:prstGeom>
            <a:noFill/>
          </p:spPr>
          <p:txBody>
            <a:bodyPr wrap="none" lIns="182880" tIns="146304" rIns="182880" bIns="146304" rtlCol="0">
              <a:spAutoFit/>
            </a:bodyPr>
            <a:lstStyle/>
            <a:p>
              <a:pPr>
                <a:lnSpc>
                  <a:spcPct val="90000"/>
                </a:lnSpc>
                <a:spcAft>
                  <a:spcPts val="600"/>
                </a:spcAft>
              </a:pPr>
              <a:r>
                <a:rPr lang="en-US" sz="2400" dirty="0">
                  <a:gradFill>
                    <a:gsLst>
                      <a:gs pos="2917">
                        <a:srgbClr val="FFFFFF"/>
                      </a:gs>
                      <a:gs pos="30000">
                        <a:srgbClr val="FFFFFF"/>
                      </a:gs>
                    </a:gsLst>
                    <a:lin ang="5400000" scaled="0"/>
                  </a:gradFill>
                </a:rPr>
                <a:t>…</a:t>
              </a:r>
            </a:p>
          </p:txBody>
        </p:sp>
      </p:grpSp>
    </p:spTree>
    <p:extLst>
      <p:ext uri="{BB962C8B-B14F-4D97-AF65-F5344CB8AC3E}">
        <p14:creationId xmlns:p14="http://schemas.microsoft.com/office/powerpoint/2010/main" val="3185879123"/>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Scalability</a:t>
            </a:r>
          </a:p>
        </p:txBody>
      </p:sp>
    </p:spTree>
    <p:extLst>
      <p:ext uri="{BB962C8B-B14F-4D97-AF65-F5344CB8AC3E}">
        <p14:creationId xmlns:p14="http://schemas.microsoft.com/office/powerpoint/2010/main" val="1611918747"/>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Demo</a:t>
            </a:r>
          </a:p>
        </p:txBody>
      </p:sp>
    </p:spTree>
    <p:extLst>
      <p:ext uri="{BB962C8B-B14F-4D97-AF65-F5344CB8AC3E}">
        <p14:creationId xmlns:p14="http://schemas.microsoft.com/office/powerpoint/2010/main" val="1543684119"/>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zure SQL Database Auto-scaling</a:t>
            </a:r>
          </a:p>
        </p:txBody>
      </p:sp>
      <p:sp>
        <p:nvSpPr>
          <p:cNvPr id="3" name="Text Placeholder 2"/>
          <p:cNvSpPr>
            <a:spLocks noGrp="1"/>
          </p:cNvSpPr>
          <p:nvPr>
            <p:ph type="body" sz="quarter" idx="10"/>
          </p:nvPr>
        </p:nvSpPr>
        <p:spPr>
          <a:xfrm>
            <a:off x="274638" y="1212850"/>
            <a:ext cx="6702197" cy="1292662"/>
          </a:xfrm>
        </p:spPr>
        <p:txBody>
          <a:bodyPr/>
          <a:lstStyle/>
          <a:p>
            <a:r>
              <a:rPr lang="en-US" sz="3600" dirty="0"/>
              <a:t>via </a:t>
            </a:r>
            <a:r>
              <a:rPr lang="en-US" sz="3600" dirty="0" err="1"/>
              <a:t>Powershell</a:t>
            </a:r>
            <a:endParaRPr lang="en-US" sz="3600" dirty="0"/>
          </a:p>
          <a:p>
            <a:r>
              <a:rPr lang="en-US" sz="3600" dirty="0"/>
              <a:t>automate with Azure Automation</a:t>
            </a:r>
          </a:p>
        </p:txBody>
      </p:sp>
      <p:pic>
        <p:nvPicPr>
          <p:cNvPr id="4" name="Picture 8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073718" y="2452887"/>
            <a:ext cx="511610" cy="550845"/>
          </a:xfrm>
          <a:prstGeom prst="rect">
            <a:avLst/>
          </a:prstGeom>
        </p:spPr>
      </p:pic>
      <p:sp>
        <p:nvSpPr>
          <p:cNvPr id="5" name="TextBox 4"/>
          <p:cNvSpPr txBox="1"/>
          <p:nvPr/>
        </p:nvSpPr>
        <p:spPr>
          <a:xfrm>
            <a:off x="10953406" y="2949101"/>
            <a:ext cx="673912" cy="430309"/>
          </a:xfrm>
          <a:prstGeom prst="rect">
            <a:avLst/>
          </a:prstGeom>
          <a:noFill/>
        </p:spPr>
        <p:txBody>
          <a:bodyPr wrap="none" rtlCol="0">
            <a:spAutoFit/>
          </a:bodyPr>
          <a:lstStyle/>
          <a:p>
            <a:pPr algn="ctr"/>
            <a:r>
              <a:rPr lang="en-US" sz="1071" dirty="0">
                <a:solidFill>
                  <a:schemeClr val="tx2"/>
                </a:solidFill>
              </a:rPr>
              <a:t>Admin/</a:t>
            </a:r>
          </a:p>
          <a:p>
            <a:pPr algn="ctr"/>
            <a:r>
              <a:rPr lang="en-US" sz="1071" dirty="0" err="1">
                <a:solidFill>
                  <a:schemeClr val="tx2"/>
                </a:solidFill>
              </a:rPr>
              <a:t>DevOps</a:t>
            </a:r>
            <a:endParaRPr lang="en-US" sz="1071" dirty="0">
              <a:solidFill>
                <a:schemeClr val="tx2"/>
              </a:solidFill>
            </a:endParaRPr>
          </a:p>
        </p:txBody>
      </p:sp>
      <p:cxnSp>
        <p:nvCxnSpPr>
          <p:cNvPr id="6" name="Straight Arrow Connector 5"/>
          <p:cNvCxnSpPr>
            <a:stCxn id="7" idx="1"/>
          </p:cNvCxnSpPr>
          <p:nvPr/>
        </p:nvCxnSpPr>
        <p:spPr>
          <a:xfrm flipH="1">
            <a:off x="8225654" y="2908938"/>
            <a:ext cx="1171036" cy="395727"/>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sp>
        <p:nvSpPr>
          <p:cNvPr id="7" name="Rounded Rectangle 6"/>
          <p:cNvSpPr/>
          <p:nvPr/>
        </p:nvSpPr>
        <p:spPr bwMode="auto">
          <a:xfrm>
            <a:off x="9396690" y="2270124"/>
            <a:ext cx="1248818" cy="1277627"/>
          </a:xfrm>
          <a:prstGeom prst="roundRect">
            <a:avLst/>
          </a:prstGeom>
          <a:solidFill>
            <a:schemeClr val="bg2">
              <a:lumMod val="40000"/>
              <a:lumOff val="60000"/>
            </a:schemeClr>
          </a:solidFill>
          <a:ln>
            <a:headEnd type="none" w="med" len="med"/>
            <a:tailEnd type="none" w="med" len="med"/>
          </a:ln>
        </p:spPr>
        <p:style>
          <a:lnRef idx="0">
            <a:schemeClr val="accent4"/>
          </a:lnRef>
          <a:fillRef idx="3">
            <a:schemeClr val="accent4"/>
          </a:fillRef>
          <a:effectRef idx="3">
            <a:schemeClr val="accent4"/>
          </a:effectRef>
          <a:fontRef idx="minor">
            <a:schemeClr val="lt1"/>
          </a:fontRef>
        </p:style>
        <p:txBody>
          <a:bodyPr vert="horz" wrap="square" lIns="0" tIns="47565" rIns="0" bIns="47565" numCol="1" rtlCol="0" anchor="b" anchorCtr="0" compatLnSpc="1">
            <a:prstTxWarp prst="textNoShape">
              <a:avLst/>
            </a:prstTxWarp>
          </a:bodyPr>
          <a:lstStyle/>
          <a:p>
            <a:pPr algn="ctr" defTabSz="951028" fontAlgn="base">
              <a:spcBef>
                <a:spcPct val="0"/>
              </a:spcBef>
              <a:spcAft>
                <a:spcPct val="0"/>
              </a:spcAft>
            </a:pPr>
            <a:r>
              <a:rPr lang="en-US" sz="1224" dirty="0">
                <a:solidFill>
                  <a:schemeClr val="tx2"/>
                </a:solidFill>
              </a:rPr>
              <a:t>Azure Automation (SE)</a:t>
            </a:r>
          </a:p>
        </p:txBody>
      </p:sp>
      <p:cxnSp>
        <p:nvCxnSpPr>
          <p:cNvPr id="8" name="Straight Arrow Connector 7"/>
          <p:cNvCxnSpPr/>
          <p:nvPr/>
        </p:nvCxnSpPr>
        <p:spPr>
          <a:xfrm flipH="1">
            <a:off x="4536555" y="3304665"/>
            <a:ext cx="3689098" cy="1232981"/>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sp>
        <p:nvSpPr>
          <p:cNvPr id="9" name="TextBox 8"/>
          <p:cNvSpPr txBox="1"/>
          <p:nvPr/>
        </p:nvSpPr>
        <p:spPr>
          <a:xfrm rot="20486470">
            <a:off x="4851404" y="3638431"/>
            <a:ext cx="2851116" cy="350330"/>
          </a:xfrm>
          <a:prstGeom prst="rect">
            <a:avLst/>
          </a:prstGeom>
          <a:noFill/>
        </p:spPr>
        <p:txBody>
          <a:bodyPr wrap="square" rtlCol="0">
            <a:spAutoFit/>
          </a:bodyPr>
          <a:lstStyle/>
          <a:p>
            <a:pPr algn="ctr"/>
            <a:r>
              <a:rPr lang="en-US" sz="1632" dirty="0">
                <a:solidFill>
                  <a:schemeClr val="tx2"/>
                </a:solidFill>
              </a:rPr>
              <a:t>Vertical scaling</a:t>
            </a:r>
          </a:p>
        </p:txBody>
      </p:sp>
      <p:sp>
        <p:nvSpPr>
          <p:cNvPr id="10" name="Can 9"/>
          <p:cNvSpPr/>
          <p:nvPr/>
        </p:nvSpPr>
        <p:spPr bwMode="auto">
          <a:xfrm>
            <a:off x="1577581" y="4830148"/>
            <a:ext cx="999150" cy="1000857"/>
          </a:xfrm>
          <a:prstGeom prst="can">
            <a:avLst/>
          </a:prstGeom>
          <a:solidFill>
            <a:srgbClr val="92D050"/>
          </a:solidFill>
          <a:ln w="28575">
            <a:solidFill>
              <a:srgbClr val="00B050"/>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pPr>
            <a:endParaRPr lang="en-US" sz="1428" dirty="0">
              <a:solidFill>
                <a:schemeClr val="tx2"/>
              </a:solidFill>
            </a:endParaRPr>
          </a:p>
          <a:p>
            <a:pPr algn="ctr" defTabSz="951028" fontAlgn="base">
              <a:spcBef>
                <a:spcPct val="0"/>
              </a:spcBef>
              <a:spcAft>
                <a:spcPct val="0"/>
              </a:spcAft>
            </a:pPr>
            <a:endParaRPr lang="en-US" sz="1428" dirty="0">
              <a:solidFill>
                <a:schemeClr val="tx2"/>
              </a:solidFill>
            </a:endParaRPr>
          </a:p>
          <a:p>
            <a:pPr algn="ctr" defTabSz="951028" fontAlgn="base">
              <a:spcBef>
                <a:spcPct val="0"/>
              </a:spcBef>
              <a:spcAft>
                <a:spcPct val="0"/>
              </a:spcAft>
            </a:pPr>
            <a:r>
              <a:rPr lang="en-US" sz="1428" b="1" dirty="0">
                <a:solidFill>
                  <a:schemeClr val="tx2"/>
                </a:solidFill>
              </a:rPr>
              <a:t>DB</a:t>
            </a:r>
            <a:r>
              <a:rPr lang="en-US" sz="1428" b="1" baseline="-25000" dirty="0">
                <a:solidFill>
                  <a:schemeClr val="tx2"/>
                </a:solidFill>
              </a:rPr>
              <a:t>1</a:t>
            </a:r>
          </a:p>
          <a:p>
            <a:pPr algn="ctr" defTabSz="951028" fontAlgn="base">
              <a:spcBef>
                <a:spcPct val="0"/>
              </a:spcBef>
              <a:spcAft>
                <a:spcPct val="0"/>
              </a:spcAft>
            </a:pPr>
            <a:r>
              <a:rPr lang="en-US" sz="1632" baseline="-25000" dirty="0">
                <a:solidFill>
                  <a:schemeClr val="tx2"/>
                </a:solidFill>
              </a:rPr>
              <a:t>[0-100)</a:t>
            </a:r>
            <a:endParaRPr lang="en-US" sz="1428" baseline="-25000" dirty="0">
              <a:solidFill>
                <a:schemeClr val="tx2"/>
              </a:solidFill>
            </a:endParaRPr>
          </a:p>
          <a:p>
            <a:pPr algn="ctr" defTabSz="951028" fontAlgn="base">
              <a:spcBef>
                <a:spcPct val="0"/>
              </a:spcBef>
              <a:spcAft>
                <a:spcPct val="0"/>
              </a:spcAft>
            </a:pPr>
            <a:endParaRPr lang="en-US" sz="1428" baseline="-25000" dirty="0">
              <a:solidFill>
                <a:schemeClr val="tx2"/>
              </a:solidFill>
            </a:endParaRPr>
          </a:p>
          <a:p>
            <a:pPr algn="ctr" defTabSz="951028" fontAlgn="base">
              <a:spcBef>
                <a:spcPct val="0"/>
              </a:spcBef>
              <a:spcAft>
                <a:spcPct val="0"/>
              </a:spcAft>
            </a:pPr>
            <a:endParaRPr lang="en-US" sz="1428" baseline="-25000" dirty="0">
              <a:solidFill>
                <a:schemeClr val="tx2"/>
              </a:solidFill>
            </a:endParaRPr>
          </a:p>
          <a:p>
            <a:pPr algn="ctr" defTabSz="951028" fontAlgn="base">
              <a:spcBef>
                <a:spcPct val="0"/>
              </a:spcBef>
              <a:spcAft>
                <a:spcPct val="0"/>
              </a:spcAft>
            </a:pPr>
            <a:endParaRPr lang="en-US" sz="1428" baseline="-25000" dirty="0">
              <a:solidFill>
                <a:schemeClr val="tx2"/>
              </a:solidFill>
            </a:endParaRPr>
          </a:p>
          <a:p>
            <a:pPr algn="ctr" defTabSz="951028" fontAlgn="base">
              <a:spcBef>
                <a:spcPct val="0"/>
              </a:spcBef>
              <a:spcAft>
                <a:spcPct val="0"/>
              </a:spcAft>
            </a:pPr>
            <a:endParaRPr lang="en-US" sz="1428" baseline="-25000" dirty="0">
              <a:solidFill>
                <a:schemeClr val="tx2"/>
              </a:solidFill>
            </a:endParaRPr>
          </a:p>
        </p:txBody>
      </p:sp>
      <p:sp>
        <p:nvSpPr>
          <p:cNvPr id="11" name="TextBox 10"/>
          <p:cNvSpPr txBox="1"/>
          <p:nvPr/>
        </p:nvSpPr>
        <p:spPr>
          <a:xfrm>
            <a:off x="8955777" y="5142230"/>
            <a:ext cx="1334349" cy="382308"/>
          </a:xfrm>
          <a:prstGeom prst="rect">
            <a:avLst/>
          </a:prstGeom>
          <a:noFill/>
        </p:spPr>
        <p:txBody>
          <a:bodyPr wrap="square" rtlCol="0">
            <a:spAutoFit/>
          </a:bodyPr>
          <a:lstStyle/>
          <a:p>
            <a:r>
              <a:rPr lang="en-US" sz="1836" dirty="0">
                <a:solidFill>
                  <a:schemeClr val="tx2"/>
                </a:solidFill>
              </a:rPr>
              <a:t>. . .</a:t>
            </a:r>
          </a:p>
        </p:txBody>
      </p:sp>
      <p:sp>
        <p:nvSpPr>
          <p:cNvPr id="12" name="Can 11"/>
          <p:cNvSpPr/>
          <p:nvPr/>
        </p:nvSpPr>
        <p:spPr bwMode="auto">
          <a:xfrm>
            <a:off x="2807280" y="4830150"/>
            <a:ext cx="999150" cy="1000852"/>
          </a:xfrm>
          <a:prstGeom prst="can">
            <a:avLst/>
          </a:prstGeom>
          <a:solidFill>
            <a:srgbClr val="92D050"/>
          </a:solidFill>
          <a:ln w="28575">
            <a:solidFill>
              <a:srgbClr val="00B050"/>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pPr>
            <a:endParaRPr lang="en-US" sz="1428" dirty="0">
              <a:solidFill>
                <a:schemeClr val="tx2"/>
              </a:solidFill>
            </a:endParaRPr>
          </a:p>
          <a:p>
            <a:pPr algn="ctr" defTabSz="951028" fontAlgn="base">
              <a:spcBef>
                <a:spcPct val="0"/>
              </a:spcBef>
              <a:spcAft>
                <a:spcPct val="0"/>
              </a:spcAft>
            </a:pPr>
            <a:endParaRPr lang="en-US" sz="1428" dirty="0">
              <a:solidFill>
                <a:schemeClr val="tx2"/>
              </a:solidFill>
            </a:endParaRPr>
          </a:p>
          <a:p>
            <a:pPr algn="ctr" defTabSz="951028" fontAlgn="base">
              <a:spcBef>
                <a:spcPct val="0"/>
              </a:spcBef>
              <a:spcAft>
                <a:spcPct val="0"/>
              </a:spcAft>
            </a:pPr>
            <a:r>
              <a:rPr lang="en-US" sz="1428" b="1" dirty="0">
                <a:solidFill>
                  <a:schemeClr val="tx2"/>
                </a:solidFill>
              </a:rPr>
              <a:t>DB</a:t>
            </a:r>
            <a:r>
              <a:rPr lang="en-US" sz="1428" b="1" baseline="-25000" dirty="0">
                <a:solidFill>
                  <a:schemeClr val="tx2"/>
                </a:solidFill>
              </a:rPr>
              <a:t>2</a:t>
            </a:r>
          </a:p>
          <a:p>
            <a:pPr algn="ctr" defTabSz="951028" fontAlgn="base">
              <a:spcBef>
                <a:spcPct val="0"/>
              </a:spcBef>
              <a:spcAft>
                <a:spcPct val="0"/>
              </a:spcAft>
            </a:pPr>
            <a:r>
              <a:rPr lang="en-US" sz="1632" baseline="-25000" dirty="0">
                <a:solidFill>
                  <a:schemeClr val="tx2"/>
                </a:solidFill>
              </a:rPr>
              <a:t>[100-200)</a:t>
            </a:r>
            <a:endParaRPr lang="en-US" sz="1428" baseline="-25000" dirty="0">
              <a:solidFill>
                <a:schemeClr val="tx2"/>
              </a:solidFill>
            </a:endParaRPr>
          </a:p>
          <a:p>
            <a:pPr algn="ctr" defTabSz="951028" fontAlgn="base">
              <a:spcBef>
                <a:spcPct val="0"/>
              </a:spcBef>
              <a:spcAft>
                <a:spcPct val="0"/>
              </a:spcAft>
            </a:pPr>
            <a:endParaRPr lang="en-US" sz="1428" baseline="-25000" dirty="0">
              <a:solidFill>
                <a:schemeClr val="tx2"/>
              </a:solidFill>
            </a:endParaRPr>
          </a:p>
          <a:p>
            <a:pPr algn="ctr" defTabSz="951028" fontAlgn="base">
              <a:spcBef>
                <a:spcPct val="0"/>
              </a:spcBef>
              <a:spcAft>
                <a:spcPct val="0"/>
              </a:spcAft>
            </a:pPr>
            <a:endParaRPr lang="en-US" sz="1428" baseline="-25000" dirty="0">
              <a:solidFill>
                <a:schemeClr val="tx2"/>
              </a:solidFill>
            </a:endParaRPr>
          </a:p>
          <a:p>
            <a:pPr algn="ctr" defTabSz="951028" fontAlgn="base">
              <a:spcBef>
                <a:spcPct val="0"/>
              </a:spcBef>
              <a:spcAft>
                <a:spcPct val="0"/>
              </a:spcAft>
            </a:pPr>
            <a:endParaRPr lang="en-US" sz="1428" baseline="-25000" dirty="0">
              <a:solidFill>
                <a:schemeClr val="tx2"/>
              </a:solidFill>
            </a:endParaRPr>
          </a:p>
          <a:p>
            <a:pPr algn="ctr" defTabSz="951028" fontAlgn="base">
              <a:spcBef>
                <a:spcPct val="0"/>
              </a:spcBef>
              <a:spcAft>
                <a:spcPct val="0"/>
              </a:spcAft>
            </a:pPr>
            <a:endParaRPr lang="en-US" sz="1428" baseline="-25000" dirty="0">
              <a:solidFill>
                <a:schemeClr val="tx2"/>
              </a:solidFill>
            </a:endParaRPr>
          </a:p>
        </p:txBody>
      </p:sp>
      <p:sp>
        <p:nvSpPr>
          <p:cNvPr id="13" name="Can 12"/>
          <p:cNvSpPr/>
          <p:nvPr/>
        </p:nvSpPr>
        <p:spPr bwMode="auto">
          <a:xfrm>
            <a:off x="4036980" y="4830145"/>
            <a:ext cx="999150" cy="1000857"/>
          </a:xfrm>
          <a:prstGeom prst="can">
            <a:avLst/>
          </a:prstGeom>
          <a:solidFill>
            <a:srgbClr val="92D050"/>
          </a:solidFill>
          <a:ln w="28575">
            <a:solidFill>
              <a:srgbClr val="00B050"/>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pPr>
            <a:endParaRPr lang="en-US" sz="1428" dirty="0">
              <a:solidFill>
                <a:schemeClr val="tx2"/>
              </a:solidFill>
            </a:endParaRPr>
          </a:p>
          <a:p>
            <a:pPr algn="ctr" defTabSz="951028" fontAlgn="base">
              <a:spcBef>
                <a:spcPct val="0"/>
              </a:spcBef>
              <a:spcAft>
                <a:spcPct val="0"/>
              </a:spcAft>
            </a:pPr>
            <a:endParaRPr lang="en-US" sz="1428" dirty="0">
              <a:solidFill>
                <a:schemeClr val="tx2"/>
              </a:solidFill>
            </a:endParaRPr>
          </a:p>
          <a:p>
            <a:pPr algn="ctr" defTabSz="951028" fontAlgn="base">
              <a:spcBef>
                <a:spcPct val="0"/>
              </a:spcBef>
              <a:spcAft>
                <a:spcPct val="0"/>
              </a:spcAft>
            </a:pPr>
            <a:r>
              <a:rPr lang="en-US" sz="1428" b="1" dirty="0">
                <a:solidFill>
                  <a:schemeClr val="tx2"/>
                </a:solidFill>
              </a:rPr>
              <a:t>DB</a:t>
            </a:r>
            <a:r>
              <a:rPr lang="en-US" sz="1428" b="1" baseline="-25000" dirty="0">
                <a:solidFill>
                  <a:schemeClr val="tx2"/>
                </a:solidFill>
              </a:rPr>
              <a:t>3</a:t>
            </a:r>
          </a:p>
          <a:p>
            <a:pPr algn="ctr" defTabSz="951028" fontAlgn="base">
              <a:spcBef>
                <a:spcPct val="0"/>
              </a:spcBef>
              <a:spcAft>
                <a:spcPct val="0"/>
              </a:spcAft>
            </a:pPr>
            <a:r>
              <a:rPr lang="en-US" sz="1632" baseline="-25000" dirty="0">
                <a:solidFill>
                  <a:schemeClr val="tx2"/>
                </a:solidFill>
              </a:rPr>
              <a:t>[200-300)</a:t>
            </a:r>
            <a:endParaRPr lang="en-US" sz="1428" baseline="-25000" dirty="0">
              <a:solidFill>
                <a:schemeClr val="tx2"/>
              </a:solidFill>
            </a:endParaRPr>
          </a:p>
          <a:p>
            <a:pPr algn="ctr" defTabSz="951028" fontAlgn="base">
              <a:spcBef>
                <a:spcPct val="0"/>
              </a:spcBef>
              <a:spcAft>
                <a:spcPct val="0"/>
              </a:spcAft>
            </a:pPr>
            <a:endParaRPr lang="en-US" sz="1428" baseline="-25000" dirty="0">
              <a:solidFill>
                <a:schemeClr val="tx2"/>
              </a:solidFill>
            </a:endParaRPr>
          </a:p>
          <a:p>
            <a:pPr algn="ctr" defTabSz="951028" fontAlgn="base">
              <a:spcBef>
                <a:spcPct val="0"/>
              </a:spcBef>
              <a:spcAft>
                <a:spcPct val="0"/>
              </a:spcAft>
            </a:pPr>
            <a:endParaRPr lang="en-US" sz="1428" baseline="-25000" dirty="0">
              <a:solidFill>
                <a:schemeClr val="tx2"/>
              </a:solidFill>
            </a:endParaRPr>
          </a:p>
          <a:p>
            <a:pPr algn="ctr" defTabSz="951028" fontAlgn="base">
              <a:spcBef>
                <a:spcPct val="0"/>
              </a:spcBef>
              <a:spcAft>
                <a:spcPct val="0"/>
              </a:spcAft>
            </a:pPr>
            <a:endParaRPr lang="en-US" sz="1428" baseline="-25000" dirty="0">
              <a:solidFill>
                <a:schemeClr val="tx2"/>
              </a:solidFill>
            </a:endParaRPr>
          </a:p>
          <a:p>
            <a:pPr algn="ctr" defTabSz="951028" fontAlgn="base">
              <a:spcBef>
                <a:spcPct val="0"/>
              </a:spcBef>
              <a:spcAft>
                <a:spcPct val="0"/>
              </a:spcAft>
            </a:pPr>
            <a:endParaRPr lang="en-US" sz="1428" baseline="-25000" dirty="0">
              <a:solidFill>
                <a:schemeClr val="tx2"/>
              </a:solidFill>
            </a:endParaRPr>
          </a:p>
        </p:txBody>
      </p:sp>
      <p:sp>
        <p:nvSpPr>
          <p:cNvPr id="14" name="Can 13"/>
          <p:cNvSpPr/>
          <p:nvPr/>
        </p:nvSpPr>
        <p:spPr bwMode="auto">
          <a:xfrm>
            <a:off x="5266679" y="4369750"/>
            <a:ext cx="999150" cy="1461252"/>
          </a:xfrm>
          <a:prstGeom prst="can">
            <a:avLst/>
          </a:prstGeom>
          <a:solidFill>
            <a:srgbClr val="92D050"/>
          </a:solidFill>
          <a:ln w="28575">
            <a:solidFill>
              <a:srgbClr val="00B050"/>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pPr>
            <a:endParaRPr lang="en-US" sz="1428" dirty="0">
              <a:solidFill>
                <a:schemeClr val="tx2"/>
              </a:solidFill>
            </a:endParaRPr>
          </a:p>
          <a:p>
            <a:pPr algn="ctr" defTabSz="951028" fontAlgn="base">
              <a:spcBef>
                <a:spcPct val="0"/>
              </a:spcBef>
              <a:spcAft>
                <a:spcPct val="0"/>
              </a:spcAft>
            </a:pPr>
            <a:endParaRPr lang="en-US" sz="1428" dirty="0">
              <a:solidFill>
                <a:schemeClr val="tx2"/>
              </a:solidFill>
            </a:endParaRPr>
          </a:p>
          <a:p>
            <a:pPr algn="ctr" defTabSz="951028" fontAlgn="base">
              <a:spcBef>
                <a:spcPct val="0"/>
              </a:spcBef>
              <a:spcAft>
                <a:spcPct val="0"/>
              </a:spcAft>
            </a:pPr>
            <a:r>
              <a:rPr lang="en-US" sz="1428" b="1" dirty="0">
                <a:solidFill>
                  <a:schemeClr val="tx2"/>
                </a:solidFill>
              </a:rPr>
              <a:t>DB</a:t>
            </a:r>
            <a:r>
              <a:rPr lang="en-US" sz="1428" b="1" baseline="-25000" dirty="0">
                <a:solidFill>
                  <a:schemeClr val="tx2"/>
                </a:solidFill>
              </a:rPr>
              <a:t>4</a:t>
            </a:r>
          </a:p>
          <a:p>
            <a:pPr algn="ctr" defTabSz="951028" fontAlgn="base">
              <a:spcBef>
                <a:spcPct val="0"/>
              </a:spcBef>
              <a:spcAft>
                <a:spcPct val="0"/>
              </a:spcAft>
            </a:pPr>
            <a:r>
              <a:rPr lang="en-US" sz="1632" baseline="-25000" dirty="0">
                <a:solidFill>
                  <a:schemeClr val="tx2"/>
                </a:solidFill>
              </a:rPr>
              <a:t>[300-400)</a:t>
            </a:r>
            <a:endParaRPr lang="en-US" sz="1428" baseline="-25000" dirty="0">
              <a:solidFill>
                <a:schemeClr val="tx2"/>
              </a:solidFill>
            </a:endParaRPr>
          </a:p>
          <a:p>
            <a:pPr algn="ctr" defTabSz="951028" fontAlgn="base">
              <a:spcBef>
                <a:spcPct val="0"/>
              </a:spcBef>
              <a:spcAft>
                <a:spcPct val="0"/>
              </a:spcAft>
            </a:pPr>
            <a:endParaRPr lang="en-US" sz="1428" baseline="-25000" dirty="0">
              <a:solidFill>
                <a:schemeClr val="tx2"/>
              </a:solidFill>
            </a:endParaRPr>
          </a:p>
          <a:p>
            <a:pPr algn="ctr" defTabSz="951028" fontAlgn="base">
              <a:spcBef>
                <a:spcPct val="0"/>
              </a:spcBef>
              <a:spcAft>
                <a:spcPct val="0"/>
              </a:spcAft>
            </a:pPr>
            <a:endParaRPr lang="en-US" sz="1428" baseline="-25000" dirty="0">
              <a:solidFill>
                <a:schemeClr val="tx2"/>
              </a:solidFill>
            </a:endParaRPr>
          </a:p>
          <a:p>
            <a:pPr algn="ctr" defTabSz="951028" fontAlgn="base">
              <a:spcBef>
                <a:spcPct val="0"/>
              </a:spcBef>
              <a:spcAft>
                <a:spcPct val="0"/>
              </a:spcAft>
            </a:pPr>
            <a:endParaRPr lang="en-US" sz="1428" baseline="-25000" dirty="0">
              <a:solidFill>
                <a:schemeClr val="tx2"/>
              </a:solidFill>
            </a:endParaRPr>
          </a:p>
          <a:p>
            <a:pPr algn="ctr" defTabSz="951028" fontAlgn="base">
              <a:spcBef>
                <a:spcPct val="0"/>
              </a:spcBef>
              <a:spcAft>
                <a:spcPct val="0"/>
              </a:spcAft>
            </a:pPr>
            <a:endParaRPr lang="en-US" sz="1428" baseline="-25000" dirty="0">
              <a:solidFill>
                <a:schemeClr val="tx2"/>
              </a:solidFill>
            </a:endParaRPr>
          </a:p>
        </p:txBody>
      </p:sp>
      <p:sp>
        <p:nvSpPr>
          <p:cNvPr id="15" name="Can 14"/>
          <p:cNvSpPr/>
          <p:nvPr/>
        </p:nvSpPr>
        <p:spPr bwMode="auto">
          <a:xfrm>
            <a:off x="6496378" y="3921156"/>
            <a:ext cx="999150" cy="1909845"/>
          </a:xfrm>
          <a:prstGeom prst="can">
            <a:avLst/>
          </a:prstGeom>
          <a:solidFill>
            <a:srgbClr val="92D050"/>
          </a:solidFill>
          <a:ln w="28575">
            <a:solidFill>
              <a:srgbClr val="00B050"/>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pPr>
            <a:endParaRPr lang="en-US" sz="1428" dirty="0">
              <a:solidFill>
                <a:schemeClr val="tx2"/>
              </a:solidFill>
            </a:endParaRPr>
          </a:p>
          <a:p>
            <a:pPr algn="ctr" defTabSz="951028" fontAlgn="base">
              <a:spcBef>
                <a:spcPct val="0"/>
              </a:spcBef>
              <a:spcAft>
                <a:spcPct val="0"/>
              </a:spcAft>
            </a:pPr>
            <a:endParaRPr lang="en-US" sz="1428" dirty="0">
              <a:solidFill>
                <a:schemeClr val="tx2"/>
              </a:solidFill>
            </a:endParaRPr>
          </a:p>
          <a:p>
            <a:pPr algn="ctr" defTabSz="951028" fontAlgn="base">
              <a:spcBef>
                <a:spcPct val="0"/>
              </a:spcBef>
              <a:spcAft>
                <a:spcPct val="0"/>
              </a:spcAft>
            </a:pPr>
            <a:r>
              <a:rPr lang="en-US" sz="1428" b="1" dirty="0">
                <a:solidFill>
                  <a:schemeClr val="tx2"/>
                </a:solidFill>
              </a:rPr>
              <a:t>DB</a:t>
            </a:r>
            <a:r>
              <a:rPr lang="en-US" sz="1428" b="1" baseline="-25000" dirty="0">
                <a:solidFill>
                  <a:schemeClr val="tx2"/>
                </a:solidFill>
              </a:rPr>
              <a:t>5</a:t>
            </a:r>
          </a:p>
          <a:p>
            <a:pPr algn="ctr" defTabSz="951028" fontAlgn="base">
              <a:spcBef>
                <a:spcPct val="0"/>
              </a:spcBef>
              <a:spcAft>
                <a:spcPct val="0"/>
              </a:spcAft>
            </a:pPr>
            <a:r>
              <a:rPr lang="en-US" sz="1632" baseline="-25000" dirty="0">
                <a:solidFill>
                  <a:schemeClr val="tx2"/>
                </a:solidFill>
              </a:rPr>
              <a:t>[400-500)</a:t>
            </a:r>
            <a:endParaRPr lang="en-US" sz="1428" baseline="-25000" dirty="0">
              <a:solidFill>
                <a:schemeClr val="tx2"/>
              </a:solidFill>
            </a:endParaRPr>
          </a:p>
          <a:p>
            <a:pPr algn="ctr" defTabSz="951028" fontAlgn="base">
              <a:spcBef>
                <a:spcPct val="0"/>
              </a:spcBef>
              <a:spcAft>
                <a:spcPct val="0"/>
              </a:spcAft>
            </a:pPr>
            <a:endParaRPr lang="en-US" sz="1428" baseline="-25000" dirty="0">
              <a:solidFill>
                <a:schemeClr val="tx2"/>
              </a:solidFill>
            </a:endParaRPr>
          </a:p>
          <a:p>
            <a:pPr algn="ctr" defTabSz="951028" fontAlgn="base">
              <a:spcBef>
                <a:spcPct val="0"/>
              </a:spcBef>
              <a:spcAft>
                <a:spcPct val="0"/>
              </a:spcAft>
            </a:pPr>
            <a:endParaRPr lang="en-US" sz="1428" baseline="-25000" dirty="0">
              <a:solidFill>
                <a:schemeClr val="tx2"/>
              </a:solidFill>
            </a:endParaRPr>
          </a:p>
          <a:p>
            <a:pPr algn="ctr" defTabSz="951028" fontAlgn="base">
              <a:spcBef>
                <a:spcPct val="0"/>
              </a:spcBef>
              <a:spcAft>
                <a:spcPct val="0"/>
              </a:spcAft>
            </a:pPr>
            <a:endParaRPr lang="en-US" sz="1428" baseline="-25000" dirty="0">
              <a:solidFill>
                <a:schemeClr val="tx2"/>
              </a:solidFill>
            </a:endParaRPr>
          </a:p>
          <a:p>
            <a:pPr algn="ctr" defTabSz="951028" fontAlgn="base">
              <a:spcBef>
                <a:spcPct val="0"/>
              </a:spcBef>
              <a:spcAft>
                <a:spcPct val="0"/>
              </a:spcAft>
            </a:pPr>
            <a:endParaRPr lang="en-US" sz="1428" baseline="-25000" dirty="0">
              <a:solidFill>
                <a:schemeClr val="tx2"/>
              </a:solidFill>
            </a:endParaRPr>
          </a:p>
        </p:txBody>
      </p:sp>
      <p:sp>
        <p:nvSpPr>
          <p:cNvPr id="16" name="Can 15"/>
          <p:cNvSpPr/>
          <p:nvPr/>
        </p:nvSpPr>
        <p:spPr bwMode="auto">
          <a:xfrm>
            <a:off x="7726077" y="3547752"/>
            <a:ext cx="999150" cy="2283249"/>
          </a:xfrm>
          <a:prstGeom prst="can">
            <a:avLst/>
          </a:prstGeom>
          <a:solidFill>
            <a:srgbClr val="92D050"/>
          </a:solidFill>
          <a:ln w="28575">
            <a:solidFill>
              <a:srgbClr val="00B050"/>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pPr>
            <a:endParaRPr lang="en-US" sz="1428" dirty="0">
              <a:solidFill>
                <a:schemeClr val="tx2"/>
              </a:solidFill>
            </a:endParaRPr>
          </a:p>
          <a:p>
            <a:pPr algn="ctr" defTabSz="951028" fontAlgn="base">
              <a:spcBef>
                <a:spcPct val="0"/>
              </a:spcBef>
              <a:spcAft>
                <a:spcPct val="0"/>
              </a:spcAft>
            </a:pPr>
            <a:endParaRPr lang="en-US" sz="1428" dirty="0">
              <a:solidFill>
                <a:schemeClr val="tx2"/>
              </a:solidFill>
            </a:endParaRPr>
          </a:p>
          <a:p>
            <a:pPr algn="ctr" defTabSz="951028" fontAlgn="base">
              <a:spcBef>
                <a:spcPct val="0"/>
              </a:spcBef>
              <a:spcAft>
                <a:spcPct val="0"/>
              </a:spcAft>
            </a:pPr>
            <a:r>
              <a:rPr lang="en-US" sz="1428" b="1" dirty="0">
                <a:solidFill>
                  <a:schemeClr val="tx2"/>
                </a:solidFill>
              </a:rPr>
              <a:t>DB</a:t>
            </a:r>
            <a:r>
              <a:rPr lang="en-US" sz="1428" b="1" baseline="-25000" dirty="0">
                <a:solidFill>
                  <a:schemeClr val="tx2"/>
                </a:solidFill>
              </a:rPr>
              <a:t>6</a:t>
            </a:r>
          </a:p>
          <a:p>
            <a:pPr algn="ctr" defTabSz="951028" fontAlgn="base">
              <a:spcBef>
                <a:spcPct val="0"/>
              </a:spcBef>
              <a:spcAft>
                <a:spcPct val="0"/>
              </a:spcAft>
            </a:pPr>
            <a:r>
              <a:rPr lang="en-US" sz="1632" baseline="-25000" dirty="0">
                <a:solidFill>
                  <a:schemeClr val="tx2"/>
                </a:solidFill>
              </a:rPr>
              <a:t>[500-600)</a:t>
            </a:r>
            <a:endParaRPr lang="en-US" sz="1428" baseline="-25000" dirty="0">
              <a:solidFill>
                <a:schemeClr val="tx2"/>
              </a:solidFill>
            </a:endParaRPr>
          </a:p>
          <a:p>
            <a:pPr algn="ctr" defTabSz="951028" fontAlgn="base">
              <a:spcBef>
                <a:spcPct val="0"/>
              </a:spcBef>
              <a:spcAft>
                <a:spcPct val="0"/>
              </a:spcAft>
            </a:pPr>
            <a:endParaRPr lang="en-US" sz="1428" baseline="-25000" dirty="0">
              <a:solidFill>
                <a:schemeClr val="tx2"/>
              </a:solidFill>
            </a:endParaRPr>
          </a:p>
          <a:p>
            <a:pPr algn="ctr" defTabSz="951028" fontAlgn="base">
              <a:spcBef>
                <a:spcPct val="0"/>
              </a:spcBef>
              <a:spcAft>
                <a:spcPct val="0"/>
              </a:spcAft>
            </a:pPr>
            <a:endParaRPr lang="en-US" sz="1428" baseline="-25000" dirty="0">
              <a:solidFill>
                <a:schemeClr val="tx2"/>
              </a:solidFill>
            </a:endParaRPr>
          </a:p>
          <a:p>
            <a:pPr algn="ctr" defTabSz="951028" fontAlgn="base">
              <a:spcBef>
                <a:spcPct val="0"/>
              </a:spcBef>
              <a:spcAft>
                <a:spcPct val="0"/>
              </a:spcAft>
            </a:pPr>
            <a:endParaRPr lang="en-US" sz="1428" baseline="-25000" dirty="0">
              <a:solidFill>
                <a:schemeClr val="tx2"/>
              </a:solidFill>
            </a:endParaRPr>
          </a:p>
          <a:p>
            <a:pPr algn="ctr" defTabSz="951028" fontAlgn="base">
              <a:spcBef>
                <a:spcPct val="0"/>
              </a:spcBef>
              <a:spcAft>
                <a:spcPct val="0"/>
              </a:spcAft>
            </a:pPr>
            <a:endParaRPr lang="en-US" sz="1428" baseline="-25000" dirty="0">
              <a:solidFill>
                <a:schemeClr val="tx2"/>
              </a:solidFill>
            </a:endParaRPr>
          </a:p>
        </p:txBody>
      </p:sp>
      <p:sp>
        <p:nvSpPr>
          <p:cNvPr id="17" name="Can 16"/>
          <p:cNvSpPr/>
          <p:nvPr/>
        </p:nvSpPr>
        <p:spPr bwMode="auto">
          <a:xfrm>
            <a:off x="9521524" y="4830143"/>
            <a:ext cx="999150" cy="1000857"/>
          </a:xfrm>
          <a:prstGeom prst="can">
            <a:avLst/>
          </a:prstGeom>
          <a:solidFill>
            <a:srgbClr val="92D050"/>
          </a:solidFill>
          <a:ln w="28575">
            <a:solidFill>
              <a:srgbClr val="00B050"/>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pPr>
            <a:endParaRPr lang="en-US" sz="1428" dirty="0">
              <a:solidFill>
                <a:schemeClr val="tx2"/>
              </a:solidFill>
            </a:endParaRPr>
          </a:p>
          <a:p>
            <a:pPr algn="ctr" defTabSz="951028" fontAlgn="base">
              <a:spcBef>
                <a:spcPct val="0"/>
              </a:spcBef>
              <a:spcAft>
                <a:spcPct val="0"/>
              </a:spcAft>
            </a:pPr>
            <a:endParaRPr lang="en-US" sz="1428" dirty="0">
              <a:solidFill>
                <a:schemeClr val="tx2"/>
              </a:solidFill>
            </a:endParaRPr>
          </a:p>
          <a:p>
            <a:pPr algn="ctr" defTabSz="951028" fontAlgn="base">
              <a:spcBef>
                <a:spcPct val="0"/>
              </a:spcBef>
              <a:spcAft>
                <a:spcPct val="0"/>
              </a:spcAft>
            </a:pPr>
            <a:r>
              <a:rPr lang="en-US" sz="1428" b="1" dirty="0" err="1">
                <a:solidFill>
                  <a:schemeClr val="tx2"/>
                </a:solidFill>
              </a:rPr>
              <a:t>DB</a:t>
            </a:r>
            <a:r>
              <a:rPr lang="en-US" sz="1428" b="1" baseline="-25000" dirty="0" err="1">
                <a:solidFill>
                  <a:schemeClr val="tx2"/>
                </a:solidFill>
              </a:rPr>
              <a:t>n</a:t>
            </a:r>
            <a:endParaRPr lang="en-US" sz="1428" b="1" baseline="-25000" dirty="0">
              <a:solidFill>
                <a:schemeClr val="tx2"/>
              </a:solidFill>
            </a:endParaRPr>
          </a:p>
          <a:p>
            <a:pPr algn="ctr" defTabSz="951028" fontAlgn="base">
              <a:spcBef>
                <a:spcPct val="0"/>
              </a:spcBef>
              <a:spcAft>
                <a:spcPct val="0"/>
              </a:spcAft>
            </a:pPr>
            <a:r>
              <a:rPr lang="en-US" sz="1632" baseline="-25000" dirty="0">
                <a:solidFill>
                  <a:schemeClr val="tx2"/>
                </a:solidFill>
              </a:rPr>
              <a:t>[n-n+100)</a:t>
            </a:r>
            <a:endParaRPr lang="en-US" sz="1428" baseline="-25000" dirty="0">
              <a:solidFill>
                <a:schemeClr val="tx2"/>
              </a:solidFill>
            </a:endParaRPr>
          </a:p>
          <a:p>
            <a:pPr algn="ctr" defTabSz="951028" fontAlgn="base">
              <a:spcBef>
                <a:spcPct val="0"/>
              </a:spcBef>
              <a:spcAft>
                <a:spcPct val="0"/>
              </a:spcAft>
            </a:pPr>
            <a:endParaRPr lang="en-US" sz="1428" baseline="-25000" dirty="0">
              <a:solidFill>
                <a:schemeClr val="tx2"/>
              </a:solidFill>
            </a:endParaRPr>
          </a:p>
          <a:p>
            <a:pPr algn="ctr" defTabSz="951028" fontAlgn="base">
              <a:spcBef>
                <a:spcPct val="0"/>
              </a:spcBef>
              <a:spcAft>
                <a:spcPct val="0"/>
              </a:spcAft>
            </a:pPr>
            <a:endParaRPr lang="en-US" sz="1428" baseline="-25000" dirty="0">
              <a:solidFill>
                <a:schemeClr val="tx2"/>
              </a:solidFill>
            </a:endParaRPr>
          </a:p>
          <a:p>
            <a:pPr algn="ctr" defTabSz="951028" fontAlgn="base">
              <a:spcBef>
                <a:spcPct val="0"/>
              </a:spcBef>
              <a:spcAft>
                <a:spcPct val="0"/>
              </a:spcAft>
            </a:pPr>
            <a:endParaRPr lang="en-US" sz="1428" baseline="-25000" dirty="0">
              <a:solidFill>
                <a:schemeClr val="tx2"/>
              </a:solidFill>
            </a:endParaRPr>
          </a:p>
          <a:p>
            <a:pPr algn="ctr" defTabSz="951028" fontAlgn="base">
              <a:spcBef>
                <a:spcPct val="0"/>
              </a:spcBef>
              <a:spcAft>
                <a:spcPct val="0"/>
              </a:spcAft>
            </a:pPr>
            <a:endParaRPr lang="en-US" sz="1428" baseline="-25000" dirty="0">
              <a:solidFill>
                <a:schemeClr val="tx2"/>
              </a:solidFill>
            </a:endParaRPr>
          </a:p>
        </p:txBody>
      </p:sp>
      <p:sp>
        <p:nvSpPr>
          <p:cNvPr id="18" name="TextBox 17"/>
          <p:cNvSpPr txBox="1"/>
          <p:nvPr/>
        </p:nvSpPr>
        <p:spPr>
          <a:xfrm>
            <a:off x="7796908" y="5856968"/>
            <a:ext cx="857489" cy="382308"/>
          </a:xfrm>
          <a:prstGeom prst="rect">
            <a:avLst/>
          </a:prstGeom>
          <a:noFill/>
        </p:spPr>
        <p:txBody>
          <a:bodyPr wrap="square" rtlCol="0">
            <a:spAutoFit/>
          </a:bodyPr>
          <a:lstStyle/>
          <a:p>
            <a:pPr algn="ctr"/>
            <a:r>
              <a:rPr lang="en-US" sz="1836" dirty="0">
                <a:solidFill>
                  <a:schemeClr val="tx2"/>
                </a:solidFill>
              </a:rPr>
              <a:t>P3</a:t>
            </a:r>
          </a:p>
        </p:txBody>
      </p:sp>
      <p:sp>
        <p:nvSpPr>
          <p:cNvPr id="19" name="TextBox 18"/>
          <p:cNvSpPr txBox="1"/>
          <p:nvPr/>
        </p:nvSpPr>
        <p:spPr>
          <a:xfrm>
            <a:off x="6567209" y="5856968"/>
            <a:ext cx="857489" cy="382308"/>
          </a:xfrm>
          <a:prstGeom prst="rect">
            <a:avLst/>
          </a:prstGeom>
          <a:noFill/>
        </p:spPr>
        <p:txBody>
          <a:bodyPr wrap="square" rtlCol="0">
            <a:spAutoFit/>
          </a:bodyPr>
          <a:lstStyle/>
          <a:p>
            <a:pPr algn="ctr"/>
            <a:r>
              <a:rPr lang="en-US" sz="1836" dirty="0">
                <a:solidFill>
                  <a:schemeClr val="tx2"/>
                </a:solidFill>
              </a:rPr>
              <a:t>P1</a:t>
            </a:r>
          </a:p>
        </p:txBody>
      </p:sp>
      <p:sp>
        <p:nvSpPr>
          <p:cNvPr id="20" name="TextBox 19"/>
          <p:cNvSpPr txBox="1"/>
          <p:nvPr/>
        </p:nvSpPr>
        <p:spPr>
          <a:xfrm>
            <a:off x="5337509" y="5856968"/>
            <a:ext cx="857489" cy="382308"/>
          </a:xfrm>
          <a:prstGeom prst="rect">
            <a:avLst/>
          </a:prstGeom>
          <a:noFill/>
        </p:spPr>
        <p:txBody>
          <a:bodyPr wrap="square" rtlCol="0">
            <a:spAutoFit/>
          </a:bodyPr>
          <a:lstStyle/>
          <a:p>
            <a:pPr algn="ctr"/>
            <a:r>
              <a:rPr lang="en-US" sz="1836" dirty="0">
                <a:solidFill>
                  <a:schemeClr val="tx2"/>
                </a:solidFill>
              </a:rPr>
              <a:t>S2</a:t>
            </a:r>
          </a:p>
        </p:txBody>
      </p:sp>
      <p:sp>
        <p:nvSpPr>
          <p:cNvPr id="21" name="TextBox 20"/>
          <p:cNvSpPr txBox="1"/>
          <p:nvPr/>
        </p:nvSpPr>
        <p:spPr>
          <a:xfrm>
            <a:off x="4107810" y="5829587"/>
            <a:ext cx="857489" cy="382308"/>
          </a:xfrm>
          <a:prstGeom prst="rect">
            <a:avLst/>
          </a:prstGeom>
          <a:noFill/>
        </p:spPr>
        <p:txBody>
          <a:bodyPr wrap="square" rtlCol="0">
            <a:spAutoFit/>
          </a:bodyPr>
          <a:lstStyle/>
          <a:p>
            <a:pPr algn="ctr"/>
            <a:r>
              <a:rPr lang="en-US" sz="1836" dirty="0">
                <a:solidFill>
                  <a:schemeClr val="tx2"/>
                </a:solidFill>
              </a:rPr>
              <a:t>S0</a:t>
            </a:r>
          </a:p>
        </p:txBody>
      </p:sp>
      <p:sp>
        <p:nvSpPr>
          <p:cNvPr id="22" name="TextBox 21"/>
          <p:cNvSpPr txBox="1"/>
          <p:nvPr/>
        </p:nvSpPr>
        <p:spPr>
          <a:xfrm>
            <a:off x="2878111" y="5829363"/>
            <a:ext cx="857489" cy="382308"/>
          </a:xfrm>
          <a:prstGeom prst="rect">
            <a:avLst/>
          </a:prstGeom>
          <a:noFill/>
        </p:spPr>
        <p:txBody>
          <a:bodyPr wrap="square" rtlCol="0">
            <a:spAutoFit/>
          </a:bodyPr>
          <a:lstStyle/>
          <a:p>
            <a:pPr algn="ctr"/>
            <a:r>
              <a:rPr lang="en-US" sz="1836" dirty="0">
                <a:solidFill>
                  <a:schemeClr val="tx2"/>
                </a:solidFill>
              </a:rPr>
              <a:t>S0</a:t>
            </a:r>
          </a:p>
        </p:txBody>
      </p:sp>
      <p:sp>
        <p:nvSpPr>
          <p:cNvPr id="23" name="TextBox 22"/>
          <p:cNvSpPr txBox="1"/>
          <p:nvPr/>
        </p:nvSpPr>
        <p:spPr>
          <a:xfrm>
            <a:off x="1648411" y="5829363"/>
            <a:ext cx="857489" cy="382308"/>
          </a:xfrm>
          <a:prstGeom prst="rect">
            <a:avLst/>
          </a:prstGeom>
          <a:noFill/>
        </p:spPr>
        <p:txBody>
          <a:bodyPr wrap="square" rtlCol="0">
            <a:spAutoFit/>
          </a:bodyPr>
          <a:lstStyle/>
          <a:p>
            <a:pPr algn="ctr"/>
            <a:r>
              <a:rPr lang="en-US" sz="1836" dirty="0">
                <a:solidFill>
                  <a:schemeClr val="tx2"/>
                </a:solidFill>
              </a:rPr>
              <a:t>S0</a:t>
            </a:r>
          </a:p>
        </p:txBody>
      </p:sp>
      <p:cxnSp>
        <p:nvCxnSpPr>
          <p:cNvPr id="24" name="Straight Arrow Connector 23"/>
          <p:cNvCxnSpPr/>
          <p:nvPr/>
        </p:nvCxnSpPr>
        <p:spPr>
          <a:xfrm flipH="1">
            <a:off x="1612463" y="6259619"/>
            <a:ext cx="6847334" cy="11805"/>
          </a:xfrm>
          <a:prstGeom prst="straightConnector1">
            <a:avLst/>
          </a:prstGeom>
          <a:ln w="19050">
            <a:headEnd type="triangle"/>
            <a:tailEnd type="none"/>
          </a:ln>
        </p:spPr>
        <p:style>
          <a:lnRef idx="1">
            <a:schemeClr val="accent1"/>
          </a:lnRef>
          <a:fillRef idx="0">
            <a:schemeClr val="accent1"/>
          </a:fillRef>
          <a:effectRef idx="0">
            <a:schemeClr val="accent1"/>
          </a:effectRef>
          <a:fontRef idx="minor">
            <a:schemeClr val="tx1"/>
          </a:fontRef>
        </p:style>
      </p:cxnSp>
      <p:sp>
        <p:nvSpPr>
          <p:cNvPr id="25" name="TextBox 24"/>
          <p:cNvSpPr txBox="1"/>
          <p:nvPr/>
        </p:nvSpPr>
        <p:spPr>
          <a:xfrm>
            <a:off x="8436352" y="6106556"/>
            <a:ext cx="896538" cy="286306"/>
          </a:xfrm>
          <a:prstGeom prst="rect">
            <a:avLst/>
          </a:prstGeom>
          <a:noFill/>
        </p:spPr>
        <p:txBody>
          <a:bodyPr wrap="square" rtlCol="0">
            <a:spAutoFit/>
          </a:bodyPr>
          <a:lstStyle/>
          <a:p>
            <a:r>
              <a:rPr lang="en-US" sz="1224" dirty="0">
                <a:solidFill>
                  <a:schemeClr val="tx2"/>
                </a:solidFill>
              </a:rPr>
              <a:t>time</a:t>
            </a:r>
          </a:p>
        </p:txBody>
      </p:sp>
      <p:cxnSp>
        <p:nvCxnSpPr>
          <p:cNvPr id="26" name="Straight Arrow Connector 25"/>
          <p:cNvCxnSpPr>
            <a:endCxn id="28" idx="0"/>
          </p:cNvCxnSpPr>
          <p:nvPr/>
        </p:nvCxnSpPr>
        <p:spPr>
          <a:xfrm>
            <a:off x="10021099" y="3547752"/>
            <a:ext cx="11503" cy="682221"/>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27" name="Straight Arrow Connector 26"/>
          <p:cNvCxnSpPr/>
          <p:nvPr/>
        </p:nvCxnSpPr>
        <p:spPr>
          <a:xfrm flipV="1">
            <a:off x="9160429" y="4608792"/>
            <a:ext cx="1837340" cy="23682"/>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sp>
        <p:nvSpPr>
          <p:cNvPr id="28" name="TextBox 27"/>
          <p:cNvSpPr txBox="1"/>
          <p:nvPr/>
        </p:nvSpPr>
        <p:spPr>
          <a:xfrm>
            <a:off x="9050953" y="4229972"/>
            <a:ext cx="1963297" cy="350330"/>
          </a:xfrm>
          <a:prstGeom prst="rect">
            <a:avLst/>
          </a:prstGeom>
          <a:noFill/>
        </p:spPr>
        <p:txBody>
          <a:bodyPr wrap="square" rtlCol="0">
            <a:spAutoFit/>
          </a:bodyPr>
          <a:lstStyle/>
          <a:p>
            <a:pPr algn="ctr"/>
            <a:r>
              <a:rPr lang="en-US" sz="1632" dirty="0">
                <a:solidFill>
                  <a:schemeClr val="tx2"/>
                </a:solidFill>
              </a:rPr>
              <a:t>Horizontal scaling</a:t>
            </a:r>
          </a:p>
        </p:txBody>
      </p:sp>
      <p:pic>
        <p:nvPicPr>
          <p:cNvPr id="29" name="Picture 28"/>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568866" y="2270124"/>
            <a:ext cx="780290" cy="780290"/>
          </a:xfrm>
          <a:prstGeom prst="rect">
            <a:avLst/>
          </a:prstGeom>
        </p:spPr>
      </p:pic>
      <p:sp>
        <p:nvSpPr>
          <p:cNvPr id="31" name="TextBox 30"/>
          <p:cNvSpPr txBox="1"/>
          <p:nvPr/>
        </p:nvSpPr>
        <p:spPr>
          <a:xfrm>
            <a:off x="219031" y="2489809"/>
            <a:ext cx="7983596" cy="1446550"/>
          </a:xfrm>
          <a:prstGeom prst="rect">
            <a:avLst/>
          </a:prstGeom>
          <a:noFill/>
        </p:spPr>
        <p:txBody>
          <a:bodyPr wrap="none" lIns="182880" tIns="146304" rIns="182880" bIns="146304" rtlCol="0">
            <a:spAutoFit/>
          </a:bodyPr>
          <a:lstStyle/>
          <a:p>
            <a:pPr>
              <a:lnSpc>
                <a:spcPct val="90000"/>
              </a:lnSpc>
              <a:spcAft>
                <a:spcPts val="600"/>
              </a:spcAft>
            </a:pPr>
            <a:r>
              <a:rPr lang="en-US" sz="2400" dirty="0">
                <a:solidFill>
                  <a:srgbClr val="0000FF"/>
                </a:solidFill>
                <a:latin typeface="Lucida Console" panose="020B0609040504020204" pitchFamily="49" charset="0"/>
              </a:rPr>
              <a:t>Set-</a:t>
            </a:r>
            <a:r>
              <a:rPr lang="en-US" sz="2400" dirty="0" err="1">
                <a:solidFill>
                  <a:srgbClr val="0000FF"/>
                </a:solidFill>
                <a:latin typeface="Lucida Console" panose="020B0609040504020204" pitchFamily="49" charset="0"/>
              </a:rPr>
              <a:t>AzureSqlDatabase</a:t>
            </a:r>
            <a:r>
              <a:rPr lang="en-US" sz="2400" dirty="0"/>
              <a:t> </a:t>
            </a:r>
            <a:r>
              <a:rPr lang="en-US" sz="2400" dirty="0">
                <a:solidFill>
                  <a:srgbClr val="FF4500"/>
                </a:solidFill>
                <a:latin typeface="Lucida Console" panose="020B0609040504020204" pitchFamily="49" charset="0"/>
              </a:rPr>
              <a:t>$</a:t>
            </a:r>
            <a:r>
              <a:rPr lang="en-US" sz="2400" dirty="0" err="1">
                <a:solidFill>
                  <a:srgbClr val="FF4500"/>
                </a:solidFill>
                <a:latin typeface="Lucida Console" panose="020B0609040504020204" pitchFamily="49" charset="0"/>
              </a:rPr>
              <a:t>ctx</a:t>
            </a:r>
            <a:r>
              <a:rPr lang="en-US" sz="2400" dirty="0"/>
              <a:t> </a:t>
            </a:r>
            <a:r>
              <a:rPr lang="en-US" sz="2400" dirty="0">
                <a:solidFill>
                  <a:srgbClr val="FF4500"/>
                </a:solidFill>
                <a:latin typeface="Lucida Console" panose="020B0609040504020204" pitchFamily="49" charset="0"/>
              </a:rPr>
              <a:t>$</a:t>
            </a:r>
            <a:r>
              <a:rPr lang="en-US" sz="2400" dirty="0" err="1">
                <a:solidFill>
                  <a:srgbClr val="FF4500"/>
                </a:solidFill>
                <a:latin typeface="Lucida Console" panose="020B0609040504020204" pitchFamily="49" charset="0"/>
              </a:rPr>
              <a:t>db</a:t>
            </a:r>
            <a:r>
              <a:rPr lang="en-US" sz="2400" dirty="0"/>
              <a:t> -</a:t>
            </a:r>
            <a:r>
              <a:rPr lang="en-US" sz="2400" dirty="0" err="1">
                <a:solidFill>
                  <a:srgbClr val="000080"/>
                </a:solidFill>
                <a:latin typeface="Lucida Console" panose="020B0609040504020204" pitchFamily="49" charset="0"/>
              </a:rPr>
              <a:t>MaxSizeGB</a:t>
            </a:r>
            <a:r>
              <a:rPr lang="en-US" sz="2400" dirty="0"/>
              <a:t> </a:t>
            </a:r>
            <a:r>
              <a:rPr lang="en-US" sz="2400" dirty="0">
                <a:solidFill>
                  <a:srgbClr val="FF4500"/>
                </a:solidFill>
                <a:latin typeface="Lucida Console" panose="020B0609040504020204" pitchFamily="49" charset="0"/>
              </a:rPr>
              <a:t>50</a:t>
            </a:r>
            <a:r>
              <a:rPr lang="en-US" sz="2400" dirty="0"/>
              <a:t> </a:t>
            </a:r>
          </a:p>
          <a:p>
            <a:pPr>
              <a:lnSpc>
                <a:spcPct val="90000"/>
              </a:lnSpc>
              <a:spcAft>
                <a:spcPts val="600"/>
              </a:spcAft>
            </a:pPr>
            <a:r>
              <a:rPr lang="en-US" sz="2400" dirty="0"/>
              <a:t>-</a:t>
            </a:r>
            <a:r>
              <a:rPr lang="en-US" sz="2400" dirty="0" err="1">
                <a:solidFill>
                  <a:srgbClr val="000080"/>
                </a:solidFill>
                <a:latin typeface="Lucida Console" panose="020B0609040504020204" pitchFamily="49" charset="0"/>
              </a:rPr>
              <a:t>ServiceObjective</a:t>
            </a:r>
            <a:r>
              <a:rPr lang="en-US" sz="2400" dirty="0"/>
              <a:t> </a:t>
            </a:r>
            <a:r>
              <a:rPr lang="en-US" sz="2400" dirty="0">
                <a:solidFill>
                  <a:srgbClr val="FF4500"/>
                </a:solidFill>
                <a:latin typeface="Lucida Console" panose="020B0609040504020204" pitchFamily="49" charset="0"/>
              </a:rPr>
              <a:t>$</a:t>
            </a:r>
            <a:r>
              <a:rPr lang="en-US" sz="2400" dirty="0" err="1">
                <a:solidFill>
                  <a:srgbClr val="FF4500"/>
                </a:solidFill>
                <a:latin typeface="Lucida Console" panose="020B0609040504020204" pitchFamily="49" charset="0"/>
              </a:rPr>
              <a:t>serviceObjective</a:t>
            </a:r>
            <a:r>
              <a:rPr lang="en-US" sz="2400" dirty="0"/>
              <a:t> </a:t>
            </a:r>
          </a:p>
          <a:p>
            <a:pPr>
              <a:lnSpc>
                <a:spcPct val="90000"/>
              </a:lnSpc>
              <a:spcAft>
                <a:spcPts val="600"/>
              </a:spcAft>
            </a:pPr>
            <a:r>
              <a:rPr lang="en-US" sz="2400" dirty="0"/>
              <a:t>-</a:t>
            </a:r>
            <a:r>
              <a:rPr lang="en-US" sz="2400" dirty="0">
                <a:solidFill>
                  <a:srgbClr val="000080"/>
                </a:solidFill>
                <a:latin typeface="Lucida Console" panose="020B0609040504020204" pitchFamily="49" charset="0"/>
              </a:rPr>
              <a:t>Force </a:t>
            </a:r>
          </a:p>
        </p:txBody>
      </p:sp>
    </p:spTree>
    <p:extLst>
      <p:ext uri="{BB962C8B-B14F-4D97-AF65-F5344CB8AC3E}">
        <p14:creationId xmlns:p14="http://schemas.microsoft.com/office/powerpoint/2010/main" val="3190824598"/>
      </p:ext>
    </p:extLst>
  </p:cSld>
  <p:clrMapOvr>
    <a:masterClrMapping/>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zure Elastic Database Pool</a:t>
            </a:r>
          </a:p>
        </p:txBody>
      </p:sp>
      <p:sp>
        <p:nvSpPr>
          <p:cNvPr id="3" name="Text Placeholder 2"/>
          <p:cNvSpPr>
            <a:spLocks noGrp="1"/>
          </p:cNvSpPr>
          <p:nvPr>
            <p:ph type="body" sz="quarter" idx="10"/>
          </p:nvPr>
        </p:nvSpPr>
        <p:spPr>
          <a:xfrm>
            <a:off x="274638" y="1212849"/>
            <a:ext cx="6089896" cy="4431983"/>
          </a:xfrm>
        </p:spPr>
        <p:txBody>
          <a:bodyPr/>
          <a:lstStyle/>
          <a:p>
            <a:r>
              <a:rPr lang="en-US" dirty="0"/>
              <a:t>Azure manages DTU assignment</a:t>
            </a:r>
          </a:p>
          <a:p>
            <a:r>
              <a:rPr lang="en-US" dirty="0"/>
              <a:t>Set min/max DTU per database</a:t>
            </a:r>
          </a:p>
          <a:p>
            <a:r>
              <a:rPr lang="en-US" dirty="0"/>
              <a:t>Add remove databases from pool</a:t>
            </a:r>
          </a:p>
          <a:p>
            <a:endParaRPr lang="en-US" dirty="0"/>
          </a:p>
        </p:txBody>
      </p:sp>
      <p:pic>
        <p:nvPicPr>
          <p:cNvPr id="4" name="Picture 3"/>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6366899" y="1065426"/>
            <a:ext cx="5794939" cy="5664925"/>
          </a:xfrm>
          <a:prstGeom prst="rect">
            <a:avLst/>
          </a:prstGeom>
        </p:spPr>
      </p:pic>
    </p:spTree>
    <p:extLst>
      <p:ext uri="{BB962C8B-B14F-4D97-AF65-F5344CB8AC3E}">
        <p14:creationId xmlns:p14="http://schemas.microsoft.com/office/powerpoint/2010/main" val="1993433988"/>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val 1"/>
          <p:cNvSpPr/>
          <p:nvPr/>
        </p:nvSpPr>
        <p:spPr>
          <a:xfrm>
            <a:off x="-521820" y="1779720"/>
            <a:ext cx="13545647" cy="7606546"/>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21"/>
          </a:p>
        </p:txBody>
      </p:sp>
      <p:sp>
        <p:nvSpPr>
          <p:cNvPr id="100" name="Freeform: Shape 99"/>
          <p:cNvSpPr/>
          <p:nvPr/>
        </p:nvSpPr>
        <p:spPr>
          <a:xfrm>
            <a:off x="423535" y="5106892"/>
            <a:ext cx="11654962" cy="1669054"/>
          </a:xfrm>
          <a:custGeom>
            <a:avLst/>
            <a:gdLst>
              <a:gd name="connsiteX0" fmla="*/ 5907680 w 11815361"/>
              <a:gd name="connsiteY0" fmla="*/ 0 h 1745574"/>
              <a:gd name="connsiteX1" fmla="*/ 11747164 w 11815361"/>
              <a:gd name="connsiteY1" fmla="*/ 1675322 h 1745574"/>
              <a:gd name="connsiteX2" fmla="*/ 11815361 w 11815361"/>
              <a:gd name="connsiteY2" fmla="*/ 1745574 h 1745574"/>
              <a:gd name="connsiteX3" fmla="*/ 0 w 11815361"/>
              <a:gd name="connsiteY3" fmla="*/ 1745574 h 1745574"/>
              <a:gd name="connsiteX4" fmla="*/ 68197 w 11815361"/>
              <a:gd name="connsiteY4" fmla="*/ 1675322 h 1745574"/>
              <a:gd name="connsiteX5" fmla="*/ 5907680 w 11815361"/>
              <a:gd name="connsiteY5" fmla="*/ 0 h 17455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15361" h="1745574">
                <a:moveTo>
                  <a:pt x="5907680" y="0"/>
                </a:moveTo>
                <a:cubicBezTo>
                  <a:pt x="8502236" y="0"/>
                  <a:pt x="10736988" y="686989"/>
                  <a:pt x="11747164" y="1675322"/>
                </a:cubicBezTo>
                <a:lnTo>
                  <a:pt x="11815361" y="1745574"/>
                </a:lnTo>
                <a:lnTo>
                  <a:pt x="0" y="1745574"/>
                </a:lnTo>
                <a:lnTo>
                  <a:pt x="68197" y="1675322"/>
                </a:lnTo>
                <a:cubicBezTo>
                  <a:pt x="1078372" y="686989"/>
                  <a:pt x="3313125" y="0"/>
                  <a:pt x="5907680" y="0"/>
                </a:cubicBezTo>
                <a:close/>
              </a:path>
            </a:pathLst>
          </a:custGeom>
          <a:solidFill>
            <a:schemeClr val="accent1">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721">
              <a:solidFill>
                <a:srgbClr val="FFFFFF"/>
              </a:solidFill>
              <a:latin typeface="Segoe UI"/>
            </a:endParaRPr>
          </a:p>
        </p:txBody>
      </p:sp>
      <p:sp>
        <p:nvSpPr>
          <p:cNvPr id="925" name="Freeform: Shape 924"/>
          <p:cNvSpPr>
            <a:spLocks/>
          </p:cNvSpPr>
          <p:nvPr/>
        </p:nvSpPr>
        <p:spPr bwMode="auto">
          <a:xfrm>
            <a:off x="1614913" y="5347441"/>
            <a:ext cx="9487496" cy="1849694"/>
          </a:xfrm>
          <a:custGeom>
            <a:avLst/>
            <a:gdLst>
              <a:gd name="connsiteX0" fmla="*/ 8407318 w 9922465"/>
              <a:gd name="connsiteY0" fmla="*/ 1824114 h 1934496"/>
              <a:gd name="connsiteX1" fmla="*/ 8462510 w 9922465"/>
              <a:gd name="connsiteY1" fmla="*/ 1879305 h 1934496"/>
              <a:gd name="connsiteX2" fmla="*/ 8407318 w 9922465"/>
              <a:gd name="connsiteY2" fmla="*/ 1934496 h 1934496"/>
              <a:gd name="connsiteX3" fmla="*/ 8352126 w 9922465"/>
              <a:gd name="connsiteY3" fmla="*/ 1879305 h 1934496"/>
              <a:gd name="connsiteX4" fmla="*/ 8407318 w 9922465"/>
              <a:gd name="connsiteY4" fmla="*/ 1824114 h 1934496"/>
              <a:gd name="connsiteX5" fmla="*/ 8273682 w 9922465"/>
              <a:gd name="connsiteY5" fmla="*/ 1824114 h 1934496"/>
              <a:gd name="connsiteX6" fmla="*/ 8328874 w 9922465"/>
              <a:gd name="connsiteY6" fmla="*/ 1879305 h 1934496"/>
              <a:gd name="connsiteX7" fmla="*/ 8273682 w 9922465"/>
              <a:gd name="connsiteY7" fmla="*/ 1934496 h 1934496"/>
              <a:gd name="connsiteX8" fmla="*/ 8218490 w 9922465"/>
              <a:gd name="connsiteY8" fmla="*/ 1879305 h 1934496"/>
              <a:gd name="connsiteX9" fmla="*/ 8273682 w 9922465"/>
              <a:gd name="connsiteY9" fmla="*/ 1824114 h 1934496"/>
              <a:gd name="connsiteX10" fmla="*/ 8143386 w 9922465"/>
              <a:gd name="connsiteY10" fmla="*/ 1824114 h 1934496"/>
              <a:gd name="connsiteX11" fmla="*/ 8198578 w 9922465"/>
              <a:gd name="connsiteY11" fmla="*/ 1879305 h 1934496"/>
              <a:gd name="connsiteX12" fmla="*/ 8143386 w 9922465"/>
              <a:gd name="connsiteY12" fmla="*/ 1934496 h 1934496"/>
              <a:gd name="connsiteX13" fmla="*/ 8088194 w 9922465"/>
              <a:gd name="connsiteY13" fmla="*/ 1879305 h 1934496"/>
              <a:gd name="connsiteX14" fmla="*/ 8143386 w 9922465"/>
              <a:gd name="connsiteY14" fmla="*/ 1824114 h 1934496"/>
              <a:gd name="connsiteX15" fmla="*/ 8009752 w 9922465"/>
              <a:gd name="connsiteY15" fmla="*/ 1824114 h 1934496"/>
              <a:gd name="connsiteX16" fmla="*/ 8064944 w 9922465"/>
              <a:gd name="connsiteY16" fmla="*/ 1879305 h 1934496"/>
              <a:gd name="connsiteX17" fmla="*/ 8009752 w 9922465"/>
              <a:gd name="connsiteY17" fmla="*/ 1934496 h 1934496"/>
              <a:gd name="connsiteX18" fmla="*/ 7954560 w 9922465"/>
              <a:gd name="connsiteY18" fmla="*/ 1879305 h 1934496"/>
              <a:gd name="connsiteX19" fmla="*/ 8009752 w 9922465"/>
              <a:gd name="connsiteY19" fmla="*/ 1824114 h 1934496"/>
              <a:gd name="connsiteX20" fmla="*/ 7876117 w 9922465"/>
              <a:gd name="connsiteY20" fmla="*/ 1824114 h 1934496"/>
              <a:gd name="connsiteX21" fmla="*/ 7931309 w 9922465"/>
              <a:gd name="connsiteY21" fmla="*/ 1879305 h 1934496"/>
              <a:gd name="connsiteX22" fmla="*/ 7876117 w 9922465"/>
              <a:gd name="connsiteY22" fmla="*/ 1934496 h 1934496"/>
              <a:gd name="connsiteX23" fmla="*/ 7820925 w 9922465"/>
              <a:gd name="connsiteY23" fmla="*/ 1879305 h 1934496"/>
              <a:gd name="connsiteX24" fmla="*/ 7876117 w 9922465"/>
              <a:gd name="connsiteY24" fmla="*/ 1824114 h 1934496"/>
              <a:gd name="connsiteX25" fmla="*/ 7745824 w 9922465"/>
              <a:gd name="connsiteY25" fmla="*/ 1824114 h 1934496"/>
              <a:gd name="connsiteX26" fmla="*/ 7801016 w 9922465"/>
              <a:gd name="connsiteY26" fmla="*/ 1879305 h 1934496"/>
              <a:gd name="connsiteX27" fmla="*/ 7745824 w 9922465"/>
              <a:gd name="connsiteY27" fmla="*/ 1934496 h 1934496"/>
              <a:gd name="connsiteX28" fmla="*/ 7690632 w 9922465"/>
              <a:gd name="connsiteY28" fmla="*/ 1879305 h 1934496"/>
              <a:gd name="connsiteX29" fmla="*/ 7745824 w 9922465"/>
              <a:gd name="connsiteY29" fmla="*/ 1824114 h 1934496"/>
              <a:gd name="connsiteX30" fmla="*/ 7608849 w 9922465"/>
              <a:gd name="connsiteY30" fmla="*/ 1824114 h 1934496"/>
              <a:gd name="connsiteX31" fmla="*/ 7664041 w 9922465"/>
              <a:gd name="connsiteY31" fmla="*/ 1879305 h 1934496"/>
              <a:gd name="connsiteX32" fmla="*/ 7608849 w 9922465"/>
              <a:gd name="connsiteY32" fmla="*/ 1934496 h 1934496"/>
              <a:gd name="connsiteX33" fmla="*/ 7553657 w 9922465"/>
              <a:gd name="connsiteY33" fmla="*/ 1879305 h 1934496"/>
              <a:gd name="connsiteX34" fmla="*/ 7608849 w 9922465"/>
              <a:gd name="connsiteY34" fmla="*/ 1824114 h 1934496"/>
              <a:gd name="connsiteX35" fmla="*/ 7481895 w 9922465"/>
              <a:gd name="connsiteY35" fmla="*/ 1824114 h 1934496"/>
              <a:gd name="connsiteX36" fmla="*/ 7537087 w 9922465"/>
              <a:gd name="connsiteY36" fmla="*/ 1879305 h 1934496"/>
              <a:gd name="connsiteX37" fmla="*/ 7481895 w 9922465"/>
              <a:gd name="connsiteY37" fmla="*/ 1934496 h 1934496"/>
              <a:gd name="connsiteX38" fmla="*/ 7426703 w 9922465"/>
              <a:gd name="connsiteY38" fmla="*/ 1879305 h 1934496"/>
              <a:gd name="connsiteX39" fmla="*/ 7481895 w 9922465"/>
              <a:gd name="connsiteY39" fmla="*/ 1824114 h 1934496"/>
              <a:gd name="connsiteX40" fmla="*/ 7341579 w 9922465"/>
              <a:gd name="connsiteY40" fmla="*/ 1824114 h 1934496"/>
              <a:gd name="connsiteX41" fmla="*/ 7396771 w 9922465"/>
              <a:gd name="connsiteY41" fmla="*/ 1879305 h 1934496"/>
              <a:gd name="connsiteX42" fmla="*/ 7341579 w 9922465"/>
              <a:gd name="connsiteY42" fmla="*/ 1934496 h 1934496"/>
              <a:gd name="connsiteX43" fmla="*/ 7286387 w 9922465"/>
              <a:gd name="connsiteY43" fmla="*/ 1879305 h 1934496"/>
              <a:gd name="connsiteX44" fmla="*/ 7341579 w 9922465"/>
              <a:gd name="connsiteY44" fmla="*/ 1824114 h 1934496"/>
              <a:gd name="connsiteX45" fmla="*/ 7211286 w 9922465"/>
              <a:gd name="connsiteY45" fmla="*/ 1824114 h 1934496"/>
              <a:gd name="connsiteX46" fmla="*/ 7266478 w 9922465"/>
              <a:gd name="connsiteY46" fmla="*/ 1879305 h 1934496"/>
              <a:gd name="connsiteX47" fmla="*/ 7211286 w 9922465"/>
              <a:gd name="connsiteY47" fmla="*/ 1934496 h 1934496"/>
              <a:gd name="connsiteX48" fmla="*/ 7156094 w 9922465"/>
              <a:gd name="connsiteY48" fmla="*/ 1879305 h 1934496"/>
              <a:gd name="connsiteX49" fmla="*/ 7211286 w 9922465"/>
              <a:gd name="connsiteY49" fmla="*/ 1824114 h 1934496"/>
              <a:gd name="connsiteX50" fmla="*/ 7080993 w 9922465"/>
              <a:gd name="connsiteY50" fmla="*/ 1824114 h 1934496"/>
              <a:gd name="connsiteX51" fmla="*/ 7136185 w 9922465"/>
              <a:gd name="connsiteY51" fmla="*/ 1879305 h 1934496"/>
              <a:gd name="connsiteX52" fmla="*/ 7080993 w 9922465"/>
              <a:gd name="connsiteY52" fmla="*/ 1934496 h 1934496"/>
              <a:gd name="connsiteX53" fmla="*/ 7025801 w 9922465"/>
              <a:gd name="connsiteY53" fmla="*/ 1879305 h 1934496"/>
              <a:gd name="connsiteX54" fmla="*/ 7080993 w 9922465"/>
              <a:gd name="connsiteY54" fmla="*/ 1824114 h 1934496"/>
              <a:gd name="connsiteX55" fmla="*/ 6947357 w 9922465"/>
              <a:gd name="connsiteY55" fmla="*/ 1824114 h 1934496"/>
              <a:gd name="connsiteX56" fmla="*/ 7002549 w 9922465"/>
              <a:gd name="connsiteY56" fmla="*/ 1879305 h 1934496"/>
              <a:gd name="connsiteX57" fmla="*/ 6947357 w 9922465"/>
              <a:gd name="connsiteY57" fmla="*/ 1934496 h 1934496"/>
              <a:gd name="connsiteX58" fmla="*/ 6892165 w 9922465"/>
              <a:gd name="connsiteY58" fmla="*/ 1879305 h 1934496"/>
              <a:gd name="connsiteX59" fmla="*/ 6947357 w 9922465"/>
              <a:gd name="connsiteY59" fmla="*/ 1824114 h 1934496"/>
              <a:gd name="connsiteX60" fmla="*/ 6817063 w 9922465"/>
              <a:gd name="connsiteY60" fmla="*/ 1824114 h 1934496"/>
              <a:gd name="connsiteX61" fmla="*/ 6872255 w 9922465"/>
              <a:gd name="connsiteY61" fmla="*/ 1879305 h 1934496"/>
              <a:gd name="connsiteX62" fmla="*/ 6817063 w 9922465"/>
              <a:gd name="connsiteY62" fmla="*/ 1934496 h 1934496"/>
              <a:gd name="connsiteX63" fmla="*/ 6761871 w 9922465"/>
              <a:gd name="connsiteY63" fmla="*/ 1879305 h 1934496"/>
              <a:gd name="connsiteX64" fmla="*/ 6817063 w 9922465"/>
              <a:gd name="connsiteY64" fmla="*/ 1824114 h 1934496"/>
              <a:gd name="connsiteX65" fmla="*/ 6683431 w 9922465"/>
              <a:gd name="connsiteY65" fmla="*/ 1824114 h 1934496"/>
              <a:gd name="connsiteX66" fmla="*/ 6738623 w 9922465"/>
              <a:gd name="connsiteY66" fmla="*/ 1879305 h 1934496"/>
              <a:gd name="connsiteX67" fmla="*/ 6683431 w 9922465"/>
              <a:gd name="connsiteY67" fmla="*/ 1934496 h 1934496"/>
              <a:gd name="connsiteX68" fmla="*/ 6628239 w 9922465"/>
              <a:gd name="connsiteY68" fmla="*/ 1879305 h 1934496"/>
              <a:gd name="connsiteX69" fmla="*/ 6683431 w 9922465"/>
              <a:gd name="connsiteY69" fmla="*/ 1824114 h 1934496"/>
              <a:gd name="connsiteX70" fmla="*/ 6553137 w 9922465"/>
              <a:gd name="connsiteY70" fmla="*/ 1824114 h 1934496"/>
              <a:gd name="connsiteX71" fmla="*/ 6608329 w 9922465"/>
              <a:gd name="connsiteY71" fmla="*/ 1879305 h 1934496"/>
              <a:gd name="connsiteX72" fmla="*/ 6553137 w 9922465"/>
              <a:gd name="connsiteY72" fmla="*/ 1934496 h 1934496"/>
              <a:gd name="connsiteX73" fmla="*/ 6497945 w 9922465"/>
              <a:gd name="connsiteY73" fmla="*/ 1879305 h 1934496"/>
              <a:gd name="connsiteX74" fmla="*/ 6553137 w 9922465"/>
              <a:gd name="connsiteY74" fmla="*/ 1824114 h 1934496"/>
              <a:gd name="connsiteX75" fmla="*/ 6289207 w 9922465"/>
              <a:gd name="connsiteY75" fmla="*/ 1824114 h 1934496"/>
              <a:gd name="connsiteX76" fmla="*/ 6344399 w 9922465"/>
              <a:gd name="connsiteY76" fmla="*/ 1879305 h 1934496"/>
              <a:gd name="connsiteX77" fmla="*/ 6289207 w 9922465"/>
              <a:gd name="connsiteY77" fmla="*/ 1934496 h 1934496"/>
              <a:gd name="connsiteX78" fmla="*/ 6234015 w 9922465"/>
              <a:gd name="connsiteY78" fmla="*/ 1879305 h 1934496"/>
              <a:gd name="connsiteX79" fmla="*/ 6289207 w 9922465"/>
              <a:gd name="connsiteY79" fmla="*/ 1824114 h 1934496"/>
              <a:gd name="connsiteX80" fmla="*/ 6155572 w 9922465"/>
              <a:gd name="connsiteY80" fmla="*/ 1824114 h 1934496"/>
              <a:gd name="connsiteX81" fmla="*/ 6210764 w 9922465"/>
              <a:gd name="connsiteY81" fmla="*/ 1879305 h 1934496"/>
              <a:gd name="connsiteX82" fmla="*/ 6155572 w 9922465"/>
              <a:gd name="connsiteY82" fmla="*/ 1934496 h 1934496"/>
              <a:gd name="connsiteX83" fmla="*/ 6100380 w 9922465"/>
              <a:gd name="connsiteY83" fmla="*/ 1879305 h 1934496"/>
              <a:gd name="connsiteX84" fmla="*/ 6155572 w 9922465"/>
              <a:gd name="connsiteY84" fmla="*/ 1824114 h 1934496"/>
              <a:gd name="connsiteX85" fmla="*/ 6021938 w 9922465"/>
              <a:gd name="connsiteY85" fmla="*/ 1824114 h 1934496"/>
              <a:gd name="connsiteX86" fmla="*/ 6077130 w 9922465"/>
              <a:gd name="connsiteY86" fmla="*/ 1879305 h 1934496"/>
              <a:gd name="connsiteX87" fmla="*/ 6021938 w 9922465"/>
              <a:gd name="connsiteY87" fmla="*/ 1934496 h 1934496"/>
              <a:gd name="connsiteX88" fmla="*/ 5966746 w 9922465"/>
              <a:gd name="connsiteY88" fmla="*/ 1879305 h 1934496"/>
              <a:gd name="connsiteX89" fmla="*/ 6021938 w 9922465"/>
              <a:gd name="connsiteY89" fmla="*/ 1824114 h 1934496"/>
              <a:gd name="connsiteX90" fmla="*/ 5884964 w 9922465"/>
              <a:gd name="connsiteY90" fmla="*/ 1824114 h 1934496"/>
              <a:gd name="connsiteX91" fmla="*/ 5940156 w 9922465"/>
              <a:gd name="connsiteY91" fmla="*/ 1879305 h 1934496"/>
              <a:gd name="connsiteX92" fmla="*/ 5884964 w 9922465"/>
              <a:gd name="connsiteY92" fmla="*/ 1934496 h 1934496"/>
              <a:gd name="connsiteX93" fmla="*/ 5829772 w 9922465"/>
              <a:gd name="connsiteY93" fmla="*/ 1879305 h 1934496"/>
              <a:gd name="connsiteX94" fmla="*/ 5884964 w 9922465"/>
              <a:gd name="connsiteY94" fmla="*/ 1824114 h 1934496"/>
              <a:gd name="connsiteX95" fmla="*/ 5754670 w 9922465"/>
              <a:gd name="connsiteY95" fmla="*/ 1824114 h 1934496"/>
              <a:gd name="connsiteX96" fmla="*/ 5809862 w 9922465"/>
              <a:gd name="connsiteY96" fmla="*/ 1879305 h 1934496"/>
              <a:gd name="connsiteX97" fmla="*/ 5754670 w 9922465"/>
              <a:gd name="connsiteY97" fmla="*/ 1934496 h 1934496"/>
              <a:gd name="connsiteX98" fmla="*/ 5699478 w 9922465"/>
              <a:gd name="connsiteY98" fmla="*/ 1879305 h 1934496"/>
              <a:gd name="connsiteX99" fmla="*/ 5754670 w 9922465"/>
              <a:gd name="connsiteY99" fmla="*/ 1824114 h 1934496"/>
              <a:gd name="connsiteX100" fmla="*/ 5487399 w 9922465"/>
              <a:gd name="connsiteY100" fmla="*/ 1824114 h 1934496"/>
              <a:gd name="connsiteX101" fmla="*/ 5542591 w 9922465"/>
              <a:gd name="connsiteY101" fmla="*/ 1879305 h 1934496"/>
              <a:gd name="connsiteX102" fmla="*/ 5487399 w 9922465"/>
              <a:gd name="connsiteY102" fmla="*/ 1934496 h 1934496"/>
              <a:gd name="connsiteX103" fmla="*/ 5432207 w 9922465"/>
              <a:gd name="connsiteY103" fmla="*/ 1879305 h 1934496"/>
              <a:gd name="connsiteX104" fmla="*/ 5487399 w 9922465"/>
              <a:gd name="connsiteY104" fmla="*/ 1824114 h 1934496"/>
              <a:gd name="connsiteX105" fmla="*/ 5357105 w 9922465"/>
              <a:gd name="connsiteY105" fmla="*/ 1824114 h 1934496"/>
              <a:gd name="connsiteX106" fmla="*/ 5412297 w 9922465"/>
              <a:gd name="connsiteY106" fmla="*/ 1879305 h 1934496"/>
              <a:gd name="connsiteX107" fmla="*/ 5357105 w 9922465"/>
              <a:gd name="connsiteY107" fmla="*/ 1934496 h 1934496"/>
              <a:gd name="connsiteX108" fmla="*/ 5301913 w 9922465"/>
              <a:gd name="connsiteY108" fmla="*/ 1879305 h 1934496"/>
              <a:gd name="connsiteX109" fmla="*/ 5357105 w 9922465"/>
              <a:gd name="connsiteY109" fmla="*/ 1824114 h 1934496"/>
              <a:gd name="connsiteX110" fmla="*/ 5223473 w 9922465"/>
              <a:gd name="connsiteY110" fmla="*/ 1824114 h 1934496"/>
              <a:gd name="connsiteX111" fmla="*/ 5278665 w 9922465"/>
              <a:gd name="connsiteY111" fmla="*/ 1879305 h 1934496"/>
              <a:gd name="connsiteX112" fmla="*/ 5223473 w 9922465"/>
              <a:gd name="connsiteY112" fmla="*/ 1934496 h 1934496"/>
              <a:gd name="connsiteX113" fmla="*/ 5168281 w 9922465"/>
              <a:gd name="connsiteY113" fmla="*/ 1879305 h 1934496"/>
              <a:gd name="connsiteX114" fmla="*/ 5223473 w 9922465"/>
              <a:gd name="connsiteY114" fmla="*/ 1824114 h 1934496"/>
              <a:gd name="connsiteX115" fmla="*/ 5093178 w 9922465"/>
              <a:gd name="connsiteY115" fmla="*/ 1824114 h 1934496"/>
              <a:gd name="connsiteX116" fmla="*/ 5148370 w 9922465"/>
              <a:gd name="connsiteY116" fmla="*/ 1879305 h 1934496"/>
              <a:gd name="connsiteX117" fmla="*/ 5093178 w 9922465"/>
              <a:gd name="connsiteY117" fmla="*/ 1934496 h 1934496"/>
              <a:gd name="connsiteX118" fmla="*/ 5037986 w 9922465"/>
              <a:gd name="connsiteY118" fmla="*/ 1879305 h 1934496"/>
              <a:gd name="connsiteX119" fmla="*/ 5093178 w 9922465"/>
              <a:gd name="connsiteY119" fmla="*/ 1824114 h 1934496"/>
              <a:gd name="connsiteX120" fmla="*/ 4959543 w 9922465"/>
              <a:gd name="connsiteY120" fmla="*/ 1824114 h 1934496"/>
              <a:gd name="connsiteX121" fmla="*/ 5014735 w 9922465"/>
              <a:gd name="connsiteY121" fmla="*/ 1879305 h 1934496"/>
              <a:gd name="connsiteX122" fmla="*/ 4959543 w 9922465"/>
              <a:gd name="connsiteY122" fmla="*/ 1934496 h 1934496"/>
              <a:gd name="connsiteX123" fmla="*/ 4904351 w 9922465"/>
              <a:gd name="connsiteY123" fmla="*/ 1879305 h 1934496"/>
              <a:gd name="connsiteX124" fmla="*/ 4959543 w 9922465"/>
              <a:gd name="connsiteY124" fmla="*/ 1824114 h 1934496"/>
              <a:gd name="connsiteX125" fmla="*/ 4829250 w 9922465"/>
              <a:gd name="connsiteY125" fmla="*/ 1824114 h 1934496"/>
              <a:gd name="connsiteX126" fmla="*/ 4884442 w 9922465"/>
              <a:gd name="connsiteY126" fmla="*/ 1879305 h 1934496"/>
              <a:gd name="connsiteX127" fmla="*/ 4829250 w 9922465"/>
              <a:gd name="connsiteY127" fmla="*/ 1934496 h 1934496"/>
              <a:gd name="connsiteX128" fmla="*/ 4774058 w 9922465"/>
              <a:gd name="connsiteY128" fmla="*/ 1879305 h 1934496"/>
              <a:gd name="connsiteX129" fmla="*/ 4829250 w 9922465"/>
              <a:gd name="connsiteY129" fmla="*/ 1824114 h 1934496"/>
              <a:gd name="connsiteX130" fmla="*/ 4695613 w 9922465"/>
              <a:gd name="connsiteY130" fmla="*/ 1824114 h 1934496"/>
              <a:gd name="connsiteX131" fmla="*/ 4750805 w 9922465"/>
              <a:gd name="connsiteY131" fmla="*/ 1879305 h 1934496"/>
              <a:gd name="connsiteX132" fmla="*/ 4695613 w 9922465"/>
              <a:gd name="connsiteY132" fmla="*/ 1934496 h 1934496"/>
              <a:gd name="connsiteX133" fmla="*/ 4640421 w 9922465"/>
              <a:gd name="connsiteY133" fmla="*/ 1879305 h 1934496"/>
              <a:gd name="connsiteX134" fmla="*/ 4695613 w 9922465"/>
              <a:gd name="connsiteY134" fmla="*/ 1824114 h 1934496"/>
              <a:gd name="connsiteX135" fmla="*/ 2834762 w 9922465"/>
              <a:gd name="connsiteY135" fmla="*/ 1824114 h 1934496"/>
              <a:gd name="connsiteX136" fmla="*/ 2889954 w 9922465"/>
              <a:gd name="connsiteY136" fmla="*/ 1879305 h 1934496"/>
              <a:gd name="connsiteX137" fmla="*/ 2834762 w 9922465"/>
              <a:gd name="connsiteY137" fmla="*/ 1934496 h 1934496"/>
              <a:gd name="connsiteX138" fmla="*/ 2779570 w 9922465"/>
              <a:gd name="connsiteY138" fmla="*/ 1879305 h 1934496"/>
              <a:gd name="connsiteX139" fmla="*/ 2834762 w 9922465"/>
              <a:gd name="connsiteY139" fmla="*/ 1824114 h 1934496"/>
              <a:gd name="connsiteX140" fmla="*/ 2707807 w 9922465"/>
              <a:gd name="connsiteY140" fmla="*/ 1824114 h 1934496"/>
              <a:gd name="connsiteX141" fmla="*/ 2762999 w 9922465"/>
              <a:gd name="connsiteY141" fmla="*/ 1879305 h 1934496"/>
              <a:gd name="connsiteX142" fmla="*/ 2707807 w 9922465"/>
              <a:gd name="connsiteY142" fmla="*/ 1934496 h 1934496"/>
              <a:gd name="connsiteX143" fmla="*/ 2652615 w 9922465"/>
              <a:gd name="connsiteY143" fmla="*/ 1879305 h 1934496"/>
              <a:gd name="connsiteX144" fmla="*/ 2707807 w 9922465"/>
              <a:gd name="connsiteY144" fmla="*/ 1824114 h 1934496"/>
              <a:gd name="connsiteX145" fmla="*/ 2570834 w 9922465"/>
              <a:gd name="connsiteY145" fmla="*/ 1824114 h 1934496"/>
              <a:gd name="connsiteX146" fmla="*/ 2626025 w 9922465"/>
              <a:gd name="connsiteY146" fmla="*/ 1879305 h 1934496"/>
              <a:gd name="connsiteX147" fmla="*/ 2570834 w 9922465"/>
              <a:gd name="connsiteY147" fmla="*/ 1934496 h 1934496"/>
              <a:gd name="connsiteX148" fmla="*/ 2515641 w 9922465"/>
              <a:gd name="connsiteY148" fmla="*/ 1879305 h 1934496"/>
              <a:gd name="connsiteX149" fmla="*/ 2570834 w 9922465"/>
              <a:gd name="connsiteY149" fmla="*/ 1824114 h 1934496"/>
              <a:gd name="connsiteX150" fmla="*/ 2437196 w 9922465"/>
              <a:gd name="connsiteY150" fmla="*/ 1824114 h 1934496"/>
              <a:gd name="connsiteX151" fmla="*/ 2492389 w 9922465"/>
              <a:gd name="connsiteY151" fmla="*/ 1879305 h 1934496"/>
              <a:gd name="connsiteX152" fmla="*/ 2437196 w 9922465"/>
              <a:gd name="connsiteY152" fmla="*/ 1934496 h 1934496"/>
              <a:gd name="connsiteX153" fmla="*/ 2382005 w 9922465"/>
              <a:gd name="connsiteY153" fmla="*/ 1879305 h 1934496"/>
              <a:gd name="connsiteX154" fmla="*/ 2437196 w 9922465"/>
              <a:gd name="connsiteY154" fmla="*/ 1824114 h 1934496"/>
              <a:gd name="connsiteX155" fmla="*/ 2303564 w 9922465"/>
              <a:gd name="connsiteY155" fmla="*/ 1824114 h 1934496"/>
              <a:gd name="connsiteX156" fmla="*/ 2358756 w 9922465"/>
              <a:gd name="connsiteY156" fmla="*/ 1879305 h 1934496"/>
              <a:gd name="connsiteX157" fmla="*/ 2303564 w 9922465"/>
              <a:gd name="connsiteY157" fmla="*/ 1934496 h 1934496"/>
              <a:gd name="connsiteX158" fmla="*/ 2248372 w 9922465"/>
              <a:gd name="connsiteY158" fmla="*/ 1879305 h 1934496"/>
              <a:gd name="connsiteX159" fmla="*/ 2303564 w 9922465"/>
              <a:gd name="connsiteY159" fmla="*/ 1824114 h 1934496"/>
              <a:gd name="connsiteX160" fmla="*/ 2173271 w 9922465"/>
              <a:gd name="connsiteY160" fmla="*/ 1824114 h 1934496"/>
              <a:gd name="connsiteX161" fmla="*/ 2228463 w 9922465"/>
              <a:gd name="connsiteY161" fmla="*/ 1879305 h 1934496"/>
              <a:gd name="connsiteX162" fmla="*/ 2173271 w 9922465"/>
              <a:gd name="connsiteY162" fmla="*/ 1934496 h 1934496"/>
              <a:gd name="connsiteX163" fmla="*/ 2118079 w 9922465"/>
              <a:gd name="connsiteY163" fmla="*/ 1879305 h 1934496"/>
              <a:gd name="connsiteX164" fmla="*/ 2173271 w 9922465"/>
              <a:gd name="connsiteY164" fmla="*/ 1824114 h 1934496"/>
              <a:gd name="connsiteX165" fmla="*/ 2039637 w 9922465"/>
              <a:gd name="connsiteY165" fmla="*/ 1824114 h 1934496"/>
              <a:gd name="connsiteX166" fmla="*/ 2094830 w 9922465"/>
              <a:gd name="connsiteY166" fmla="*/ 1879305 h 1934496"/>
              <a:gd name="connsiteX167" fmla="*/ 2039637 w 9922465"/>
              <a:gd name="connsiteY167" fmla="*/ 1934496 h 1934496"/>
              <a:gd name="connsiteX168" fmla="*/ 1984445 w 9922465"/>
              <a:gd name="connsiteY168" fmla="*/ 1879305 h 1934496"/>
              <a:gd name="connsiteX169" fmla="*/ 2039637 w 9922465"/>
              <a:gd name="connsiteY169" fmla="*/ 1824114 h 1934496"/>
              <a:gd name="connsiteX170" fmla="*/ 1909341 w 9922465"/>
              <a:gd name="connsiteY170" fmla="*/ 1824114 h 1934496"/>
              <a:gd name="connsiteX171" fmla="*/ 1964533 w 9922465"/>
              <a:gd name="connsiteY171" fmla="*/ 1879305 h 1934496"/>
              <a:gd name="connsiteX172" fmla="*/ 1909341 w 9922465"/>
              <a:gd name="connsiteY172" fmla="*/ 1934496 h 1934496"/>
              <a:gd name="connsiteX173" fmla="*/ 1854149 w 9922465"/>
              <a:gd name="connsiteY173" fmla="*/ 1879305 h 1934496"/>
              <a:gd name="connsiteX174" fmla="*/ 1909341 w 9922465"/>
              <a:gd name="connsiteY174" fmla="*/ 1824114 h 1934496"/>
              <a:gd name="connsiteX175" fmla="*/ 1779049 w 9922465"/>
              <a:gd name="connsiteY175" fmla="*/ 1824114 h 1934496"/>
              <a:gd name="connsiteX176" fmla="*/ 1834241 w 9922465"/>
              <a:gd name="connsiteY176" fmla="*/ 1879305 h 1934496"/>
              <a:gd name="connsiteX177" fmla="*/ 1779049 w 9922465"/>
              <a:gd name="connsiteY177" fmla="*/ 1934496 h 1934496"/>
              <a:gd name="connsiteX178" fmla="*/ 1723856 w 9922465"/>
              <a:gd name="connsiteY178" fmla="*/ 1879305 h 1934496"/>
              <a:gd name="connsiteX179" fmla="*/ 1779049 w 9922465"/>
              <a:gd name="connsiteY179" fmla="*/ 1824114 h 1934496"/>
              <a:gd name="connsiteX180" fmla="*/ 1645413 w 9922465"/>
              <a:gd name="connsiteY180" fmla="*/ 1824114 h 1934496"/>
              <a:gd name="connsiteX181" fmla="*/ 1700604 w 9922465"/>
              <a:gd name="connsiteY181" fmla="*/ 1879305 h 1934496"/>
              <a:gd name="connsiteX182" fmla="*/ 1645413 w 9922465"/>
              <a:gd name="connsiteY182" fmla="*/ 1934496 h 1934496"/>
              <a:gd name="connsiteX183" fmla="*/ 1590220 w 9922465"/>
              <a:gd name="connsiteY183" fmla="*/ 1879305 h 1934496"/>
              <a:gd name="connsiteX184" fmla="*/ 1645413 w 9922465"/>
              <a:gd name="connsiteY184" fmla="*/ 1824114 h 1934496"/>
              <a:gd name="connsiteX185" fmla="*/ 1515120 w 9922465"/>
              <a:gd name="connsiteY185" fmla="*/ 1824114 h 1934496"/>
              <a:gd name="connsiteX186" fmla="*/ 1570311 w 9922465"/>
              <a:gd name="connsiteY186" fmla="*/ 1879305 h 1934496"/>
              <a:gd name="connsiteX187" fmla="*/ 1515120 w 9922465"/>
              <a:gd name="connsiteY187" fmla="*/ 1934496 h 1934496"/>
              <a:gd name="connsiteX188" fmla="*/ 1459927 w 9922465"/>
              <a:gd name="connsiteY188" fmla="*/ 1879305 h 1934496"/>
              <a:gd name="connsiteX189" fmla="*/ 1515120 w 9922465"/>
              <a:gd name="connsiteY189" fmla="*/ 1824114 h 1934496"/>
              <a:gd name="connsiteX190" fmla="*/ 1381486 w 9922465"/>
              <a:gd name="connsiteY190" fmla="*/ 1824114 h 1934496"/>
              <a:gd name="connsiteX191" fmla="*/ 1436678 w 9922465"/>
              <a:gd name="connsiteY191" fmla="*/ 1879305 h 1934496"/>
              <a:gd name="connsiteX192" fmla="*/ 1381486 w 9922465"/>
              <a:gd name="connsiteY192" fmla="*/ 1934496 h 1934496"/>
              <a:gd name="connsiteX193" fmla="*/ 1326294 w 9922465"/>
              <a:gd name="connsiteY193" fmla="*/ 1879305 h 1934496"/>
              <a:gd name="connsiteX194" fmla="*/ 1381486 w 9922465"/>
              <a:gd name="connsiteY194" fmla="*/ 1824114 h 1934496"/>
              <a:gd name="connsiteX195" fmla="*/ 1251193 w 9922465"/>
              <a:gd name="connsiteY195" fmla="*/ 1824114 h 1934496"/>
              <a:gd name="connsiteX196" fmla="*/ 1306386 w 9922465"/>
              <a:gd name="connsiteY196" fmla="*/ 1879305 h 1934496"/>
              <a:gd name="connsiteX197" fmla="*/ 1251193 w 9922465"/>
              <a:gd name="connsiteY197" fmla="*/ 1934496 h 1934496"/>
              <a:gd name="connsiteX198" fmla="*/ 1196001 w 9922465"/>
              <a:gd name="connsiteY198" fmla="*/ 1879305 h 1934496"/>
              <a:gd name="connsiteX199" fmla="*/ 1251193 w 9922465"/>
              <a:gd name="connsiteY199" fmla="*/ 1824114 h 1934496"/>
              <a:gd name="connsiteX200" fmla="*/ 4565336 w 9922465"/>
              <a:gd name="connsiteY200" fmla="*/ 1824106 h 1934496"/>
              <a:gd name="connsiteX201" fmla="*/ 4620528 w 9922465"/>
              <a:gd name="connsiteY201" fmla="*/ 1879297 h 1934496"/>
              <a:gd name="connsiteX202" fmla="*/ 4565336 w 9922465"/>
              <a:gd name="connsiteY202" fmla="*/ 1934488 h 1934496"/>
              <a:gd name="connsiteX203" fmla="*/ 4510144 w 9922465"/>
              <a:gd name="connsiteY203" fmla="*/ 1879297 h 1934496"/>
              <a:gd name="connsiteX204" fmla="*/ 4565336 w 9922465"/>
              <a:gd name="connsiteY204" fmla="*/ 1824106 h 1934496"/>
              <a:gd name="connsiteX205" fmla="*/ 4431689 w 9922465"/>
              <a:gd name="connsiteY205" fmla="*/ 1824098 h 1934496"/>
              <a:gd name="connsiteX206" fmla="*/ 4486881 w 9922465"/>
              <a:gd name="connsiteY206" fmla="*/ 1879289 h 1934496"/>
              <a:gd name="connsiteX207" fmla="*/ 4431689 w 9922465"/>
              <a:gd name="connsiteY207" fmla="*/ 1934480 h 1934496"/>
              <a:gd name="connsiteX208" fmla="*/ 4376497 w 9922465"/>
              <a:gd name="connsiteY208" fmla="*/ 1879289 h 1934496"/>
              <a:gd name="connsiteX209" fmla="*/ 4431689 w 9922465"/>
              <a:gd name="connsiteY209" fmla="*/ 1824098 h 1934496"/>
              <a:gd name="connsiteX210" fmla="*/ 8801537 w 9922465"/>
              <a:gd name="connsiteY210" fmla="*/ 1707182 h 1934496"/>
              <a:gd name="connsiteX211" fmla="*/ 8856729 w 9922465"/>
              <a:gd name="connsiteY211" fmla="*/ 1762373 h 1934496"/>
              <a:gd name="connsiteX212" fmla="*/ 8801537 w 9922465"/>
              <a:gd name="connsiteY212" fmla="*/ 1817564 h 1934496"/>
              <a:gd name="connsiteX213" fmla="*/ 8746345 w 9922465"/>
              <a:gd name="connsiteY213" fmla="*/ 1762373 h 1934496"/>
              <a:gd name="connsiteX214" fmla="*/ 8801537 w 9922465"/>
              <a:gd name="connsiteY214" fmla="*/ 1707182 h 1934496"/>
              <a:gd name="connsiteX215" fmla="*/ 8671243 w 9922465"/>
              <a:gd name="connsiteY215" fmla="*/ 1707182 h 1934496"/>
              <a:gd name="connsiteX216" fmla="*/ 8726435 w 9922465"/>
              <a:gd name="connsiteY216" fmla="*/ 1762373 h 1934496"/>
              <a:gd name="connsiteX217" fmla="*/ 8671243 w 9922465"/>
              <a:gd name="connsiteY217" fmla="*/ 1817564 h 1934496"/>
              <a:gd name="connsiteX218" fmla="*/ 8616051 w 9922465"/>
              <a:gd name="connsiteY218" fmla="*/ 1762373 h 1934496"/>
              <a:gd name="connsiteX219" fmla="*/ 8671243 w 9922465"/>
              <a:gd name="connsiteY219" fmla="*/ 1707182 h 1934496"/>
              <a:gd name="connsiteX220" fmla="*/ 8537609 w 9922465"/>
              <a:gd name="connsiteY220" fmla="*/ 1707182 h 1934496"/>
              <a:gd name="connsiteX221" fmla="*/ 8592801 w 9922465"/>
              <a:gd name="connsiteY221" fmla="*/ 1762373 h 1934496"/>
              <a:gd name="connsiteX222" fmla="*/ 8537609 w 9922465"/>
              <a:gd name="connsiteY222" fmla="*/ 1817564 h 1934496"/>
              <a:gd name="connsiteX223" fmla="*/ 8482417 w 9922465"/>
              <a:gd name="connsiteY223" fmla="*/ 1762373 h 1934496"/>
              <a:gd name="connsiteX224" fmla="*/ 8537609 w 9922465"/>
              <a:gd name="connsiteY224" fmla="*/ 1707182 h 1934496"/>
              <a:gd name="connsiteX225" fmla="*/ 8407318 w 9922465"/>
              <a:gd name="connsiteY225" fmla="*/ 1707182 h 1934496"/>
              <a:gd name="connsiteX226" fmla="*/ 8462510 w 9922465"/>
              <a:gd name="connsiteY226" fmla="*/ 1762373 h 1934496"/>
              <a:gd name="connsiteX227" fmla="*/ 8407318 w 9922465"/>
              <a:gd name="connsiteY227" fmla="*/ 1817564 h 1934496"/>
              <a:gd name="connsiteX228" fmla="*/ 8352126 w 9922465"/>
              <a:gd name="connsiteY228" fmla="*/ 1762373 h 1934496"/>
              <a:gd name="connsiteX229" fmla="*/ 8407318 w 9922465"/>
              <a:gd name="connsiteY229" fmla="*/ 1707182 h 1934496"/>
              <a:gd name="connsiteX230" fmla="*/ 8273682 w 9922465"/>
              <a:gd name="connsiteY230" fmla="*/ 1707182 h 1934496"/>
              <a:gd name="connsiteX231" fmla="*/ 8328874 w 9922465"/>
              <a:gd name="connsiteY231" fmla="*/ 1762373 h 1934496"/>
              <a:gd name="connsiteX232" fmla="*/ 8273682 w 9922465"/>
              <a:gd name="connsiteY232" fmla="*/ 1817564 h 1934496"/>
              <a:gd name="connsiteX233" fmla="*/ 8218490 w 9922465"/>
              <a:gd name="connsiteY233" fmla="*/ 1762373 h 1934496"/>
              <a:gd name="connsiteX234" fmla="*/ 8273682 w 9922465"/>
              <a:gd name="connsiteY234" fmla="*/ 1707182 h 1934496"/>
              <a:gd name="connsiteX235" fmla="*/ 8143386 w 9922465"/>
              <a:gd name="connsiteY235" fmla="*/ 1707182 h 1934496"/>
              <a:gd name="connsiteX236" fmla="*/ 8198578 w 9922465"/>
              <a:gd name="connsiteY236" fmla="*/ 1762373 h 1934496"/>
              <a:gd name="connsiteX237" fmla="*/ 8143386 w 9922465"/>
              <a:gd name="connsiteY237" fmla="*/ 1817564 h 1934496"/>
              <a:gd name="connsiteX238" fmla="*/ 8088194 w 9922465"/>
              <a:gd name="connsiteY238" fmla="*/ 1762373 h 1934496"/>
              <a:gd name="connsiteX239" fmla="*/ 8143386 w 9922465"/>
              <a:gd name="connsiteY239" fmla="*/ 1707182 h 1934496"/>
              <a:gd name="connsiteX240" fmla="*/ 8009752 w 9922465"/>
              <a:gd name="connsiteY240" fmla="*/ 1707182 h 1934496"/>
              <a:gd name="connsiteX241" fmla="*/ 8064944 w 9922465"/>
              <a:gd name="connsiteY241" fmla="*/ 1762373 h 1934496"/>
              <a:gd name="connsiteX242" fmla="*/ 8009752 w 9922465"/>
              <a:gd name="connsiteY242" fmla="*/ 1817564 h 1934496"/>
              <a:gd name="connsiteX243" fmla="*/ 7954560 w 9922465"/>
              <a:gd name="connsiteY243" fmla="*/ 1762373 h 1934496"/>
              <a:gd name="connsiteX244" fmla="*/ 8009752 w 9922465"/>
              <a:gd name="connsiteY244" fmla="*/ 1707182 h 1934496"/>
              <a:gd name="connsiteX245" fmla="*/ 7876117 w 9922465"/>
              <a:gd name="connsiteY245" fmla="*/ 1707182 h 1934496"/>
              <a:gd name="connsiteX246" fmla="*/ 7931309 w 9922465"/>
              <a:gd name="connsiteY246" fmla="*/ 1762373 h 1934496"/>
              <a:gd name="connsiteX247" fmla="*/ 7876117 w 9922465"/>
              <a:gd name="connsiteY247" fmla="*/ 1817564 h 1934496"/>
              <a:gd name="connsiteX248" fmla="*/ 7820925 w 9922465"/>
              <a:gd name="connsiteY248" fmla="*/ 1762373 h 1934496"/>
              <a:gd name="connsiteX249" fmla="*/ 7876117 w 9922465"/>
              <a:gd name="connsiteY249" fmla="*/ 1707182 h 1934496"/>
              <a:gd name="connsiteX250" fmla="*/ 7745824 w 9922465"/>
              <a:gd name="connsiteY250" fmla="*/ 1707182 h 1934496"/>
              <a:gd name="connsiteX251" fmla="*/ 7801016 w 9922465"/>
              <a:gd name="connsiteY251" fmla="*/ 1762373 h 1934496"/>
              <a:gd name="connsiteX252" fmla="*/ 7745824 w 9922465"/>
              <a:gd name="connsiteY252" fmla="*/ 1817564 h 1934496"/>
              <a:gd name="connsiteX253" fmla="*/ 7690632 w 9922465"/>
              <a:gd name="connsiteY253" fmla="*/ 1762373 h 1934496"/>
              <a:gd name="connsiteX254" fmla="*/ 7745824 w 9922465"/>
              <a:gd name="connsiteY254" fmla="*/ 1707182 h 1934496"/>
              <a:gd name="connsiteX255" fmla="*/ 7608849 w 9922465"/>
              <a:gd name="connsiteY255" fmla="*/ 1707182 h 1934496"/>
              <a:gd name="connsiteX256" fmla="*/ 7664041 w 9922465"/>
              <a:gd name="connsiteY256" fmla="*/ 1762373 h 1934496"/>
              <a:gd name="connsiteX257" fmla="*/ 7608849 w 9922465"/>
              <a:gd name="connsiteY257" fmla="*/ 1817564 h 1934496"/>
              <a:gd name="connsiteX258" fmla="*/ 7553657 w 9922465"/>
              <a:gd name="connsiteY258" fmla="*/ 1762373 h 1934496"/>
              <a:gd name="connsiteX259" fmla="*/ 7608849 w 9922465"/>
              <a:gd name="connsiteY259" fmla="*/ 1707182 h 1934496"/>
              <a:gd name="connsiteX260" fmla="*/ 7481895 w 9922465"/>
              <a:gd name="connsiteY260" fmla="*/ 1707182 h 1934496"/>
              <a:gd name="connsiteX261" fmla="*/ 7537087 w 9922465"/>
              <a:gd name="connsiteY261" fmla="*/ 1762373 h 1934496"/>
              <a:gd name="connsiteX262" fmla="*/ 7481895 w 9922465"/>
              <a:gd name="connsiteY262" fmla="*/ 1817564 h 1934496"/>
              <a:gd name="connsiteX263" fmla="*/ 7426703 w 9922465"/>
              <a:gd name="connsiteY263" fmla="*/ 1762373 h 1934496"/>
              <a:gd name="connsiteX264" fmla="*/ 7481895 w 9922465"/>
              <a:gd name="connsiteY264" fmla="*/ 1707182 h 1934496"/>
              <a:gd name="connsiteX265" fmla="*/ 7341579 w 9922465"/>
              <a:gd name="connsiteY265" fmla="*/ 1707182 h 1934496"/>
              <a:gd name="connsiteX266" fmla="*/ 7396771 w 9922465"/>
              <a:gd name="connsiteY266" fmla="*/ 1762373 h 1934496"/>
              <a:gd name="connsiteX267" fmla="*/ 7341579 w 9922465"/>
              <a:gd name="connsiteY267" fmla="*/ 1817564 h 1934496"/>
              <a:gd name="connsiteX268" fmla="*/ 7286387 w 9922465"/>
              <a:gd name="connsiteY268" fmla="*/ 1762373 h 1934496"/>
              <a:gd name="connsiteX269" fmla="*/ 7341579 w 9922465"/>
              <a:gd name="connsiteY269" fmla="*/ 1707182 h 1934496"/>
              <a:gd name="connsiteX270" fmla="*/ 7211286 w 9922465"/>
              <a:gd name="connsiteY270" fmla="*/ 1707182 h 1934496"/>
              <a:gd name="connsiteX271" fmla="*/ 7266478 w 9922465"/>
              <a:gd name="connsiteY271" fmla="*/ 1762373 h 1934496"/>
              <a:gd name="connsiteX272" fmla="*/ 7211286 w 9922465"/>
              <a:gd name="connsiteY272" fmla="*/ 1817564 h 1934496"/>
              <a:gd name="connsiteX273" fmla="*/ 7156094 w 9922465"/>
              <a:gd name="connsiteY273" fmla="*/ 1762373 h 1934496"/>
              <a:gd name="connsiteX274" fmla="*/ 7211286 w 9922465"/>
              <a:gd name="connsiteY274" fmla="*/ 1707182 h 1934496"/>
              <a:gd name="connsiteX275" fmla="*/ 7080993 w 9922465"/>
              <a:gd name="connsiteY275" fmla="*/ 1707182 h 1934496"/>
              <a:gd name="connsiteX276" fmla="*/ 7136185 w 9922465"/>
              <a:gd name="connsiteY276" fmla="*/ 1762373 h 1934496"/>
              <a:gd name="connsiteX277" fmla="*/ 7080993 w 9922465"/>
              <a:gd name="connsiteY277" fmla="*/ 1817564 h 1934496"/>
              <a:gd name="connsiteX278" fmla="*/ 7025801 w 9922465"/>
              <a:gd name="connsiteY278" fmla="*/ 1762373 h 1934496"/>
              <a:gd name="connsiteX279" fmla="*/ 7080993 w 9922465"/>
              <a:gd name="connsiteY279" fmla="*/ 1707182 h 1934496"/>
              <a:gd name="connsiteX280" fmla="*/ 6947357 w 9922465"/>
              <a:gd name="connsiteY280" fmla="*/ 1707182 h 1934496"/>
              <a:gd name="connsiteX281" fmla="*/ 7002549 w 9922465"/>
              <a:gd name="connsiteY281" fmla="*/ 1762373 h 1934496"/>
              <a:gd name="connsiteX282" fmla="*/ 6947357 w 9922465"/>
              <a:gd name="connsiteY282" fmla="*/ 1817564 h 1934496"/>
              <a:gd name="connsiteX283" fmla="*/ 6892165 w 9922465"/>
              <a:gd name="connsiteY283" fmla="*/ 1762373 h 1934496"/>
              <a:gd name="connsiteX284" fmla="*/ 6947357 w 9922465"/>
              <a:gd name="connsiteY284" fmla="*/ 1707182 h 1934496"/>
              <a:gd name="connsiteX285" fmla="*/ 6817063 w 9922465"/>
              <a:gd name="connsiteY285" fmla="*/ 1707182 h 1934496"/>
              <a:gd name="connsiteX286" fmla="*/ 6872255 w 9922465"/>
              <a:gd name="connsiteY286" fmla="*/ 1762373 h 1934496"/>
              <a:gd name="connsiteX287" fmla="*/ 6817063 w 9922465"/>
              <a:gd name="connsiteY287" fmla="*/ 1817564 h 1934496"/>
              <a:gd name="connsiteX288" fmla="*/ 6761871 w 9922465"/>
              <a:gd name="connsiteY288" fmla="*/ 1762373 h 1934496"/>
              <a:gd name="connsiteX289" fmla="*/ 6817063 w 9922465"/>
              <a:gd name="connsiteY289" fmla="*/ 1707182 h 1934496"/>
              <a:gd name="connsiteX290" fmla="*/ 6683431 w 9922465"/>
              <a:gd name="connsiteY290" fmla="*/ 1707182 h 1934496"/>
              <a:gd name="connsiteX291" fmla="*/ 6738623 w 9922465"/>
              <a:gd name="connsiteY291" fmla="*/ 1762373 h 1934496"/>
              <a:gd name="connsiteX292" fmla="*/ 6683431 w 9922465"/>
              <a:gd name="connsiteY292" fmla="*/ 1817564 h 1934496"/>
              <a:gd name="connsiteX293" fmla="*/ 6628239 w 9922465"/>
              <a:gd name="connsiteY293" fmla="*/ 1762373 h 1934496"/>
              <a:gd name="connsiteX294" fmla="*/ 6683431 w 9922465"/>
              <a:gd name="connsiteY294" fmla="*/ 1707182 h 1934496"/>
              <a:gd name="connsiteX295" fmla="*/ 6553137 w 9922465"/>
              <a:gd name="connsiteY295" fmla="*/ 1707182 h 1934496"/>
              <a:gd name="connsiteX296" fmla="*/ 6608329 w 9922465"/>
              <a:gd name="connsiteY296" fmla="*/ 1762373 h 1934496"/>
              <a:gd name="connsiteX297" fmla="*/ 6553137 w 9922465"/>
              <a:gd name="connsiteY297" fmla="*/ 1817564 h 1934496"/>
              <a:gd name="connsiteX298" fmla="*/ 6497945 w 9922465"/>
              <a:gd name="connsiteY298" fmla="*/ 1762373 h 1934496"/>
              <a:gd name="connsiteX299" fmla="*/ 6553137 w 9922465"/>
              <a:gd name="connsiteY299" fmla="*/ 1707182 h 1934496"/>
              <a:gd name="connsiteX300" fmla="*/ 6419502 w 9922465"/>
              <a:gd name="connsiteY300" fmla="*/ 1707182 h 1934496"/>
              <a:gd name="connsiteX301" fmla="*/ 6474694 w 9922465"/>
              <a:gd name="connsiteY301" fmla="*/ 1762373 h 1934496"/>
              <a:gd name="connsiteX302" fmla="*/ 6419502 w 9922465"/>
              <a:gd name="connsiteY302" fmla="*/ 1817564 h 1934496"/>
              <a:gd name="connsiteX303" fmla="*/ 6364310 w 9922465"/>
              <a:gd name="connsiteY303" fmla="*/ 1762373 h 1934496"/>
              <a:gd name="connsiteX304" fmla="*/ 6419502 w 9922465"/>
              <a:gd name="connsiteY304" fmla="*/ 1707182 h 1934496"/>
              <a:gd name="connsiteX305" fmla="*/ 6289207 w 9922465"/>
              <a:gd name="connsiteY305" fmla="*/ 1707182 h 1934496"/>
              <a:gd name="connsiteX306" fmla="*/ 6344399 w 9922465"/>
              <a:gd name="connsiteY306" fmla="*/ 1762373 h 1934496"/>
              <a:gd name="connsiteX307" fmla="*/ 6289207 w 9922465"/>
              <a:gd name="connsiteY307" fmla="*/ 1817564 h 1934496"/>
              <a:gd name="connsiteX308" fmla="*/ 6234015 w 9922465"/>
              <a:gd name="connsiteY308" fmla="*/ 1762373 h 1934496"/>
              <a:gd name="connsiteX309" fmla="*/ 6289207 w 9922465"/>
              <a:gd name="connsiteY309" fmla="*/ 1707182 h 1934496"/>
              <a:gd name="connsiteX310" fmla="*/ 6155572 w 9922465"/>
              <a:gd name="connsiteY310" fmla="*/ 1707182 h 1934496"/>
              <a:gd name="connsiteX311" fmla="*/ 6210764 w 9922465"/>
              <a:gd name="connsiteY311" fmla="*/ 1762373 h 1934496"/>
              <a:gd name="connsiteX312" fmla="*/ 6155572 w 9922465"/>
              <a:gd name="connsiteY312" fmla="*/ 1817564 h 1934496"/>
              <a:gd name="connsiteX313" fmla="*/ 6100380 w 9922465"/>
              <a:gd name="connsiteY313" fmla="*/ 1762373 h 1934496"/>
              <a:gd name="connsiteX314" fmla="*/ 6155572 w 9922465"/>
              <a:gd name="connsiteY314" fmla="*/ 1707182 h 1934496"/>
              <a:gd name="connsiteX315" fmla="*/ 6021938 w 9922465"/>
              <a:gd name="connsiteY315" fmla="*/ 1707182 h 1934496"/>
              <a:gd name="connsiteX316" fmla="*/ 6077130 w 9922465"/>
              <a:gd name="connsiteY316" fmla="*/ 1762373 h 1934496"/>
              <a:gd name="connsiteX317" fmla="*/ 6021938 w 9922465"/>
              <a:gd name="connsiteY317" fmla="*/ 1817564 h 1934496"/>
              <a:gd name="connsiteX318" fmla="*/ 5966746 w 9922465"/>
              <a:gd name="connsiteY318" fmla="*/ 1762373 h 1934496"/>
              <a:gd name="connsiteX319" fmla="*/ 6021938 w 9922465"/>
              <a:gd name="connsiteY319" fmla="*/ 1707182 h 1934496"/>
              <a:gd name="connsiteX320" fmla="*/ 5884964 w 9922465"/>
              <a:gd name="connsiteY320" fmla="*/ 1707182 h 1934496"/>
              <a:gd name="connsiteX321" fmla="*/ 5940156 w 9922465"/>
              <a:gd name="connsiteY321" fmla="*/ 1762373 h 1934496"/>
              <a:gd name="connsiteX322" fmla="*/ 5884964 w 9922465"/>
              <a:gd name="connsiteY322" fmla="*/ 1817564 h 1934496"/>
              <a:gd name="connsiteX323" fmla="*/ 5829772 w 9922465"/>
              <a:gd name="connsiteY323" fmla="*/ 1762373 h 1934496"/>
              <a:gd name="connsiteX324" fmla="*/ 5884964 w 9922465"/>
              <a:gd name="connsiteY324" fmla="*/ 1707182 h 1934496"/>
              <a:gd name="connsiteX325" fmla="*/ 5754670 w 9922465"/>
              <a:gd name="connsiteY325" fmla="*/ 1707182 h 1934496"/>
              <a:gd name="connsiteX326" fmla="*/ 5809862 w 9922465"/>
              <a:gd name="connsiteY326" fmla="*/ 1762373 h 1934496"/>
              <a:gd name="connsiteX327" fmla="*/ 5754670 w 9922465"/>
              <a:gd name="connsiteY327" fmla="*/ 1817564 h 1934496"/>
              <a:gd name="connsiteX328" fmla="*/ 5699478 w 9922465"/>
              <a:gd name="connsiteY328" fmla="*/ 1762373 h 1934496"/>
              <a:gd name="connsiteX329" fmla="*/ 5754670 w 9922465"/>
              <a:gd name="connsiteY329" fmla="*/ 1707182 h 1934496"/>
              <a:gd name="connsiteX330" fmla="*/ 5621035 w 9922465"/>
              <a:gd name="connsiteY330" fmla="*/ 1707182 h 1934496"/>
              <a:gd name="connsiteX331" fmla="*/ 5676227 w 9922465"/>
              <a:gd name="connsiteY331" fmla="*/ 1762373 h 1934496"/>
              <a:gd name="connsiteX332" fmla="*/ 5621035 w 9922465"/>
              <a:gd name="connsiteY332" fmla="*/ 1817564 h 1934496"/>
              <a:gd name="connsiteX333" fmla="*/ 5565843 w 9922465"/>
              <a:gd name="connsiteY333" fmla="*/ 1762373 h 1934496"/>
              <a:gd name="connsiteX334" fmla="*/ 5621035 w 9922465"/>
              <a:gd name="connsiteY334" fmla="*/ 1707182 h 1934496"/>
              <a:gd name="connsiteX335" fmla="*/ 5487399 w 9922465"/>
              <a:gd name="connsiteY335" fmla="*/ 1707182 h 1934496"/>
              <a:gd name="connsiteX336" fmla="*/ 5542591 w 9922465"/>
              <a:gd name="connsiteY336" fmla="*/ 1762373 h 1934496"/>
              <a:gd name="connsiteX337" fmla="*/ 5487399 w 9922465"/>
              <a:gd name="connsiteY337" fmla="*/ 1817564 h 1934496"/>
              <a:gd name="connsiteX338" fmla="*/ 5432207 w 9922465"/>
              <a:gd name="connsiteY338" fmla="*/ 1762373 h 1934496"/>
              <a:gd name="connsiteX339" fmla="*/ 5487399 w 9922465"/>
              <a:gd name="connsiteY339" fmla="*/ 1707182 h 1934496"/>
              <a:gd name="connsiteX340" fmla="*/ 5357105 w 9922465"/>
              <a:gd name="connsiteY340" fmla="*/ 1707182 h 1934496"/>
              <a:gd name="connsiteX341" fmla="*/ 5412297 w 9922465"/>
              <a:gd name="connsiteY341" fmla="*/ 1762373 h 1934496"/>
              <a:gd name="connsiteX342" fmla="*/ 5357105 w 9922465"/>
              <a:gd name="connsiteY342" fmla="*/ 1817564 h 1934496"/>
              <a:gd name="connsiteX343" fmla="*/ 5301913 w 9922465"/>
              <a:gd name="connsiteY343" fmla="*/ 1762373 h 1934496"/>
              <a:gd name="connsiteX344" fmla="*/ 5357105 w 9922465"/>
              <a:gd name="connsiteY344" fmla="*/ 1707182 h 1934496"/>
              <a:gd name="connsiteX345" fmla="*/ 5223473 w 9922465"/>
              <a:gd name="connsiteY345" fmla="*/ 1707182 h 1934496"/>
              <a:gd name="connsiteX346" fmla="*/ 5278665 w 9922465"/>
              <a:gd name="connsiteY346" fmla="*/ 1762373 h 1934496"/>
              <a:gd name="connsiteX347" fmla="*/ 5223473 w 9922465"/>
              <a:gd name="connsiteY347" fmla="*/ 1817564 h 1934496"/>
              <a:gd name="connsiteX348" fmla="*/ 5168281 w 9922465"/>
              <a:gd name="connsiteY348" fmla="*/ 1762373 h 1934496"/>
              <a:gd name="connsiteX349" fmla="*/ 5223473 w 9922465"/>
              <a:gd name="connsiteY349" fmla="*/ 1707182 h 1934496"/>
              <a:gd name="connsiteX350" fmla="*/ 5093178 w 9922465"/>
              <a:gd name="connsiteY350" fmla="*/ 1707182 h 1934496"/>
              <a:gd name="connsiteX351" fmla="*/ 5148370 w 9922465"/>
              <a:gd name="connsiteY351" fmla="*/ 1762373 h 1934496"/>
              <a:gd name="connsiteX352" fmla="*/ 5093178 w 9922465"/>
              <a:gd name="connsiteY352" fmla="*/ 1817564 h 1934496"/>
              <a:gd name="connsiteX353" fmla="*/ 5037986 w 9922465"/>
              <a:gd name="connsiteY353" fmla="*/ 1762373 h 1934496"/>
              <a:gd name="connsiteX354" fmla="*/ 5093178 w 9922465"/>
              <a:gd name="connsiteY354" fmla="*/ 1707182 h 1934496"/>
              <a:gd name="connsiteX355" fmla="*/ 4959543 w 9922465"/>
              <a:gd name="connsiteY355" fmla="*/ 1707182 h 1934496"/>
              <a:gd name="connsiteX356" fmla="*/ 5014735 w 9922465"/>
              <a:gd name="connsiteY356" fmla="*/ 1762373 h 1934496"/>
              <a:gd name="connsiteX357" fmla="*/ 4959543 w 9922465"/>
              <a:gd name="connsiteY357" fmla="*/ 1817564 h 1934496"/>
              <a:gd name="connsiteX358" fmla="*/ 4904351 w 9922465"/>
              <a:gd name="connsiteY358" fmla="*/ 1762373 h 1934496"/>
              <a:gd name="connsiteX359" fmla="*/ 4959543 w 9922465"/>
              <a:gd name="connsiteY359" fmla="*/ 1707182 h 1934496"/>
              <a:gd name="connsiteX360" fmla="*/ 4829251 w 9922465"/>
              <a:gd name="connsiteY360" fmla="*/ 1707182 h 1934496"/>
              <a:gd name="connsiteX361" fmla="*/ 4884443 w 9922465"/>
              <a:gd name="connsiteY361" fmla="*/ 1762373 h 1934496"/>
              <a:gd name="connsiteX362" fmla="*/ 4829251 w 9922465"/>
              <a:gd name="connsiteY362" fmla="*/ 1817564 h 1934496"/>
              <a:gd name="connsiteX363" fmla="*/ 4774059 w 9922465"/>
              <a:gd name="connsiteY363" fmla="*/ 1762373 h 1934496"/>
              <a:gd name="connsiteX364" fmla="*/ 4829251 w 9922465"/>
              <a:gd name="connsiteY364" fmla="*/ 1707182 h 1934496"/>
              <a:gd name="connsiteX365" fmla="*/ 4695613 w 9922465"/>
              <a:gd name="connsiteY365" fmla="*/ 1707182 h 1934496"/>
              <a:gd name="connsiteX366" fmla="*/ 4750805 w 9922465"/>
              <a:gd name="connsiteY366" fmla="*/ 1762373 h 1934496"/>
              <a:gd name="connsiteX367" fmla="*/ 4695613 w 9922465"/>
              <a:gd name="connsiteY367" fmla="*/ 1817564 h 1934496"/>
              <a:gd name="connsiteX368" fmla="*/ 4640421 w 9922465"/>
              <a:gd name="connsiteY368" fmla="*/ 1762373 h 1934496"/>
              <a:gd name="connsiteX369" fmla="*/ 4695613 w 9922465"/>
              <a:gd name="connsiteY369" fmla="*/ 1707182 h 1934496"/>
              <a:gd name="connsiteX370" fmla="*/ 3098681 w 9922465"/>
              <a:gd name="connsiteY370" fmla="*/ 1707182 h 1934496"/>
              <a:gd name="connsiteX371" fmla="*/ 3153873 w 9922465"/>
              <a:gd name="connsiteY371" fmla="*/ 1762373 h 1934496"/>
              <a:gd name="connsiteX372" fmla="*/ 3098681 w 9922465"/>
              <a:gd name="connsiteY372" fmla="*/ 1817564 h 1934496"/>
              <a:gd name="connsiteX373" fmla="*/ 3043489 w 9922465"/>
              <a:gd name="connsiteY373" fmla="*/ 1762373 h 1934496"/>
              <a:gd name="connsiteX374" fmla="*/ 3098681 w 9922465"/>
              <a:gd name="connsiteY374" fmla="*/ 1707182 h 1934496"/>
              <a:gd name="connsiteX375" fmla="*/ 2971729 w 9922465"/>
              <a:gd name="connsiteY375" fmla="*/ 1707182 h 1934496"/>
              <a:gd name="connsiteX376" fmla="*/ 3026921 w 9922465"/>
              <a:gd name="connsiteY376" fmla="*/ 1762373 h 1934496"/>
              <a:gd name="connsiteX377" fmla="*/ 2971729 w 9922465"/>
              <a:gd name="connsiteY377" fmla="*/ 1817564 h 1934496"/>
              <a:gd name="connsiteX378" fmla="*/ 2916537 w 9922465"/>
              <a:gd name="connsiteY378" fmla="*/ 1762373 h 1934496"/>
              <a:gd name="connsiteX379" fmla="*/ 2971729 w 9922465"/>
              <a:gd name="connsiteY379" fmla="*/ 1707182 h 1934496"/>
              <a:gd name="connsiteX380" fmla="*/ 2834772 w 9922465"/>
              <a:gd name="connsiteY380" fmla="*/ 1707182 h 1934496"/>
              <a:gd name="connsiteX381" fmla="*/ 2889964 w 9922465"/>
              <a:gd name="connsiteY381" fmla="*/ 1762373 h 1934496"/>
              <a:gd name="connsiteX382" fmla="*/ 2834772 w 9922465"/>
              <a:gd name="connsiteY382" fmla="*/ 1817564 h 1934496"/>
              <a:gd name="connsiteX383" fmla="*/ 2779580 w 9922465"/>
              <a:gd name="connsiteY383" fmla="*/ 1762373 h 1934496"/>
              <a:gd name="connsiteX384" fmla="*/ 2834772 w 9922465"/>
              <a:gd name="connsiteY384" fmla="*/ 1707182 h 1934496"/>
              <a:gd name="connsiteX385" fmla="*/ 2707817 w 9922465"/>
              <a:gd name="connsiteY385" fmla="*/ 1707182 h 1934496"/>
              <a:gd name="connsiteX386" fmla="*/ 2763009 w 9922465"/>
              <a:gd name="connsiteY386" fmla="*/ 1762373 h 1934496"/>
              <a:gd name="connsiteX387" fmla="*/ 2707817 w 9922465"/>
              <a:gd name="connsiteY387" fmla="*/ 1817564 h 1934496"/>
              <a:gd name="connsiteX388" fmla="*/ 2652625 w 9922465"/>
              <a:gd name="connsiteY388" fmla="*/ 1762373 h 1934496"/>
              <a:gd name="connsiteX389" fmla="*/ 2707817 w 9922465"/>
              <a:gd name="connsiteY389" fmla="*/ 1707182 h 1934496"/>
              <a:gd name="connsiteX390" fmla="*/ 2570843 w 9922465"/>
              <a:gd name="connsiteY390" fmla="*/ 1707182 h 1934496"/>
              <a:gd name="connsiteX391" fmla="*/ 2626036 w 9922465"/>
              <a:gd name="connsiteY391" fmla="*/ 1762373 h 1934496"/>
              <a:gd name="connsiteX392" fmla="*/ 2570843 w 9922465"/>
              <a:gd name="connsiteY392" fmla="*/ 1817564 h 1934496"/>
              <a:gd name="connsiteX393" fmla="*/ 2515651 w 9922465"/>
              <a:gd name="connsiteY393" fmla="*/ 1762373 h 1934496"/>
              <a:gd name="connsiteX394" fmla="*/ 2570843 w 9922465"/>
              <a:gd name="connsiteY394" fmla="*/ 1707182 h 1934496"/>
              <a:gd name="connsiteX395" fmla="*/ 2437207 w 9922465"/>
              <a:gd name="connsiteY395" fmla="*/ 1707182 h 1934496"/>
              <a:gd name="connsiteX396" fmla="*/ 2492398 w 9922465"/>
              <a:gd name="connsiteY396" fmla="*/ 1762373 h 1934496"/>
              <a:gd name="connsiteX397" fmla="*/ 2437207 w 9922465"/>
              <a:gd name="connsiteY397" fmla="*/ 1817564 h 1934496"/>
              <a:gd name="connsiteX398" fmla="*/ 2382015 w 9922465"/>
              <a:gd name="connsiteY398" fmla="*/ 1762373 h 1934496"/>
              <a:gd name="connsiteX399" fmla="*/ 2437207 w 9922465"/>
              <a:gd name="connsiteY399" fmla="*/ 1707182 h 1934496"/>
              <a:gd name="connsiteX400" fmla="*/ 2303575 w 9922465"/>
              <a:gd name="connsiteY400" fmla="*/ 1707182 h 1934496"/>
              <a:gd name="connsiteX401" fmla="*/ 2358767 w 9922465"/>
              <a:gd name="connsiteY401" fmla="*/ 1762373 h 1934496"/>
              <a:gd name="connsiteX402" fmla="*/ 2303575 w 9922465"/>
              <a:gd name="connsiteY402" fmla="*/ 1817564 h 1934496"/>
              <a:gd name="connsiteX403" fmla="*/ 2248383 w 9922465"/>
              <a:gd name="connsiteY403" fmla="*/ 1762373 h 1934496"/>
              <a:gd name="connsiteX404" fmla="*/ 2303575 w 9922465"/>
              <a:gd name="connsiteY404" fmla="*/ 1707182 h 1934496"/>
              <a:gd name="connsiteX405" fmla="*/ 2173282 w 9922465"/>
              <a:gd name="connsiteY405" fmla="*/ 1707182 h 1934496"/>
              <a:gd name="connsiteX406" fmla="*/ 2228474 w 9922465"/>
              <a:gd name="connsiteY406" fmla="*/ 1762373 h 1934496"/>
              <a:gd name="connsiteX407" fmla="*/ 2173282 w 9922465"/>
              <a:gd name="connsiteY407" fmla="*/ 1817564 h 1934496"/>
              <a:gd name="connsiteX408" fmla="*/ 2118090 w 9922465"/>
              <a:gd name="connsiteY408" fmla="*/ 1762373 h 1934496"/>
              <a:gd name="connsiteX409" fmla="*/ 2173282 w 9922465"/>
              <a:gd name="connsiteY409" fmla="*/ 1707182 h 1934496"/>
              <a:gd name="connsiteX410" fmla="*/ 2039648 w 9922465"/>
              <a:gd name="connsiteY410" fmla="*/ 1707182 h 1934496"/>
              <a:gd name="connsiteX411" fmla="*/ 2094840 w 9922465"/>
              <a:gd name="connsiteY411" fmla="*/ 1762373 h 1934496"/>
              <a:gd name="connsiteX412" fmla="*/ 2039648 w 9922465"/>
              <a:gd name="connsiteY412" fmla="*/ 1817564 h 1934496"/>
              <a:gd name="connsiteX413" fmla="*/ 1984455 w 9922465"/>
              <a:gd name="connsiteY413" fmla="*/ 1762373 h 1934496"/>
              <a:gd name="connsiteX414" fmla="*/ 2039648 w 9922465"/>
              <a:gd name="connsiteY414" fmla="*/ 1707182 h 1934496"/>
              <a:gd name="connsiteX415" fmla="*/ 1909353 w 9922465"/>
              <a:gd name="connsiteY415" fmla="*/ 1707182 h 1934496"/>
              <a:gd name="connsiteX416" fmla="*/ 1964545 w 9922465"/>
              <a:gd name="connsiteY416" fmla="*/ 1762373 h 1934496"/>
              <a:gd name="connsiteX417" fmla="*/ 1909353 w 9922465"/>
              <a:gd name="connsiteY417" fmla="*/ 1817564 h 1934496"/>
              <a:gd name="connsiteX418" fmla="*/ 1854161 w 9922465"/>
              <a:gd name="connsiteY418" fmla="*/ 1762373 h 1934496"/>
              <a:gd name="connsiteX419" fmla="*/ 1909353 w 9922465"/>
              <a:gd name="connsiteY419" fmla="*/ 1707182 h 1934496"/>
              <a:gd name="connsiteX420" fmla="*/ 1779058 w 9922465"/>
              <a:gd name="connsiteY420" fmla="*/ 1707182 h 1934496"/>
              <a:gd name="connsiteX421" fmla="*/ 1834251 w 9922465"/>
              <a:gd name="connsiteY421" fmla="*/ 1762373 h 1934496"/>
              <a:gd name="connsiteX422" fmla="*/ 1779058 w 9922465"/>
              <a:gd name="connsiteY422" fmla="*/ 1817564 h 1934496"/>
              <a:gd name="connsiteX423" fmla="*/ 1723867 w 9922465"/>
              <a:gd name="connsiteY423" fmla="*/ 1762373 h 1934496"/>
              <a:gd name="connsiteX424" fmla="*/ 1779058 w 9922465"/>
              <a:gd name="connsiteY424" fmla="*/ 1707182 h 1934496"/>
              <a:gd name="connsiteX425" fmla="*/ 1645422 w 9922465"/>
              <a:gd name="connsiteY425" fmla="*/ 1707182 h 1934496"/>
              <a:gd name="connsiteX426" fmla="*/ 1700617 w 9922465"/>
              <a:gd name="connsiteY426" fmla="*/ 1762373 h 1934496"/>
              <a:gd name="connsiteX427" fmla="*/ 1645422 w 9922465"/>
              <a:gd name="connsiteY427" fmla="*/ 1817564 h 1934496"/>
              <a:gd name="connsiteX428" fmla="*/ 1590230 w 9922465"/>
              <a:gd name="connsiteY428" fmla="*/ 1762373 h 1934496"/>
              <a:gd name="connsiteX429" fmla="*/ 1645422 w 9922465"/>
              <a:gd name="connsiteY429" fmla="*/ 1707182 h 1934496"/>
              <a:gd name="connsiteX430" fmla="*/ 1515130 w 9922465"/>
              <a:gd name="connsiteY430" fmla="*/ 1707182 h 1934496"/>
              <a:gd name="connsiteX431" fmla="*/ 1570322 w 9922465"/>
              <a:gd name="connsiteY431" fmla="*/ 1762373 h 1934496"/>
              <a:gd name="connsiteX432" fmla="*/ 1515130 w 9922465"/>
              <a:gd name="connsiteY432" fmla="*/ 1817564 h 1934496"/>
              <a:gd name="connsiteX433" fmla="*/ 1459938 w 9922465"/>
              <a:gd name="connsiteY433" fmla="*/ 1762373 h 1934496"/>
              <a:gd name="connsiteX434" fmla="*/ 1515130 w 9922465"/>
              <a:gd name="connsiteY434" fmla="*/ 1707182 h 1934496"/>
              <a:gd name="connsiteX435" fmla="*/ 1381494 w 9922465"/>
              <a:gd name="connsiteY435" fmla="*/ 1707182 h 1934496"/>
              <a:gd name="connsiteX436" fmla="*/ 1436688 w 9922465"/>
              <a:gd name="connsiteY436" fmla="*/ 1762373 h 1934496"/>
              <a:gd name="connsiteX437" fmla="*/ 1381494 w 9922465"/>
              <a:gd name="connsiteY437" fmla="*/ 1817564 h 1934496"/>
              <a:gd name="connsiteX438" fmla="*/ 1326303 w 9922465"/>
              <a:gd name="connsiteY438" fmla="*/ 1762373 h 1934496"/>
              <a:gd name="connsiteX439" fmla="*/ 1381494 w 9922465"/>
              <a:gd name="connsiteY439" fmla="*/ 1707182 h 1934496"/>
              <a:gd name="connsiteX440" fmla="*/ 1251201 w 9922465"/>
              <a:gd name="connsiteY440" fmla="*/ 1707182 h 1934496"/>
              <a:gd name="connsiteX441" fmla="*/ 1306393 w 9922465"/>
              <a:gd name="connsiteY441" fmla="*/ 1762373 h 1934496"/>
              <a:gd name="connsiteX442" fmla="*/ 1251201 w 9922465"/>
              <a:gd name="connsiteY442" fmla="*/ 1817564 h 1934496"/>
              <a:gd name="connsiteX443" fmla="*/ 1196010 w 9922465"/>
              <a:gd name="connsiteY443" fmla="*/ 1762373 h 1934496"/>
              <a:gd name="connsiteX444" fmla="*/ 1251201 w 9922465"/>
              <a:gd name="connsiteY444" fmla="*/ 1707182 h 1934496"/>
              <a:gd name="connsiteX445" fmla="*/ 1909361 w 9922465"/>
              <a:gd name="connsiteY445" fmla="*/ 1580232 h 1934496"/>
              <a:gd name="connsiteX446" fmla="*/ 1964554 w 9922465"/>
              <a:gd name="connsiteY446" fmla="*/ 1635423 h 1934496"/>
              <a:gd name="connsiteX447" fmla="*/ 1909361 w 9922465"/>
              <a:gd name="connsiteY447" fmla="*/ 1690614 h 1934496"/>
              <a:gd name="connsiteX448" fmla="*/ 1854168 w 9922465"/>
              <a:gd name="connsiteY448" fmla="*/ 1635423 h 1934496"/>
              <a:gd name="connsiteX449" fmla="*/ 1909361 w 9922465"/>
              <a:gd name="connsiteY449" fmla="*/ 1580232 h 1934496"/>
              <a:gd name="connsiteX450" fmla="*/ 1779065 w 9922465"/>
              <a:gd name="connsiteY450" fmla="*/ 1580232 h 1934496"/>
              <a:gd name="connsiteX451" fmla="*/ 1834257 w 9922465"/>
              <a:gd name="connsiteY451" fmla="*/ 1635423 h 1934496"/>
              <a:gd name="connsiteX452" fmla="*/ 1779065 w 9922465"/>
              <a:gd name="connsiteY452" fmla="*/ 1690614 h 1934496"/>
              <a:gd name="connsiteX453" fmla="*/ 1723872 w 9922465"/>
              <a:gd name="connsiteY453" fmla="*/ 1635423 h 1934496"/>
              <a:gd name="connsiteX454" fmla="*/ 1779065 w 9922465"/>
              <a:gd name="connsiteY454" fmla="*/ 1580232 h 1934496"/>
              <a:gd name="connsiteX455" fmla="*/ 1645431 w 9922465"/>
              <a:gd name="connsiteY455" fmla="*/ 1580232 h 1934496"/>
              <a:gd name="connsiteX456" fmla="*/ 1700623 w 9922465"/>
              <a:gd name="connsiteY456" fmla="*/ 1635423 h 1934496"/>
              <a:gd name="connsiteX457" fmla="*/ 1645431 w 9922465"/>
              <a:gd name="connsiteY457" fmla="*/ 1690614 h 1934496"/>
              <a:gd name="connsiteX458" fmla="*/ 1590238 w 9922465"/>
              <a:gd name="connsiteY458" fmla="*/ 1635423 h 1934496"/>
              <a:gd name="connsiteX459" fmla="*/ 1645431 w 9922465"/>
              <a:gd name="connsiteY459" fmla="*/ 1580232 h 1934496"/>
              <a:gd name="connsiteX460" fmla="*/ 1515140 w 9922465"/>
              <a:gd name="connsiteY460" fmla="*/ 1580232 h 1934496"/>
              <a:gd name="connsiteX461" fmla="*/ 1570329 w 9922465"/>
              <a:gd name="connsiteY461" fmla="*/ 1635423 h 1934496"/>
              <a:gd name="connsiteX462" fmla="*/ 1515140 w 9922465"/>
              <a:gd name="connsiteY462" fmla="*/ 1690614 h 1934496"/>
              <a:gd name="connsiteX463" fmla="*/ 1459945 w 9922465"/>
              <a:gd name="connsiteY463" fmla="*/ 1635423 h 1934496"/>
              <a:gd name="connsiteX464" fmla="*/ 1515140 w 9922465"/>
              <a:gd name="connsiteY464" fmla="*/ 1580232 h 1934496"/>
              <a:gd name="connsiteX465" fmla="*/ 1381504 w 9922465"/>
              <a:gd name="connsiteY465" fmla="*/ 1580232 h 1934496"/>
              <a:gd name="connsiteX466" fmla="*/ 1436697 w 9922465"/>
              <a:gd name="connsiteY466" fmla="*/ 1635423 h 1934496"/>
              <a:gd name="connsiteX467" fmla="*/ 1381504 w 9922465"/>
              <a:gd name="connsiteY467" fmla="*/ 1690614 h 1934496"/>
              <a:gd name="connsiteX468" fmla="*/ 1326312 w 9922465"/>
              <a:gd name="connsiteY468" fmla="*/ 1635423 h 1934496"/>
              <a:gd name="connsiteX469" fmla="*/ 1381504 w 9922465"/>
              <a:gd name="connsiteY469" fmla="*/ 1580232 h 1934496"/>
              <a:gd name="connsiteX470" fmla="*/ 1251210 w 9922465"/>
              <a:gd name="connsiteY470" fmla="*/ 1580232 h 1934496"/>
              <a:gd name="connsiteX471" fmla="*/ 1306401 w 9922465"/>
              <a:gd name="connsiteY471" fmla="*/ 1635423 h 1934496"/>
              <a:gd name="connsiteX472" fmla="*/ 1251210 w 9922465"/>
              <a:gd name="connsiteY472" fmla="*/ 1690614 h 1934496"/>
              <a:gd name="connsiteX473" fmla="*/ 1196016 w 9922465"/>
              <a:gd name="connsiteY473" fmla="*/ 1635423 h 1934496"/>
              <a:gd name="connsiteX474" fmla="*/ 1251210 w 9922465"/>
              <a:gd name="connsiteY474" fmla="*/ 1580232 h 1934496"/>
              <a:gd name="connsiteX475" fmla="*/ 9068806 w 9922465"/>
              <a:gd name="connsiteY475" fmla="*/ 1580228 h 1934496"/>
              <a:gd name="connsiteX476" fmla="*/ 9123998 w 9922465"/>
              <a:gd name="connsiteY476" fmla="*/ 1635419 h 1934496"/>
              <a:gd name="connsiteX477" fmla="*/ 9068806 w 9922465"/>
              <a:gd name="connsiteY477" fmla="*/ 1690610 h 1934496"/>
              <a:gd name="connsiteX478" fmla="*/ 9013614 w 9922465"/>
              <a:gd name="connsiteY478" fmla="*/ 1635419 h 1934496"/>
              <a:gd name="connsiteX479" fmla="*/ 9068806 w 9922465"/>
              <a:gd name="connsiteY479" fmla="*/ 1580228 h 1934496"/>
              <a:gd name="connsiteX480" fmla="*/ 8671243 w 9922465"/>
              <a:gd name="connsiteY480" fmla="*/ 1580228 h 1934496"/>
              <a:gd name="connsiteX481" fmla="*/ 8726435 w 9922465"/>
              <a:gd name="connsiteY481" fmla="*/ 1635419 h 1934496"/>
              <a:gd name="connsiteX482" fmla="*/ 8671243 w 9922465"/>
              <a:gd name="connsiteY482" fmla="*/ 1690610 h 1934496"/>
              <a:gd name="connsiteX483" fmla="*/ 8616051 w 9922465"/>
              <a:gd name="connsiteY483" fmla="*/ 1635419 h 1934496"/>
              <a:gd name="connsiteX484" fmla="*/ 8671243 w 9922465"/>
              <a:gd name="connsiteY484" fmla="*/ 1580228 h 1934496"/>
              <a:gd name="connsiteX485" fmla="*/ 8537609 w 9922465"/>
              <a:gd name="connsiteY485" fmla="*/ 1580228 h 1934496"/>
              <a:gd name="connsiteX486" fmla="*/ 8592801 w 9922465"/>
              <a:gd name="connsiteY486" fmla="*/ 1635419 h 1934496"/>
              <a:gd name="connsiteX487" fmla="*/ 8537609 w 9922465"/>
              <a:gd name="connsiteY487" fmla="*/ 1690610 h 1934496"/>
              <a:gd name="connsiteX488" fmla="*/ 8482417 w 9922465"/>
              <a:gd name="connsiteY488" fmla="*/ 1635419 h 1934496"/>
              <a:gd name="connsiteX489" fmla="*/ 8537609 w 9922465"/>
              <a:gd name="connsiteY489" fmla="*/ 1580228 h 1934496"/>
              <a:gd name="connsiteX490" fmla="*/ 8407318 w 9922465"/>
              <a:gd name="connsiteY490" fmla="*/ 1580228 h 1934496"/>
              <a:gd name="connsiteX491" fmla="*/ 8462510 w 9922465"/>
              <a:gd name="connsiteY491" fmla="*/ 1635419 h 1934496"/>
              <a:gd name="connsiteX492" fmla="*/ 8407318 w 9922465"/>
              <a:gd name="connsiteY492" fmla="*/ 1690610 h 1934496"/>
              <a:gd name="connsiteX493" fmla="*/ 8352126 w 9922465"/>
              <a:gd name="connsiteY493" fmla="*/ 1635419 h 1934496"/>
              <a:gd name="connsiteX494" fmla="*/ 8407318 w 9922465"/>
              <a:gd name="connsiteY494" fmla="*/ 1580228 h 1934496"/>
              <a:gd name="connsiteX495" fmla="*/ 8273682 w 9922465"/>
              <a:gd name="connsiteY495" fmla="*/ 1580228 h 1934496"/>
              <a:gd name="connsiteX496" fmla="*/ 8328874 w 9922465"/>
              <a:gd name="connsiteY496" fmla="*/ 1635419 h 1934496"/>
              <a:gd name="connsiteX497" fmla="*/ 8273682 w 9922465"/>
              <a:gd name="connsiteY497" fmla="*/ 1690610 h 1934496"/>
              <a:gd name="connsiteX498" fmla="*/ 8218490 w 9922465"/>
              <a:gd name="connsiteY498" fmla="*/ 1635419 h 1934496"/>
              <a:gd name="connsiteX499" fmla="*/ 8273682 w 9922465"/>
              <a:gd name="connsiteY499" fmla="*/ 1580228 h 1934496"/>
              <a:gd name="connsiteX500" fmla="*/ 8143386 w 9922465"/>
              <a:gd name="connsiteY500" fmla="*/ 1580228 h 1934496"/>
              <a:gd name="connsiteX501" fmla="*/ 8198578 w 9922465"/>
              <a:gd name="connsiteY501" fmla="*/ 1635419 h 1934496"/>
              <a:gd name="connsiteX502" fmla="*/ 8143386 w 9922465"/>
              <a:gd name="connsiteY502" fmla="*/ 1690610 h 1934496"/>
              <a:gd name="connsiteX503" fmla="*/ 8088194 w 9922465"/>
              <a:gd name="connsiteY503" fmla="*/ 1635419 h 1934496"/>
              <a:gd name="connsiteX504" fmla="*/ 8143386 w 9922465"/>
              <a:gd name="connsiteY504" fmla="*/ 1580228 h 1934496"/>
              <a:gd name="connsiteX505" fmla="*/ 8009752 w 9922465"/>
              <a:gd name="connsiteY505" fmla="*/ 1580228 h 1934496"/>
              <a:gd name="connsiteX506" fmla="*/ 8064944 w 9922465"/>
              <a:gd name="connsiteY506" fmla="*/ 1635419 h 1934496"/>
              <a:gd name="connsiteX507" fmla="*/ 8009752 w 9922465"/>
              <a:gd name="connsiteY507" fmla="*/ 1690610 h 1934496"/>
              <a:gd name="connsiteX508" fmla="*/ 7954560 w 9922465"/>
              <a:gd name="connsiteY508" fmla="*/ 1635419 h 1934496"/>
              <a:gd name="connsiteX509" fmla="*/ 8009752 w 9922465"/>
              <a:gd name="connsiteY509" fmla="*/ 1580228 h 1934496"/>
              <a:gd name="connsiteX510" fmla="*/ 7876117 w 9922465"/>
              <a:gd name="connsiteY510" fmla="*/ 1580228 h 1934496"/>
              <a:gd name="connsiteX511" fmla="*/ 7931309 w 9922465"/>
              <a:gd name="connsiteY511" fmla="*/ 1635419 h 1934496"/>
              <a:gd name="connsiteX512" fmla="*/ 7876117 w 9922465"/>
              <a:gd name="connsiteY512" fmla="*/ 1690610 h 1934496"/>
              <a:gd name="connsiteX513" fmla="*/ 7820925 w 9922465"/>
              <a:gd name="connsiteY513" fmla="*/ 1635419 h 1934496"/>
              <a:gd name="connsiteX514" fmla="*/ 7876117 w 9922465"/>
              <a:gd name="connsiteY514" fmla="*/ 1580228 h 1934496"/>
              <a:gd name="connsiteX515" fmla="*/ 7745824 w 9922465"/>
              <a:gd name="connsiteY515" fmla="*/ 1580228 h 1934496"/>
              <a:gd name="connsiteX516" fmla="*/ 7801016 w 9922465"/>
              <a:gd name="connsiteY516" fmla="*/ 1635419 h 1934496"/>
              <a:gd name="connsiteX517" fmla="*/ 7745824 w 9922465"/>
              <a:gd name="connsiteY517" fmla="*/ 1690610 h 1934496"/>
              <a:gd name="connsiteX518" fmla="*/ 7690632 w 9922465"/>
              <a:gd name="connsiteY518" fmla="*/ 1635419 h 1934496"/>
              <a:gd name="connsiteX519" fmla="*/ 7745824 w 9922465"/>
              <a:gd name="connsiteY519" fmla="*/ 1580228 h 1934496"/>
              <a:gd name="connsiteX520" fmla="*/ 7608849 w 9922465"/>
              <a:gd name="connsiteY520" fmla="*/ 1580228 h 1934496"/>
              <a:gd name="connsiteX521" fmla="*/ 7664041 w 9922465"/>
              <a:gd name="connsiteY521" fmla="*/ 1635419 h 1934496"/>
              <a:gd name="connsiteX522" fmla="*/ 7608849 w 9922465"/>
              <a:gd name="connsiteY522" fmla="*/ 1690610 h 1934496"/>
              <a:gd name="connsiteX523" fmla="*/ 7553657 w 9922465"/>
              <a:gd name="connsiteY523" fmla="*/ 1635419 h 1934496"/>
              <a:gd name="connsiteX524" fmla="*/ 7608849 w 9922465"/>
              <a:gd name="connsiteY524" fmla="*/ 1580228 h 1934496"/>
              <a:gd name="connsiteX525" fmla="*/ 7481895 w 9922465"/>
              <a:gd name="connsiteY525" fmla="*/ 1580228 h 1934496"/>
              <a:gd name="connsiteX526" fmla="*/ 7537087 w 9922465"/>
              <a:gd name="connsiteY526" fmla="*/ 1635419 h 1934496"/>
              <a:gd name="connsiteX527" fmla="*/ 7481895 w 9922465"/>
              <a:gd name="connsiteY527" fmla="*/ 1690610 h 1934496"/>
              <a:gd name="connsiteX528" fmla="*/ 7426703 w 9922465"/>
              <a:gd name="connsiteY528" fmla="*/ 1635419 h 1934496"/>
              <a:gd name="connsiteX529" fmla="*/ 7481895 w 9922465"/>
              <a:gd name="connsiteY529" fmla="*/ 1580228 h 1934496"/>
              <a:gd name="connsiteX530" fmla="*/ 7341579 w 9922465"/>
              <a:gd name="connsiteY530" fmla="*/ 1580228 h 1934496"/>
              <a:gd name="connsiteX531" fmla="*/ 7396771 w 9922465"/>
              <a:gd name="connsiteY531" fmla="*/ 1635419 h 1934496"/>
              <a:gd name="connsiteX532" fmla="*/ 7341579 w 9922465"/>
              <a:gd name="connsiteY532" fmla="*/ 1690610 h 1934496"/>
              <a:gd name="connsiteX533" fmla="*/ 7286387 w 9922465"/>
              <a:gd name="connsiteY533" fmla="*/ 1635419 h 1934496"/>
              <a:gd name="connsiteX534" fmla="*/ 7341579 w 9922465"/>
              <a:gd name="connsiteY534" fmla="*/ 1580228 h 1934496"/>
              <a:gd name="connsiteX535" fmla="*/ 7211286 w 9922465"/>
              <a:gd name="connsiteY535" fmla="*/ 1580228 h 1934496"/>
              <a:gd name="connsiteX536" fmla="*/ 7266478 w 9922465"/>
              <a:gd name="connsiteY536" fmla="*/ 1635419 h 1934496"/>
              <a:gd name="connsiteX537" fmla="*/ 7211286 w 9922465"/>
              <a:gd name="connsiteY537" fmla="*/ 1690610 h 1934496"/>
              <a:gd name="connsiteX538" fmla="*/ 7156094 w 9922465"/>
              <a:gd name="connsiteY538" fmla="*/ 1635419 h 1934496"/>
              <a:gd name="connsiteX539" fmla="*/ 7211286 w 9922465"/>
              <a:gd name="connsiteY539" fmla="*/ 1580228 h 1934496"/>
              <a:gd name="connsiteX540" fmla="*/ 7080993 w 9922465"/>
              <a:gd name="connsiteY540" fmla="*/ 1580228 h 1934496"/>
              <a:gd name="connsiteX541" fmla="*/ 7136185 w 9922465"/>
              <a:gd name="connsiteY541" fmla="*/ 1635419 h 1934496"/>
              <a:gd name="connsiteX542" fmla="*/ 7080993 w 9922465"/>
              <a:gd name="connsiteY542" fmla="*/ 1690610 h 1934496"/>
              <a:gd name="connsiteX543" fmla="*/ 7025801 w 9922465"/>
              <a:gd name="connsiteY543" fmla="*/ 1635419 h 1934496"/>
              <a:gd name="connsiteX544" fmla="*/ 7080993 w 9922465"/>
              <a:gd name="connsiteY544" fmla="*/ 1580228 h 1934496"/>
              <a:gd name="connsiteX545" fmla="*/ 6947357 w 9922465"/>
              <a:gd name="connsiteY545" fmla="*/ 1580228 h 1934496"/>
              <a:gd name="connsiteX546" fmla="*/ 7002549 w 9922465"/>
              <a:gd name="connsiteY546" fmla="*/ 1635419 h 1934496"/>
              <a:gd name="connsiteX547" fmla="*/ 6947357 w 9922465"/>
              <a:gd name="connsiteY547" fmla="*/ 1690610 h 1934496"/>
              <a:gd name="connsiteX548" fmla="*/ 6892165 w 9922465"/>
              <a:gd name="connsiteY548" fmla="*/ 1635419 h 1934496"/>
              <a:gd name="connsiteX549" fmla="*/ 6947357 w 9922465"/>
              <a:gd name="connsiteY549" fmla="*/ 1580228 h 1934496"/>
              <a:gd name="connsiteX550" fmla="*/ 6817063 w 9922465"/>
              <a:gd name="connsiteY550" fmla="*/ 1580228 h 1934496"/>
              <a:gd name="connsiteX551" fmla="*/ 6872255 w 9922465"/>
              <a:gd name="connsiteY551" fmla="*/ 1635419 h 1934496"/>
              <a:gd name="connsiteX552" fmla="*/ 6817063 w 9922465"/>
              <a:gd name="connsiteY552" fmla="*/ 1690610 h 1934496"/>
              <a:gd name="connsiteX553" fmla="*/ 6761871 w 9922465"/>
              <a:gd name="connsiteY553" fmla="*/ 1635419 h 1934496"/>
              <a:gd name="connsiteX554" fmla="*/ 6817063 w 9922465"/>
              <a:gd name="connsiteY554" fmla="*/ 1580228 h 1934496"/>
              <a:gd name="connsiteX555" fmla="*/ 6683431 w 9922465"/>
              <a:gd name="connsiteY555" fmla="*/ 1580228 h 1934496"/>
              <a:gd name="connsiteX556" fmla="*/ 6738623 w 9922465"/>
              <a:gd name="connsiteY556" fmla="*/ 1635419 h 1934496"/>
              <a:gd name="connsiteX557" fmla="*/ 6683431 w 9922465"/>
              <a:gd name="connsiteY557" fmla="*/ 1690610 h 1934496"/>
              <a:gd name="connsiteX558" fmla="*/ 6628239 w 9922465"/>
              <a:gd name="connsiteY558" fmla="*/ 1635419 h 1934496"/>
              <a:gd name="connsiteX559" fmla="*/ 6683431 w 9922465"/>
              <a:gd name="connsiteY559" fmla="*/ 1580228 h 1934496"/>
              <a:gd name="connsiteX560" fmla="*/ 6553137 w 9922465"/>
              <a:gd name="connsiteY560" fmla="*/ 1580228 h 1934496"/>
              <a:gd name="connsiteX561" fmla="*/ 6608329 w 9922465"/>
              <a:gd name="connsiteY561" fmla="*/ 1635419 h 1934496"/>
              <a:gd name="connsiteX562" fmla="*/ 6553137 w 9922465"/>
              <a:gd name="connsiteY562" fmla="*/ 1690610 h 1934496"/>
              <a:gd name="connsiteX563" fmla="*/ 6497945 w 9922465"/>
              <a:gd name="connsiteY563" fmla="*/ 1635419 h 1934496"/>
              <a:gd name="connsiteX564" fmla="*/ 6553137 w 9922465"/>
              <a:gd name="connsiteY564" fmla="*/ 1580228 h 1934496"/>
              <a:gd name="connsiteX565" fmla="*/ 6419502 w 9922465"/>
              <a:gd name="connsiteY565" fmla="*/ 1580228 h 1934496"/>
              <a:gd name="connsiteX566" fmla="*/ 6474694 w 9922465"/>
              <a:gd name="connsiteY566" fmla="*/ 1635419 h 1934496"/>
              <a:gd name="connsiteX567" fmla="*/ 6419502 w 9922465"/>
              <a:gd name="connsiteY567" fmla="*/ 1690610 h 1934496"/>
              <a:gd name="connsiteX568" fmla="*/ 6364310 w 9922465"/>
              <a:gd name="connsiteY568" fmla="*/ 1635419 h 1934496"/>
              <a:gd name="connsiteX569" fmla="*/ 6419502 w 9922465"/>
              <a:gd name="connsiteY569" fmla="*/ 1580228 h 1934496"/>
              <a:gd name="connsiteX570" fmla="*/ 6289208 w 9922465"/>
              <a:gd name="connsiteY570" fmla="*/ 1580228 h 1934496"/>
              <a:gd name="connsiteX571" fmla="*/ 6344400 w 9922465"/>
              <a:gd name="connsiteY571" fmla="*/ 1635419 h 1934496"/>
              <a:gd name="connsiteX572" fmla="*/ 6289208 w 9922465"/>
              <a:gd name="connsiteY572" fmla="*/ 1690610 h 1934496"/>
              <a:gd name="connsiteX573" fmla="*/ 6234016 w 9922465"/>
              <a:gd name="connsiteY573" fmla="*/ 1635419 h 1934496"/>
              <a:gd name="connsiteX574" fmla="*/ 6289208 w 9922465"/>
              <a:gd name="connsiteY574" fmla="*/ 1580228 h 1934496"/>
              <a:gd name="connsiteX575" fmla="*/ 6155572 w 9922465"/>
              <a:gd name="connsiteY575" fmla="*/ 1580228 h 1934496"/>
              <a:gd name="connsiteX576" fmla="*/ 6210764 w 9922465"/>
              <a:gd name="connsiteY576" fmla="*/ 1635419 h 1934496"/>
              <a:gd name="connsiteX577" fmla="*/ 6155572 w 9922465"/>
              <a:gd name="connsiteY577" fmla="*/ 1690610 h 1934496"/>
              <a:gd name="connsiteX578" fmla="*/ 6100380 w 9922465"/>
              <a:gd name="connsiteY578" fmla="*/ 1635419 h 1934496"/>
              <a:gd name="connsiteX579" fmla="*/ 6155572 w 9922465"/>
              <a:gd name="connsiteY579" fmla="*/ 1580228 h 1934496"/>
              <a:gd name="connsiteX580" fmla="*/ 6021938 w 9922465"/>
              <a:gd name="connsiteY580" fmla="*/ 1580228 h 1934496"/>
              <a:gd name="connsiteX581" fmla="*/ 6077130 w 9922465"/>
              <a:gd name="connsiteY581" fmla="*/ 1635419 h 1934496"/>
              <a:gd name="connsiteX582" fmla="*/ 6021938 w 9922465"/>
              <a:gd name="connsiteY582" fmla="*/ 1690610 h 1934496"/>
              <a:gd name="connsiteX583" fmla="*/ 5966746 w 9922465"/>
              <a:gd name="connsiteY583" fmla="*/ 1635419 h 1934496"/>
              <a:gd name="connsiteX584" fmla="*/ 6021938 w 9922465"/>
              <a:gd name="connsiteY584" fmla="*/ 1580228 h 1934496"/>
              <a:gd name="connsiteX585" fmla="*/ 5884964 w 9922465"/>
              <a:gd name="connsiteY585" fmla="*/ 1580228 h 1934496"/>
              <a:gd name="connsiteX586" fmla="*/ 5940156 w 9922465"/>
              <a:gd name="connsiteY586" fmla="*/ 1635419 h 1934496"/>
              <a:gd name="connsiteX587" fmla="*/ 5884964 w 9922465"/>
              <a:gd name="connsiteY587" fmla="*/ 1690610 h 1934496"/>
              <a:gd name="connsiteX588" fmla="*/ 5829772 w 9922465"/>
              <a:gd name="connsiteY588" fmla="*/ 1635419 h 1934496"/>
              <a:gd name="connsiteX589" fmla="*/ 5884964 w 9922465"/>
              <a:gd name="connsiteY589" fmla="*/ 1580228 h 1934496"/>
              <a:gd name="connsiteX590" fmla="*/ 5754670 w 9922465"/>
              <a:gd name="connsiteY590" fmla="*/ 1580228 h 1934496"/>
              <a:gd name="connsiteX591" fmla="*/ 5809862 w 9922465"/>
              <a:gd name="connsiteY591" fmla="*/ 1635419 h 1934496"/>
              <a:gd name="connsiteX592" fmla="*/ 5754670 w 9922465"/>
              <a:gd name="connsiteY592" fmla="*/ 1690610 h 1934496"/>
              <a:gd name="connsiteX593" fmla="*/ 5699478 w 9922465"/>
              <a:gd name="connsiteY593" fmla="*/ 1635419 h 1934496"/>
              <a:gd name="connsiteX594" fmla="*/ 5754670 w 9922465"/>
              <a:gd name="connsiteY594" fmla="*/ 1580228 h 1934496"/>
              <a:gd name="connsiteX595" fmla="*/ 5621035 w 9922465"/>
              <a:gd name="connsiteY595" fmla="*/ 1580228 h 1934496"/>
              <a:gd name="connsiteX596" fmla="*/ 5676227 w 9922465"/>
              <a:gd name="connsiteY596" fmla="*/ 1635419 h 1934496"/>
              <a:gd name="connsiteX597" fmla="*/ 5621035 w 9922465"/>
              <a:gd name="connsiteY597" fmla="*/ 1690610 h 1934496"/>
              <a:gd name="connsiteX598" fmla="*/ 5565843 w 9922465"/>
              <a:gd name="connsiteY598" fmla="*/ 1635419 h 1934496"/>
              <a:gd name="connsiteX599" fmla="*/ 5621035 w 9922465"/>
              <a:gd name="connsiteY599" fmla="*/ 1580228 h 1934496"/>
              <a:gd name="connsiteX600" fmla="*/ 5357105 w 9922465"/>
              <a:gd name="connsiteY600" fmla="*/ 1580228 h 1934496"/>
              <a:gd name="connsiteX601" fmla="*/ 5412297 w 9922465"/>
              <a:gd name="connsiteY601" fmla="*/ 1635419 h 1934496"/>
              <a:gd name="connsiteX602" fmla="*/ 5357105 w 9922465"/>
              <a:gd name="connsiteY602" fmla="*/ 1690610 h 1934496"/>
              <a:gd name="connsiteX603" fmla="*/ 5301913 w 9922465"/>
              <a:gd name="connsiteY603" fmla="*/ 1635419 h 1934496"/>
              <a:gd name="connsiteX604" fmla="*/ 5357105 w 9922465"/>
              <a:gd name="connsiteY604" fmla="*/ 1580228 h 1934496"/>
              <a:gd name="connsiteX605" fmla="*/ 5223473 w 9922465"/>
              <a:gd name="connsiteY605" fmla="*/ 1580228 h 1934496"/>
              <a:gd name="connsiteX606" fmla="*/ 5278665 w 9922465"/>
              <a:gd name="connsiteY606" fmla="*/ 1635419 h 1934496"/>
              <a:gd name="connsiteX607" fmla="*/ 5223473 w 9922465"/>
              <a:gd name="connsiteY607" fmla="*/ 1690610 h 1934496"/>
              <a:gd name="connsiteX608" fmla="*/ 5168281 w 9922465"/>
              <a:gd name="connsiteY608" fmla="*/ 1635419 h 1934496"/>
              <a:gd name="connsiteX609" fmla="*/ 5223473 w 9922465"/>
              <a:gd name="connsiteY609" fmla="*/ 1580228 h 1934496"/>
              <a:gd name="connsiteX610" fmla="*/ 5093178 w 9922465"/>
              <a:gd name="connsiteY610" fmla="*/ 1580228 h 1934496"/>
              <a:gd name="connsiteX611" fmla="*/ 5148370 w 9922465"/>
              <a:gd name="connsiteY611" fmla="*/ 1635419 h 1934496"/>
              <a:gd name="connsiteX612" fmla="*/ 5093178 w 9922465"/>
              <a:gd name="connsiteY612" fmla="*/ 1690610 h 1934496"/>
              <a:gd name="connsiteX613" fmla="*/ 5037986 w 9922465"/>
              <a:gd name="connsiteY613" fmla="*/ 1635419 h 1934496"/>
              <a:gd name="connsiteX614" fmla="*/ 5093178 w 9922465"/>
              <a:gd name="connsiteY614" fmla="*/ 1580228 h 1934496"/>
              <a:gd name="connsiteX615" fmla="*/ 4959543 w 9922465"/>
              <a:gd name="connsiteY615" fmla="*/ 1580228 h 1934496"/>
              <a:gd name="connsiteX616" fmla="*/ 5014735 w 9922465"/>
              <a:gd name="connsiteY616" fmla="*/ 1635419 h 1934496"/>
              <a:gd name="connsiteX617" fmla="*/ 4959543 w 9922465"/>
              <a:gd name="connsiteY617" fmla="*/ 1690610 h 1934496"/>
              <a:gd name="connsiteX618" fmla="*/ 4904351 w 9922465"/>
              <a:gd name="connsiteY618" fmla="*/ 1635419 h 1934496"/>
              <a:gd name="connsiteX619" fmla="*/ 4959543 w 9922465"/>
              <a:gd name="connsiteY619" fmla="*/ 1580228 h 1934496"/>
              <a:gd name="connsiteX620" fmla="*/ 4829251 w 9922465"/>
              <a:gd name="connsiteY620" fmla="*/ 1580228 h 1934496"/>
              <a:gd name="connsiteX621" fmla="*/ 4884443 w 9922465"/>
              <a:gd name="connsiteY621" fmla="*/ 1635419 h 1934496"/>
              <a:gd name="connsiteX622" fmla="*/ 4829251 w 9922465"/>
              <a:gd name="connsiteY622" fmla="*/ 1690610 h 1934496"/>
              <a:gd name="connsiteX623" fmla="*/ 4774059 w 9922465"/>
              <a:gd name="connsiteY623" fmla="*/ 1635419 h 1934496"/>
              <a:gd name="connsiteX624" fmla="*/ 4829251 w 9922465"/>
              <a:gd name="connsiteY624" fmla="*/ 1580228 h 1934496"/>
              <a:gd name="connsiteX625" fmla="*/ 4695613 w 9922465"/>
              <a:gd name="connsiteY625" fmla="*/ 1580228 h 1934496"/>
              <a:gd name="connsiteX626" fmla="*/ 4750805 w 9922465"/>
              <a:gd name="connsiteY626" fmla="*/ 1635419 h 1934496"/>
              <a:gd name="connsiteX627" fmla="*/ 4695613 w 9922465"/>
              <a:gd name="connsiteY627" fmla="*/ 1690610 h 1934496"/>
              <a:gd name="connsiteX628" fmla="*/ 4640421 w 9922465"/>
              <a:gd name="connsiteY628" fmla="*/ 1635419 h 1934496"/>
              <a:gd name="connsiteX629" fmla="*/ 4695613 w 9922465"/>
              <a:gd name="connsiteY629" fmla="*/ 1580228 h 1934496"/>
              <a:gd name="connsiteX630" fmla="*/ 4565322 w 9922465"/>
              <a:gd name="connsiteY630" fmla="*/ 1580228 h 1934496"/>
              <a:gd name="connsiteX631" fmla="*/ 4620514 w 9922465"/>
              <a:gd name="connsiteY631" fmla="*/ 1635419 h 1934496"/>
              <a:gd name="connsiteX632" fmla="*/ 4565322 w 9922465"/>
              <a:gd name="connsiteY632" fmla="*/ 1690610 h 1934496"/>
              <a:gd name="connsiteX633" fmla="*/ 4510130 w 9922465"/>
              <a:gd name="connsiteY633" fmla="*/ 1635419 h 1934496"/>
              <a:gd name="connsiteX634" fmla="*/ 4565322 w 9922465"/>
              <a:gd name="connsiteY634" fmla="*/ 1580228 h 1934496"/>
              <a:gd name="connsiteX635" fmla="*/ 3098681 w 9922465"/>
              <a:gd name="connsiteY635" fmla="*/ 1580228 h 1934496"/>
              <a:gd name="connsiteX636" fmla="*/ 3153873 w 9922465"/>
              <a:gd name="connsiteY636" fmla="*/ 1635419 h 1934496"/>
              <a:gd name="connsiteX637" fmla="*/ 3098681 w 9922465"/>
              <a:gd name="connsiteY637" fmla="*/ 1690610 h 1934496"/>
              <a:gd name="connsiteX638" fmla="*/ 3043489 w 9922465"/>
              <a:gd name="connsiteY638" fmla="*/ 1635419 h 1934496"/>
              <a:gd name="connsiteX639" fmla="*/ 3098681 w 9922465"/>
              <a:gd name="connsiteY639" fmla="*/ 1580228 h 1934496"/>
              <a:gd name="connsiteX640" fmla="*/ 2971729 w 9922465"/>
              <a:gd name="connsiteY640" fmla="*/ 1580228 h 1934496"/>
              <a:gd name="connsiteX641" fmla="*/ 3026921 w 9922465"/>
              <a:gd name="connsiteY641" fmla="*/ 1635419 h 1934496"/>
              <a:gd name="connsiteX642" fmla="*/ 2971729 w 9922465"/>
              <a:gd name="connsiteY642" fmla="*/ 1690610 h 1934496"/>
              <a:gd name="connsiteX643" fmla="*/ 2916537 w 9922465"/>
              <a:gd name="connsiteY643" fmla="*/ 1635419 h 1934496"/>
              <a:gd name="connsiteX644" fmla="*/ 2971729 w 9922465"/>
              <a:gd name="connsiteY644" fmla="*/ 1580228 h 1934496"/>
              <a:gd name="connsiteX645" fmla="*/ 2834783 w 9922465"/>
              <a:gd name="connsiteY645" fmla="*/ 1580228 h 1934496"/>
              <a:gd name="connsiteX646" fmla="*/ 2889974 w 9922465"/>
              <a:gd name="connsiteY646" fmla="*/ 1635419 h 1934496"/>
              <a:gd name="connsiteX647" fmla="*/ 2834783 w 9922465"/>
              <a:gd name="connsiteY647" fmla="*/ 1690610 h 1934496"/>
              <a:gd name="connsiteX648" fmla="*/ 2779590 w 9922465"/>
              <a:gd name="connsiteY648" fmla="*/ 1635419 h 1934496"/>
              <a:gd name="connsiteX649" fmla="*/ 2834783 w 9922465"/>
              <a:gd name="connsiteY649" fmla="*/ 1580228 h 1934496"/>
              <a:gd name="connsiteX650" fmla="*/ 2707828 w 9922465"/>
              <a:gd name="connsiteY650" fmla="*/ 1580228 h 1934496"/>
              <a:gd name="connsiteX651" fmla="*/ 2763021 w 9922465"/>
              <a:gd name="connsiteY651" fmla="*/ 1635419 h 1934496"/>
              <a:gd name="connsiteX652" fmla="*/ 2707828 w 9922465"/>
              <a:gd name="connsiteY652" fmla="*/ 1690610 h 1934496"/>
              <a:gd name="connsiteX653" fmla="*/ 2652636 w 9922465"/>
              <a:gd name="connsiteY653" fmla="*/ 1635419 h 1934496"/>
              <a:gd name="connsiteX654" fmla="*/ 2707828 w 9922465"/>
              <a:gd name="connsiteY654" fmla="*/ 1580228 h 1934496"/>
              <a:gd name="connsiteX655" fmla="*/ 2570854 w 9922465"/>
              <a:gd name="connsiteY655" fmla="*/ 1580228 h 1934496"/>
              <a:gd name="connsiteX656" fmla="*/ 2626046 w 9922465"/>
              <a:gd name="connsiteY656" fmla="*/ 1635419 h 1934496"/>
              <a:gd name="connsiteX657" fmla="*/ 2570854 w 9922465"/>
              <a:gd name="connsiteY657" fmla="*/ 1690610 h 1934496"/>
              <a:gd name="connsiteX658" fmla="*/ 2515662 w 9922465"/>
              <a:gd name="connsiteY658" fmla="*/ 1635419 h 1934496"/>
              <a:gd name="connsiteX659" fmla="*/ 2570854 w 9922465"/>
              <a:gd name="connsiteY659" fmla="*/ 1580228 h 1934496"/>
              <a:gd name="connsiteX660" fmla="*/ 2437218 w 9922465"/>
              <a:gd name="connsiteY660" fmla="*/ 1580228 h 1934496"/>
              <a:gd name="connsiteX661" fmla="*/ 2492409 w 9922465"/>
              <a:gd name="connsiteY661" fmla="*/ 1635419 h 1934496"/>
              <a:gd name="connsiteX662" fmla="*/ 2437218 w 9922465"/>
              <a:gd name="connsiteY662" fmla="*/ 1690610 h 1934496"/>
              <a:gd name="connsiteX663" fmla="*/ 2382026 w 9922465"/>
              <a:gd name="connsiteY663" fmla="*/ 1635419 h 1934496"/>
              <a:gd name="connsiteX664" fmla="*/ 2437218 w 9922465"/>
              <a:gd name="connsiteY664" fmla="*/ 1580228 h 1934496"/>
              <a:gd name="connsiteX665" fmla="*/ 2303586 w 9922465"/>
              <a:gd name="connsiteY665" fmla="*/ 1580228 h 1934496"/>
              <a:gd name="connsiteX666" fmla="*/ 2358778 w 9922465"/>
              <a:gd name="connsiteY666" fmla="*/ 1635419 h 1934496"/>
              <a:gd name="connsiteX667" fmla="*/ 2303586 w 9922465"/>
              <a:gd name="connsiteY667" fmla="*/ 1690610 h 1934496"/>
              <a:gd name="connsiteX668" fmla="*/ 2248394 w 9922465"/>
              <a:gd name="connsiteY668" fmla="*/ 1635419 h 1934496"/>
              <a:gd name="connsiteX669" fmla="*/ 2303586 w 9922465"/>
              <a:gd name="connsiteY669" fmla="*/ 1580228 h 1934496"/>
              <a:gd name="connsiteX670" fmla="*/ 2173293 w 9922465"/>
              <a:gd name="connsiteY670" fmla="*/ 1580228 h 1934496"/>
              <a:gd name="connsiteX671" fmla="*/ 2228486 w 9922465"/>
              <a:gd name="connsiteY671" fmla="*/ 1635419 h 1934496"/>
              <a:gd name="connsiteX672" fmla="*/ 2173293 w 9922465"/>
              <a:gd name="connsiteY672" fmla="*/ 1690610 h 1934496"/>
              <a:gd name="connsiteX673" fmla="*/ 2118101 w 9922465"/>
              <a:gd name="connsiteY673" fmla="*/ 1635419 h 1934496"/>
              <a:gd name="connsiteX674" fmla="*/ 2173293 w 9922465"/>
              <a:gd name="connsiteY674" fmla="*/ 1580228 h 1934496"/>
              <a:gd name="connsiteX675" fmla="*/ 2039658 w 9922465"/>
              <a:gd name="connsiteY675" fmla="*/ 1580228 h 1934496"/>
              <a:gd name="connsiteX676" fmla="*/ 2094851 w 9922465"/>
              <a:gd name="connsiteY676" fmla="*/ 1635419 h 1934496"/>
              <a:gd name="connsiteX677" fmla="*/ 2039658 w 9922465"/>
              <a:gd name="connsiteY677" fmla="*/ 1690610 h 1934496"/>
              <a:gd name="connsiteX678" fmla="*/ 1984465 w 9922465"/>
              <a:gd name="connsiteY678" fmla="*/ 1635419 h 1934496"/>
              <a:gd name="connsiteX679" fmla="*/ 2039658 w 9922465"/>
              <a:gd name="connsiteY679" fmla="*/ 1580228 h 1934496"/>
              <a:gd name="connsiteX680" fmla="*/ 9068807 w 9922465"/>
              <a:gd name="connsiteY680" fmla="*/ 1459958 h 1934496"/>
              <a:gd name="connsiteX681" fmla="*/ 9123999 w 9922465"/>
              <a:gd name="connsiteY681" fmla="*/ 1515149 h 1934496"/>
              <a:gd name="connsiteX682" fmla="*/ 9068807 w 9922465"/>
              <a:gd name="connsiteY682" fmla="*/ 1570340 h 1934496"/>
              <a:gd name="connsiteX683" fmla="*/ 9013615 w 9922465"/>
              <a:gd name="connsiteY683" fmla="*/ 1515149 h 1934496"/>
              <a:gd name="connsiteX684" fmla="*/ 9068807 w 9922465"/>
              <a:gd name="connsiteY684" fmla="*/ 1459958 h 1934496"/>
              <a:gd name="connsiteX685" fmla="*/ 8671244 w 9922465"/>
              <a:gd name="connsiteY685" fmla="*/ 1459958 h 1934496"/>
              <a:gd name="connsiteX686" fmla="*/ 8726436 w 9922465"/>
              <a:gd name="connsiteY686" fmla="*/ 1515149 h 1934496"/>
              <a:gd name="connsiteX687" fmla="*/ 8671244 w 9922465"/>
              <a:gd name="connsiteY687" fmla="*/ 1570340 h 1934496"/>
              <a:gd name="connsiteX688" fmla="*/ 8616052 w 9922465"/>
              <a:gd name="connsiteY688" fmla="*/ 1515149 h 1934496"/>
              <a:gd name="connsiteX689" fmla="*/ 8671244 w 9922465"/>
              <a:gd name="connsiteY689" fmla="*/ 1459958 h 1934496"/>
              <a:gd name="connsiteX690" fmla="*/ 8537612 w 9922465"/>
              <a:gd name="connsiteY690" fmla="*/ 1459958 h 1934496"/>
              <a:gd name="connsiteX691" fmla="*/ 8592804 w 9922465"/>
              <a:gd name="connsiteY691" fmla="*/ 1515149 h 1934496"/>
              <a:gd name="connsiteX692" fmla="*/ 8537612 w 9922465"/>
              <a:gd name="connsiteY692" fmla="*/ 1570340 h 1934496"/>
              <a:gd name="connsiteX693" fmla="*/ 8482420 w 9922465"/>
              <a:gd name="connsiteY693" fmla="*/ 1515149 h 1934496"/>
              <a:gd name="connsiteX694" fmla="*/ 8537612 w 9922465"/>
              <a:gd name="connsiteY694" fmla="*/ 1459958 h 1934496"/>
              <a:gd name="connsiteX695" fmla="*/ 8407316 w 9922465"/>
              <a:gd name="connsiteY695" fmla="*/ 1459958 h 1934496"/>
              <a:gd name="connsiteX696" fmla="*/ 8462508 w 9922465"/>
              <a:gd name="connsiteY696" fmla="*/ 1515149 h 1934496"/>
              <a:gd name="connsiteX697" fmla="*/ 8407316 w 9922465"/>
              <a:gd name="connsiteY697" fmla="*/ 1570340 h 1934496"/>
              <a:gd name="connsiteX698" fmla="*/ 8352124 w 9922465"/>
              <a:gd name="connsiteY698" fmla="*/ 1515149 h 1934496"/>
              <a:gd name="connsiteX699" fmla="*/ 8407316 w 9922465"/>
              <a:gd name="connsiteY699" fmla="*/ 1459958 h 1934496"/>
              <a:gd name="connsiteX700" fmla="*/ 8273682 w 9922465"/>
              <a:gd name="connsiteY700" fmla="*/ 1459958 h 1934496"/>
              <a:gd name="connsiteX701" fmla="*/ 8328874 w 9922465"/>
              <a:gd name="connsiteY701" fmla="*/ 1515149 h 1934496"/>
              <a:gd name="connsiteX702" fmla="*/ 8273682 w 9922465"/>
              <a:gd name="connsiteY702" fmla="*/ 1570340 h 1934496"/>
              <a:gd name="connsiteX703" fmla="*/ 8218490 w 9922465"/>
              <a:gd name="connsiteY703" fmla="*/ 1515149 h 1934496"/>
              <a:gd name="connsiteX704" fmla="*/ 8273682 w 9922465"/>
              <a:gd name="connsiteY704" fmla="*/ 1459958 h 1934496"/>
              <a:gd name="connsiteX705" fmla="*/ 8143388 w 9922465"/>
              <a:gd name="connsiteY705" fmla="*/ 1459958 h 1934496"/>
              <a:gd name="connsiteX706" fmla="*/ 8198580 w 9922465"/>
              <a:gd name="connsiteY706" fmla="*/ 1515149 h 1934496"/>
              <a:gd name="connsiteX707" fmla="*/ 8143388 w 9922465"/>
              <a:gd name="connsiteY707" fmla="*/ 1570340 h 1934496"/>
              <a:gd name="connsiteX708" fmla="*/ 8088196 w 9922465"/>
              <a:gd name="connsiteY708" fmla="*/ 1515149 h 1934496"/>
              <a:gd name="connsiteX709" fmla="*/ 8143388 w 9922465"/>
              <a:gd name="connsiteY709" fmla="*/ 1459958 h 1934496"/>
              <a:gd name="connsiteX710" fmla="*/ 8009753 w 9922465"/>
              <a:gd name="connsiteY710" fmla="*/ 1459958 h 1934496"/>
              <a:gd name="connsiteX711" fmla="*/ 8064945 w 9922465"/>
              <a:gd name="connsiteY711" fmla="*/ 1515149 h 1934496"/>
              <a:gd name="connsiteX712" fmla="*/ 8009753 w 9922465"/>
              <a:gd name="connsiteY712" fmla="*/ 1570340 h 1934496"/>
              <a:gd name="connsiteX713" fmla="*/ 7954561 w 9922465"/>
              <a:gd name="connsiteY713" fmla="*/ 1515149 h 1934496"/>
              <a:gd name="connsiteX714" fmla="*/ 8009753 w 9922465"/>
              <a:gd name="connsiteY714" fmla="*/ 1459958 h 1934496"/>
              <a:gd name="connsiteX715" fmla="*/ 7876118 w 9922465"/>
              <a:gd name="connsiteY715" fmla="*/ 1459958 h 1934496"/>
              <a:gd name="connsiteX716" fmla="*/ 7931310 w 9922465"/>
              <a:gd name="connsiteY716" fmla="*/ 1515149 h 1934496"/>
              <a:gd name="connsiteX717" fmla="*/ 7876118 w 9922465"/>
              <a:gd name="connsiteY717" fmla="*/ 1570340 h 1934496"/>
              <a:gd name="connsiteX718" fmla="*/ 7820926 w 9922465"/>
              <a:gd name="connsiteY718" fmla="*/ 1515149 h 1934496"/>
              <a:gd name="connsiteX719" fmla="*/ 7876118 w 9922465"/>
              <a:gd name="connsiteY719" fmla="*/ 1459958 h 1934496"/>
              <a:gd name="connsiteX720" fmla="*/ 7745823 w 9922465"/>
              <a:gd name="connsiteY720" fmla="*/ 1459958 h 1934496"/>
              <a:gd name="connsiteX721" fmla="*/ 7801015 w 9922465"/>
              <a:gd name="connsiteY721" fmla="*/ 1515149 h 1934496"/>
              <a:gd name="connsiteX722" fmla="*/ 7745823 w 9922465"/>
              <a:gd name="connsiteY722" fmla="*/ 1570340 h 1934496"/>
              <a:gd name="connsiteX723" fmla="*/ 7690631 w 9922465"/>
              <a:gd name="connsiteY723" fmla="*/ 1515149 h 1934496"/>
              <a:gd name="connsiteX724" fmla="*/ 7745823 w 9922465"/>
              <a:gd name="connsiteY724" fmla="*/ 1459958 h 1934496"/>
              <a:gd name="connsiteX725" fmla="*/ 7608849 w 9922465"/>
              <a:gd name="connsiteY725" fmla="*/ 1459958 h 1934496"/>
              <a:gd name="connsiteX726" fmla="*/ 7664041 w 9922465"/>
              <a:gd name="connsiteY726" fmla="*/ 1515149 h 1934496"/>
              <a:gd name="connsiteX727" fmla="*/ 7608849 w 9922465"/>
              <a:gd name="connsiteY727" fmla="*/ 1570340 h 1934496"/>
              <a:gd name="connsiteX728" fmla="*/ 7553657 w 9922465"/>
              <a:gd name="connsiteY728" fmla="*/ 1515149 h 1934496"/>
              <a:gd name="connsiteX729" fmla="*/ 7608849 w 9922465"/>
              <a:gd name="connsiteY729" fmla="*/ 1459958 h 1934496"/>
              <a:gd name="connsiteX730" fmla="*/ 7481897 w 9922465"/>
              <a:gd name="connsiteY730" fmla="*/ 1459958 h 1934496"/>
              <a:gd name="connsiteX731" fmla="*/ 7537089 w 9922465"/>
              <a:gd name="connsiteY731" fmla="*/ 1515149 h 1934496"/>
              <a:gd name="connsiteX732" fmla="*/ 7481897 w 9922465"/>
              <a:gd name="connsiteY732" fmla="*/ 1570340 h 1934496"/>
              <a:gd name="connsiteX733" fmla="*/ 7426705 w 9922465"/>
              <a:gd name="connsiteY733" fmla="*/ 1515149 h 1934496"/>
              <a:gd name="connsiteX734" fmla="*/ 7481897 w 9922465"/>
              <a:gd name="connsiteY734" fmla="*/ 1459958 h 1934496"/>
              <a:gd name="connsiteX735" fmla="*/ 7341579 w 9922465"/>
              <a:gd name="connsiteY735" fmla="*/ 1459958 h 1934496"/>
              <a:gd name="connsiteX736" fmla="*/ 7396771 w 9922465"/>
              <a:gd name="connsiteY736" fmla="*/ 1515149 h 1934496"/>
              <a:gd name="connsiteX737" fmla="*/ 7341579 w 9922465"/>
              <a:gd name="connsiteY737" fmla="*/ 1570340 h 1934496"/>
              <a:gd name="connsiteX738" fmla="*/ 7286387 w 9922465"/>
              <a:gd name="connsiteY738" fmla="*/ 1515149 h 1934496"/>
              <a:gd name="connsiteX739" fmla="*/ 7341579 w 9922465"/>
              <a:gd name="connsiteY739" fmla="*/ 1459958 h 1934496"/>
              <a:gd name="connsiteX740" fmla="*/ 7211286 w 9922465"/>
              <a:gd name="connsiteY740" fmla="*/ 1459958 h 1934496"/>
              <a:gd name="connsiteX741" fmla="*/ 7266478 w 9922465"/>
              <a:gd name="connsiteY741" fmla="*/ 1515149 h 1934496"/>
              <a:gd name="connsiteX742" fmla="*/ 7211286 w 9922465"/>
              <a:gd name="connsiteY742" fmla="*/ 1570340 h 1934496"/>
              <a:gd name="connsiteX743" fmla="*/ 7156094 w 9922465"/>
              <a:gd name="connsiteY743" fmla="*/ 1515149 h 1934496"/>
              <a:gd name="connsiteX744" fmla="*/ 7211286 w 9922465"/>
              <a:gd name="connsiteY744" fmla="*/ 1459958 h 1934496"/>
              <a:gd name="connsiteX745" fmla="*/ 7080993 w 9922465"/>
              <a:gd name="connsiteY745" fmla="*/ 1459958 h 1934496"/>
              <a:gd name="connsiteX746" fmla="*/ 7136185 w 9922465"/>
              <a:gd name="connsiteY746" fmla="*/ 1515149 h 1934496"/>
              <a:gd name="connsiteX747" fmla="*/ 7080993 w 9922465"/>
              <a:gd name="connsiteY747" fmla="*/ 1570340 h 1934496"/>
              <a:gd name="connsiteX748" fmla="*/ 7025801 w 9922465"/>
              <a:gd name="connsiteY748" fmla="*/ 1515149 h 1934496"/>
              <a:gd name="connsiteX749" fmla="*/ 7080993 w 9922465"/>
              <a:gd name="connsiteY749" fmla="*/ 1459958 h 1934496"/>
              <a:gd name="connsiteX750" fmla="*/ 6947357 w 9922465"/>
              <a:gd name="connsiteY750" fmla="*/ 1459958 h 1934496"/>
              <a:gd name="connsiteX751" fmla="*/ 7002549 w 9922465"/>
              <a:gd name="connsiteY751" fmla="*/ 1515149 h 1934496"/>
              <a:gd name="connsiteX752" fmla="*/ 6947357 w 9922465"/>
              <a:gd name="connsiteY752" fmla="*/ 1570340 h 1934496"/>
              <a:gd name="connsiteX753" fmla="*/ 6892165 w 9922465"/>
              <a:gd name="connsiteY753" fmla="*/ 1515149 h 1934496"/>
              <a:gd name="connsiteX754" fmla="*/ 6947357 w 9922465"/>
              <a:gd name="connsiteY754" fmla="*/ 1459958 h 1934496"/>
              <a:gd name="connsiteX755" fmla="*/ 6817064 w 9922465"/>
              <a:gd name="connsiteY755" fmla="*/ 1459958 h 1934496"/>
              <a:gd name="connsiteX756" fmla="*/ 6872256 w 9922465"/>
              <a:gd name="connsiteY756" fmla="*/ 1515149 h 1934496"/>
              <a:gd name="connsiteX757" fmla="*/ 6817064 w 9922465"/>
              <a:gd name="connsiteY757" fmla="*/ 1570340 h 1934496"/>
              <a:gd name="connsiteX758" fmla="*/ 6761872 w 9922465"/>
              <a:gd name="connsiteY758" fmla="*/ 1515149 h 1934496"/>
              <a:gd name="connsiteX759" fmla="*/ 6817064 w 9922465"/>
              <a:gd name="connsiteY759" fmla="*/ 1459958 h 1934496"/>
              <a:gd name="connsiteX760" fmla="*/ 6683431 w 9922465"/>
              <a:gd name="connsiteY760" fmla="*/ 1459958 h 1934496"/>
              <a:gd name="connsiteX761" fmla="*/ 6738623 w 9922465"/>
              <a:gd name="connsiteY761" fmla="*/ 1515149 h 1934496"/>
              <a:gd name="connsiteX762" fmla="*/ 6683431 w 9922465"/>
              <a:gd name="connsiteY762" fmla="*/ 1570340 h 1934496"/>
              <a:gd name="connsiteX763" fmla="*/ 6628239 w 9922465"/>
              <a:gd name="connsiteY763" fmla="*/ 1515149 h 1934496"/>
              <a:gd name="connsiteX764" fmla="*/ 6683431 w 9922465"/>
              <a:gd name="connsiteY764" fmla="*/ 1459958 h 1934496"/>
              <a:gd name="connsiteX765" fmla="*/ 6553137 w 9922465"/>
              <a:gd name="connsiteY765" fmla="*/ 1459958 h 1934496"/>
              <a:gd name="connsiteX766" fmla="*/ 6608329 w 9922465"/>
              <a:gd name="connsiteY766" fmla="*/ 1515149 h 1934496"/>
              <a:gd name="connsiteX767" fmla="*/ 6553137 w 9922465"/>
              <a:gd name="connsiteY767" fmla="*/ 1570340 h 1934496"/>
              <a:gd name="connsiteX768" fmla="*/ 6497945 w 9922465"/>
              <a:gd name="connsiteY768" fmla="*/ 1515149 h 1934496"/>
              <a:gd name="connsiteX769" fmla="*/ 6553137 w 9922465"/>
              <a:gd name="connsiteY769" fmla="*/ 1459958 h 1934496"/>
              <a:gd name="connsiteX770" fmla="*/ 6419502 w 9922465"/>
              <a:gd name="connsiteY770" fmla="*/ 1459958 h 1934496"/>
              <a:gd name="connsiteX771" fmla="*/ 6474694 w 9922465"/>
              <a:gd name="connsiteY771" fmla="*/ 1515149 h 1934496"/>
              <a:gd name="connsiteX772" fmla="*/ 6419502 w 9922465"/>
              <a:gd name="connsiteY772" fmla="*/ 1570340 h 1934496"/>
              <a:gd name="connsiteX773" fmla="*/ 6364310 w 9922465"/>
              <a:gd name="connsiteY773" fmla="*/ 1515149 h 1934496"/>
              <a:gd name="connsiteX774" fmla="*/ 6419502 w 9922465"/>
              <a:gd name="connsiteY774" fmla="*/ 1459958 h 1934496"/>
              <a:gd name="connsiteX775" fmla="*/ 6289207 w 9922465"/>
              <a:gd name="connsiteY775" fmla="*/ 1459958 h 1934496"/>
              <a:gd name="connsiteX776" fmla="*/ 6344399 w 9922465"/>
              <a:gd name="connsiteY776" fmla="*/ 1515149 h 1934496"/>
              <a:gd name="connsiteX777" fmla="*/ 6289207 w 9922465"/>
              <a:gd name="connsiteY777" fmla="*/ 1570340 h 1934496"/>
              <a:gd name="connsiteX778" fmla="*/ 6234015 w 9922465"/>
              <a:gd name="connsiteY778" fmla="*/ 1515149 h 1934496"/>
              <a:gd name="connsiteX779" fmla="*/ 6289207 w 9922465"/>
              <a:gd name="connsiteY779" fmla="*/ 1459958 h 1934496"/>
              <a:gd name="connsiteX780" fmla="*/ 6155573 w 9922465"/>
              <a:gd name="connsiteY780" fmla="*/ 1459958 h 1934496"/>
              <a:gd name="connsiteX781" fmla="*/ 6210765 w 9922465"/>
              <a:gd name="connsiteY781" fmla="*/ 1515149 h 1934496"/>
              <a:gd name="connsiteX782" fmla="*/ 6155573 w 9922465"/>
              <a:gd name="connsiteY782" fmla="*/ 1570340 h 1934496"/>
              <a:gd name="connsiteX783" fmla="*/ 6100381 w 9922465"/>
              <a:gd name="connsiteY783" fmla="*/ 1515149 h 1934496"/>
              <a:gd name="connsiteX784" fmla="*/ 6155573 w 9922465"/>
              <a:gd name="connsiteY784" fmla="*/ 1459958 h 1934496"/>
              <a:gd name="connsiteX785" fmla="*/ 6021939 w 9922465"/>
              <a:gd name="connsiteY785" fmla="*/ 1459958 h 1934496"/>
              <a:gd name="connsiteX786" fmla="*/ 6077131 w 9922465"/>
              <a:gd name="connsiteY786" fmla="*/ 1515149 h 1934496"/>
              <a:gd name="connsiteX787" fmla="*/ 6021939 w 9922465"/>
              <a:gd name="connsiteY787" fmla="*/ 1570340 h 1934496"/>
              <a:gd name="connsiteX788" fmla="*/ 5966747 w 9922465"/>
              <a:gd name="connsiteY788" fmla="*/ 1515149 h 1934496"/>
              <a:gd name="connsiteX789" fmla="*/ 6021939 w 9922465"/>
              <a:gd name="connsiteY789" fmla="*/ 1459958 h 1934496"/>
              <a:gd name="connsiteX790" fmla="*/ 5884964 w 9922465"/>
              <a:gd name="connsiteY790" fmla="*/ 1459958 h 1934496"/>
              <a:gd name="connsiteX791" fmla="*/ 5940156 w 9922465"/>
              <a:gd name="connsiteY791" fmla="*/ 1515149 h 1934496"/>
              <a:gd name="connsiteX792" fmla="*/ 5884964 w 9922465"/>
              <a:gd name="connsiteY792" fmla="*/ 1570340 h 1934496"/>
              <a:gd name="connsiteX793" fmla="*/ 5829772 w 9922465"/>
              <a:gd name="connsiteY793" fmla="*/ 1515149 h 1934496"/>
              <a:gd name="connsiteX794" fmla="*/ 5884964 w 9922465"/>
              <a:gd name="connsiteY794" fmla="*/ 1459958 h 1934496"/>
              <a:gd name="connsiteX795" fmla="*/ 5754668 w 9922465"/>
              <a:gd name="connsiteY795" fmla="*/ 1459958 h 1934496"/>
              <a:gd name="connsiteX796" fmla="*/ 5809860 w 9922465"/>
              <a:gd name="connsiteY796" fmla="*/ 1515149 h 1934496"/>
              <a:gd name="connsiteX797" fmla="*/ 5754668 w 9922465"/>
              <a:gd name="connsiteY797" fmla="*/ 1570340 h 1934496"/>
              <a:gd name="connsiteX798" fmla="*/ 5699476 w 9922465"/>
              <a:gd name="connsiteY798" fmla="*/ 1515149 h 1934496"/>
              <a:gd name="connsiteX799" fmla="*/ 5754668 w 9922465"/>
              <a:gd name="connsiteY799" fmla="*/ 1459958 h 1934496"/>
              <a:gd name="connsiteX800" fmla="*/ 5621034 w 9922465"/>
              <a:gd name="connsiteY800" fmla="*/ 1459958 h 1934496"/>
              <a:gd name="connsiteX801" fmla="*/ 5676226 w 9922465"/>
              <a:gd name="connsiteY801" fmla="*/ 1515149 h 1934496"/>
              <a:gd name="connsiteX802" fmla="*/ 5621034 w 9922465"/>
              <a:gd name="connsiteY802" fmla="*/ 1570340 h 1934496"/>
              <a:gd name="connsiteX803" fmla="*/ 5565842 w 9922465"/>
              <a:gd name="connsiteY803" fmla="*/ 1515149 h 1934496"/>
              <a:gd name="connsiteX804" fmla="*/ 5621034 w 9922465"/>
              <a:gd name="connsiteY804" fmla="*/ 1459958 h 1934496"/>
              <a:gd name="connsiteX805" fmla="*/ 5487399 w 9922465"/>
              <a:gd name="connsiteY805" fmla="*/ 1459958 h 1934496"/>
              <a:gd name="connsiteX806" fmla="*/ 5542591 w 9922465"/>
              <a:gd name="connsiteY806" fmla="*/ 1515149 h 1934496"/>
              <a:gd name="connsiteX807" fmla="*/ 5487399 w 9922465"/>
              <a:gd name="connsiteY807" fmla="*/ 1570340 h 1934496"/>
              <a:gd name="connsiteX808" fmla="*/ 5432207 w 9922465"/>
              <a:gd name="connsiteY808" fmla="*/ 1515149 h 1934496"/>
              <a:gd name="connsiteX809" fmla="*/ 5487399 w 9922465"/>
              <a:gd name="connsiteY809" fmla="*/ 1459958 h 1934496"/>
              <a:gd name="connsiteX810" fmla="*/ 5357106 w 9922465"/>
              <a:gd name="connsiteY810" fmla="*/ 1459958 h 1934496"/>
              <a:gd name="connsiteX811" fmla="*/ 5412298 w 9922465"/>
              <a:gd name="connsiteY811" fmla="*/ 1515149 h 1934496"/>
              <a:gd name="connsiteX812" fmla="*/ 5357106 w 9922465"/>
              <a:gd name="connsiteY812" fmla="*/ 1570340 h 1934496"/>
              <a:gd name="connsiteX813" fmla="*/ 5301914 w 9922465"/>
              <a:gd name="connsiteY813" fmla="*/ 1515149 h 1934496"/>
              <a:gd name="connsiteX814" fmla="*/ 5357106 w 9922465"/>
              <a:gd name="connsiteY814" fmla="*/ 1459958 h 1934496"/>
              <a:gd name="connsiteX815" fmla="*/ 5223473 w 9922465"/>
              <a:gd name="connsiteY815" fmla="*/ 1459958 h 1934496"/>
              <a:gd name="connsiteX816" fmla="*/ 5278665 w 9922465"/>
              <a:gd name="connsiteY816" fmla="*/ 1515149 h 1934496"/>
              <a:gd name="connsiteX817" fmla="*/ 5223473 w 9922465"/>
              <a:gd name="connsiteY817" fmla="*/ 1570340 h 1934496"/>
              <a:gd name="connsiteX818" fmla="*/ 5168281 w 9922465"/>
              <a:gd name="connsiteY818" fmla="*/ 1515149 h 1934496"/>
              <a:gd name="connsiteX819" fmla="*/ 5223473 w 9922465"/>
              <a:gd name="connsiteY819" fmla="*/ 1459958 h 1934496"/>
              <a:gd name="connsiteX820" fmla="*/ 5093178 w 9922465"/>
              <a:gd name="connsiteY820" fmla="*/ 1459958 h 1934496"/>
              <a:gd name="connsiteX821" fmla="*/ 5148370 w 9922465"/>
              <a:gd name="connsiteY821" fmla="*/ 1515149 h 1934496"/>
              <a:gd name="connsiteX822" fmla="*/ 5093178 w 9922465"/>
              <a:gd name="connsiteY822" fmla="*/ 1570340 h 1934496"/>
              <a:gd name="connsiteX823" fmla="*/ 5037986 w 9922465"/>
              <a:gd name="connsiteY823" fmla="*/ 1515149 h 1934496"/>
              <a:gd name="connsiteX824" fmla="*/ 5093178 w 9922465"/>
              <a:gd name="connsiteY824" fmla="*/ 1459958 h 1934496"/>
              <a:gd name="connsiteX825" fmla="*/ 4959542 w 9922465"/>
              <a:gd name="connsiteY825" fmla="*/ 1459958 h 1934496"/>
              <a:gd name="connsiteX826" fmla="*/ 5014734 w 9922465"/>
              <a:gd name="connsiteY826" fmla="*/ 1515149 h 1934496"/>
              <a:gd name="connsiteX827" fmla="*/ 4959542 w 9922465"/>
              <a:gd name="connsiteY827" fmla="*/ 1570340 h 1934496"/>
              <a:gd name="connsiteX828" fmla="*/ 4904350 w 9922465"/>
              <a:gd name="connsiteY828" fmla="*/ 1515149 h 1934496"/>
              <a:gd name="connsiteX829" fmla="*/ 4959542 w 9922465"/>
              <a:gd name="connsiteY829" fmla="*/ 1459958 h 1934496"/>
              <a:gd name="connsiteX830" fmla="*/ 4829250 w 9922465"/>
              <a:gd name="connsiteY830" fmla="*/ 1459958 h 1934496"/>
              <a:gd name="connsiteX831" fmla="*/ 4884442 w 9922465"/>
              <a:gd name="connsiteY831" fmla="*/ 1515149 h 1934496"/>
              <a:gd name="connsiteX832" fmla="*/ 4829250 w 9922465"/>
              <a:gd name="connsiteY832" fmla="*/ 1570340 h 1934496"/>
              <a:gd name="connsiteX833" fmla="*/ 4774058 w 9922465"/>
              <a:gd name="connsiteY833" fmla="*/ 1515149 h 1934496"/>
              <a:gd name="connsiteX834" fmla="*/ 4829250 w 9922465"/>
              <a:gd name="connsiteY834" fmla="*/ 1459958 h 1934496"/>
              <a:gd name="connsiteX835" fmla="*/ 4695614 w 9922465"/>
              <a:gd name="connsiteY835" fmla="*/ 1459958 h 1934496"/>
              <a:gd name="connsiteX836" fmla="*/ 4750806 w 9922465"/>
              <a:gd name="connsiteY836" fmla="*/ 1515149 h 1934496"/>
              <a:gd name="connsiteX837" fmla="*/ 4695614 w 9922465"/>
              <a:gd name="connsiteY837" fmla="*/ 1570340 h 1934496"/>
              <a:gd name="connsiteX838" fmla="*/ 4640422 w 9922465"/>
              <a:gd name="connsiteY838" fmla="*/ 1515149 h 1934496"/>
              <a:gd name="connsiteX839" fmla="*/ 4695614 w 9922465"/>
              <a:gd name="connsiteY839" fmla="*/ 1459958 h 1934496"/>
              <a:gd name="connsiteX840" fmla="*/ 4565322 w 9922465"/>
              <a:gd name="connsiteY840" fmla="*/ 1459958 h 1934496"/>
              <a:gd name="connsiteX841" fmla="*/ 4620514 w 9922465"/>
              <a:gd name="connsiteY841" fmla="*/ 1515149 h 1934496"/>
              <a:gd name="connsiteX842" fmla="*/ 4565322 w 9922465"/>
              <a:gd name="connsiteY842" fmla="*/ 1570340 h 1934496"/>
              <a:gd name="connsiteX843" fmla="*/ 4510130 w 9922465"/>
              <a:gd name="connsiteY843" fmla="*/ 1515149 h 1934496"/>
              <a:gd name="connsiteX844" fmla="*/ 4565322 w 9922465"/>
              <a:gd name="connsiteY844" fmla="*/ 1459958 h 1934496"/>
              <a:gd name="connsiteX845" fmla="*/ 4431687 w 9922465"/>
              <a:gd name="connsiteY845" fmla="*/ 1459958 h 1934496"/>
              <a:gd name="connsiteX846" fmla="*/ 4486879 w 9922465"/>
              <a:gd name="connsiteY846" fmla="*/ 1515149 h 1934496"/>
              <a:gd name="connsiteX847" fmla="*/ 4431687 w 9922465"/>
              <a:gd name="connsiteY847" fmla="*/ 1570340 h 1934496"/>
              <a:gd name="connsiteX848" fmla="*/ 4376495 w 9922465"/>
              <a:gd name="connsiteY848" fmla="*/ 1515149 h 1934496"/>
              <a:gd name="connsiteX849" fmla="*/ 4431687 w 9922465"/>
              <a:gd name="connsiteY849" fmla="*/ 1459958 h 1934496"/>
              <a:gd name="connsiteX850" fmla="*/ 3098681 w 9922465"/>
              <a:gd name="connsiteY850" fmla="*/ 1459958 h 1934496"/>
              <a:gd name="connsiteX851" fmla="*/ 3153873 w 9922465"/>
              <a:gd name="connsiteY851" fmla="*/ 1515149 h 1934496"/>
              <a:gd name="connsiteX852" fmla="*/ 3098681 w 9922465"/>
              <a:gd name="connsiteY852" fmla="*/ 1570340 h 1934496"/>
              <a:gd name="connsiteX853" fmla="*/ 3043489 w 9922465"/>
              <a:gd name="connsiteY853" fmla="*/ 1515149 h 1934496"/>
              <a:gd name="connsiteX854" fmla="*/ 3098681 w 9922465"/>
              <a:gd name="connsiteY854" fmla="*/ 1459958 h 1934496"/>
              <a:gd name="connsiteX855" fmla="*/ 2971729 w 9922465"/>
              <a:gd name="connsiteY855" fmla="*/ 1459958 h 1934496"/>
              <a:gd name="connsiteX856" fmla="*/ 3026921 w 9922465"/>
              <a:gd name="connsiteY856" fmla="*/ 1515149 h 1934496"/>
              <a:gd name="connsiteX857" fmla="*/ 2971729 w 9922465"/>
              <a:gd name="connsiteY857" fmla="*/ 1570340 h 1934496"/>
              <a:gd name="connsiteX858" fmla="*/ 2916537 w 9922465"/>
              <a:gd name="connsiteY858" fmla="*/ 1515149 h 1934496"/>
              <a:gd name="connsiteX859" fmla="*/ 2971729 w 9922465"/>
              <a:gd name="connsiteY859" fmla="*/ 1459958 h 1934496"/>
              <a:gd name="connsiteX860" fmla="*/ 2834792 w 9922465"/>
              <a:gd name="connsiteY860" fmla="*/ 1459958 h 1934496"/>
              <a:gd name="connsiteX861" fmla="*/ 2889984 w 9922465"/>
              <a:gd name="connsiteY861" fmla="*/ 1515149 h 1934496"/>
              <a:gd name="connsiteX862" fmla="*/ 2834792 w 9922465"/>
              <a:gd name="connsiteY862" fmla="*/ 1570340 h 1934496"/>
              <a:gd name="connsiteX863" fmla="*/ 2779600 w 9922465"/>
              <a:gd name="connsiteY863" fmla="*/ 1515149 h 1934496"/>
              <a:gd name="connsiteX864" fmla="*/ 2834792 w 9922465"/>
              <a:gd name="connsiteY864" fmla="*/ 1459958 h 1934496"/>
              <a:gd name="connsiteX865" fmla="*/ 2707839 w 9922465"/>
              <a:gd name="connsiteY865" fmla="*/ 1459958 h 1934496"/>
              <a:gd name="connsiteX866" fmla="*/ 2763031 w 9922465"/>
              <a:gd name="connsiteY866" fmla="*/ 1515149 h 1934496"/>
              <a:gd name="connsiteX867" fmla="*/ 2707839 w 9922465"/>
              <a:gd name="connsiteY867" fmla="*/ 1570340 h 1934496"/>
              <a:gd name="connsiteX868" fmla="*/ 2652646 w 9922465"/>
              <a:gd name="connsiteY868" fmla="*/ 1515149 h 1934496"/>
              <a:gd name="connsiteX869" fmla="*/ 2707839 w 9922465"/>
              <a:gd name="connsiteY869" fmla="*/ 1459958 h 1934496"/>
              <a:gd name="connsiteX870" fmla="*/ 2570864 w 9922465"/>
              <a:gd name="connsiteY870" fmla="*/ 1459958 h 1934496"/>
              <a:gd name="connsiteX871" fmla="*/ 2626056 w 9922465"/>
              <a:gd name="connsiteY871" fmla="*/ 1515149 h 1934496"/>
              <a:gd name="connsiteX872" fmla="*/ 2570864 w 9922465"/>
              <a:gd name="connsiteY872" fmla="*/ 1570340 h 1934496"/>
              <a:gd name="connsiteX873" fmla="*/ 2515671 w 9922465"/>
              <a:gd name="connsiteY873" fmla="*/ 1515149 h 1934496"/>
              <a:gd name="connsiteX874" fmla="*/ 2570864 w 9922465"/>
              <a:gd name="connsiteY874" fmla="*/ 1459958 h 1934496"/>
              <a:gd name="connsiteX875" fmla="*/ 2437228 w 9922465"/>
              <a:gd name="connsiteY875" fmla="*/ 1459958 h 1934496"/>
              <a:gd name="connsiteX876" fmla="*/ 2492419 w 9922465"/>
              <a:gd name="connsiteY876" fmla="*/ 1515149 h 1934496"/>
              <a:gd name="connsiteX877" fmla="*/ 2437228 w 9922465"/>
              <a:gd name="connsiteY877" fmla="*/ 1570340 h 1934496"/>
              <a:gd name="connsiteX878" fmla="*/ 2382037 w 9922465"/>
              <a:gd name="connsiteY878" fmla="*/ 1515149 h 1934496"/>
              <a:gd name="connsiteX879" fmla="*/ 2437228 w 9922465"/>
              <a:gd name="connsiteY879" fmla="*/ 1459958 h 1934496"/>
              <a:gd name="connsiteX880" fmla="*/ 2303596 w 9922465"/>
              <a:gd name="connsiteY880" fmla="*/ 1459958 h 1934496"/>
              <a:gd name="connsiteX881" fmla="*/ 2358787 w 9922465"/>
              <a:gd name="connsiteY881" fmla="*/ 1515149 h 1934496"/>
              <a:gd name="connsiteX882" fmla="*/ 2303596 w 9922465"/>
              <a:gd name="connsiteY882" fmla="*/ 1570340 h 1934496"/>
              <a:gd name="connsiteX883" fmla="*/ 2248404 w 9922465"/>
              <a:gd name="connsiteY883" fmla="*/ 1515149 h 1934496"/>
              <a:gd name="connsiteX884" fmla="*/ 2303596 w 9922465"/>
              <a:gd name="connsiteY884" fmla="*/ 1459958 h 1934496"/>
              <a:gd name="connsiteX885" fmla="*/ 2173305 w 9922465"/>
              <a:gd name="connsiteY885" fmla="*/ 1459958 h 1934496"/>
              <a:gd name="connsiteX886" fmla="*/ 2228497 w 9922465"/>
              <a:gd name="connsiteY886" fmla="*/ 1515149 h 1934496"/>
              <a:gd name="connsiteX887" fmla="*/ 2173305 w 9922465"/>
              <a:gd name="connsiteY887" fmla="*/ 1570340 h 1934496"/>
              <a:gd name="connsiteX888" fmla="*/ 2118111 w 9922465"/>
              <a:gd name="connsiteY888" fmla="*/ 1515149 h 1934496"/>
              <a:gd name="connsiteX889" fmla="*/ 2173305 w 9922465"/>
              <a:gd name="connsiteY889" fmla="*/ 1459958 h 1934496"/>
              <a:gd name="connsiteX890" fmla="*/ 2039668 w 9922465"/>
              <a:gd name="connsiteY890" fmla="*/ 1459958 h 1934496"/>
              <a:gd name="connsiteX891" fmla="*/ 2094860 w 9922465"/>
              <a:gd name="connsiteY891" fmla="*/ 1515149 h 1934496"/>
              <a:gd name="connsiteX892" fmla="*/ 2039668 w 9922465"/>
              <a:gd name="connsiteY892" fmla="*/ 1570340 h 1934496"/>
              <a:gd name="connsiteX893" fmla="*/ 1984475 w 9922465"/>
              <a:gd name="connsiteY893" fmla="*/ 1515149 h 1934496"/>
              <a:gd name="connsiteX894" fmla="*/ 2039668 w 9922465"/>
              <a:gd name="connsiteY894" fmla="*/ 1459958 h 1934496"/>
              <a:gd name="connsiteX895" fmla="*/ 1909371 w 9922465"/>
              <a:gd name="connsiteY895" fmla="*/ 1459958 h 1934496"/>
              <a:gd name="connsiteX896" fmla="*/ 1964564 w 9922465"/>
              <a:gd name="connsiteY896" fmla="*/ 1515149 h 1934496"/>
              <a:gd name="connsiteX897" fmla="*/ 1909371 w 9922465"/>
              <a:gd name="connsiteY897" fmla="*/ 1570340 h 1934496"/>
              <a:gd name="connsiteX898" fmla="*/ 1854178 w 9922465"/>
              <a:gd name="connsiteY898" fmla="*/ 1515149 h 1934496"/>
              <a:gd name="connsiteX899" fmla="*/ 1909371 w 9922465"/>
              <a:gd name="connsiteY899" fmla="*/ 1459958 h 1934496"/>
              <a:gd name="connsiteX900" fmla="*/ 1779076 w 9922465"/>
              <a:gd name="connsiteY900" fmla="*/ 1459958 h 1934496"/>
              <a:gd name="connsiteX901" fmla="*/ 1834269 w 9922465"/>
              <a:gd name="connsiteY901" fmla="*/ 1515149 h 1934496"/>
              <a:gd name="connsiteX902" fmla="*/ 1779076 w 9922465"/>
              <a:gd name="connsiteY902" fmla="*/ 1570340 h 1934496"/>
              <a:gd name="connsiteX903" fmla="*/ 1723884 w 9922465"/>
              <a:gd name="connsiteY903" fmla="*/ 1515149 h 1934496"/>
              <a:gd name="connsiteX904" fmla="*/ 1779076 w 9922465"/>
              <a:gd name="connsiteY904" fmla="*/ 1459958 h 1934496"/>
              <a:gd name="connsiteX905" fmla="*/ 1645440 w 9922465"/>
              <a:gd name="connsiteY905" fmla="*/ 1459958 h 1934496"/>
              <a:gd name="connsiteX906" fmla="*/ 1700637 w 9922465"/>
              <a:gd name="connsiteY906" fmla="*/ 1515149 h 1934496"/>
              <a:gd name="connsiteX907" fmla="*/ 1645440 w 9922465"/>
              <a:gd name="connsiteY907" fmla="*/ 1570340 h 1934496"/>
              <a:gd name="connsiteX908" fmla="*/ 1590248 w 9922465"/>
              <a:gd name="connsiteY908" fmla="*/ 1515149 h 1934496"/>
              <a:gd name="connsiteX909" fmla="*/ 1645440 w 9922465"/>
              <a:gd name="connsiteY909" fmla="*/ 1459958 h 1934496"/>
              <a:gd name="connsiteX910" fmla="*/ 1515149 w 9922465"/>
              <a:gd name="connsiteY910" fmla="*/ 1459958 h 1934496"/>
              <a:gd name="connsiteX911" fmla="*/ 1570338 w 9922465"/>
              <a:gd name="connsiteY911" fmla="*/ 1515149 h 1934496"/>
              <a:gd name="connsiteX912" fmla="*/ 1515149 w 9922465"/>
              <a:gd name="connsiteY912" fmla="*/ 1570340 h 1934496"/>
              <a:gd name="connsiteX913" fmla="*/ 1459956 w 9922465"/>
              <a:gd name="connsiteY913" fmla="*/ 1515149 h 1934496"/>
              <a:gd name="connsiteX914" fmla="*/ 1515149 w 9922465"/>
              <a:gd name="connsiteY914" fmla="*/ 1459958 h 1934496"/>
              <a:gd name="connsiteX915" fmla="*/ 1381511 w 9922465"/>
              <a:gd name="connsiteY915" fmla="*/ 1459958 h 1934496"/>
              <a:gd name="connsiteX916" fmla="*/ 1436705 w 9922465"/>
              <a:gd name="connsiteY916" fmla="*/ 1515149 h 1934496"/>
              <a:gd name="connsiteX917" fmla="*/ 1381511 w 9922465"/>
              <a:gd name="connsiteY917" fmla="*/ 1570340 h 1934496"/>
              <a:gd name="connsiteX918" fmla="*/ 1326322 w 9922465"/>
              <a:gd name="connsiteY918" fmla="*/ 1515149 h 1934496"/>
              <a:gd name="connsiteX919" fmla="*/ 1381511 w 9922465"/>
              <a:gd name="connsiteY919" fmla="*/ 1459958 h 1934496"/>
              <a:gd name="connsiteX920" fmla="*/ 1251220 w 9922465"/>
              <a:gd name="connsiteY920" fmla="*/ 1459958 h 1934496"/>
              <a:gd name="connsiteX921" fmla="*/ 1306413 w 9922465"/>
              <a:gd name="connsiteY921" fmla="*/ 1515149 h 1934496"/>
              <a:gd name="connsiteX922" fmla="*/ 1251220 w 9922465"/>
              <a:gd name="connsiteY922" fmla="*/ 1570340 h 1934496"/>
              <a:gd name="connsiteX923" fmla="*/ 1196028 w 9922465"/>
              <a:gd name="connsiteY923" fmla="*/ 1515149 h 1934496"/>
              <a:gd name="connsiteX924" fmla="*/ 1251220 w 9922465"/>
              <a:gd name="connsiteY924" fmla="*/ 1459958 h 1934496"/>
              <a:gd name="connsiteX925" fmla="*/ 1117583 w 9922465"/>
              <a:gd name="connsiteY925" fmla="*/ 1459958 h 1934496"/>
              <a:gd name="connsiteX926" fmla="*/ 1172776 w 9922465"/>
              <a:gd name="connsiteY926" fmla="*/ 1515149 h 1934496"/>
              <a:gd name="connsiteX927" fmla="*/ 1117583 w 9922465"/>
              <a:gd name="connsiteY927" fmla="*/ 1570340 h 1934496"/>
              <a:gd name="connsiteX928" fmla="*/ 1062390 w 9922465"/>
              <a:gd name="connsiteY928" fmla="*/ 1515149 h 1934496"/>
              <a:gd name="connsiteX929" fmla="*/ 1117583 w 9922465"/>
              <a:gd name="connsiteY929" fmla="*/ 1459958 h 1934496"/>
              <a:gd name="connsiteX930" fmla="*/ 980607 w 9922465"/>
              <a:gd name="connsiteY930" fmla="*/ 1459958 h 1934496"/>
              <a:gd name="connsiteX931" fmla="*/ 1035800 w 9922465"/>
              <a:gd name="connsiteY931" fmla="*/ 1515149 h 1934496"/>
              <a:gd name="connsiteX932" fmla="*/ 980607 w 9922465"/>
              <a:gd name="connsiteY932" fmla="*/ 1570340 h 1934496"/>
              <a:gd name="connsiteX933" fmla="*/ 925415 w 9922465"/>
              <a:gd name="connsiteY933" fmla="*/ 1515149 h 1934496"/>
              <a:gd name="connsiteX934" fmla="*/ 980607 w 9922465"/>
              <a:gd name="connsiteY934" fmla="*/ 1459958 h 1934496"/>
              <a:gd name="connsiteX935" fmla="*/ 7608849 w 9922465"/>
              <a:gd name="connsiteY935" fmla="*/ 1336350 h 1934496"/>
              <a:gd name="connsiteX936" fmla="*/ 7664041 w 9922465"/>
              <a:gd name="connsiteY936" fmla="*/ 1391541 h 1934496"/>
              <a:gd name="connsiteX937" fmla="*/ 7608849 w 9922465"/>
              <a:gd name="connsiteY937" fmla="*/ 1446732 h 1934496"/>
              <a:gd name="connsiteX938" fmla="*/ 7553657 w 9922465"/>
              <a:gd name="connsiteY938" fmla="*/ 1391541 h 1934496"/>
              <a:gd name="connsiteX939" fmla="*/ 7608849 w 9922465"/>
              <a:gd name="connsiteY939" fmla="*/ 1336350 h 1934496"/>
              <a:gd name="connsiteX940" fmla="*/ 7481897 w 9922465"/>
              <a:gd name="connsiteY940" fmla="*/ 1336350 h 1934496"/>
              <a:gd name="connsiteX941" fmla="*/ 7537089 w 9922465"/>
              <a:gd name="connsiteY941" fmla="*/ 1391541 h 1934496"/>
              <a:gd name="connsiteX942" fmla="*/ 7481897 w 9922465"/>
              <a:gd name="connsiteY942" fmla="*/ 1446732 h 1934496"/>
              <a:gd name="connsiteX943" fmla="*/ 7426705 w 9922465"/>
              <a:gd name="connsiteY943" fmla="*/ 1391541 h 1934496"/>
              <a:gd name="connsiteX944" fmla="*/ 7481897 w 9922465"/>
              <a:gd name="connsiteY944" fmla="*/ 1336350 h 1934496"/>
              <a:gd name="connsiteX945" fmla="*/ 7341579 w 9922465"/>
              <a:gd name="connsiteY945" fmla="*/ 1336350 h 1934496"/>
              <a:gd name="connsiteX946" fmla="*/ 7396771 w 9922465"/>
              <a:gd name="connsiteY946" fmla="*/ 1391541 h 1934496"/>
              <a:gd name="connsiteX947" fmla="*/ 7341579 w 9922465"/>
              <a:gd name="connsiteY947" fmla="*/ 1446732 h 1934496"/>
              <a:gd name="connsiteX948" fmla="*/ 7286387 w 9922465"/>
              <a:gd name="connsiteY948" fmla="*/ 1391541 h 1934496"/>
              <a:gd name="connsiteX949" fmla="*/ 7341579 w 9922465"/>
              <a:gd name="connsiteY949" fmla="*/ 1336350 h 1934496"/>
              <a:gd name="connsiteX950" fmla="*/ 7211286 w 9922465"/>
              <a:gd name="connsiteY950" fmla="*/ 1336350 h 1934496"/>
              <a:gd name="connsiteX951" fmla="*/ 7266478 w 9922465"/>
              <a:gd name="connsiteY951" fmla="*/ 1391541 h 1934496"/>
              <a:gd name="connsiteX952" fmla="*/ 7211286 w 9922465"/>
              <a:gd name="connsiteY952" fmla="*/ 1446732 h 1934496"/>
              <a:gd name="connsiteX953" fmla="*/ 7156094 w 9922465"/>
              <a:gd name="connsiteY953" fmla="*/ 1391541 h 1934496"/>
              <a:gd name="connsiteX954" fmla="*/ 7211286 w 9922465"/>
              <a:gd name="connsiteY954" fmla="*/ 1336350 h 1934496"/>
              <a:gd name="connsiteX955" fmla="*/ 7080993 w 9922465"/>
              <a:gd name="connsiteY955" fmla="*/ 1336350 h 1934496"/>
              <a:gd name="connsiteX956" fmla="*/ 7136185 w 9922465"/>
              <a:gd name="connsiteY956" fmla="*/ 1391541 h 1934496"/>
              <a:gd name="connsiteX957" fmla="*/ 7080993 w 9922465"/>
              <a:gd name="connsiteY957" fmla="*/ 1446732 h 1934496"/>
              <a:gd name="connsiteX958" fmla="*/ 7025801 w 9922465"/>
              <a:gd name="connsiteY958" fmla="*/ 1391541 h 1934496"/>
              <a:gd name="connsiteX959" fmla="*/ 7080993 w 9922465"/>
              <a:gd name="connsiteY959" fmla="*/ 1336350 h 1934496"/>
              <a:gd name="connsiteX960" fmla="*/ 6947357 w 9922465"/>
              <a:gd name="connsiteY960" fmla="*/ 1336350 h 1934496"/>
              <a:gd name="connsiteX961" fmla="*/ 7002549 w 9922465"/>
              <a:gd name="connsiteY961" fmla="*/ 1391541 h 1934496"/>
              <a:gd name="connsiteX962" fmla="*/ 6947357 w 9922465"/>
              <a:gd name="connsiteY962" fmla="*/ 1446732 h 1934496"/>
              <a:gd name="connsiteX963" fmla="*/ 6892165 w 9922465"/>
              <a:gd name="connsiteY963" fmla="*/ 1391541 h 1934496"/>
              <a:gd name="connsiteX964" fmla="*/ 6947357 w 9922465"/>
              <a:gd name="connsiteY964" fmla="*/ 1336350 h 1934496"/>
              <a:gd name="connsiteX965" fmla="*/ 6817064 w 9922465"/>
              <a:gd name="connsiteY965" fmla="*/ 1336350 h 1934496"/>
              <a:gd name="connsiteX966" fmla="*/ 6872256 w 9922465"/>
              <a:gd name="connsiteY966" fmla="*/ 1391541 h 1934496"/>
              <a:gd name="connsiteX967" fmla="*/ 6817064 w 9922465"/>
              <a:gd name="connsiteY967" fmla="*/ 1446732 h 1934496"/>
              <a:gd name="connsiteX968" fmla="*/ 6761872 w 9922465"/>
              <a:gd name="connsiteY968" fmla="*/ 1391541 h 1934496"/>
              <a:gd name="connsiteX969" fmla="*/ 6817064 w 9922465"/>
              <a:gd name="connsiteY969" fmla="*/ 1336350 h 1934496"/>
              <a:gd name="connsiteX970" fmla="*/ 6683431 w 9922465"/>
              <a:gd name="connsiteY970" fmla="*/ 1336350 h 1934496"/>
              <a:gd name="connsiteX971" fmla="*/ 6738623 w 9922465"/>
              <a:gd name="connsiteY971" fmla="*/ 1391541 h 1934496"/>
              <a:gd name="connsiteX972" fmla="*/ 6683431 w 9922465"/>
              <a:gd name="connsiteY972" fmla="*/ 1446732 h 1934496"/>
              <a:gd name="connsiteX973" fmla="*/ 6628239 w 9922465"/>
              <a:gd name="connsiteY973" fmla="*/ 1391541 h 1934496"/>
              <a:gd name="connsiteX974" fmla="*/ 6683431 w 9922465"/>
              <a:gd name="connsiteY974" fmla="*/ 1336350 h 1934496"/>
              <a:gd name="connsiteX975" fmla="*/ 6553137 w 9922465"/>
              <a:gd name="connsiteY975" fmla="*/ 1336350 h 1934496"/>
              <a:gd name="connsiteX976" fmla="*/ 6608329 w 9922465"/>
              <a:gd name="connsiteY976" fmla="*/ 1391541 h 1934496"/>
              <a:gd name="connsiteX977" fmla="*/ 6553137 w 9922465"/>
              <a:gd name="connsiteY977" fmla="*/ 1446732 h 1934496"/>
              <a:gd name="connsiteX978" fmla="*/ 6497945 w 9922465"/>
              <a:gd name="connsiteY978" fmla="*/ 1391541 h 1934496"/>
              <a:gd name="connsiteX979" fmla="*/ 6553137 w 9922465"/>
              <a:gd name="connsiteY979" fmla="*/ 1336350 h 1934496"/>
              <a:gd name="connsiteX980" fmla="*/ 6419502 w 9922465"/>
              <a:gd name="connsiteY980" fmla="*/ 1336350 h 1934496"/>
              <a:gd name="connsiteX981" fmla="*/ 6474694 w 9922465"/>
              <a:gd name="connsiteY981" fmla="*/ 1391541 h 1934496"/>
              <a:gd name="connsiteX982" fmla="*/ 6419502 w 9922465"/>
              <a:gd name="connsiteY982" fmla="*/ 1446732 h 1934496"/>
              <a:gd name="connsiteX983" fmla="*/ 6364310 w 9922465"/>
              <a:gd name="connsiteY983" fmla="*/ 1391541 h 1934496"/>
              <a:gd name="connsiteX984" fmla="*/ 6419502 w 9922465"/>
              <a:gd name="connsiteY984" fmla="*/ 1336350 h 1934496"/>
              <a:gd name="connsiteX985" fmla="*/ 6289207 w 9922465"/>
              <a:gd name="connsiteY985" fmla="*/ 1336350 h 1934496"/>
              <a:gd name="connsiteX986" fmla="*/ 6344399 w 9922465"/>
              <a:gd name="connsiteY986" fmla="*/ 1391541 h 1934496"/>
              <a:gd name="connsiteX987" fmla="*/ 6289207 w 9922465"/>
              <a:gd name="connsiteY987" fmla="*/ 1446732 h 1934496"/>
              <a:gd name="connsiteX988" fmla="*/ 6234015 w 9922465"/>
              <a:gd name="connsiteY988" fmla="*/ 1391541 h 1934496"/>
              <a:gd name="connsiteX989" fmla="*/ 6289207 w 9922465"/>
              <a:gd name="connsiteY989" fmla="*/ 1336350 h 1934496"/>
              <a:gd name="connsiteX990" fmla="*/ 6155573 w 9922465"/>
              <a:gd name="connsiteY990" fmla="*/ 1336350 h 1934496"/>
              <a:gd name="connsiteX991" fmla="*/ 6210765 w 9922465"/>
              <a:gd name="connsiteY991" fmla="*/ 1391541 h 1934496"/>
              <a:gd name="connsiteX992" fmla="*/ 6155573 w 9922465"/>
              <a:gd name="connsiteY992" fmla="*/ 1446732 h 1934496"/>
              <a:gd name="connsiteX993" fmla="*/ 6100381 w 9922465"/>
              <a:gd name="connsiteY993" fmla="*/ 1391541 h 1934496"/>
              <a:gd name="connsiteX994" fmla="*/ 6155573 w 9922465"/>
              <a:gd name="connsiteY994" fmla="*/ 1336350 h 1934496"/>
              <a:gd name="connsiteX995" fmla="*/ 6021939 w 9922465"/>
              <a:gd name="connsiteY995" fmla="*/ 1336350 h 1934496"/>
              <a:gd name="connsiteX996" fmla="*/ 6077131 w 9922465"/>
              <a:gd name="connsiteY996" fmla="*/ 1391541 h 1934496"/>
              <a:gd name="connsiteX997" fmla="*/ 6021939 w 9922465"/>
              <a:gd name="connsiteY997" fmla="*/ 1446732 h 1934496"/>
              <a:gd name="connsiteX998" fmla="*/ 5966747 w 9922465"/>
              <a:gd name="connsiteY998" fmla="*/ 1391541 h 1934496"/>
              <a:gd name="connsiteX999" fmla="*/ 6021939 w 9922465"/>
              <a:gd name="connsiteY999" fmla="*/ 1336350 h 1934496"/>
              <a:gd name="connsiteX1000" fmla="*/ 5884964 w 9922465"/>
              <a:gd name="connsiteY1000" fmla="*/ 1336350 h 1934496"/>
              <a:gd name="connsiteX1001" fmla="*/ 5940156 w 9922465"/>
              <a:gd name="connsiteY1001" fmla="*/ 1391541 h 1934496"/>
              <a:gd name="connsiteX1002" fmla="*/ 5884964 w 9922465"/>
              <a:gd name="connsiteY1002" fmla="*/ 1446732 h 1934496"/>
              <a:gd name="connsiteX1003" fmla="*/ 5829772 w 9922465"/>
              <a:gd name="connsiteY1003" fmla="*/ 1391541 h 1934496"/>
              <a:gd name="connsiteX1004" fmla="*/ 5884964 w 9922465"/>
              <a:gd name="connsiteY1004" fmla="*/ 1336350 h 1934496"/>
              <a:gd name="connsiteX1005" fmla="*/ 5754668 w 9922465"/>
              <a:gd name="connsiteY1005" fmla="*/ 1336350 h 1934496"/>
              <a:gd name="connsiteX1006" fmla="*/ 5809860 w 9922465"/>
              <a:gd name="connsiteY1006" fmla="*/ 1391541 h 1934496"/>
              <a:gd name="connsiteX1007" fmla="*/ 5754668 w 9922465"/>
              <a:gd name="connsiteY1007" fmla="*/ 1446732 h 1934496"/>
              <a:gd name="connsiteX1008" fmla="*/ 5699476 w 9922465"/>
              <a:gd name="connsiteY1008" fmla="*/ 1391541 h 1934496"/>
              <a:gd name="connsiteX1009" fmla="*/ 5754668 w 9922465"/>
              <a:gd name="connsiteY1009" fmla="*/ 1336350 h 1934496"/>
              <a:gd name="connsiteX1010" fmla="*/ 5621035 w 9922465"/>
              <a:gd name="connsiteY1010" fmla="*/ 1336350 h 1934496"/>
              <a:gd name="connsiteX1011" fmla="*/ 5676227 w 9922465"/>
              <a:gd name="connsiteY1011" fmla="*/ 1391541 h 1934496"/>
              <a:gd name="connsiteX1012" fmla="*/ 5621035 w 9922465"/>
              <a:gd name="connsiteY1012" fmla="*/ 1446732 h 1934496"/>
              <a:gd name="connsiteX1013" fmla="*/ 5565843 w 9922465"/>
              <a:gd name="connsiteY1013" fmla="*/ 1391541 h 1934496"/>
              <a:gd name="connsiteX1014" fmla="*/ 5621035 w 9922465"/>
              <a:gd name="connsiteY1014" fmla="*/ 1336350 h 1934496"/>
              <a:gd name="connsiteX1015" fmla="*/ 5487399 w 9922465"/>
              <a:gd name="connsiteY1015" fmla="*/ 1336350 h 1934496"/>
              <a:gd name="connsiteX1016" fmla="*/ 5542591 w 9922465"/>
              <a:gd name="connsiteY1016" fmla="*/ 1391541 h 1934496"/>
              <a:gd name="connsiteX1017" fmla="*/ 5487399 w 9922465"/>
              <a:gd name="connsiteY1017" fmla="*/ 1446732 h 1934496"/>
              <a:gd name="connsiteX1018" fmla="*/ 5432207 w 9922465"/>
              <a:gd name="connsiteY1018" fmla="*/ 1391541 h 1934496"/>
              <a:gd name="connsiteX1019" fmla="*/ 5487399 w 9922465"/>
              <a:gd name="connsiteY1019" fmla="*/ 1336350 h 1934496"/>
              <a:gd name="connsiteX1020" fmla="*/ 5357106 w 9922465"/>
              <a:gd name="connsiteY1020" fmla="*/ 1336350 h 1934496"/>
              <a:gd name="connsiteX1021" fmla="*/ 5412298 w 9922465"/>
              <a:gd name="connsiteY1021" fmla="*/ 1391541 h 1934496"/>
              <a:gd name="connsiteX1022" fmla="*/ 5357106 w 9922465"/>
              <a:gd name="connsiteY1022" fmla="*/ 1446732 h 1934496"/>
              <a:gd name="connsiteX1023" fmla="*/ 5301914 w 9922465"/>
              <a:gd name="connsiteY1023" fmla="*/ 1391541 h 1934496"/>
              <a:gd name="connsiteX1024" fmla="*/ 5357106 w 9922465"/>
              <a:gd name="connsiteY1024" fmla="*/ 1336350 h 1934496"/>
              <a:gd name="connsiteX1025" fmla="*/ 4959543 w 9922465"/>
              <a:gd name="connsiteY1025" fmla="*/ 1336350 h 1934496"/>
              <a:gd name="connsiteX1026" fmla="*/ 5014735 w 9922465"/>
              <a:gd name="connsiteY1026" fmla="*/ 1391541 h 1934496"/>
              <a:gd name="connsiteX1027" fmla="*/ 4959543 w 9922465"/>
              <a:gd name="connsiteY1027" fmla="*/ 1446732 h 1934496"/>
              <a:gd name="connsiteX1028" fmla="*/ 4904351 w 9922465"/>
              <a:gd name="connsiteY1028" fmla="*/ 1391541 h 1934496"/>
              <a:gd name="connsiteX1029" fmla="*/ 4959543 w 9922465"/>
              <a:gd name="connsiteY1029" fmla="*/ 1336350 h 1934496"/>
              <a:gd name="connsiteX1030" fmla="*/ 4565322 w 9922465"/>
              <a:gd name="connsiteY1030" fmla="*/ 1336350 h 1934496"/>
              <a:gd name="connsiteX1031" fmla="*/ 4620514 w 9922465"/>
              <a:gd name="connsiteY1031" fmla="*/ 1391541 h 1934496"/>
              <a:gd name="connsiteX1032" fmla="*/ 4565322 w 9922465"/>
              <a:gd name="connsiteY1032" fmla="*/ 1446732 h 1934496"/>
              <a:gd name="connsiteX1033" fmla="*/ 4510130 w 9922465"/>
              <a:gd name="connsiteY1033" fmla="*/ 1391541 h 1934496"/>
              <a:gd name="connsiteX1034" fmla="*/ 4565322 w 9922465"/>
              <a:gd name="connsiteY1034" fmla="*/ 1336350 h 1934496"/>
              <a:gd name="connsiteX1035" fmla="*/ 2971729 w 9922465"/>
              <a:gd name="connsiteY1035" fmla="*/ 1336350 h 1934496"/>
              <a:gd name="connsiteX1036" fmla="*/ 3026921 w 9922465"/>
              <a:gd name="connsiteY1036" fmla="*/ 1391541 h 1934496"/>
              <a:gd name="connsiteX1037" fmla="*/ 2971729 w 9922465"/>
              <a:gd name="connsiteY1037" fmla="*/ 1446732 h 1934496"/>
              <a:gd name="connsiteX1038" fmla="*/ 2916537 w 9922465"/>
              <a:gd name="connsiteY1038" fmla="*/ 1391541 h 1934496"/>
              <a:gd name="connsiteX1039" fmla="*/ 2971729 w 9922465"/>
              <a:gd name="connsiteY1039" fmla="*/ 1336350 h 1934496"/>
              <a:gd name="connsiteX1040" fmla="*/ 2834801 w 9922465"/>
              <a:gd name="connsiteY1040" fmla="*/ 1336350 h 1934496"/>
              <a:gd name="connsiteX1041" fmla="*/ 2889994 w 9922465"/>
              <a:gd name="connsiteY1041" fmla="*/ 1391541 h 1934496"/>
              <a:gd name="connsiteX1042" fmla="*/ 2834801 w 9922465"/>
              <a:gd name="connsiteY1042" fmla="*/ 1446732 h 1934496"/>
              <a:gd name="connsiteX1043" fmla="*/ 2779610 w 9922465"/>
              <a:gd name="connsiteY1043" fmla="*/ 1391541 h 1934496"/>
              <a:gd name="connsiteX1044" fmla="*/ 2834801 w 9922465"/>
              <a:gd name="connsiteY1044" fmla="*/ 1336350 h 1934496"/>
              <a:gd name="connsiteX1045" fmla="*/ 2707848 w 9922465"/>
              <a:gd name="connsiteY1045" fmla="*/ 1336350 h 1934496"/>
              <a:gd name="connsiteX1046" fmla="*/ 2763042 w 9922465"/>
              <a:gd name="connsiteY1046" fmla="*/ 1391541 h 1934496"/>
              <a:gd name="connsiteX1047" fmla="*/ 2707848 w 9922465"/>
              <a:gd name="connsiteY1047" fmla="*/ 1446732 h 1934496"/>
              <a:gd name="connsiteX1048" fmla="*/ 2652656 w 9922465"/>
              <a:gd name="connsiteY1048" fmla="*/ 1391541 h 1934496"/>
              <a:gd name="connsiteX1049" fmla="*/ 2707848 w 9922465"/>
              <a:gd name="connsiteY1049" fmla="*/ 1336350 h 1934496"/>
              <a:gd name="connsiteX1050" fmla="*/ 2570875 w 9922465"/>
              <a:gd name="connsiteY1050" fmla="*/ 1336350 h 1934496"/>
              <a:gd name="connsiteX1051" fmla="*/ 2626067 w 9922465"/>
              <a:gd name="connsiteY1051" fmla="*/ 1391541 h 1934496"/>
              <a:gd name="connsiteX1052" fmla="*/ 2570875 w 9922465"/>
              <a:gd name="connsiteY1052" fmla="*/ 1446732 h 1934496"/>
              <a:gd name="connsiteX1053" fmla="*/ 2515683 w 9922465"/>
              <a:gd name="connsiteY1053" fmla="*/ 1391541 h 1934496"/>
              <a:gd name="connsiteX1054" fmla="*/ 2570875 w 9922465"/>
              <a:gd name="connsiteY1054" fmla="*/ 1336350 h 1934496"/>
              <a:gd name="connsiteX1055" fmla="*/ 2173314 w 9922465"/>
              <a:gd name="connsiteY1055" fmla="*/ 1336350 h 1934496"/>
              <a:gd name="connsiteX1056" fmla="*/ 2228507 w 9922465"/>
              <a:gd name="connsiteY1056" fmla="*/ 1391541 h 1934496"/>
              <a:gd name="connsiteX1057" fmla="*/ 2173314 w 9922465"/>
              <a:gd name="connsiteY1057" fmla="*/ 1446732 h 1934496"/>
              <a:gd name="connsiteX1058" fmla="*/ 2118122 w 9922465"/>
              <a:gd name="connsiteY1058" fmla="*/ 1391541 h 1934496"/>
              <a:gd name="connsiteX1059" fmla="*/ 2173314 w 9922465"/>
              <a:gd name="connsiteY1059" fmla="*/ 1336350 h 1934496"/>
              <a:gd name="connsiteX1060" fmla="*/ 2039678 w 9922465"/>
              <a:gd name="connsiteY1060" fmla="*/ 1336350 h 1934496"/>
              <a:gd name="connsiteX1061" fmla="*/ 2094870 w 9922465"/>
              <a:gd name="connsiteY1061" fmla="*/ 1391541 h 1934496"/>
              <a:gd name="connsiteX1062" fmla="*/ 2039678 w 9922465"/>
              <a:gd name="connsiteY1062" fmla="*/ 1446732 h 1934496"/>
              <a:gd name="connsiteX1063" fmla="*/ 1984484 w 9922465"/>
              <a:gd name="connsiteY1063" fmla="*/ 1391541 h 1934496"/>
              <a:gd name="connsiteX1064" fmla="*/ 2039678 w 9922465"/>
              <a:gd name="connsiteY1064" fmla="*/ 1336350 h 1934496"/>
              <a:gd name="connsiteX1065" fmla="*/ 1909381 w 9922465"/>
              <a:gd name="connsiteY1065" fmla="*/ 1336350 h 1934496"/>
              <a:gd name="connsiteX1066" fmla="*/ 1964575 w 9922465"/>
              <a:gd name="connsiteY1066" fmla="*/ 1391541 h 1934496"/>
              <a:gd name="connsiteX1067" fmla="*/ 1909381 w 9922465"/>
              <a:gd name="connsiteY1067" fmla="*/ 1446732 h 1934496"/>
              <a:gd name="connsiteX1068" fmla="*/ 1854188 w 9922465"/>
              <a:gd name="connsiteY1068" fmla="*/ 1391541 h 1934496"/>
              <a:gd name="connsiteX1069" fmla="*/ 1909381 w 9922465"/>
              <a:gd name="connsiteY1069" fmla="*/ 1336350 h 1934496"/>
              <a:gd name="connsiteX1070" fmla="*/ 1779086 w 9922465"/>
              <a:gd name="connsiteY1070" fmla="*/ 1336350 h 1934496"/>
              <a:gd name="connsiteX1071" fmla="*/ 1834278 w 9922465"/>
              <a:gd name="connsiteY1071" fmla="*/ 1391541 h 1934496"/>
              <a:gd name="connsiteX1072" fmla="*/ 1779086 w 9922465"/>
              <a:gd name="connsiteY1072" fmla="*/ 1446732 h 1934496"/>
              <a:gd name="connsiteX1073" fmla="*/ 1723892 w 9922465"/>
              <a:gd name="connsiteY1073" fmla="*/ 1391541 h 1934496"/>
              <a:gd name="connsiteX1074" fmla="*/ 1779086 w 9922465"/>
              <a:gd name="connsiteY1074" fmla="*/ 1336350 h 1934496"/>
              <a:gd name="connsiteX1075" fmla="*/ 1645448 w 9922465"/>
              <a:gd name="connsiteY1075" fmla="*/ 1336350 h 1934496"/>
              <a:gd name="connsiteX1076" fmla="*/ 1700644 w 9922465"/>
              <a:gd name="connsiteY1076" fmla="*/ 1391541 h 1934496"/>
              <a:gd name="connsiteX1077" fmla="*/ 1645448 w 9922465"/>
              <a:gd name="connsiteY1077" fmla="*/ 1446732 h 1934496"/>
              <a:gd name="connsiteX1078" fmla="*/ 1590256 w 9922465"/>
              <a:gd name="connsiteY1078" fmla="*/ 1391541 h 1934496"/>
              <a:gd name="connsiteX1079" fmla="*/ 1645448 w 9922465"/>
              <a:gd name="connsiteY1079" fmla="*/ 1336350 h 1934496"/>
              <a:gd name="connsiteX1080" fmla="*/ 1515160 w 9922465"/>
              <a:gd name="connsiteY1080" fmla="*/ 1336350 h 1934496"/>
              <a:gd name="connsiteX1081" fmla="*/ 1570346 w 9922465"/>
              <a:gd name="connsiteY1081" fmla="*/ 1391541 h 1934496"/>
              <a:gd name="connsiteX1082" fmla="*/ 1515160 w 9922465"/>
              <a:gd name="connsiteY1082" fmla="*/ 1446732 h 1934496"/>
              <a:gd name="connsiteX1083" fmla="*/ 1459963 w 9922465"/>
              <a:gd name="connsiteY1083" fmla="*/ 1391541 h 1934496"/>
              <a:gd name="connsiteX1084" fmla="*/ 1515160 w 9922465"/>
              <a:gd name="connsiteY1084" fmla="*/ 1336350 h 1934496"/>
              <a:gd name="connsiteX1085" fmla="*/ 1381522 w 9922465"/>
              <a:gd name="connsiteY1085" fmla="*/ 1336350 h 1934496"/>
              <a:gd name="connsiteX1086" fmla="*/ 1436714 w 9922465"/>
              <a:gd name="connsiteY1086" fmla="*/ 1391541 h 1934496"/>
              <a:gd name="connsiteX1087" fmla="*/ 1381522 w 9922465"/>
              <a:gd name="connsiteY1087" fmla="*/ 1446732 h 1934496"/>
              <a:gd name="connsiteX1088" fmla="*/ 1326330 w 9922465"/>
              <a:gd name="connsiteY1088" fmla="*/ 1391541 h 1934496"/>
              <a:gd name="connsiteX1089" fmla="*/ 1381522 w 9922465"/>
              <a:gd name="connsiteY1089" fmla="*/ 1336350 h 1934496"/>
              <a:gd name="connsiteX1090" fmla="*/ 1251229 w 9922465"/>
              <a:gd name="connsiteY1090" fmla="*/ 1336350 h 1934496"/>
              <a:gd name="connsiteX1091" fmla="*/ 1306421 w 9922465"/>
              <a:gd name="connsiteY1091" fmla="*/ 1391541 h 1934496"/>
              <a:gd name="connsiteX1092" fmla="*/ 1251229 w 9922465"/>
              <a:gd name="connsiteY1092" fmla="*/ 1446732 h 1934496"/>
              <a:gd name="connsiteX1093" fmla="*/ 1196037 w 9922465"/>
              <a:gd name="connsiteY1093" fmla="*/ 1391541 h 1934496"/>
              <a:gd name="connsiteX1094" fmla="*/ 1251229 w 9922465"/>
              <a:gd name="connsiteY1094" fmla="*/ 1336350 h 1934496"/>
              <a:gd name="connsiteX1095" fmla="*/ 1117592 w 9922465"/>
              <a:gd name="connsiteY1095" fmla="*/ 1336350 h 1934496"/>
              <a:gd name="connsiteX1096" fmla="*/ 1172785 w 9922465"/>
              <a:gd name="connsiteY1096" fmla="*/ 1391541 h 1934496"/>
              <a:gd name="connsiteX1097" fmla="*/ 1117592 w 9922465"/>
              <a:gd name="connsiteY1097" fmla="*/ 1446732 h 1934496"/>
              <a:gd name="connsiteX1098" fmla="*/ 1062400 w 9922465"/>
              <a:gd name="connsiteY1098" fmla="*/ 1391541 h 1934496"/>
              <a:gd name="connsiteX1099" fmla="*/ 1117592 w 9922465"/>
              <a:gd name="connsiteY1099" fmla="*/ 1336350 h 1934496"/>
              <a:gd name="connsiteX1100" fmla="*/ 980615 w 9922465"/>
              <a:gd name="connsiteY1100" fmla="*/ 1336350 h 1934496"/>
              <a:gd name="connsiteX1101" fmla="*/ 1035808 w 9922465"/>
              <a:gd name="connsiteY1101" fmla="*/ 1391541 h 1934496"/>
              <a:gd name="connsiteX1102" fmla="*/ 980615 w 9922465"/>
              <a:gd name="connsiteY1102" fmla="*/ 1446732 h 1934496"/>
              <a:gd name="connsiteX1103" fmla="*/ 925422 w 9922465"/>
              <a:gd name="connsiteY1103" fmla="*/ 1391541 h 1934496"/>
              <a:gd name="connsiteX1104" fmla="*/ 980615 w 9922465"/>
              <a:gd name="connsiteY1104" fmla="*/ 1336350 h 1934496"/>
              <a:gd name="connsiteX1105" fmla="*/ 9199101 w 9922465"/>
              <a:gd name="connsiteY1105" fmla="*/ 1336348 h 1934496"/>
              <a:gd name="connsiteX1106" fmla="*/ 9254293 w 9922465"/>
              <a:gd name="connsiteY1106" fmla="*/ 1391539 h 1934496"/>
              <a:gd name="connsiteX1107" fmla="*/ 9199101 w 9922465"/>
              <a:gd name="connsiteY1107" fmla="*/ 1446730 h 1934496"/>
              <a:gd name="connsiteX1108" fmla="*/ 9143909 w 9922465"/>
              <a:gd name="connsiteY1108" fmla="*/ 1391539 h 1934496"/>
              <a:gd name="connsiteX1109" fmla="*/ 9199101 w 9922465"/>
              <a:gd name="connsiteY1109" fmla="*/ 1336348 h 1934496"/>
              <a:gd name="connsiteX1110" fmla="*/ 9068807 w 9922465"/>
              <a:gd name="connsiteY1110" fmla="*/ 1336348 h 1934496"/>
              <a:gd name="connsiteX1111" fmla="*/ 9123999 w 9922465"/>
              <a:gd name="connsiteY1111" fmla="*/ 1391539 h 1934496"/>
              <a:gd name="connsiteX1112" fmla="*/ 9068807 w 9922465"/>
              <a:gd name="connsiteY1112" fmla="*/ 1446730 h 1934496"/>
              <a:gd name="connsiteX1113" fmla="*/ 9013615 w 9922465"/>
              <a:gd name="connsiteY1113" fmla="*/ 1391539 h 1934496"/>
              <a:gd name="connsiteX1114" fmla="*/ 9068807 w 9922465"/>
              <a:gd name="connsiteY1114" fmla="*/ 1336348 h 1934496"/>
              <a:gd name="connsiteX1115" fmla="*/ 8407316 w 9922465"/>
              <a:gd name="connsiteY1115" fmla="*/ 1336348 h 1934496"/>
              <a:gd name="connsiteX1116" fmla="*/ 8462508 w 9922465"/>
              <a:gd name="connsiteY1116" fmla="*/ 1391539 h 1934496"/>
              <a:gd name="connsiteX1117" fmla="*/ 8407316 w 9922465"/>
              <a:gd name="connsiteY1117" fmla="*/ 1446730 h 1934496"/>
              <a:gd name="connsiteX1118" fmla="*/ 8352124 w 9922465"/>
              <a:gd name="connsiteY1118" fmla="*/ 1391539 h 1934496"/>
              <a:gd name="connsiteX1119" fmla="*/ 8407316 w 9922465"/>
              <a:gd name="connsiteY1119" fmla="*/ 1336348 h 1934496"/>
              <a:gd name="connsiteX1120" fmla="*/ 8273682 w 9922465"/>
              <a:gd name="connsiteY1120" fmla="*/ 1336348 h 1934496"/>
              <a:gd name="connsiteX1121" fmla="*/ 8328874 w 9922465"/>
              <a:gd name="connsiteY1121" fmla="*/ 1391539 h 1934496"/>
              <a:gd name="connsiteX1122" fmla="*/ 8273682 w 9922465"/>
              <a:gd name="connsiteY1122" fmla="*/ 1446730 h 1934496"/>
              <a:gd name="connsiteX1123" fmla="*/ 8218490 w 9922465"/>
              <a:gd name="connsiteY1123" fmla="*/ 1391539 h 1934496"/>
              <a:gd name="connsiteX1124" fmla="*/ 8273682 w 9922465"/>
              <a:gd name="connsiteY1124" fmla="*/ 1336348 h 1934496"/>
              <a:gd name="connsiteX1125" fmla="*/ 8143388 w 9922465"/>
              <a:gd name="connsiteY1125" fmla="*/ 1336348 h 1934496"/>
              <a:gd name="connsiteX1126" fmla="*/ 8198580 w 9922465"/>
              <a:gd name="connsiteY1126" fmla="*/ 1391539 h 1934496"/>
              <a:gd name="connsiteX1127" fmla="*/ 8143388 w 9922465"/>
              <a:gd name="connsiteY1127" fmla="*/ 1446730 h 1934496"/>
              <a:gd name="connsiteX1128" fmla="*/ 8088196 w 9922465"/>
              <a:gd name="connsiteY1128" fmla="*/ 1391539 h 1934496"/>
              <a:gd name="connsiteX1129" fmla="*/ 8143388 w 9922465"/>
              <a:gd name="connsiteY1129" fmla="*/ 1336348 h 1934496"/>
              <a:gd name="connsiteX1130" fmla="*/ 8009753 w 9922465"/>
              <a:gd name="connsiteY1130" fmla="*/ 1336348 h 1934496"/>
              <a:gd name="connsiteX1131" fmla="*/ 8064945 w 9922465"/>
              <a:gd name="connsiteY1131" fmla="*/ 1391539 h 1934496"/>
              <a:gd name="connsiteX1132" fmla="*/ 8009753 w 9922465"/>
              <a:gd name="connsiteY1132" fmla="*/ 1446730 h 1934496"/>
              <a:gd name="connsiteX1133" fmla="*/ 7954561 w 9922465"/>
              <a:gd name="connsiteY1133" fmla="*/ 1391539 h 1934496"/>
              <a:gd name="connsiteX1134" fmla="*/ 8009753 w 9922465"/>
              <a:gd name="connsiteY1134" fmla="*/ 1336348 h 1934496"/>
              <a:gd name="connsiteX1135" fmla="*/ 7876118 w 9922465"/>
              <a:gd name="connsiteY1135" fmla="*/ 1336348 h 1934496"/>
              <a:gd name="connsiteX1136" fmla="*/ 7931310 w 9922465"/>
              <a:gd name="connsiteY1136" fmla="*/ 1391539 h 1934496"/>
              <a:gd name="connsiteX1137" fmla="*/ 7876118 w 9922465"/>
              <a:gd name="connsiteY1137" fmla="*/ 1446730 h 1934496"/>
              <a:gd name="connsiteX1138" fmla="*/ 7820926 w 9922465"/>
              <a:gd name="connsiteY1138" fmla="*/ 1391539 h 1934496"/>
              <a:gd name="connsiteX1139" fmla="*/ 7876118 w 9922465"/>
              <a:gd name="connsiteY1139" fmla="*/ 1336348 h 1934496"/>
              <a:gd name="connsiteX1140" fmla="*/ 7745823 w 9922465"/>
              <a:gd name="connsiteY1140" fmla="*/ 1336348 h 1934496"/>
              <a:gd name="connsiteX1141" fmla="*/ 7801015 w 9922465"/>
              <a:gd name="connsiteY1141" fmla="*/ 1391539 h 1934496"/>
              <a:gd name="connsiteX1142" fmla="*/ 7745823 w 9922465"/>
              <a:gd name="connsiteY1142" fmla="*/ 1446730 h 1934496"/>
              <a:gd name="connsiteX1143" fmla="*/ 7690631 w 9922465"/>
              <a:gd name="connsiteY1143" fmla="*/ 1391539 h 1934496"/>
              <a:gd name="connsiteX1144" fmla="*/ 7745823 w 9922465"/>
              <a:gd name="connsiteY1144" fmla="*/ 1336348 h 1934496"/>
              <a:gd name="connsiteX1145" fmla="*/ 185475 w 9922465"/>
              <a:gd name="connsiteY1145" fmla="*/ 1336348 h 1934496"/>
              <a:gd name="connsiteX1146" fmla="*/ 240666 w 9922465"/>
              <a:gd name="connsiteY1146" fmla="*/ 1391539 h 1934496"/>
              <a:gd name="connsiteX1147" fmla="*/ 185475 w 9922465"/>
              <a:gd name="connsiteY1147" fmla="*/ 1446730 h 1934496"/>
              <a:gd name="connsiteX1148" fmla="*/ 130283 w 9922465"/>
              <a:gd name="connsiteY1148" fmla="*/ 1391539 h 1934496"/>
              <a:gd name="connsiteX1149" fmla="*/ 185475 w 9922465"/>
              <a:gd name="connsiteY1149" fmla="*/ 1336348 h 1934496"/>
              <a:gd name="connsiteX1150" fmla="*/ 9199101 w 9922465"/>
              <a:gd name="connsiteY1150" fmla="*/ 1219421 h 1934496"/>
              <a:gd name="connsiteX1151" fmla="*/ 9254293 w 9922465"/>
              <a:gd name="connsiteY1151" fmla="*/ 1274612 h 1934496"/>
              <a:gd name="connsiteX1152" fmla="*/ 9199101 w 9922465"/>
              <a:gd name="connsiteY1152" fmla="*/ 1329803 h 1934496"/>
              <a:gd name="connsiteX1153" fmla="*/ 9143909 w 9922465"/>
              <a:gd name="connsiteY1153" fmla="*/ 1274612 h 1934496"/>
              <a:gd name="connsiteX1154" fmla="*/ 9199101 w 9922465"/>
              <a:gd name="connsiteY1154" fmla="*/ 1219421 h 1934496"/>
              <a:gd name="connsiteX1155" fmla="*/ 9068807 w 9922465"/>
              <a:gd name="connsiteY1155" fmla="*/ 1219421 h 1934496"/>
              <a:gd name="connsiteX1156" fmla="*/ 9123999 w 9922465"/>
              <a:gd name="connsiteY1156" fmla="*/ 1274612 h 1934496"/>
              <a:gd name="connsiteX1157" fmla="*/ 9068807 w 9922465"/>
              <a:gd name="connsiteY1157" fmla="*/ 1329803 h 1934496"/>
              <a:gd name="connsiteX1158" fmla="*/ 9013615 w 9922465"/>
              <a:gd name="connsiteY1158" fmla="*/ 1274612 h 1934496"/>
              <a:gd name="connsiteX1159" fmla="*/ 9068807 w 9922465"/>
              <a:gd name="connsiteY1159" fmla="*/ 1219421 h 1934496"/>
              <a:gd name="connsiteX1160" fmla="*/ 8537612 w 9922465"/>
              <a:gd name="connsiteY1160" fmla="*/ 1219421 h 1934496"/>
              <a:gd name="connsiteX1161" fmla="*/ 8592804 w 9922465"/>
              <a:gd name="connsiteY1161" fmla="*/ 1274612 h 1934496"/>
              <a:gd name="connsiteX1162" fmla="*/ 8537612 w 9922465"/>
              <a:gd name="connsiteY1162" fmla="*/ 1329803 h 1934496"/>
              <a:gd name="connsiteX1163" fmla="*/ 8482420 w 9922465"/>
              <a:gd name="connsiteY1163" fmla="*/ 1274612 h 1934496"/>
              <a:gd name="connsiteX1164" fmla="*/ 8537612 w 9922465"/>
              <a:gd name="connsiteY1164" fmla="*/ 1219421 h 1934496"/>
              <a:gd name="connsiteX1165" fmla="*/ 8407316 w 9922465"/>
              <a:gd name="connsiteY1165" fmla="*/ 1219421 h 1934496"/>
              <a:gd name="connsiteX1166" fmla="*/ 8462508 w 9922465"/>
              <a:gd name="connsiteY1166" fmla="*/ 1274612 h 1934496"/>
              <a:gd name="connsiteX1167" fmla="*/ 8407316 w 9922465"/>
              <a:gd name="connsiteY1167" fmla="*/ 1329803 h 1934496"/>
              <a:gd name="connsiteX1168" fmla="*/ 8352124 w 9922465"/>
              <a:gd name="connsiteY1168" fmla="*/ 1274612 h 1934496"/>
              <a:gd name="connsiteX1169" fmla="*/ 8407316 w 9922465"/>
              <a:gd name="connsiteY1169" fmla="*/ 1219421 h 1934496"/>
              <a:gd name="connsiteX1170" fmla="*/ 8273682 w 9922465"/>
              <a:gd name="connsiteY1170" fmla="*/ 1219421 h 1934496"/>
              <a:gd name="connsiteX1171" fmla="*/ 8328874 w 9922465"/>
              <a:gd name="connsiteY1171" fmla="*/ 1274612 h 1934496"/>
              <a:gd name="connsiteX1172" fmla="*/ 8273682 w 9922465"/>
              <a:gd name="connsiteY1172" fmla="*/ 1329803 h 1934496"/>
              <a:gd name="connsiteX1173" fmla="*/ 8218490 w 9922465"/>
              <a:gd name="connsiteY1173" fmla="*/ 1274612 h 1934496"/>
              <a:gd name="connsiteX1174" fmla="*/ 8273682 w 9922465"/>
              <a:gd name="connsiteY1174" fmla="*/ 1219421 h 1934496"/>
              <a:gd name="connsiteX1175" fmla="*/ 8143388 w 9922465"/>
              <a:gd name="connsiteY1175" fmla="*/ 1219421 h 1934496"/>
              <a:gd name="connsiteX1176" fmla="*/ 8198580 w 9922465"/>
              <a:gd name="connsiteY1176" fmla="*/ 1274612 h 1934496"/>
              <a:gd name="connsiteX1177" fmla="*/ 8143388 w 9922465"/>
              <a:gd name="connsiteY1177" fmla="*/ 1329803 h 1934496"/>
              <a:gd name="connsiteX1178" fmla="*/ 8088196 w 9922465"/>
              <a:gd name="connsiteY1178" fmla="*/ 1274612 h 1934496"/>
              <a:gd name="connsiteX1179" fmla="*/ 8143388 w 9922465"/>
              <a:gd name="connsiteY1179" fmla="*/ 1219421 h 1934496"/>
              <a:gd name="connsiteX1180" fmla="*/ 8009753 w 9922465"/>
              <a:gd name="connsiteY1180" fmla="*/ 1219421 h 1934496"/>
              <a:gd name="connsiteX1181" fmla="*/ 8064945 w 9922465"/>
              <a:gd name="connsiteY1181" fmla="*/ 1274612 h 1934496"/>
              <a:gd name="connsiteX1182" fmla="*/ 8009753 w 9922465"/>
              <a:gd name="connsiteY1182" fmla="*/ 1329803 h 1934496"/>
              <a:gd name="connsiteX1183" fmla="*/ 7954561 w 9922465"/>
              <a:gd name="connsiteY1183" fmla="*/ 1274612 h 1934496"/>
              <a:gd name="connsiteX1184" fmla="*/ 8009753 w 9922465"/>
              <a:gd name="connsiteY1184" fmla="*/ 1219421 h 1934496"/>
              <a:gd name="connsiteX1185" fmla="*/ 7876118 w 9922465"/>
              <a:gd name="connsiteY1185" fmla="*/ 1219421 h 1934496"/>
              <a:gd name="connsiteX1186" fmla="*/ 7931310 w 9922465"/>
              <a:gd name="connsiteY1186" fmla="*/ 1274612 h 1934496"/>
              <a:gd name="connsiteX1187" fmla="*/ 7876118 w 9922465"/>
              <a:gd name="connsiteY1187" fmla="*/ 1329803 h 1934496"/>
              <a:gd name="connsiteX1188" fmla="*/ 7820926 w 9922465"/>
              <a:gd name="connsiteY1188" fmla="*/ 1274612 h 1934496"/>
              <a:gd name="connsiteX1189" fmla="*/ 7876118 w 9922465"/>
              <a:gd name="connsiteY1189" fmla="*/ 1219421 h 1934496"/>
              <a:gd name="connsiteX1190" fmla="*/ 7745823 w 9922465"/>
              <a:gd name="connsiteY1190" fmla="*/ 1219421 h 1934496"/>
              <a:gd name="connsiteX1191" fmla="*/ 7801015 w 9922465"/>
              <a:gd name="connsiteY1191" fmla="*/ 1274612 h 1934496"/>
              <a:gd name="connsiteX1192" fmla="*/ 7745823 w 9922465"/>
              <a:gd name="connsiteY1192" fmla="*/ 1329803 h 1934496"/>
              <a:gd name="connsiteX1193" fmla="*/ 7690631 w 9922465"/>
              <a:gd name="connsiteY1193" fmla="*/ 1274612 h 1934496"/>
              <a:gd name="connsiteX1194" fmla="*/ 7745823 w 9922465"/>
              <a:gd name="connsiteY1194" fmla="*/ 1219421 h 1934496"/>
              <a:gd name="connsiteX1195" fmla="*/ 7608849 w 9922465"/>
              <a:gd name="connsiteY1195" fmla="*/ 1219421 h 1934496"/>
              <a:gd name="connsiteX1196" fmla="*/ 7664041 w 9922465"/>
              <a:gd name="connsiteY1196" fmla="*/ 1274612 h 1934496"/>
              <a:gd name="connsiteX1197" fmla="*/ 7608849 w 9922465"/>
              <a:gd name="connsiteY1197" fmla="*/ 1329803 h 1934496"/>
              <a:gd name="connsiteX1198" fmla="*/ 7553657 w 9922465"/>
              <a:gd name="connsiteY1198" fmla="*/ 1274612 h 1934496"/>
              <a:gd name="connsiteX1199" fmla="*/ 7608849 w 9922465"/>
              <a:gd name="connsiteY1199" fmla="*/ 1219421 h 1934496"/>
              <a:gd name="connsiteX1200" fmla="*/ 7481897 w 9922465"/>
              <a:gd name="connsiteY1200" fmla="*/ 1219421 h 1934496"/>
              <a:gd name="connsiteX1201" fmla="*/ 7537089 w 9922465"/>
              <a:gd name="connsiteY1201" fmla="*/ 1274612 h 1934496"/>
              <a:gd name="connsiteX1202" fmla="*/ 7481897 w 9922465"/>
              <a:gd name="connsiteY1202" fmla="*/ 1329803 h 1934496"/>
              <a:gd name="connsiteX1203" fmla="*/ 7426705 w 9922465"/>
              <a:gd name="connsiteY1203" fmla="*/ 1274612 h 1934496"/>
              <a:gd name="connsiteX1204" fmla="*/ 7481897 w 9922465"/>
              <a:gd name="connsiteY1204" fmla="*/ 1219421 h 1934496"/>
              <a:gd name="connsiteX1205" fmla="*/ 7341579 w 9922465"/>
              <a:gd name="connsiteY1205" fmla="*/ 1219421 h 1934496"/>
              <a:gd name="connsiteX1206" fmla="*/ 7396771 w 9922465"/>
              <a:gd name="connsiteY1206" fmla="*/ 1274612 h 1934496"/>
              <a:gd name="connsiteX1207" fmla="*/ 7341579 w 9922465"/>
              <a:gd name="connsiteY1207" fmla="*/ 1329803 h 1934496"/>
              <a:gd name="connsiteX1208" fmla="*/ 7286387 w 9922465"/>
              <a:gd name="connsiteY1208" fmla="*/ 1274612 h 1934496"/>
              <a:gd name="connsiteX1209" fmla="*/ 7341579 w 9922465"/>
              <a:gd name="connsiteY1209" fmla="*/ 1219421 h 1934496"/>
              <a:gd name="connsiteX1210" fmla="*/ 7211286 w 9922465"/>
              <a:gd name="connsiteY1210" fmla="*/ 1219421 h 1934496"/>
              <a:gd name="connsiteX1211" fmla="*/ 7266478 w 9922465"/>
              <a:gd name="connsiteY1211" fmla="*/ 1274612 h 1934496"/>
              <a:gd name="connsiteX1212" fmla="*/ 7211286 w 9922465"/>
              <a:gd name="connsiteY1212" fmla="*/ 1329803 h 1934496"/>
              <a:gd name="connsiteX1213" fmla="*/ 7156094 w 9922465"/>
              <a:gd name="connsiteY1213" fmla="*/ 1274612 h 1934496"/>
              <a:gd name="connsiteX1214" fmla="*/ 7211286 w 9922465"/>
              <a:gd name="connsiteY1214" fmla="*/ 1219421 h 1934496"/>
              <a:gd name="connsiteX1215" fmla="*/ 7080993 w 9922465"/>
              <a:gd name="connsiteY1215" fmla="*/ 1219421 h 1934496"/>
              <a:gd name="connsiteX1216" fmla="*/ 7136185 w 9922465"/>
              <a:gd name="connsiteY1216" fmla="*/ 1274612 h 1934496"/>
              <a:gd name="connsiteX1217" fmla="*/ 7080993 w 9922465"/>
              <a:gd name="connsiteY1217" fmla="*/ 1329803 h 1934496"/>
              <a:gd name="connsiteX1218" fmla="*/ 7025801 w 9922465"/>
              <a:gd name="connsiteY1218" fmla="*/ 1274612 h 1934496"/>
              <a:gd name="connsiteX1219" fmla="*/ 7080993 w 9922465"/>
              <a:gd name="connsiteY1219" fmla="*/ 1219421 h 1934496"/>
              <a:gd name="connsiteX1220" fmla="*/ 6947357 w 9922465"/>
              <a:gd name="connsiteY1220" fmla="*/ 1219421 h 1934496"/>
              <a:gd name="connsiteX1221" fmla="*/ 7002549 w 9922465"/>
              <a:gd name="connsiteY1221" fmla="*/ 1274612 h 1934496"/>
              <a:gd name="connsiteX1222" fmla="*/ 6947357 w 9922465"/>
              <a:gd name="connsiteY1222" fmla="*/ 1329803 h 1934496"/>
              <a:gd name="connsiteX1223" fmla="*/ 6892165 w 9922465"/>
              <a:gd name="connsiteY1223" fmla="*/ 1274612 h 1934496"/>
              <a:gd name="connsiteX1224" fmla="*/ 6947357 w 9922465"/>
              <a:gd name="connsiteY1224" fmla="*/ 1219421 h 1934496"/>
              <a:gd name="connsiteX1225" fmla="*/ 6817064 w 9922465"/>
              <a:gd name="connsiteY1225" fmla="*/ 1219421 h 1934496"/>
              <a:gd name="connsiteX1226" fmla="*/ 6872256 w 9922465"/>
              <a:gd name="connsiteY1226" fmla="*/ 1274612 h 1934496"/>
              <a:gd name="connsiteX1227" fmla="*/ 6817064 w 9922465"/>
              <a:gd name="connsiteY1227" fmla="*/ 1329803 h 1934496"/>
              <a:gd name="connsiteX1228" fmla="*/ 6761872 w 9922465"/>
              <a:gd name="connsiteY1228" fmla="*/ 1274612 h 1934496"/>
              <a:gd name="connsiteX1229" fmla="*/ 6817064 w 9922465"/>
              <a:gd name="connsiteY1229" fmla="*/ 1219421 h 1934496"/>
              <a:gd name="connsiteX1230" fmla="*/ 6683431 w 9922465"/>
              <a:gd name="connsiteY1230" fmla="*/ 1219421 h 1934496"/>
              <a:gd name="connsiteX1231" fmla="*/ 6738623 w 9922465"/>
              <a:gd name="connsiteY1231" fmla="*/ 1274612 h 1934496"/>
              <a:gd name="connsiteX1232" fmla="*/ 6683431 w 9922465"/>
              <a:gd name="connsiteY1232" fmla="*/ 1329803 h 1934496"/>
              <a:gd name="connsiteX1233" fmla="*/ 6628239 w 9922465"/>
              <a:gd name="connsiteY1233" fmla="*/ 1274612 h 1934496"/>
              <a:gd name="connsiteX1234" fmla="*/ 6683431 w 9922465"/>
              <a:gd name="connsiteY1234" fmla="*/ 1219421 h 1934496"/>
              <a:gd name="connsiteX1235" fmla="*/ 6553137 w 9922465"/>
              <a:gd name="connsiteY1235" fmla="*/ 1219421 h 1934496"/>
              <a:gd name="connsiteX1236" fmla="*/ 6608329 w 9922465"/>
              <a:gd name="connsiteY1236" fmla="*/ 1274612 h 1934496"/>
              <a:gd name="connsiteX1237" fmla="*/ 6553137 w 9922465"/>
              <a:gd name="connsiteY1237" fmla="*/ 1329803 h 1934496"/>
              <a:gd name="connsiteX1238" fmla="*/ 6497945 w 9922465"/>
              <a:gd name="connsiteY1238" fmla="*/ 1274612 h 1934496"/>
              <a:gd name="connsiteX1239" fmla="*/ 6553137 w 9922465"/>
              <a:gd name="connsiteY1239" fmla="*/ 1219421 h 1934496"/>
              <a:gd name="connsiteX1240" fmla="*/ 6419502 w 9922465"/>
              <a:gd name="connsiteY1240" fmla="*/ 1219421 h 1934496"/>
              <a:gd name="connsiteX1241" fmla="*/ 6474694 w 9922465"/>
              <a:gd name="connsiteY1241" fmla="*/ 1274612 h 1934496"/>
              <a:gd name="connsiteX1242" fmla="*/ 6419502 w 9922465"/>
              <a:gd name="connsiteY1242" fmla="*/ 1329803 h 1934496"/>
              <a:gd name="connsiteX1243" fmla="*/ 6364310 w 9922465"/>
              <a:gd name="connsiteY1243" fmla="*/ 1274612 h 1934496"/>
              <a:gd name="connsiteX1244" fmla="*/ 6419502 w 9922465"/>
              <a:gd name="connsiteY1244" fmla="*/ 1219421 h 1934496"/>
              <a:gd name="connsiteX1245" fmla="*/ 6289207 w 9922465"/>
              <a:gd name="connsiteY1245" fmla="*/ 1219421 h 1934496"/>
              <a:gd name="connsiteX1246" fmla="*/ 6344399 w 9922465"/>
              <a:gd name="connsiteY1246" fmla="*/ 1274612 h 1934496"/>
              <a:gd name="connsiteX1247" fmla="*/ 6289207 w 9922465"/>
              <a:gd name="connsiteY1247" fmla="*/ 1329803 h 1934496"/>
              <a:gd name="connsiteX1248" fmla="*/ 6234015 w 9922465"/>
              <a:gd name="connsiteY1248" fmla="*/ 1274612 h 1934496"/>
              <a:gd name="connsiteX1249" fmla="*/ 6289207 w 9922465"/>
              <a:gd name="connsiteY1249" fmla="*/ 1219421 h 1934496"/>
              <a:gd name="connsiteX1250" fmla="*/ 6155573 w 9922465"/>
              <a:gd name="connsiteY1250" fmla="*/ 1219421 h 1934496"/>
              <a:gd name="connsiteX1251" fmla="*/ 6210765 w 9922465"/>
              <a:gd name="connsiteY1251" fmla="*/ 1274612 h 1934496"/>
              <a:gd name="connsiteX1252" fmla="*/ 6155573 w 9922465"/>
              <a:gd name="connsiteY1252" fmla="*/ 1329803 h 1934496"/>
              <a:gd name="connsiteX1253" fmla="*/ 6100381 w 9922465"/>
              <a:gd name="connsiteY1253" fmla="*/ 1274612 h 1934496"/>
              <a:gd name="connsiteX1254" fmla="*/ 6155573 w 9922465"/>
              <a:gd name="connsiteY1254" fmla="*/ 1219421 h 1934496"/>
              <a:gd name="connsiteX1255" fmla="*/ 6021939 w 9922465"/>
              <a:gd name="connsiteY1255" fmla="*/ 1219421 h 1934496"/>
              <a:gd name="connsiteX1256" fmla="*/ 6077131 w 9922465"/>
              <a:gd name="connsiteY1256" fmla="*/ 1274612 h 1934496"/>
              <a:gd name="connsiteX1257" fmla="*/ 6021939 w 9922465"/>
              <a:gd name="connsiteY1257" fmla="*/ 1329803 h 1934496"/>
              <a:gd name="connsiteX1258" fmla="*/ 5966747 w 9922465"/>
              <a:gd name="connsiteY1258" fmla="*/ 1274612 h 1934496"/>
              <a:gd name="connsiteX1259" fmla="*/ 6021939 w 9922465"/>
              <a:gd name="connsiteY1259" fmla="*/ 1219421 h 1934496"/>
              <a:gd name="connsiteX1260" fmla="*/ 5884964 w 9922465"/>
              <a:gd name="connsiteY1260" fmla="*/ 1219421 h 1934496"/>
              <a:gd name="connsiteX1261" fmla="*/ 5940156 w 9922465"/>
              <a:gd name="connsiteY1261" fmla="*/ 1274612 h 1934496"/>
              <a:gd name="connsiteX1262" fmla="*/ 5884964 w 9922465"/>
              <a:gd name="connsiteY1262" fmla="*/ 1329803 h 1934496"/>
              <a:gd name="connsiteX1263" fmla="*/ 5829772 w 9922465"/>
              <a:gd name="connsiteY1263" fmla="*/ 1274612 h 1934496"/>
              <a:gd name="connsiteX1264" fmla="*/ 5884964 w 9922465"/>
              <a:gd name="connsiteY1264" fmla="*/ 1219421 h 1934496"/>
              <a:gd name="connsiteX1265" fmla="*/ 5754668 w 9922465"/>
              <a:gd name="connsiteY1265" fmla="*/ 1219421 h 1934496"/>
              <a:gd name="connsiteX1266" fmla="*/ 5809860 w 9922465"/>
              <a:gd name="connsiteY1266" fmla="*/ 1274612 h 1934496"/>
              <a:gd name="connsiteX1267" fmla="*/ 5754668 w 9922465"/>
              <a:gd name="connsiteY1267" fmla="*/ 1329803 h 1934496"/>
              <a:gd name="connsiteX1268" fmla="*/ 5699476 w 9922465"/>
              <a:gd name="connsiteY1268" fmla="*/ 1274612 h 1934496"/>
              <a:gd name="connsiteX1269" fmla="*/ 5754668 w 9922465"/>
              <a:gd name="connsiteY1269" fmla="*/ 1219421 h 1934496"/>
              <a:gd name="connsiteX1270" fmla="*/ 5621034 w 9922465"/>
              <a:gd name="connsiteY1270" fmla="*/ 1219421 h 1934496"/>
              <a:gd name="connsiteX1271" fmla="*/ 5676226 w 9922465"/>
              <a:gd name="connsiteY1271" fmla="*/ 1274612 h 1934496"/>
              <a:gd name="connsiteX1272" fmla="*/ 5621034 w 9922465"/>
              <a:gd name="connsiteY1272" fmla="*/ 1329803 h 1934496"/>
              <a:gd name="connsiteX1273" fmla="*/ 5565842 w 9922465"/>
              <a:gd name="connsiteY1273" fmla="*/ 1274612 h 1934496"/>
              <a:gd name="connsiteX1274" fmla="*/ 5621034 w 9922465"/>
              <a:gd name="connsiteY1274" fmla="*/ 1219421 h 1934496"/>
              <a:gd name="connsiteX1275" fmla="*/ 5487399 w 9922465"/>
              <a:gd name="connsiteY1275" fmla="*/ 1219421 h 1934496"/>
              <a:gd name="connsiteX1276" fmla="*/ 5542591 w 9922465"/>
              <a:gd name="connsiteY1276" fmla="*/ 1274612 h 1934496"/>
              <a:gd name="connsiteX1277" fmla="*/ 5487399 w 9922465"/>
              <a:gd name="connsiteY1277" fmla="*/ 1329803 h 1934496"/>
              <a:gd name="connsiteX1278" fmla="*/ 5432207 w 9922465"/>
              <a:gd name="connsiteY1278" fmla="*/ 1274612 h 1934496"/>
              <a:gd name="connsiteX1279" fmla="*/ 5487399 w 9922465"/>
              <a:gd name="connsiteY1279" fmla="*/ 1219421 h 1934496"/>
              <a:gd name="connsiteX1280" fmla="*/ 5357106 w 9922465"/>
              <a:gd name="connsiteY1280" fmla="*/ 1219421 h 1934496"/>
              <a:gd name="connsiteX1281" fmla="*/ 5412298 w 9922465"/>
              <a:gd name="connsiteY1281" fmla="*/ 1274612 h 1934496"/>
              <a:gd name="connsiteX1282" fmla="*/ 5357106 w 9922465"/>
              <a:gd name="connsiteY1282" fmla="*/ 1329803 h 1934496"/>
              <a:gd name="connsiteX1283" fmla="*/ 5301914 w 9922465"/>
              <a:gd name="connsiteY1283" fmla="*/ 1274612 h 1934496"/>
              <a:gd name="connsiteX1284" fmla="*/ 5357106 w 9922465"/>
              <a:gd name="connsiteY1284" fmla="*/ 1219421 h 1934496"/>
              <a:gd name="connsiteX1285" fmla="*/ 5093178 w 9922465"/>
              <a:gd name="connsiteY1285" fmla="*/ 1219421 h 1934496"/>
              <a:gd name="connsiteX1286" fmla="*/ 5148370 w 9922465"/>
              <a:gd name="connsiteY1286" fmla="*/ 1274612 h 1934496"/>
              <a:gd name="connsiteX1287" fmla="*/ 5093178 w 9922465"/>
              <a:gd name="connsiteY1287" fmla="*/ 1329803 h 1934496"/>
              <a:gd name="connsiteX1288" fmla="*/ 5037986 w 9922465"/>
              <a:gd name="connsiteY1288" fmla="*/ 1274612 h 1934496"/>
              <a:gd name="connsiteX1289" fmla="*/ 5093178 w 9922465"/>
              <a:gd name="connsiteY1289" fmla="*/ 1219421 h 1934496"/>
              <a:gd name="connsiteX1290" fmla="*/ 4959542 w 9922465"/>
              <a:gd name="connsiteY1290" fmla="*/ 1219421 h 1934496"/>
              <a:gd name="connsiteX1291" fmla="*/ 5014734 w 9922465"/>
              <a:gd name="connsiteY1291" fmla="*/ 1274612 h 1934496"/>
              <a:gd name="connsiteX1292" fmla="*/ 4959542 w 9922465"/>
              <a:gd name="connsiteY1292" fmla="*/ 1329803 h 1934496"/>
              <a:gd name="connsiteX1293" fmla="*/ 4904350 w 9922465"/>
              <a:gd name="connsiteY1293" fmla="*/ 1274612 h 1934496"/>
              <a:gd name="connsiteX1294" fmla="*/ 4959542 w 9922465"/>
              <a:gd name="connsiteY1294" fmla="*/ 1219421 h 1934496"/>
              <a:gd name="connsiteX1295" fmla="*/ 4829250 w 9922465"/>
              <a:gd name="connsiteY1295" fmla="*/ 1219421 h 1934496"/>
              <a:gd name="connsiteX1296" fmla="*/ 4884442 w 9922465"/>
              <a:gd name="connsiteY1296" fmla="*/ 1274612 h 1934496"/>
              <a:gd name="connsiteX1297" fmla="*/ 4829250 w 9922465"/>
              <a:gd name="connsiteY1297" fmla="*/ 1329803 h 1934496"/>
              <a:gd name="connsiteX1298" fmla="*/ 4774058 w 9922465"/>
              <a:gd name="connsiteY1298" fmla="*/ 1274612 h 1934496"/>
              <a:gd name="connsiteX1299" fmla="*/ 4829250 w 9922465"/>
              <a:gd name="connsiteY1299" fmla="*/ 1219421 h 1934496"/>
              <a:gd name="connsiteX1300" fmla="*/ 319111 w 9922465"/>
              <a:gd name="connsiteY1300" fmla="*/ 1219421 h 1934496"/>
              <a:gd name="connsiteX1301" fmla="*/ 374305 w 9922465"/>
              <a:gd name="connsiteY1301" fmla="*/ 1274612 h 1934496"/>
              <a:gd name="connsiteX1302" fmla="*/ 319111 w 9922465"/>
              <a:gd name="connsiteY1302" fmla="*/ 1329803 h 1934496"/>
              <a:gd name="connsiteX1303" fmla="*/ 263920 w 9922465"/>
              <a:gd name="connsiteY1303" fmla="*/ 1274612 h 1934496"/>
              <a:gd name="connsiteX1304" fmla="*/ 319111 w 9922465"/>
              <a:gd name="connsiteY1304" fmla="*/ 1219421 h 1934496"/>
              <a:gd name="connsiteX1305" fmla="*/ 185480 w 9922465"/>
              <a:gd name="connsiteY1305" fmla="*/ 1219421 h 1934496"/>
              <a:gd name="connsiteX1306" fmla="*/ 240671 w 9922465"/>
              <a:gd name="connsiteY1306" fmla="*/ 1274612 h 1934496"/>
              <a:gd name="connsiteX1307" fmla="*/ 185480 w 9922465"/>
              <a:gd name="connsiteY1307" fmla="*/ 1329803 h 1934496"/>
              <a:gd name="connsiteX1308" fmla="*/ 130288 w 9922465"/>
              <a:gd name="connsiteY1308" fmla="*/ 1274612 h 1934496"/>
              <a:gd name="connsiteX1309" fmla="*/ 185480 w 9922465"/>
              <a:gd name="connsiteY1309" fmla="*/ 1219421 h 1934496"/>
              <a:gd name="connsiteX1310" fmla="*/ 449407 w 9922465"/>
              <a:gd name="connsiteY1310" fmla="*/ 1219419 h 1934496"/>
              <a:gd name="connsiteX1311" fmla="*/ 504600 w 9922465"/>
              <a:gd name="connsiteY1311" fmla="*/ 1274610 h 1934496"/>
              <a:gd name="connsiteX1312" fmla="*/ 449407 w 9922465"/>
              <a:gd name="connsiteY1312" fmla="*/ 1329801 h 1934496"/>
              <a:gd name="connsiteX1313" fmla="*/ 394214 w 9922465"/>
              <a:gd name="connsiteY1313" fmla="*/ 1274610 h 1934496"/>
              <a:gd name="connsiteX1314" fmla="*/ 449407 w 9922465"/>
              <a:gd name="connsiteY1314" fmla="*/ 1219419 h 1934496"/>
              <a:gd name="connsiteX1315" fmla="*/ 4565322 w 9922465"/>
              <a:gd name="connsiteY1315" fmla="*/ 1219417 h 1934496"/>
              <a:gd name="connsiteX1316" fmla="*/ 4620514 w 9922465"/>
              <a:gd name="connsiteY1316" fmla="*/ 1274608 h 1934496"/>
              <a:gd name="connsiteX1317" fmla="*/ 4565322 w 9922465"/>
              <a:gd name="connsiteY1317" fmla="*/ 1329799 h 1934496"/>
              <a:gd name="connsiteX1318" fmla="*/ 4510130 w 9922465"/>
              <a:gd name="connsiteY1318" fmla="*/ 1274608 h 1934496"/>
              <a:gd name="connsiteX1319" fmla="*/ 4565322 w 9922465"/>
              <a:gd name="connsiteY1319" fmla="*/ 1219417 h 1934496"/>
              <a:gd name="connsiteX1320" fmla="*/ 2834811 w 9922465"/>
              <a:gd name="connsiteY1320" fmla="*/ 1219417 h 1934496"/>
              <a:gd name="connsiteX1321" fmla="*/ 2890003 w 9922465"/>
              <a:gd name="connsiteY1321" fmla="*/ 1274608 h 1934496"/>
              <a:gd name="connsiteX1322" fmla="*/ 2834811 w 9922465"/>
              <a:gd name="connsiteY1322" fmla="*/ 1329799 h 1934496"/>
              <a:gd name="connsiteX1323" fmla="*/ 2779620 w 9922465"/>
              <a:gd name="connsiteY1323" fmla="*/ 1274608 h 1934496"/>
              <a:gd name="connsiteX1324" fmla="*/ 2834811 w 9922465"/>
              <a:gd name="connsiteY1324" fmla="*/ 1219417 h 1934496"/>
              <a:gd name="connsiteX1325" fmla="*/ 2707858 w 9922465"/>
              <a:gd name="connsiteY1325" fmla="*/ 1219417 h 1934496"/>
              <a:gd name="connsiteX1326" fmla="*/ 2763052 w 9922465"/>
              <a:gd name="connsiteY1326" fmla="*/ 1274608 h 1934496"/>
              <a:gd name="connsiteX1327" fmla="*/ 2707858 w 9922465"/>
              <a:gd name="connsiteY1327" fmla="*/ 1329799 h 1934496"/>
              <a:gd name="connsiteX1328" fmla="*/ 2652667 w 9922465"/>
              <a:gd name="connsiteY1328" fmla="*/ 1274608 h 1934496"/>
              <a:gd name="connsiteX1329" fmla="*/ 2707858 w 9922465"/>
              <a:gd name="connsiteY1329" fmla="*/ 1219417 h 1934496"/>
              <a:gd name="connsiteX1330" fmla="*/ 2570885 w 9922465"/>
              <a:gd name="connsiteY1330" fmla="*/ 1219417 h 1934496"/>
              <a:gd name="connsiteX1331" fmla="*/ 2626075 w 9922465"/>
              <a:gd name="connsiteY1331" fmla="*/ 1274608 h 1934496"/>
              <a:gd name="connsiteX1332" fmla="*/ 2570885 w 9922465"/>
              <a:gd name="connsiteY1332" fmla="*/ 1329799 h 1934496"/>
              <a:gd name="connsiteX1333" fmla="*/ 2515692 w 9922465"/>
              <a:gd name="connsiteY1333" fmla="*/ 1274608 h 1934496"/>
              <a:gd name="connsiteX1334" fmla="*/ 2570885 w 9922465"/>
              <a:gd name="connsiteY1334" fmla="*/ 1219417 h 1934496"/>
              <a:gd name="connsiteX1335" fmla="*/ 2039686 w 9922465"/>
              <a:gd name="connsiteY1335" fmla="*/ 1219417 h 1934496"/>
              <a:gd name="connsiteX1336" fmla="*/ 2094880 w 9922465"/>
              <a:gd name="connsiteY1336" fmla="*/ 1274608 h 1934496"/>
              <a:gd name="connsiteX1337" fmla="*/ 2039686 w 9922465"/>
              <a:gd name="connsiteY1337" fmla="*/ 1329799 h 1934496"/>
              <a:gd name="connsiteX1338" fmla="*/ 1984493 w 9922465"/>
              <a:gd name="connsiteY1338" fmla="*/ 1274608 h 1934496"/>
              <a:gd name="connsiteX1339" fmla="*/ 2039686 w 9922465"/>
              <a:gd name="connsiteY1339" fmla="*/ 1219417 h 1934496"/>
              <a:gd name="connsiteX1340" fmla="*/ 1909390 w 9922465"/>
              <a:gd name="connsiteY1340" fmla="*/ 1219417 h 1934496"/>
              <a:gd name="connsiteX1341" fmla="*/ 1964583 w 9922465"/>
              <a:gd name="connsiteY1341" fmla="*/ 1274608 h 1934496"/>
              <a:gd name="connsiteX1342" fmla="*/ 1909390 w 9922465"/>
              <a:gd name="connsiteY1342" fmla="*/ 1329799 h 1934496"/>
              <a:gd name="connsiteX1343" fmla="*/ 1854197 w 9922465"/>
              <a:gd name="connsiteY1343" fmla="*/ 1274608 h 1934496"/>
              <a:gd name="connsiteX1344" fmla="*/ 1909390 w 9922465"/>
              <a:gd name="connsiteY1344" fmla="*/ 1219417 h 1934496"/>
              <a:gd name="connsiteX1345" fmla="*/ 1779095 w 9922465"/>
              <a:gd name="connsiteY1345" fmla="*/ 1219417 h 1934496"/>
              <a:gd name="connsiteX1346" fmla="*/ 1834287 w 9922465"/>
              <a:gd name="connsiteY1346" fmla="*/ 1274608 h 1934496"/>
              <a:gd name="connsiteX1347" fmla="*/ 1779095 w 9922465"/>
              <a:gd name="connsiteY1347" fmla="*/ 1329799 h 1934496"/>
              <a:gd name="connsiteX1348" fmla="*/ 1723902 w 9922465"/>
              <a:gd name="connsiteY1348" fmla="*/ 1274608 h 1934496"/>
              <a:gd name="connsiteX1349" fmla="*/ 1779095 w 9922465"/>
              <a:gd name="connsiteY1349" fmla="*/ 1219417 h 1934496"/>
              <a:gd name="connsiteX1350" fmla="*/ 1645457 w 9922465"/>
              <a:gd name="connsiteY1350" fmla="*/ 1219417 h 1934496"/>
              <a:gd name="connsiteX1351" fmla="*/ 1700655 w 9922465"/>
              <a:gd name="connsiteY1351" fmla="*/ 1274608 h 1934496"/>
              <a:gd name="connsiteX1352" fmla="*/ 1645457 w 9922465"/>
              <a:gd name="connsiteY1352" fmla="*/ 1329799 h 1934496"/>
              <a:gd name="connsiteX1353" fmla="*/ 1590265 w 9922465"/>
              <a:gd name="connsiteY1353" fmla="*/ 1274608 h 1934496"/>
              <a:gd name="connsiteX1354" fmla="*/ 1645457 w 9922465"/>
              <a:gd name="connsiteY1354" fmla="*/ 1219417 h 1934496"/>
              <a:gd name="connsiteX1355" fmla="*/ 1515168 w 9922465"/>
              <a:gd name="connsiteY1355" fmla="*/ 1219417 h 1934496"/>
              <a:gd name="connsiteX1356" fmla="*/ 1570354 w 9922465"/>
              <a:gd name="connsiteY1356" fmla="*/ 1274608 h 1934496"/>
              <a:gd name="connsiteX1357" fmla="*/ 1515168 w 9922465"/>
              <a:gd name="connsiteY1357" fmla="*/ 1329799 h 1934496"/>
              <a:gd name="connsiteX1358" fmla="*/ 1459973 w 9922465"/>
              <a:gd name="connsiteY1358" fmla="*/ 1274608 h 1934496"/>
              <a:gd name="connsiteX1359" fmla="*/ 1515168 w 9922465"/>
              <a:gd name="connsiteY1359" fmla="*/ 1219417 h 1934496"/>
              <a:gd name="connsiteX1360" fmla="*/ 1381528 w 9922465"/>
              <a:gd name="connsiteY1360" fmla="*/ 1219417 h 1934496"/>
              <a:gd name="connsiteX1361" fmla="*/ 1436723 w 9922465"/>
              <a:gd name="connsiteY1361" fmla="*/ 1274608 h 1934496"/>
              <a:gd name="connsiteX1362" fmla="*/ 1381528 w 9922465"/>
              <a:gd name="connsiteY1362" fmla="*/ 1329799 h 1934496"/>
              <a:gd name="connsiteX1363" fmla="*/ 1326339 w 9922465"/>
              <a:gd name="connsiteY1363" fmla="*/ 1274608 h 1934496"/>
              <a:gd name="connsiteX1364" fmla="*/ 1381528 w 9922465"/>
              <a:gd name="connsiteY1364" fmla="*/ 1219417 h 1934496"/>
              <a:gd name="connsiteX1365" fmla="*/ 1251239 w 9922465"/>
              <a:gd name="connsiteY1365" fmla="*/ 1219417 h 1934496"/>
              <a:gd name="connsiteX1366" fmla="*/ 1306431 w 9922465"/>
              <a:gd name="connsiteY1366" fmla="*/ 1274608 h 1934496"/>
              <a:gd name="connsiteX1367" fmla="*/ 1251239 w 9922465"/>
              <a:gd name="connsiteY1367" fmla="*/ 1329799 h 1934496"/>
              <a:gd name="connsiteX1368" fmla="*/ 1196046 w 9922465"/>
              <a:gd name="connsiteY1368" fmla="*/ 1274608 h 1934496"/>
              <a:gd name="connsiteX1369" fmla="*/ 1251239 w 9922465"/>
              <a:gd name="connsiteY1369" fmla="*/ 1219417 h 1934496"/>
              <a:gd name="connsiteX1370" fmla="*/ 1117601 w 9922465"/>
              <a:gd name="connsiteY1370" fmla="*/ 1219417 h 1934496"/>
              <a:gd name="connsiteX1371" fmla="*/ 1172794 w 9922465"/>
              <a:gd name="connsiteY1371" fmla="*/ 1274608 h 1934496"/>
              <a:gd name="connsiteX1372" fmla="*/ 1117601 w 9922465"/>
              <a:gd name="connsiteY1372" fmla="*/ 1329799 h 1934496"/>
              <a:gd name="connsiteX1373" fmla="*/ 1062408 w 9922465"/>
              <a:gd name="connsiteY1373" fmla="*/ 1274608 h 1934496"/>
              <a:gd name="connsiteX1374" fmla="*/ 1117601 w 9922465"/>
              <a:gd name="connsiteY1374" fmla="*/ 1219417 h 1934496"/>
              <a:gd name="connsiteX1375" fmla="*/ 980622 w 9922465"/>
              <a:gd name="connsiteY1375" fmla="*/ 1219417 h 1934496"/>
              <a:gd name="connsiteX1376" fmla="*/ 1035816 w 9922465"/>
              <a:gd name="connsiteY1376" fmla="*/ 1274608 h 1934496"/>
              <a:gd name="connsiteX1377" fmla="*/ 980622 w 9922465"/>
              <a:gd name="connsiteY1377" fmla="*/ 1329799 h 1934496"/>
              <a:gd name="connsiteX1378" fmla="*/ 925429 w 9922465"/>
              <a:gd name="connsiteY1378" fmla="*/ 1274608 h 1934496"/>
              <a:gd name="connsiteX1379" fmla="*/ 980622 w 9922465"/>
              <a:gd name="connsiteY1379" fmla="*/ 1219417 h 1934496"/>
              <a:gd name="connsiteX1380" fmla="*/ 9469710 w 9922465"/>
              <a:gd name="connsiteY1380" fmla="*/ 1099147 h 1934496"/>
              <a:gd name="connsiteX1381" fmla="*/ 9524902 w 9922465"/>
              <a:gd name="connsiteY1381" fmla="*/ 1154338 h 1934496"/>
              <a:gd name="connsiteX1382" fmla="*/ 9469710 w 9922465"/>
              <a:gd name="connsiteY1382" fmla="*/ 1209529 h 1934496"/>
              <a:gd name="connsiteX1383" fmla="*/ 9414518 w 9922465"/>
              <a:gd name="connsiteY1383" fmla="*/ 1154338 h 1934496"/>
              <a:gd name="connsiteX1384" fmla="*/ 9469710 w 9922465"/>
              <a:gd name="connsiteY1384" fmla="*/ 1099147 h 1934496"/>
              <a:gd name="connsiteX1385" fmla="*/ 9336075 w 9922465"/>
              <a:gd name="connsiteY1385" fmla="*/ 1099147 h 1934496"/>
              <a:gd name="connsiteX1386" fmla="*/ 9391267 w 9922465"/>
              <a:gd name="connsiteY1386" fmla="*/ 1154338 h 1934496"/>
              <a:gd name="connsiteX1387" fmla="*/ 9336075 w 9922465"/>
              <a:gd name="connsiteY1387" fmla="*/ 1209529 h 1934496"/>
              <a:gd name="connsiteX1388" fmla="*/ 9280883 w 9922465"/>
              <a:gd name="connsiteY1388" fmla="*/ 1154338 h 1934496"/>
              <a:gd name="connsiteX1389" fmla="*/ 9336075 w 9922465"/>
              <a:gd name="connsiteY1389" fmla="*/ 1099147 h 1934496"/>
              <a:gd name="connsiteX1390" fmla="*/ 9199100 w 9922465"/>
              <a:gd name="connsiteY1390" fmla="*/ 1099147 h 1934496"/>
              <a:gd name="connsiteX1391" fmla="*/ 9254292 w 9922465"/>
              <a:gd name="connsiteY1391" fmla="*/ 1154338 h 1934496"/>
              <a:gd name="connsiteX1392" fmla="*/ 9199100 w 9922465"/>
              <a:gd name="connsiteY1392" fmla="*/ 1209529 h 1934496"/>
              <a:gd name="connsiteX1393" fmla="*/ 9143908 w 9922465"/>
              <a:gd name="connsiteY1393" fmla="*/ 1154338 h 1934496"/>
              <a:gd name="connsiteX1394" fmla="*/ 9199100 w 9922465"/>
              <a:gd name="connsiteY1394" fmla="*/ 1099147 h 1934496"/>
              <a:gd name="connsiteX1395" fmla="*/ 9068805 w 9922465"/>
              <a:gd name="connsiteY1395" fmla="*/ 1099147 h 1934496"/>
              <a:gd name="connsiteX1396" fmla="*/ 9123997 w 9922465"/>
              <a:gd name="connsiteY1396" fmla="*/ 1154338 h 1934496"/>
              <a:gd name="connsiteX1397" fmla="*/ 9068805 w 9922465"/>
              <a:gd name="connsiteY1397" fmla="*/ 1209529 h 1934496"/>
              <a:gd name="connsiteX1398" fmla="*/ 9013613 w 9922465"/>
              <a:gd name="connsiteY1398" fmla="*/ 1154338 h 1934496"/>
              <a:gd name="connsiteX1399" fmla="*/ 9068805 w 9922465"/>
              <a:gd name="connsiteY1399" fmla="*/ 1099147 h 1934496"/>
              <a:gd name="connsiteX1400" fmla="*/ 8935170 w 9922465"/>
              <a:gd name="connsiteY1400" fmla="*/ 1099147 h 1934496"/>
              <a:gd name="connsiteX1401" fmla="*/ 8990362 w 9922465"/>
              <a:gd name="connsiteY1401" fmla="*/ 1154338 h 1934496"/>
              <a:gd name="connsiteX1402" fmla="*/ 8935170 w 9922465"/>
              <a:gd name="connsiteY1402" fmla="*/ 1209529 h 1934496"/>
              <a:gd name="connsiteX1403" fmla="*/ 8879978 w 9922465"/>
              <a:gd name="connsiteY1403" fmla="*/ 1154338 h 1934496"/>
              <a:gd name="connsiteX1404" fmla="*/ 8935170 w 9922465"/>
              <a:gd name="connsiteY1404" fmla="*/ 1099147 h 1934496"/>
              <a:gd name="connsiteX1405" fmla="*/ 8801536 w 9922465"/>
              <a:gd name="connsiteY1405" fmla="*/ 1099147 h 1934496"/>
              <a:gd name="connsiteX1406" fmla="*/ 8856728 w 9922465"/>
              <a:gd name="connsiteY1406" fmla="*/ 1154338 h 1934496"/>
              <a:gd name="connsiteX1407" fmla="*/ 8801536 w 9922465"/>
              <a:gd name="connsiteY1407" fmla="*/ 1209529 h 1934496"/>
              <a:gd name="connsiteX1408" fmla="*/ 8746344 w 9922465"/>
              <a:gd name="connsiteY1408" fmla="*/ 1154338 h 1934496"/>
              <a:gd name="connsiteX1409" fmla="*/ 8801536 w 9922465"/>
              <a:gd name="connsiteY1409" fmla="*/ 1099147 h 1934496"/>
              <a:gd name="connsiteX1410" fmla="*/ 8671243 w 9922465"/>
              <a:gd name="connsiteY1410" fmla="*/ 1099147 h 1934496"/>
              <a:gd name="connsiteX1411" fmla="*/ 8726435 w 9922465"/>
              <a:gd name="connsiteY1411" fmla="*/ 1154338 h 1934496"/>
              <a:gd name="connsiteX1412" fmla="*/ 8671243 w 9922465"/>
              <a:gd name="connsiteY1412" fmla="*/ 1209529 h 1934496"/>
              <a:gd name="connsiteX1413" fmla="*/ 8616051 w 9922465"/>
              <a:gd name="connsiteY1413" fmla="*/ 1154338 h 1934496"/>
              <a:gd name="connsiteX1414" fmla="*/ 8671243 w 9922465"/>
              <a:gd name="connsiteY1414" fmla="*/ 1099147 h 1934496"/>
              <a:gd name="connsiteX1415" fmla="*/ 8537609 w 9922465"/>
              <a:gd name="connsiteY1415" fmla="*/ 1099147 h 1934496"/>
              <a:gd name="connsiteX1416" fmla="*/ 8592801 w 9922465"/>
              <a:gd name="connsiteY1416" fmla="*/ 1154338 h 1934496"/>
              <a:gd name="connsiteX1417" fmla="*/ 8537609 w 9922465"/>
              <a:gd name="connsiteY1417" fmla="*/ 1209529 h 1934496"/>
              <a:gd name="connsiteX1418" fmla="*/ 8482417 w 9922465"/>
              <a:gd name="connsiteY1418" fmla="*/ 1154338 h 1934496"/>
              <a:gd name="connsiteX1419" fmla="*/ 8537609 w 9922465"/>
              <a:gd name="connsiteY1419" fmla="*/ 1099147 h 1934496"/>
              <a:gd name="connsiteX1420" fmla="*/ 8407315 w 9922465"/>
              <a:gd name="connsiteY1420" fmla="*/ 1099147 h 1934496"/>
              <a:gd name="connsiteX1421" fmla="*/ 8462507 w 9922465"/>
              <a:gd name="connsiteY1421" fmla="*/ 1154338 h 1934496"/>
              <a:gd name="connsiteX1422" fmla="*/ 8407315 w 9922465"/>
              <a:gd name="connsiteY1422" fmla="*/ 1209529 h 1934496"/>
              <a:gd name="connsiteX1423" fmla="*/ 8352123 w 9922465"/>
              <a:gd name="connsiteY1423" fmla="*/ 1154338 h 1934496"/>
              <a:gd name="connsiteX1424" fmla="*/ 8407315 w 9922465"/>
              <a:gd name="connsiteY1424" fmla="*/ 1099147 h 1934496"/>
              <a:gd name="connsiteX1425" fmla="*/ 8273681 w 9922465"/>
              <a:gd name="connsiteY1425" fmla="*/ 1099147 h 1934496"/>
              <a:gd name="connsiteX1426" fmla="*/ 8328873 w 9922465"/>
              <a:gd name="connsiteY1426" fmla="*/ 1154338 h 1934496"/>
              <a:gd name="connsiteX1427" fmla="*/ 8273681 w 9922465"/>
              <a:gd name="connsiteY1427" fmla="*/ 1209529 h 1934496"/>
              <a:gd name="connsiteX1428" fmla="*/ 8218489 w 9922465"/>
              <a:gd name="connsiteY1428" fmla="*/ 1154338 h 1934496"/>
              <a:gd name="connsiteX1429" fmla="*/ 8273681 w 9922465"/>
              <a:gd name="connsiteY1429" fmla="*/ 1099147 h 1934496"/>
              <a:gd name="connsiteX1430" fmla="*/ 8143386 w 9922465"/>
              <a:gd name="connsiteY1430" fmla="*/ 1099147 h 1934496"/>
              <a:gd name="connsiteX1431" fmla="*/ 8198578 w 9922465"/>
              <a:gd name="connsiteY1431" fmla="*/ 1154338 h 1934496"/>
              <a:gd name="connsiteX1432" fmla="*/ 8143386 w 9922465"/>
              <a:gd name="connsiteY1432" fmla="*/ 1209529 h 1934496"/>
              <a:gd name="connsiteX1433" fmla="*/ 8088194 w 9922465"/>
              <a:gd name="connsiteY1433" fmla="*/ 1154338 h 1934496"/>
              <a:gd name="connsiteX1434" fmla="*/ 8143386 w 9922465"/>
              <a:gd name="connsiteY1434" fmla="*/ 1099147 h 1934496"/>
              <a:gd name="connsiteX1435" fmla="*/ 8009752 w 9922465"/>
              <a:gd name="connsiteY1435" fmla="*/ 1099147 h 1934496"/>
              <a:gd name="connsiteX1436" fmla="*/ 8064944 w 9922465"/>
              <a:gd name="connsiteY1436" fmla="*/ 1154338 h 1934496"/>
              <a:gd name="connsiteX1437" fmla="*/ 8009752 w 9922465"/>
              <a:gd name="connsiteY1437" fmla="*/ 1209529 h 1934496"/>
              <a:gd name="connsiteX1438" fmla="*/ 7954560 w 9922465"/>
              <a:gd name="connsiteY1438" fmla="*/ 1154338 h 1934496"/>
              <a:gd name="connsiteX1439" fmla="*/ 8009752 w 9922465"/>
              <a:gd name="connsiteY1439" fmla="*/ 1099147 h 1934496"/>
              <a:gd name="connsiteX1440" fmla="*/ 7876117 w 9922465"/>
              <a:gd name="connsiteY1440" fmla="*/ 1099147 h 1934496"/>
              <a:gd name="connsiteX1441" fmla="*/ 7931309 w 9922465"/>
              <a:gd name="connsiteY1441" fmla="*/ 1154338 h 1934496"/>
              <a:gd name="connsiteX1442" fmla="*/ 7876117 w 9922465"/>
              <a:gd name="connsiteY1442" fmla="*/ 1209529 h 1934496"/>
              <a:gd name="connsiteX1443" fmla="*/ 7820925 w 9922465"/>
              <a:gd name="connsiteY1443" fmla="*/ 1154338 h 1934496"/>
              <a:gd name="connsiteX1444" fmla="*/ 7876117 w 9922465"/>
              <a:gd name="connsiteY1444" fmla="*/ 1099147 h 1934496"/>
              <a:gd name="connsiteX1445" fmla="*/ 7745822 w 9922465"/>
              <a:gd name="connsiteY1445" fmla="*/ 1099147 h 1934496"/>
              <a:gd name="connsiteX1446" fmla="*/ 7801014 w 9922465"/>
              <a:gd name="connsiteY1446" fmla="*/ 1154338 h 1934496"/>
              <a:gd name="connsiteX1447" fmla="*/ 7745822 w 9922465"/>
              <a:gd name="connsiteY1447" fmla="*/ 1209529 h 1934496"/>
              <a:gd name="connsiteX1448" fmla="*/ 7690630 w 9922465"/>
              <a:gd name="connsiteY1448" fmla="*/ 1154338 h 1934496"/>
              <a:gd name="connsiteX1449" fmla="*/ 7745822 w 9922465"/>
              <a:gd name="connsiteY1449" fmla="*/ 1099147 h 1934496"/>
              <a:gd name="connsiteX1450" fmla="*/ 7608847 w 9922465"/>
              <a:gd name="connsiteY1450" fmla="*/ 1099147 h 1934496"/>
              <a:gd name="connsiteX1451" fmla="*/ 7664039 w 9922465"/>
              <a:gd name="connsiteY1451" fmla="*/ 1154338 h 1934496"/>
              <a:gd name="connsiteX1452" fmla="*/ 7608847 w 9922465"/>
              <a:gd name="connsiteY1452" fmla="*/ 1209529 h 1934496"/>
              <a:gd name="connsiteX1453" fmla="*/ 7553655 w 9922465"/>
              <a:gd name="connsiteY1453" fmla="*/ 1154338 h 1934496"/>
              <a:gd name="connsiteX1454" fmla="*/ 7608847 w 9922465"/>
              <a:gd name="connsiteY1454" fmla="*/ 1099147 h 1934496"/>
              <a:gd name="connsiteX1455" fmla="*/ 7481895 w 9922465"/>
              <a:gd name="connsiteY1455" fmla="*/ 1099147 h 1934496"/>
              <a:gd name="connsiteX1456" fmla="*/ 7537087 w 9922465"/>
              <a:gd name="connsiteY1456" fmla="*/ 1154338 h 1934496"/>
              <a:gd name="connsiteX1457" fmla="*/ 7481895 w 9922465"/>
              <a:gd name="connsiteY1457" fmla="*/ 1209529 h 1934496"/>
              <a:gd name="connsiteX1458" fmla="*/ 7426703 w 9922465"/>
              <a:gd name="connsiteY1458" fmla="*/ 1154338 h 1934496"/>
              <a:gd name="connsiteX1459" fmla="*/ 7481895 w 9922465"/>
              <a:gd name="connsiteY1459" fmla="*/ 1099147 h 1934496"/>
              <a:gd name="connsiteX1460" fmla="*/ 7341578 w 9922465"/>
              <a:gd name="connsiteY1460" fmla="*/ 1099147 h 1934496"/>
              <a:gd name="connsiteX1461" fmla="*/ 7396770 w 9922465"/>
              <a:gd name="connsiteY1461" fmla="*/ 1154338 h 1934496"/>
              <a:gd name="connsiteX1462" fmla="*/ 7341578 w 9922465"/>
              <a:gd name="connsiteY1462" fmla="*/ 1209529 h 1934496"/>
              <a:gd name="connsiteX1463" fmla="*/ 7286386 w 9922465"/>
              <a:gd name="connsiteY1463" fmla="*/ 1154338 h 1934496"/>
              <a:gd name="connsiteX1464" fmla="*/ 7341578 w 9922465"/>
              <a:gd name="connsiteY1464" fmla="*/ 1099147 h 1934496"/>
              <a:gd name="connsiteX1465" fmla="*/ 7211285 w 9922465"/>
              <a:gd name="connsiteY1465" fmla="*/ 1099147 h 1934496"/>
              <a:gd name="connsiteX1466" fmla="*/ 7266477 w 9922465"/>
              <a:gd name="connsiteY1466" fmla="*/ 1154338 h 1934496"/>
              <a:gd name="connsiteX1467" fmla="*/ 7211285 w 9922465"/>
              <a:gd name="connsiteY1467" fmla="*/ 1209529 h 1934496"/>
              <a:gd name="connsiteX1468" fmla="*/ 7156093 w 9922465"/>
              <a:gd name="connsiteY1468" fmla="*/ 1154338 h 1934496"/>
              <a:gd name="connsiteX1469" fmla="*/ 7211285 w 9922465"/>
              <a:gd name="connsiteY1469" fmla="*/ 1099147 h 1934496"/>
              <a:gd name="connsiteX1470" fmla="*/ 7080991 w 9922465"/>
              <a:gd name="connsiteY1470" fmla="*/ 1099147 h 1934496"/>
              <a:gd name="connsiteX1471" fmla="*/ 7136183 w 9922465"/>
              <a:gd name="connsiteY1471" fmla="*/ 1154338 h 1934496"/>
              <a:gd name="connsiteX1472" fmla="*/ 7080991 w 9922465"/>
              <a:gd name="connsiteY1472" fmla="*/ 1209529 h 1934496"/>
              <a:gd name="connsiteX1473" fmla="*/ 7025799 w 9922465"/>
              <a:gd name="connsiteY1473" fmla="*/ 1154338 h 1934496"/>
              <a:gd name="connsiteX1474" fmla="*/ 7080991 w 9922465"/>
              <a:gd name="connsiteY1474" fmla="*/ 1099147 h 1934496"/>
              <a:gd name="connsiteX1475" fmla="*/ 6947356 w 9922465"/>
              <a:gd name="connsiteY1475" fmla="*/ 1099147 h 1934496"/>
              <a:gd name="connsiteX1476" fmla="*/ 7002548 w 9922465"/>
              <a:gd name="connsiteY1476" fmla="*/ 1154338 h 1934496"/>
              <a:gd name="connsiteX1477" fmla="*/ 6947356 w 9922465"/>
              <a:gd name="connsiteY1477" fmla="*/ 1209529 h 1934496"/>
              <a:gd name="connsiteX1478" fmla="*/ 6892164 w 9922465"/>
              <a:gd name="connsiteY1478" fmla="*/ 1154338 h 1934496"/>
              <a:gd name="connsiteX1479" fmla="*/ 6947356 w 9922465"/>
              <a:gd name="connsiteY1479" fmla="*/ 1099147 h 1934496"/>
              <a:gd name="connsiteX1480" fmla="*/ 6817063 w 9922465"/>
              <a:gd name="connsiteY1480" fmla="*/ 1099147 h 1934496"/>
              <a:gd name="connsiteX1481" fmla="*/ 6872255 w 9922465"/>
              <a:gd name="connsiteY1481" fmla="*/ 1154338 h 1934496"/>
              <a:gd name="connsiteX1482" fmla="*/ 6817063 w 9922465"/>
              <a:gd name="connsiteY1482" fmla="*/ 1209529 h 1934496"/>
              <a:gd name="connsiteX1483" fmla="*/ 6761871 w 9922465"/>
              <a:gd name="connsiteY1483" fmla="*/ 1154338 h 1934496"/>
              <a:gd name="connsiteX1484" fmla="*/ 6817063 w 9922465"/>
              <a:gd name="connsiteY1484" fmla="*/ 1099147 h 1934496"/>
              <a:gd name="connsiteX1485" fmla="*/ 6683430 w 9922465"/>
              <a:gd name="connsiteY1485" fmla="*/ 1099147 h 1934496"/>
              <a:gd name="connsiteX1486" fmla="*/ 6738622 w 9922465"/>
              <a:gd name="connsiteY1486" fmla="*/ 1154338 h 1934496"/>
              <a:gd name="connsiteX1487" fmla="*/ 6683430 w 9922465"/>
              <a:gd name="connsiteY1487" fmla="*/ 1209529 h 1934496"/>
              <a:gd name="connsiteX1488" fmla="*/ 6628238 w 9922465"/>
              <a:gd name="connsiteY1488" fmla="*/ 1154338 h 1934496"/>
              <a:gd name="connsiteX1489" fmla="*/ 6683430 w 9922465"/>
              <a:gd name="connsiteY1489" fmla="*/ 1099147 h 1934496"/>
              <a:gd name="connsiteX1490" fmla="*/ 6553135 w 9922465"/>
              <a:gd name="connsiteY1490" fmla="*/ 1099147 h 1934496"/>
              <a:gd name="connsiteX1491" fmla="*/ 6608327 w 9922465"/>
              <a:gd name="connsiteY1491" fmla="*/ 1154338 h 1934496"/>
              <a:gd name="connsiteX1492" fmla="*/ 6553135 w 9922465"/>
              <a:gd name="connsiteY1492" fmla="*/ 1209529 h 1934496"/>
              <a:gd name="connsiteX1493" fmla="*/ 6497943 w 9922465"/>
              <a:gd name="connsiteY1493" fmla="*/ 1154338 h 1934496"/>
              <a:gd name="connsiteX1494" fmla="*/ 6553135 w 9922465"/>
              <a:gd name="connsiteY1494" fmla="*/ 1099147 h 1934496"/>
              <a:gd name="connsiteX1495" fmla="*/ 6419501 w 9922465"/>
              <a:gd name="connsiteY1495" fmla="*/ 1099147 h 1934496"/>
              <a:gd name="connsiteX1496" fmla="*/ 6474693 w 9922465"/>
              <a:gd name="connsiteY1496" fmla="*/ 1154338 h 1934496"/>
              <a:gd name="connsiteX1497" fmla="*/ 6419501 w 9922465"/>
              <a:gd name="connsiteY1497" fmla="*/ 1209529 h 1934496"/>
              <a:gd name="connsiteX1498" fmla="*/ 6364309 w 9922465"/>
              <a:gd name="connsiteY1498" fmla="*/ 1154338 h 1934496"/>
              <a:gd name="connsiteX1499" fmla="*/ 6419501 w 9922465"/>
              <a:gd name="connsiteY1499" fmla="*/ 1099147 h 1934496"/>
              <a:gd name="connsiteX1500" fmla="*/ 6289206 w 9922465"/>
              <a:gd name="connsiteY1500" fmla="*/ 1099147 h 1934496"/>
              <a:gd name="connsiteX1501" fmla="*/ 6344398 w 9922465"/>
              <a:gd name="connsiteY1501" fmla="*/ 1154338 h 1934496"/>
              <a:gd name="connsiteX1502" fmla="*/ 6289206 w 9922465"/>
              <a:gd name="connsiteY1502" fmla="*/ 1209529 h 1934496"/>
              <a:gd name="connsiteX1503" fmla="*/ 6234014 w 9922465"/>
              <a:gd name="connsiteY1503" fmla="*/ 1154338 h 1934496"/>
              <a:gd name="connsiteX1504" fmla="*/ 6289206 w 9922465"/>
              <a:gd name="connsiteY1504" fmla="*/ 1099147 h 1934496"/>
              <a:gd name="connsiteX1505" fmla="*/ 6155571 w 9922465"/>
              <a:gd name="connsiteY1505" fmla="*/ 1099147 h 1934496"/>
              <a:gd name="connsiteX1506" fmla="*/ 6210763 w 9922465"/>
              <a:gd name="connsiteY1506" fmla="*/ 1154338 h 1934496"/>
              <a:gd name="connsiteX1507" fmla="*/ 6155571 w 9922465"/>
              <a:gd name="connsiteY1507" fmla="*/ 1209529 h 1934496"/>
              <a:gd name="connsiteX1508" fmla="*/ 6100379 w 9922465"/>
              <a:gd name="connsiteY1508" fmla="*/ 1154338 h 1934496"/>
              <a:gd name="connsiteX1509" fmla="*/ 6155571 w 9922465"/>
              <a:gd name="connsiteY1509" fmla="*/ 1099147 h 1934496"/>
              <a:gd name="connsiteX1510" fmla="*/ 6021938 w 9922465"/>
              <a:gd name="connsiteY1510" fmla="*/ 1099147 h 1934496"/>
              <a:gd name="connsiteX1511" fmla="*/ 6077130 w 9922465"/>
              <a:gd name="connsiteY1511" fmla="*/ 1154338 h 1934496"/>
              <a:gd name="connsiteX1512" fmla="*/ 6021938 w 9922465"/>
              <a:gd name="connsiteY1512" fmla="*/ 1209529 h 1934496"/>
              <a:gd name="connsiteX1513" fmla="*/ 5966746 w 9922465"/>
              <a:gd name="connsiteY1513" fmla="*/ 1154338 h 1934496"/>
              <a:gd name="connsiteX1514" fmla="*/ 6021938 w 9922465"/>
              <a:gd name="connsiteY1514" fmla="*/ 1099147 h 1934496"/>
              <a:gd name="connsiteX1515" fmla="*/ 5884963 w 9922465"/>
              <a:gd name="connsiteY1515" fmla="*/ 1099147 h 1934496"/>
              <a:gd name="connsiteX1516" fmla="*/ 5940155 w 9922465"/>
              <a:gd name="connsiteY1516" fmla="*/ 1154338 h 1934496"/>
              <a:gd name="connsiteX1517" fmla="*/ 5884963 w 9922465"/>
              <a:gd name="connsiteY1517" fmla="*/ 1209529 h 1934496"/>
              <a:gd name="connsiteX1518" fmla="*/ 5829771 w 9922465"/>
              <a:gd name="connsiteY1518" fmla="*/ 1154338 h 1934496"/>
              <a:gd name="connsiteX1519" fmla="*/ 5884963 w 9922465"/>
              <a:gd name="connsiteY1519" fmla="*/ 1099147 h 1934496"/>
              <a:gd name="connsiteX1520" fmla="*/ 5754668 w 9922465"/>
              <a:gd name="connsiteY1520" fmla="*/ 1099147 h 1934496"/>
              <a:gd name="connsiteX1521" fmla="*/ 5809860 w 9922465"/>
              <a:gd name="connsiteY1521" fmla="*/ 1154338 h 1934496"/>
              <a:gd name="connsiteX1522" fmla="*/ 5754668 w 9922465"/>
              <a:gd name="connsiteY1522" fmla="*/ 1209529 h 1934496"/>
              <a:gd name="connsiteX1523" fmla="*/ 5699476 w 9922465"/>
              <a:gd name="connsiteY1523" fmla="*/ 1154338 h 1934496"/>
              <a:gd name="connsiteX1524" fmla="*/ 5754668 w 9922465"/>
              <a:gd name="connsiteY1524" fmla="*/ 1099147 h 1934496"/>
              <a:gd name="connsiteX1525" fmla="*/ 5621031 w 9922465"/>
              <a:gd name="connsiteY1525" fmla="*/ 1099147 h 1934496"/>
              <a:gd name="connsiteX1526" fmla="*/ 5676223 w 9922465"/>
              <a:gd name="connsiteY1526" fmla="*/ 1154338 h 1934496"/>
              <a:gd name="connsiteX1527" fmla="*/ 5621031 w 9922465"/>
              <a:gd name="connsiteY1527" fmla="*/ 1209529 h 1934496"/>
              <a:gd name="connsiteX1528" fmla="*/ 5565839 w 9922465"/>
              <a:gd name="connsiteY1528" fmla="*/ 1154338 h 1934496"/>
              <a:gd name="connsiteX1529" fmla="*/ 5621031 w 9922465"/>
              <a:gd name="connsiteY1529" fmla="*/ 1099147 h 1934496"/>
              <a:gd name="connsiteX1530" fmla="*/ 5487398 w 9922465"/>
              <a:gd name="connsiteY1530" fmla="*/ 1099147 h 1934496"/>
              <a:gd name="connsiteX1531" fmla="*/ 5542590 w 9922465"/>
              <a:gd name="connsiteY1531" fmla="*/ 1154338 h 1934496"/>
              <a:gd name="connsiteX1532" fmla="*/ 5487398 w 9922465"/>
              <a:gd name="connsiteY1532" fmla="*/ 1209529 h 1934496"/>
              <a:gd name="connsiteX1533" fmla="*/ 5432206 w 9922465"/>
              <a:gd name="connsiteY1533" fmla="*/ 1154338 h 1934496"/>
              <a:gd name="connsiteX1534" fmla="*/ 5487398 w 9922465"/>
              <a:gd name="connsiteY1534" fmla="*/ 1099147 h 1934496"/>
              <a:gd name="connsiteX1535" fmla="*/ 5357105 w 9922465"/>
              <a:gd name="connsiteY1535" fmla="*/ 1099147 h 1934496"/>
              <a:gd name="connsiteX1536" fmla="*/ 5412297 w 9922465"/>
              <a:gd name="connsiteY1536" fmla="*/ 1154338 h 1934496"/>
              <a:gd name="connsiteX1537" fmla="*/ 5357105 w 9922465"/>
              <a:gd name="connsiteY1537" fmla="*/ 1209529 h 1934496"/>
              <a:gd name="connsiteX1538" fmla="*/ 5301913 w 9922465"/>
              <a:gd name="connsiteY1538" fmla="*/ 1154338 h 1934496"/>
              <a:gd name="connsiteX1539" fmla="*/ 5357105 w 9922465"/>
              <a:gd name="connsiteY1539" fmla="*/ 1099147 h 1934496"/>
              <a:gd name="connsiteX1540" fmla="*/ 5093176 w 9922465"/>
              <a:gd name="connsiteY1540" fmla="*/ 1099147 h 1934496"/>
              <a:gd name="connsiteX1541" fmla="*/ 5148368 w 9922465"/>
              <a:gd name="connsiteY1541" fmla="*/ 1154338 h 1934496"/>
              <a:gd name="connsiteX1542" fmla="*/ 5093176 w 9922465"/>
              <a:gd name="connsiteY1542" fmla="*/ 1209529 h 1934496"/>
              <a:gd name="connsiteX1543" fmla="*/ 5037984 w 9922465"/>
              <a:gd name="connsiteY1543" fmla="*/ 1154338 h 1934496"/>
              <a:gd name="connsiteX1544" fmla="*/ 5093176 w 9922465"/>
              <a:gd name="connsiteY1544" fmla="*/ 1099147 h 1934496"/>
              <a:gd name="connsiteX1545" fmla="*/ 4959540 w 9922465"/>
              <a:gd name="connsiteY1545" fmla="*/ 1099147 h 1934496"/>
              <a:gd name="connsiteX1546" fmla="*/ 5014732 w 9922465"/>
              <a:gd name="connsiteY1546" fmla="*/ 1154338 h 1934496"/>
              <a:gd name="connsiteX1547" fmla="*/ 4959540 w 9922465"/>
              <a:gd name="connsiteY1547" fmla="*/ 1209529 h 1934496"/>
              <a:gd name="connsiteX1548" fmla="*/ 4904348 w 9922465"/>
              <a:gd name="connsiteY1548" fmla="*/ 1154338 h 1934496"/>
              <a:gd name="connsiteX1549" fmla="*/ 4959540 w 9922465"/>
              <a:gd name="connsiteY1549" fmla="*/ 1099147 h 1934496"/>
              <a:gd name="connsiteX1550" fmla="*/ 4829246 w 9922465"/>
              <a:gd name="connsiteY1550" fmla="*/ 1099147 h 1934496"/>
              <a:gd name="connsiteX1551" fmla="*/ 4884438 w 9922465"/>
              <a:gd name="connsiteY1551" fmla="*/ 1154338 h 1934496"/>
              <a:gd name="connsiteX1552" fmla="*/ 4829246 w 9922465"/>
              <a:gd name="connsiteY1552" fmla="*/ 1209529 h 1934496"/>
              <a:gd name="connsiteX1553" fmla="*/ 4774054 w 9922465"/>
              <a:gd name="connsiteY1553" fmla="*/ 1154338 h 1934496"/>
              <a:gd name="connsiteX1554" fmla="*/ 4829246 w 9922465"/>
              <a:gd name="connsiteY1554" fmla="*/ 1099147 h 1934496"/>
              <a:gd name="connsiteX1555" fmla="*/ 319117 w 9922465"/>
              <a:gd name="connsiteY1555" fmla="*/ 1099147 h 1934496"/>
              <a:gd name="connsiteX1556" fmla="*/ 374310 w 9922465"/>
              <a:gd name="connsiteY1556" fmla="*/ 1154338 h 1934496"/>
              <a:gd name="connsiteX1557" fmla="*/ 319117 w 9922465"/>
              <a:gd name="connsiteY1557" fmla="*/ 1209529 h 1934496"/>
              <a:gd name="connsiteX1558" fmla="*/ 263926 w 9922465"/>
              <a:gd name="connsiteY1558" fmla="*/ 1154338 h 1934496"/>
              <a:gd name="connsiteX1559" fmla="*/ 319117 w 9922465"/>
              <a:gd name="connsiteY1559" fmla="*/ 1099147 h 1934496"/>
              <a:gd name="connsiteX1560" fmla="*/ 185484 w 9922465"/>
              <a:gd name="connsiteY1560" fmla="*/ 1099147 h 1934496"/>
              <a:gd name="connsiteX1561" fmla="*/ 240675 w 9922465"/>
              <a:gd name="connsiteY1561" fmla="*/ 1154338 h 1934496"/>
              <a:gd name="connsiteX1562" fmla="*/ 185484 w 9922465"/>
              <a:gd name="connsiteY1562" fmla="*/ 1209529 h 1934496"/>
              <a:gd name="connsiteX1563" fmla="*/ 130292 w 9922465"/>
              <a:gd name="connsiteY1563" fmla="*/ 1154338 h 1934496"/>
              <a:gd name="connsiteX1564" fmla="*/ 185484 w 9922465"/>
              <a:gd name="connsiteY1564" fmla="*/ 1099147 h 1934496"/>
              <a:gd name="connsiteX1565" fmla="*/ 55190 w 9922465"/>
              <a:gd name="connsiteY1565" fmla="*/ 1099147 h 1934496"/>
              <a:gd name="connsiteX1566" fmla="*/ 110381 w 9922465"/>
              <a:gd name="connsiteY1566" fmla="*/ 1154338 h 1934496"/>
              <a:gd name="connsiteX1567" fmla="*/ 55190 w 9922465"/>
              <a:gd name="connsiteY1567" fmla="*/ 1209529 h 1934496"/>
              <a:gd name="connsiteX1568" fmla="*/ 0 w 9922465"/>
              <a:gd name="connsiteY1568" fmla="*/ 1154338 h 1934496"/>
              <a:gd name="connsiteX1569" fmla="*/ 55190 w 9922465"/>
              <a:gd name="connsiteY1569" fmla="*/ 1099147 h 1934496"/>
              <a:gd name="connsiteX1570" fmla="*/ 3499584 w 9922465"/>
              <a:gd name="connsiteY1570" fmla="*/ 1099146 h 1934496"/>
              <a:gd name="connsiteX1571" fmla="*/ 3554776 w 9922465"/>
              <a:gd name="connsiteY1571" fmla="*/ 1154337 h 1934496"/>
              <a:gd name="connsiteX1572" fmla="*/ 3499584 w 9922465"/>
              <a:gd name="connsiteY1572" fmla="*/ 1209528 h 1934496"/>
              <a:gd name="connsiteX1573" fmla="*/ 3444392 w 9922465"/>
              <a:gd name="connsiteY1573" fmla="*/ 1154337 h 1934496"/>
              <a:gd name="connsiteX1574" fmla="*/ 3499584 w 9922465"/>
              <a:gd name="connsiteY1574" fmla="*/ 1099146 h 1934496"/>
              <a:gd name="connsiteX1575" fmla="*/ 2570894 w 9922465"/>
              <a:gd name="connsiteY1575" fmla="*/ 1099146 h 1934496"/>
              <a:gd name="connsiteX1576" fmla="*/ 2626086 w 9922465"/>
              <a:gd name="connsiteY1576" fmla="*/ 1154337 h 1934496"/>
              <a:gd name="connsiteX1577" fmla="*/ 2570894 w 9922465"/>
              <a:gd name="connsiteY1577" fmla="*/ 1209528 h 1934496"/>
              <a:gd name="connsiteX1578" fmla="*/ 2515701 w 9922465"/>
              <a:gd name="connsiteY1578" fmla="*/ 1154337 h 1934496"/>
              <a:gd name="connsiteX1579" fmla="*/ 2570894 w 9922465"/>
              <a:gd name="connsiteY1579" fmla="*/ 1099146 h 1934496"/>
              <a:gd name="connsiteX1580" fmla="*/ 2039698 w 9922465"/>
              <a:gd name="connsiteY1580" fmla="*/ 1099146 h 1934496"/>
              <a:gd name="connsiteX1581" fmla="*/ 2094891 w 9922465"/>
              <a:gd name="connsiteY1581" fmla="*/ 1154337 h 1934496"/>
              <a:gd name="connsiteX1582" fmla="*/ 2039698 w 9922465"/>
              <a:gd name="connsiteY1582" fmla="*/ 1209528 h 1934496"/>
              <a:gd name="connsiteX1583" fmla="*/ 1984505 w 9922465"/>
              <a:gd name="connsiteY1583" fmla="*/ 1154337 h 1934496"/>
              <a:gd name="connsiteX1584" fmla="*/ 2039698 w 9922465"/>
              <a:gd name="connsiteY1584" fmla="*/ 1099146 h 1934496"/>
              <a:gd name="connsiteX1585" fmla="*/ 1909401 w 9922465"/>
              <a:gd name="connsiteY1585" fmla="*/ 1099146 h 1934496"/>
              <a:gd name="connsiteX1586" fmla="*/ 1964592 w 9922465"/>
              <a:gd name="connsiteY1586" fmla="*/ 1154337 h 1934496"/>
              <a:gd name="connsiteX1587" fmla="*/ 1909401 w 9922465"/>
              <a:gd name="connsiteY1587" fmla="*/ 1209528 h 1934496"/>
              <a:gd name="connsiteX1588" fmla="*/ 1854207 w 9922465"/>
              <a:gd name="connsiteY1588" fmla="*/ 1154337 h 1934496"/>
              <a:gd name="connsiteX1589" fmla="*/ 1909401 w 9922465"/>
              <a:gd name="connsiteY1589" fmla="*/ 1099146 h 1934496"/>
              <a:gd name="connsiteX1590" fmla="*/ 1779104 w 9922465"/>
              <a:gd name="connsiteY1590" fmla="*/ 1099146 h 1934496"/>
              <a:gd name="connsiteX1591" fmla="*/ 1834296 w 9922465"/>
              <a:gd name="connsiteY1591" fmla="*/ 1154337 h 1934496"/>
              <a:gd name="connsiteX1592" fmla="*/ 1779104 w 9922465"/>
              <a:gd name="connsiteY1592" fmla="*/ 1209528 h 1934496"/>
              <a:gd name="connsiteX1593" fmla="*/ 1723910 w 9922465"/>
              <a:gd name="connsiteY1593" fmla="*/ 1154337 h 1934496"/>
              <a:gd name="connsiteX1594" fmla="*/ 1779104 w 9922465"/>
              <a:gd name="connsiteY1594" fmla="*/ 1099146 h 1934496"/>
              <a:gd name="connsiteX1595" fmla="*/ 1645469 w 9922465"/>
              <a:gd name="connsiteY1595" fmla="*/ 1099146 h 1934496"/>
              <a:gd name="connsiteX1596" fmla="*/ 1700664 w 9922465"/>
              <a:gd name="connsiteY1596" fmla="*/ 1154337 h 1934496"/>
              <a:gd name="connsiteX1597" fmla="*/ 1645469 w 9922465"/>
              <a:gd name="connsiteY1597" fmla="*/ 1209528 h 1934496"/>
              <a:gd name="connsiteX1598" fmla="*/ 1590275 w 9922465"/>
              <a:gd name="connsiteY1598" fmla="*/ 1154337 h 1934496"/>
              <a:gd name="connsiteX1599" fmla="*/ 1645469 w 9922465"/>
              <a:gd name="connsiteY1599" fmla="*/ 1099146 h 1934496"/>
              <a:gd name="connsiteX1600" fmla="*/ 1515179 w 9922465"/>
              <a:gd name="connsiteY1600" fmla="*/ 1099146 h 1934496"/>
              <a:gd name="connsiteX1601" fmla="*/ 1570364 w 9922465"/>
              <a:gd name="connsiteY1601" fmla="*/ 1154337 h 1934496"/>
              <a:gd name="connsiteX1602" fmla="*/ 1515179 w 9922465"/>
              <a:gd name="connsiteY1602" fmla="*/ 1209528 h 1934496"/>
              <a:gd name="connsiteX1603" fmla="*/ 1459982 w 9922465"/>
              <a:gd name="connsiteY1603" fmla="*/ 1154337 h 1934496"/>
              <a:gd name="connsiteX1604" fmla="*/ 1515179 w 9922465"/>
              <a:gd name="connsiteY1604" fmla="*/ 1099146 h 1934496"/>
              <a:gd name="connsiteX1605" fmla="*/ 1381539 w 9922465"/>
              <a:gd name="connsiteY1605" fmla="*/ 1099146 h 1934496"/>
              <a:gd name="connsiteX1606" fmla="*/ 1436731 w 9922465"/>
              <a:gd name="connsiteY1606" fmla="*/ 1154337 h 1934496"/>
              <a:gd name="connsiteX1607" fmla="*/ 1381539 w 9922465"/>
              <a:gd name="connsiteY1607" fmla="*/ 1209528 h 1934496"/>
              <a:gd name="connsiteX1608" fmla="*/ 1326349 w 9922465"/>
              <a:gd name="connsiteY1608" fmla="*/ 1154337 h 1934496"/>
              <a:gd name="connsiteX1609" fmla="*/ 1381539 w 9922465"/>
              <a:gd name="connsiteY1609" fmla="*/ 1099146 h 1934496"/>
              <a:gd name="connsiteX1610" fmla="*/ 1251245 w 9922465"/>
              <a:gd name="connsiteY1610" fmla="*/ 1099146 h 1934496"/>
              <a:gd name="connsiteX1611" fmla="*/ 1306439 w 9922465"/>
              <a:gd name="connsiteY1611" fmla="*/ 1154337 h 1934496"/>
              <a:gd name="connsiteX1612" fmla="*/ 1251245 w 9922465"/>
              <a:gd name="connsiteY1612" fmla="*/ 1209528 h 1934496"/>
              <a:gd name="connsiteX1613" fmla="*/ 1196054 w 9922465"/>
              <a:gd name="connsiteY1613" fmla="*/ 1154337 h 1934496"/>
              <a:gd name="connsiteX1614" fmla="*/ 1251245 w 9922465"/>
              <a:gd name="connsiteY1614" fmla="*/ 1099146 h 1934496"/>
              <a:gd name="connsiteX1615" fmla="*/ 1117610 w 9922465"/>
              <a:gd name="connsiteY1615" fmla="*/ 1099146 h 1934496"/>
              <a:gd name="connsiteX1616" fmla="*/ 1172803 w 9922465"/>
              <a:gd name="connsiteY1616" fmla="*/ 1154337 h 1934496"/>
              <a:gd name="connsiteX1617" fmla="*/ 1117610 w 9922465"/>
              <a:gd name="connsiteY1617" fmla="*/ 1209528 h 1934496"/>
              <a:gd name="connsiteX1618" fmla="*/ 1062416 w 9922465"/>
              <a:gd name="connsiteY1618" fmla="*/ 1154337 h 1934496"/>
              <a:gd name="connsiteX1619" fmla="*/ 1117610 w 9922465"/>
              <a:gd name="connsiteY1619" fmla="*/ 1099146 h 1934496"/>
              <a:gd name="connsiteX1620" fmla="*/ 980631 w 9922465"/>
              <a:gd name="connsiteY1620" fmla="*/ 1099146 h 1934496"/>
              <a:gd name="connsiteX1621" fmla="*/ 1035825 w 9922465"/>
              <a:gd name="connsiteY1621" fmla="*/ 1154337 h 1934496"/>
              <a:gd name="connsiteX1622" fmla="*/ 980631 w 9922465"/>
              <a:gd name="connsiteY1622" fmla="*/ 1209528 h 1934496"/>
              <a:gd name="connsiteX1623" fmla="*/ 925438 w 9922465"/>
              <a:gd name="connsiteY1623" fmla="*/ 1154337 h 1934496"/>
              <a:gd name="connsiteX1624" fmla="*/ 980631 w 9922465"/>
              <a:gd name="connsiteY1624" fmla="*/ 1099146 h 1934496"/>
              <a:gd name="connsiteX1625" fmla="*/ 846993 w 9922465"/>
              <a:gd name="connsiteY1625" fmla="*/ 1099146 h 1934496"/>
              <a:gd name="connsiteX1626" fmla="*/ 902186 w 9922465"/>
              <a:gd name="connsiteY1626" fmla="*/ 1154337 h 1934496"/>
              <a:gd name="connsiteX1627" fmla="*/ 846993 w 9922465"/>
              <a:gd name="connsiteY1627" fmla="*/ 1209528 h 1934496"/>
              <a:gd name="connsiteX1628" fmla="*/ 791796 w 9922465"/>
              <a:gd name="connsiteY1628" fmla="*/ 1154337 h 1934496"/>
              <a:gd name="connsiteX1629" fmla="*/ 846993 w 9922465"/>
              <a:gd name="connsiteY1629" fmla="*/ 1099146 h 1934496"/>
              <a:gd name="connsiteX1630" fmla="*/ 716690 w 9922465"/>
              <a:gd name="connsiteY1630" fmla="*/ 1099146 h 1934496"/>
              <a:gd name="connsiteX1631" fmla="*/ 771886 w 9922465"/>
              <a:gd name="connsiteY1631" fmla="*/ 1154337 h 1934496"/>
              <a:gd name="connsiteX1632" fmla="*/ 716690 w 9922465"/>
              <a:gd name="connsiteY1632" fmla="*/ 1209528 h 1934496"/>
              <a:gd name="connsiteX1633" fmla="*/ 661502 w 9922465"/>
              <a:gd name="connsiteY1633" fmla="*/ 1154337 h 1934496"/>
              <a:gd name="connsiteX1634" fmla="*/ 716690 w 9922465"/>
              <a:gd name="connsiteY1634" fmla="*/ 1099146 h 1934496"/>
              <a:gd name="connsiteX1635" fmla="*/ 583057 w 9922465"/>
              <a:gd name="connsiteY1635" fmla="*/ 1099146 h 1934496"/>
              <a:gd name="connsiteX1636" fmla="*/ 638250 w 9922465"/>
              <a:gd name="connsiteY1636" fmla="*/ 1154337 h 1934496"/>
              <a:gd name="connsiteX1637" fmla="*/ 583057 w 9922465"/>
              <a:gd name="connsiteY1637" fmla="*/ 1209528 h 1934496"/>
              <a:gd name="connsiteX1638" fmla="*/ 527863 w 9922465"/>
              <a:gd name="connsiteY1638" fmla="*/ 1154337 h 1934496"/>
              <a:gd name="connsiteX1639" fmla="*/ 583057 w 9922465"/>
              <a:gd name="connsiteY1639" fmla="*/ 1099146 h 1934496"/>
              <a:gd name="connsiteX1640" fmla="*/ 449413 w 9922465"/>
              <a:gd name="connsiteY1640" fmla="*/ 1099146 h 1934496"/>
              <a:gd name="connsiteX1641" fmla="*/ 504606 w 9922465"/>
              <a:gd name="connsiteY1641" fmla="*/ 1154337 h 1934496"/>
              <a:gd name="connsiteX1642" fmla="*/ 449413 w 9922465"/>
              <a:gd name="connsiteY1642" fmla="*/ 1209528 h 1934496"/>
              <a:gd name="connsiteX1643" fmla="*/ 394220 w 9922465"/>
              <a:gd name="connsiteY1643" fmla="*/ 1154337 h 1934496"/>
              <a:gd name="connsiteX1644" fmla="*/ 449413 w 9922465"/>
              <a:gd name="connsiteY1644" fmla="*/ 1099146 h 1934496"/>
              <a:gd name="connsiteX1645" fmla="*/ 9603343 w 9922465"/>
              <a:gd name="connsiteY1645" fmla="*/ 975533 h 1934496"/>
              <a:gd name="connsiteX1646" fmla="*/ 9658535 w 9922465"/>
              <a:gd name="connsiteY1646" fmla="*/ 1030724 h 1934496"/>
              <a:gd name="connsiteX1647" fmla="*/ 9603343 w 9922465"/>
              <a:gd name="connsiteY1647" fmla="*/ 1085915 h 1934496"/>
              <a:gd name="connsiteX1648" fmla="*/ 9548151 w 9922465"/>
              <a:gd name="connsiteY1648" fmla="*/ 1030724 h 1934496"/>
              <a:gd name="connsiteX1649" fmla="*/ 9603343 w 9922465"/>
              <a:gd name="connsiteY1649" fmla="*/ 975533 h 1934496"/>
              <a:gd name="connsiteX1650" fmla="*/ 9469708 w 9922465"/>
              <a:gd name="connsiteY1650" fmla="*/ 975533 h 1934496"/>
              <a:gd name="connsiteX1651" fmla="*/ 9524900 w 9922465"/>
              <a:gd name="connsiteY1651" fmla="*/ 1030724 h 1934496"/>
              <a:gd name="connsiteX1652" fmla="*/ 9469708 w 9922465"/>
              <a:gd name="connsiteY1652" fmla="*/ 1085915 h 1934496"/>
              <a:gd name="connsiteX1653" fmla="*/ 9414516 w 9922465"/>
              <a:gd name="connsiteY1653" fmla="*/ 1030724 h 1934496"/>
              <a:gd name="connsiteX1654" fmla="*/ 9469708 w 9922465"/>
              <a:gd name="connsiteY1654" fmla="*/ 975533 h 1934496"/>
              <a:gd name="connsiteX1655" fmla="*/ 8935170 w 9922465"/>
              <a:gd name="connsiteY1655" fmla="*/ 975533 h 1934496"/>
              <a:gd name="connsiteX1656" fmla="*/ 8990362 w 9922465"/>
              <a:gd name="connsiteY1656" fmla="*/ 1030724 h 1934496"/>
              <a:gd name="connsiteX1657" fmla="*/ 8935170 w 9922465"/>
              <a:gd name="connsiteY1657" fmla="*/ 1085915 h 1934496"/>
              <a:gd name="connsiteX1658" fmla="*/ 8879978 w 9922465"/>
              <a:gd name="connsiteY1658" fmla="*/ 1030724 h 1934496"/>
              <a:gd name="connsiteX1659" fmla="*/ 8935170 w 9922465"/>
              <a:gd name="connsiteY1659" fmla="*/ 975533 h 1934496"/>
              <a:gd name="connsiteX1660" fmla="*/ 8407315 w 9922465"/>
              <a:gd name="connsiteY1660" fmla="*/ 975533 h 1934496"/>
              <a:gd name="connsiteX1661" fmla="*/ 8462507 w 9922465"/>
              <a:gd name="connsiteY1661" fmla="*/ 1030724 h 1934496"/>
              <a:gd name="connsiteX1662" fmla="*/ 8407315 w 9922465"/>
              <a:gd name="connsiteY1662" fmla="*/ 1085915 h 1934496"/>
              <a:gd name="connsiteX1663" fmla="*/ 8352123 w 9922465"/>
              <a:gd name="connsiteY1663" fmla="*/ 1030724 h 1934496"/>
              <a:gd name="connsiteX1664" fmla="*/ 8407315 w 9922465"/>
              <a:gd name="connsiteY1664" fmla="*/ 975533 h 1934496"/>
              <a:gd name="connsiteX1665" fmla="*/ 7876116 w 9922465"/>
              <a:gd name="connsiteY1665" fmla="*/ 975533 h 1934496"/>
              <a:gd name="connsiteX1666" fmla="*/ 7931308 w 9922465"/>
              <a:gd name="connsiteY1666" fmla="*/ 1030724 h 1934496"/>
              <a:gd name="connsiteX1667" fmla="*/ 7876116 w 9922465"/>
              <a:gd name="connsiteY1667" fmla="*/ 1085915 h 1934496"/>
              <a:gd name="connsiteX1668" fmla="*/ 7820924 w 9922465"/>
              <a:gd name="connsiteY1668" fmla="*/ 1030724 h 1934496"/>
              <a:gd name="connsiteX1669" fmla="*/ 7876116 w 9922465"/>
              <a:gd name="connsiteY1669" fmla="*/ 975533 h 1934496"/>
              <a:gd name="connsiteX1670" fmla="*/ 7745822 w 9922465"/>
              <a:gd name="connsiteY1670" fmla="*/ 975533 h 1934496"/>
              <a:gd name="connsiteX1671" fmla="*/ 7801014 w 9922465"/>
              <a:gd name="connsiteY1671" fmla="*/ 1030724 h 1934496"/>
              <a:gd name="connsiteX1672" fmla="*/ 7745822 w 9922465"/>
              <a:gd name="connsiteY1672" fmla="*/ 1085915 h 1934496"/>
              <a:gd name="connsiteX1673" fmla="*/ 7690630 w 9922465"/>
              <a:gd name="connsiteY1673" fmla="*/ 1030724 h 1934496"/>
              <a:gd name="connsiteX1674" fmla="*/ 7745822 w 9922465"/>
              <a:gd name="connsiteY1674" fmla="*/ 975533 h 1934496"/>
              <a:gd name="connsiteX1675" fmla="*/ 7481894 w 9922465"/>
              <a:gd name="connsiteY1675" fmla="*/ 975533 h 1934496"/>
              <a:gd name="connsiteX1676" fmla="*/ 7537086 w 9922465"/>
              <a:gd name="connsiteY1676" fmla="*/ 1030724 h 1934496"/>
              <a:gd name="connsiteX1677" fmla="*/ 7481894 w 9922465"/>
              <a:gd name="connsiteY1677" fmla="*/ 1085915 h 1934496"/>
              <a:gd name="connsiteX1678" fmla="*/ 7426702 w 9922465"/>
              <a:gd name="connsiteY1678" fmla="*/ 1030724 h 1934496"/>
              <a:gd name="connsiteX1679" fmla="*/ 7481894 w 9922465"/>
              <a:gd name="connsiteY1679" fmla="*/ 975533 h 1934496"/>
              <a:gd name="connsiteX1680" fmla="*/ 7341578 w 9922465"/>
              <a:gd name="connsiteY1680" fmla="*/ 975533 h 1934496"/>
              <a:gd name="connsiteX1681" fmla="*/ 7396770 w 9922465"/>
              <a:gd name="connsiteY1681" fmla="*/ 1030724 h 1934496"/>
              <a:gd name="connsiteX1682" fmla="*/ 7341578 w 9922465"/>
              <a:gd name="connsiteY1682" fmla="*/ 1085915 h 1934496"/>
              <a:gd name="connsiteX1683" fmla="*/ 7286386 w 9922465"/>
              <a:gd name="connsiteY1683" fmla="*/ 1030724 h 1934496"/>
              <a:gd name="connsiteX1684" fmla="*/ 7341578 w 9922465"/>
              <a:gd name="connsiteY1684" fmla="*/ 975533 h 1934496"/>
              <a:gd name="connsiteX1685" fmla="*/ 7211285 w 9922465"/>
              <a:gd name="connsiteY1685" fmla="*/ 975533 h 1934496"/>
              <a:gd name="connsiteX1686" fmla="*/ 7266477 w 9922465"/>
              <a:gd name="connsiteY1686" fmla="*/ 1030724 h 1934496"/>
              <a:gd name="connsiteX1687" fmla="*/ 7211285 w 9922465"/>
              <a:gd name="connsiteY1687" fmla="*/ 1085915 h 1934496"/>
              <a:gd name="connsiteX1688" fmla="*/ 7156093 w 9922465"/>
              <a:gd name="connsiteY1688" fmla="*/ 1030724 h 1934496"/>
              <a:gd name="connsiteX1689" fmla="*/ 7211285 w 9922465"/>
              <a:gd name="connsiteY1689" fmla="*/ 975533 h 1934496"/>
              <a:gd name="connsiteX1690" fmla="*/ 6947356 w 9922465"/>
              <a:gd name="connsiteY1690" fmla="*/ 975533 h 1934496"/>
              <a:gd name="connsiteX1691" fmla="*/ 7002548 w 9922465"/>
              <a:gd name="connsiteY1691" fmla="*/ 1030724 h 1934496"/>
              <a:gd name="connsiteX1692" fmla="*/ 6947356 w 9922465"/>
              <a:gd name="connsiteY1692" fmla="*/ 1085915 h 1934496"/>
              <a:gd name="connsiteX1693" fmla="*/ 6892164 w 9922465"/>
              <a:gd name="connsiteY1693" fmla="*/ 1030724 h 1934496"/>
              <a:gd name="connsiteX1694" fmla="*/ 6947356 w 9922465"/>
              <a:gd name="connsiteY1694" fmla="*/ 975533 h 1934496"/>
              <a:gd name="connsiteX1695" fmla="*/ 6817063 w 9922465"/>
              <a:gd name="connsiteY1695" fmla="*/ 975533 h 1934496"/>
              <a:gd name="connsiteX1696" fmla="*/ 6872255 w 9922465"/>
              <a:gd name="connsiteY1696" fmla="*/ 1030724 h 1934496"/>
              <a:gd name="connsiteX1697" fmla="*/ 6817063 w 9922465"/>
              <a:gd name="connsiteY1697" fmla="*/ 1085915 h 1934496"/>
              <a:gd name="connsiteX1698" fmla="*/ 6761871 w 9922465"/>
              <a:gd name="connsiteY1698" fmla="*/ 1030724 h 1934496"/>
              <a:gd name="connsiteX1699" fmla="*/ 6817063 w 9922465"/>
              <a:gd name="connsiteY1699" fmla="*/ 975533 h 1934496"/>
              <a:gd name="connsiteX1700" fmla="*/ 6683430 w 9922465"/>
              <a:gd name="connsiteY1700" fmla="*/ 975533 h 1934496"/>
              <a:gd name="connsiteX1701" fmla="*/ 6738622 w 9922465"/>
              <a:gd name="connsiteY1701" fmla="*/ 1030724 h 1934496"/>
              <a:gd name="connsiteX1702" fmla="*/ 6683430 w 9922465"/>
              <a:gd name="connsiteY1702" fmla="*/ 1085915 h 1934496"/>
              <a:gd name="connsiteX1703" fmla="*/ 6628238 w 9922465"/>
              <a:gd name="connsiteY1703" fmla="*/ 1030724 h 1934496"/>
              <a:gd name="connsiteX1704" fmla="*/ 6683430 w 9922465"/>
              <a:gd name="connsiteY1704" fmla="*/ 975533 h 1934496"/>
              <a:gd name="connsiteX1705" fmla="*/ 6289206 w 9922465"/>
              <a:gd name="connsiteY1705" fmla="*/ 975533 h 1934496"/>
              <a:gd name="connsiteX1706" fmla="*/ 6344398 w 9922465"/>
              <a:gd name="connsiteY1706" fmla="*/ 1030724 h 1934496"/>
              <a:gd name="connsiteX1707" fmla="*/ 6289206 w 9922465"/>
              <a:gd name="connsiteY1707" fmla="*/ 1085915 h 1934496"/>
              <a:gd name="connsiteX1708" fmla="*/ 6234014 w 9922465"/>
              <a:gd name="connsiteY1708" fmla="*/ 1030724 h 1934496"/>
              <a:gd name="connsiteX1709" fmla="*/ 6289206 w 9922465"/>
              <a:gd name="connsiteY1709" fmla="*/ 975533 h 1934496"/>
              <a:gd name="connsiteX1710" fmla="*/ 5754667 w 9922465"/>
              <a:gd name="connsiteY1710" fmla="*/ 975533 h 1934496"/>
              <a:gd name="connsiteX1711" fmla="*/ 5809859 w 9922465"/>
              <a:gd name="connsiteY1711" fmla="*/ 1030724 h 1934496"/>
              <a:gd name="connsiteX1712" fmla="*/ 5754667 w 9922465"/>
              <a:gd name="connsiteY1712" fmla="*/ 1085915 h 1934496"/>
              <a:gd name="connsiteX1713" fmla="*/ 5699475 w 9922465"/>
              <a:gd name="connsiteY1713" fmla="*/ 1030724 h 1934496"/>
              <a:gd name="connsiteX1714" fmla="*/ 5754667 w 9922465"/>
              <a:gd name="connsiteY1714" fmla="*/ 975533 h 1934496"/>
              <a:gd name="connsiteX1715" fmla="*/ 5487398 w 9922465"/>
              <a:gd name="connsiteY1715" fmla="*/ 975533 h 1934496"/>
              <a:gd name="connsiteX1716" fmla="*/ 5542590 w 9922465"/>
              <a:gd name="connsiteY1716" fmla="*/ 1030724 h 1934496"/>
              <a:gd name="connsiteX1717" fmla="*/ 5487398 w 9922465"/>
              <a:gd name="connsiteY1717" fmla="*/ 1085915 h 1934496"/>
              <a:gd name="connsiteX1718" fmla="*/ 5432206 w 9922465"/>
              <a:gd name="connsiteY1718" fmla="*/ 1030724 h 1934496"/>
              <a:gd name="connsiteX1719" fmla="*/ 5487398 w 9922465"/>
              <a:gd name="connsiteY1719" fmla="*/ 975533 h 1934496"/>
              <a:gd name="connsiteX1720" fmla="*/ 5357105 w 9922465"/>
              <a:gd name="connsiteY1720" fmla="*/ 975533 h 1934496"/>
              <a:gd name="connsiteX1721" fmla="*/ 5412297 w 9922465"/>
              <a:gd name="connsiteY1721" fmla="*/ 1030724 h 1934496"/>
              <a:gd name="connsiteX1722" fmla="*/ 5357105 w 9922465"/>
              <a:gd name="connsiteY1722" fmla="*/ 1085915 h 1934496"/>
              <a:gd name="connsiteX1723" fmla="*/ 5301913 w 9922465"/>
              <a:gd name="connsiteY1723" fmla="*/ 1030724 h 1934496"/>
              <a:gd name="connsiteX1724" fmla="*/ 5357105 w 9922465"/>
              <a:gd name="connsiteY1724" fmla="*/ 975533 h 1934496"/>
              <a:gd name="connsiteX1725" fmla="*/ 5093176 w 9922465"/>
              <a:gd name="connsiteY1725" fmla="*/ 975533 h 1934496"/>
              <a:gd name="connsiteX1726" fmla="*/ 5148368 w 9922465"/>
              <a:gd name="connsiteY1726" fmla="*/ 1030724 h 1934496"/>
              <a:gd name="connsiteX1727" fmla="*/ 5093176 w 9922465"/>
              <a:gd name="connsiteY1727" fmla="*/ 1085915 h 1934496"/>
              <a:gd name="connsiteX1728" fmla="*/ 5037984 w 9922465"/>
              <a:gd name="connsiteY1728" fmla="*/ 1030724 h 1934496"/>
              <a:gd name="connsiteX1729" fmla="*/ 5093176 w 9922465"/>
              <a:gd name="connsiteY1729" fmla="*/ 975533 h 1934496"/>
              <a:gd name="connsiteX1730" fmla="*/ 4959540 w 9922465"/>
              <a:gd name="connsiteY1730" fmla="*/ 975533 h 1934496"/>
              <a:gd name="connsiteX1731" fmla="*/ 5014732 w 9922465"/>
              <a:gd name="connsiteY1731" fmla="*/ 1030724 h 1934496"/>
              <a:gd name="connsiteX1732" fmla="*/ 4959540 w 9922465"/>
              <a:gd name="connsiteY1732" fmla="*/ 1085915 h 1934496"/>
              <a:gd name="connsiteX1733" fmla="*/ 4904348 w 9922465"/>
              <a:gd name="connsiteY1733" fmla="*/ 1030724 h 1934496"/>
              <a:gd name="connsiteX1734" fmla="*/ 4959540 w 9922465"/>
              <a:gd name="connsiteY1734" fmla="*/ 975533 h 1934496"/>
              <a:gd name="connsiteX1735" fmla="*/ 4161075 w 9922465"/>
              <a:gd name="connsiteY1735" fmla="*/ 975533 h 1934496"/>
              <a:gd name="connsiteX1736" fmla="*/ 4216267 w 9922465"/>
              <a:gd name="connsiteY1736" fmla="*/ 1030724 h 1934496"/>
              <a:gd name="connsiteX1737" fmla="*/ 4161075 w 9922465"/>
              <a:gd name="connsiteY1737" fmla="*/ 1085915 h 1934496"/>
              <a:gd name="connsiteX1738" fmla="*/ 4105883 w 9922465"/>
              <a:gd name="connsiteY1738" fmla="*/ 1030724 h 1934496"/>
              <a:gd name="connsiteX1739" fmla="*/ 4161075 w 9922465"/>
              <a:gd name="connsiteY1739" fmla="*/ 975533 h 1934496"/>
              <a:gd name="connsiteX1740" fmla="*/ 4030782 w 9922465"/>
              <a:gd name="connsiteY1740" fmla="*/ 975533 h 1934496"/>
              <a:gd name="connsiteX1741" fmla="*/ 4085974 w 9922465"/>
              <a:gd name="connsiteY1741" fmla="*/ 1030724 h 1934496"/>
              <a:gd name="connsiteX1742" fmla="*/ 4030782 w 9922465"/>
              <a:gd name="connsiteY1742" fmla="*/ 1085915 h 1934496"/>
              <a:gd name="connsiteX1743" fmla="*/ 3975590 w 9922465"/>
              <a:gd name="connsiteY1743" fmla="*/ 1030724 h 1934496"/>
              <a:gd name="connsiteX1744" fmla="*/ 4030782 w 9922465"/>
              <a:gd name="connsiteY1744" fmla="*/ 975533 h 1934496"/>
              <a:gd name="connsiteX1745" fmla="*/ 3369290 w 9922465"/>
              <a:gd name="connsiteY1745" fmla="*/ 975533 h 1934496"/>
              <a:gd name="connsiteX1746" fmla="*/ 3424482 w 9922465"/>
              <a:gd name="connsiteY1746" fmla="*/ 1030724 h 1934496"/>
              <a:gd name="connsiteX1747" fmla="*/ 3369290 w 9922465"/>
              <a:gd name="connsiteY1747" fmla="*/ 1085915 h 1934496"/>
              <a:gd name="connsiteX1748" fmla="*/ 3314098 w 9922465"/>
              <a:gd name="connsiteY1748" fmla="*/ 1030724 h 1934496"/>
              <a:gd name="connsiteX1749" fmla="*/ 3369290 w 9922465"/>
              <a:gd name="connsiteY1749" fmla="*/ 975533 h 1934496"/>
              <a:gd name="connsiteX1750" fmla="*/ 2707880 w 9922465"/>
              <a:gd name="connsiteY1750" fmla="*/ 975533 h 1934496"/>
              <a:gd name="connsiteX1751" fmla="*/ 2763074 w 9922465"/>
              <a:gd name="connsiteY1751" fmla="*/ 1030724 h 1934496"/>
              <a:gd name="connsiteX1752" fmla="*/ 2707880 w 9922465"/>
              <a:gd name="connsiteY1752" fmla="*/ 1085915 h 1934496"/>
              <a:gd name="connsiteX1753" fmla="*/ 2652689 w 9922465"/>
              <a:gd name="connsiteY1753" fmla="*/ 1030724 h 1934496"/>
              <a:gd name="connsiteX1754" fmla="*/ 2707880 w 9922465"/>
              <a:gd name="connsiteY1754" fmla="*/ 975533 h 1934496"/>
              <a:gd name="connsiteX1755" fmla="*/ 2173347 w 9922465"/>
              <a:gd name="connsiteY1755" fmla="*/ 975533 h 1934496"/>
              <a:gd name="connsiteX1756" fmla="*/ 2228540 w 9922465"/>
              <a:gd name="connsiteY1756" fmla="*/ 1030724 h 1934496"/>
              <a:gd name="connsiteX1757" fmla="*/ 2173347 w 9922465"/>
              <a:gd name="connsiteY1757" fmla="*/ 1085915 h 1934496"/>
              <a:gd name="connsiteX1758" fmla="*/ 2118154 w 9922465"/>
              <a:gd name="connsiteY1758" fmla="*/ 1030724 h 1934496"/>
              <a:gd name="connsiteX1759" fmla="*/ 2173347 w 9922465"/>
              <a:gd name="connsiteY1759" fmla="*/ 975533 h 1934496"/>
              <a:gd name="connsiteX1760" fmla="*/ 1251258 w 9922465"/>
              <a:gd name="connsiteY1760" fmla="*/ 975533 h 1934496"/>
              <a:gd name="connsiteX1761" fmla="*/ 1306450 w 9922465"/>
              <a:gd name="connsiteY1761" fmla="*/ 1030724 h 1934496"/>
              <a:gd name="connsiteX1762" fmla="*/ 1251258 w 9922465"/>
              <a:gd name="connsiteY1762" fmla="*/ 1085915 h 1934496"/>
              <a:gd name="connsiteX1763" fmla="*/ 1196066 w 9922465"/>
              <a:gd name="connsiteY1763" fmla="*/ 1030724 h 1934496"/>
              <a:gd name="connsiteX1764" fmla="*/ 1251258 w 9922465"/>
              <a:gd name="connsiteY1764" fmla="*/ 975533 h 1934496"/>
              <a:gd name="connsiteX1765" fmla="*/ 847001 w 9922465"/>
              <a:gd name="connsiteY1765" fmla="*/ 975533 h 1934496"/>
              <a:gd name="connsiteX1766" fmla="*/ 902196 w 9922465"/>
              <a:gd name="connsiteY1766" fmla="*/ 1030724 h 1934496"/>
              <a:gd name="connsiteX1767" fmla="*/ 847001 w 9922465"/>
              <a:gd name="connsiteY1767" fmla="*/ 1085915 h 1934496"/>
              <a:gd name="connsiteX1768" fmla="*/ 791804 w 9922465"/>
              <a:gd name="connsiteY1768" fmla="*/ 1030724 h 1934496"/>
              <a:gd name="connsiteX1769" fmla="*/ 847001 w 9922465"/>
              <a:gd name="connsiteY1769" fmla="*/ 975533 h 1934496"/>
              <a:gd name="connsiteX1770" fmla="*/ 9336074 w 9922465"/>
              <a:gd name="connsiteY1770" fmla="*/ 975532 h 1934496"/>
              <a:gd name="connsiteX1771" fmla="*/ 9391266 w 9922465"/>
              <a:gd name="connsiteY1771" fmla="*/ 1030723 h 1934496"/>
              <a:gd name="connsiteX1772" fmla="*/ 9336074 w 9922465"/>
              <a:gd name="connsiteY1772" fmla="*/ 1085914 h 1934496"/>
              <a:gd name="connsiteX1773" fmla="*/ 9280882 w 9922465"/>
              <a:gd name="connsiteY1773" fmla="*/ 1030723 h 1934496"/>
              <a:gd name="connsiteX1774" fmla="*/ 9336074 w 9922465"/>
              <a:gd name="connsiteY1774" fmla="*/ 975532 h 1934496"/>
              <a:gd name="connsiteX1775" fmla="*/ 9199098 w 9922465"/>
              <a:gd name="connsiteY1775" fmla="*/ 975532 h 1934496"/>
              <a:gd name="connsiteX1776" fmla="*/ 9254290 w 9922465"/>
              <a:gd name="connsiteY1776" fmla="*/ 1030723 h 1934496"/>
              <a:gd name="connsiteX1777" fmla="*/ 9199098 w 9922465"/>
              <a:gd name="connsiteY1777" fmla="*/ 1085914 h 1934496"/>
              <a:gd name="connsiteX1778" fmla="*/ 9143906 w 9922465"/>
              <a:gd name="connsiteY1778" fmla="*/ 1030723 h 1934496"/>
              <a:gd name="connsiteX1779" fmla="*/ 9199098 w 9922465"/>
              <a:gd name="connsiteY1779" fmla="*/ 975532 h 1934496"/>
              <a:gd name="connsiteX1780" fmla="*/ 9068805 w 9922465"/>
              <a:gd name="connsiteY1780" fmla="*/ 975532 h 1934496"/>
              <a:gd name="connsiteX1781" fmla="*/ 9123997 w 9922465"/>
              <a:gd name="connsiteY1781" fmla="*/ 1030723 h 1934496"/>
              <a:gd name="connsiteX1782" fmla="*/ 9068805 w 9922465"/>
              <a:gd name="connsiteY1782" fmla="*/ 1085914 h 1934496"/>
              <a:gd name="connsiteX1783" fmla="*/ 9013613 w 9922465"/>
              <a:gd name="connsiteY1783" fmla="*/ 1030723 h 1934496"/>
              <a:gd name="connsiteX1784" fmla="*/ 9068805 w 9922465"/>
              <a:gd name="connsiteY1784" fmla="*/ 975532 h 1934496"/>
              <a:gd name="connsiteX1785" fmla="*/ 8801536 w 9922465"/>
              <a:gd name="connsiteY1785" fmla="*/ 975532 h 1934496"/>
              <a:gd name="connsiteX1786" fmla="*/ 8856728 w 9922465"/>
              <a:gd name="connsiteY1786" fmla="*/ 1030723 h 1934496"/>
              <a:gd name="connsiteX1787" fmla="*/ 8801536 w 9922465"/>
              <a:gd name="connsiteY1787" fmla="*/ 1085914 h 1934496"/>
              <a:gd name="connsiteX1788" fmla="*/ 8746344 w 9922465"/>
              <a:gd name="connsiteY1788" fmla="*/ 1030723 h 1934496"/>
              <a:gd name="connsiteX1789" fmla="*/ 8801536 w 9922465"/>
              <a:gd name="connsiteY1789" fmla="*/ 975532 h 1934496"/>
              <a:gd name="connsiteX1790" fmla="*/ 8671243 w 9922465"/>
              <a:gd name="connsiteY1790" fmla="*/ 975532 h 1934496"/>
              <a:gd name="connsiteX1791" fmla="*/ 8726435 w 9922465"/>
              <a:gd name="connsiteY1791" fmla="*/ 1030723 h 1934496"/>
              <a:gd name="connsiteX1792" fmla="*/ 8671243 w 9922465"/>
              <a:gd name="connsiteY1792" fmla="*/ 1085914 h 1934496"/>
              <a:gd name="connsiteX1793" fmla="*/ 8616051 w 9922465"/>
              <a:gd name="connsiteY1793" fmla="*/ 1030723 h 1934496"/>
              <a:gd name="connsiteX1794" fmla="*/ 8671243 w 9922465"/>
              <a:gd name="connsiteY1794" fmla="*/ 975532 h 1934496"/>
              <a:gd name="connsiteX1795" fmla="*/ 8537608 w 9922465"/>
              <a:gd name="connsiteY1795" fmla="*/ 975532 h 1934496"/>
              <a:gd name="connsiteX1796" fmla="*/ 8592800 w 9922465"/>
              <a:gd name="connsiteY1796" fmla="*/ 1030723 h 1934496"/>
              <a:gd name="connsiteX1797" fmla="*/ 8537608 w 9922465"/>
              <a:gd name="connsiteY1797" fmla="*/ 1085914 h 1934496"/>
              <a:gd name="connsiteX1798" fmla="*/ 8482416 w 9922465"/>
              <a:gd name="connsiteY1798" fmla="*/ 1030723 h 1934496"/>
              <a:gd name="connsiteX1799" fmla="*/ 8537608 w 9922465"/>
              <a:gd name="connsiteY1799" fmla="*/ 975532 h 1934496"/>
              <a:gd name="connsiteX1800" fmla="*/ 8273681 w 9922465"/>
              <a:gd name="connsiteY1800" fmla="*/ 975532 h 1934496"/>
              <a:gd name="connsiteX1801" fmla="*/ 8328873 w 9922465"/>
              <a:gd name="connsiteY1801" fmla="*/ 1030723 h 1934496"/>
              <a:gd name="connsiteX1802" fmla="*/ 8273681 w 9922465"/>
              <a:gd name="connsiteY1802" fmla="*/ 1085914 h 1934496"/>
              <a:gd name="connsiteX1803" fmla="*/ 8218489 w 9922465"/>
              <a:gd name="connsiteY1803" fmla="*/ 1030723 h 1934496"/>
              <a:gd name="connsiteX1804" fmla="*/ 8273681 w 9922465"/>
              <a:gd name="connsiteY1804" fmla="*/ 975532 h 1934496"/>
              <a:gd name="connsiteX1805" fmla="*/ 8143385 w 9922465"/>
              <a:gd name="connsiteY1805" fmla="*/ 975532 h 1934496"/>
              <a:gd name="connsiteX1806" fmla="*/ 8198577 w 9922465"/>
              <a:gd name="connsiteY1806" fmla="*/ 1030723 h 1934496"/>
              <a:gd name="connsiteX1807" fmla="*/ 8143385 w 9922465"/>
              <a:gd name="connsiteY1807" fmla="*/ 1085914 h 1934496"/>
              <a:gd name="connsiteX1808" fmla="*/ 8088193 w 9922465"/>
              <a:gd name="connsiteY1808" fmla="*/ 1030723 h 1934496"/>
              <a:gd name="connsiteX1809" fmla="*/ 8143385 w 9922465"/>
              <a:gd name="connsiteY1809" fmla="*/ 975532 h 1934496"/>
              <a:gd name="connsiteX1810" fmla="*/ 8009751 w 9922465"/>
              <a:gd name="connsiteY1810" fmla="*/ 975532 h 1934496"/>
              <a:gd name="connsiteX1811" fmla="*/ 8064943 w 9922465"/>
              <a:gd name="connsiteY1811" fmla="*/ 1030723 h 1934496"/>
              <a:gd name="connsiteX1812" fmla="*/ 8009751 w 9922465"/>
              <a:gd name="connsiteY1812" fmla="*/ 1085914 h 1934496"/>
              <a:gd name="connsiteX1813" fmla="*/ 7954559 w 9922465"/>
              <a:gd name="connsiteY1813" fmla="*/ 1030723 h 1934496"/>
              <a:gd name="connsiteX1814" fmla="*/ 8009751 w 9922465"/>
              <a:gd name="connsiteY1814" fmla="*/ 975532 h 1934496"/>
              <a:gd name="connsiteX1815" fmla="*/ 7608847 w 9922465"/>
              <a:gd name="connsiteY1815" fmla="*/ 975532 h 1934496"/>
              <a:gd name="connsiteX1816" fmla="*/ 7664039 w 9922465"/>
              <a:gd name="connsiteY1816" fmla="*/ 1030723 h 1934496"/>
              <a:gd name="connsiteX1817" fmla="*/ 7608847 w 9922465"/>
              <a:gd name="connsiteY1817" fmla="*/ 1085914 h 1934496"/>
              <a:gd name="connsiteX1818" fmla="*/ 7553655 w 9922465"/>
              <a:gd name="connsiteY1818" fmla="*/ 1030723 h 1934496"/>
              <a:gd name="connsiteX1819" fmla="*/ 7608847 w 9922465"/>
              <a:gd name="connsiteY1819" fmla="*/ 975532 h 1934496"/>
              <a:gd name="connsiteX1820" fmla="*/ 7080991 w 9922465"/>
              <a:gd name="connsiteY1820" fmla="*/ 975532 h 1934496"/>
              <a:gd name="connsiteX1821" fmla="*/ 7136183 w 9922465"/>
              <a:gd name="connsiteY1821" fmla="*/ 1030723 h 1934496"/>
              <a:gd name="connsiteX1822" fmla="*/ 7080991 w 9922465"/>
              <a:gd name="connsiteY1822" fmla="*/ 1085914 h 1934496"/>
              <a:gd name="connsiteX1823" fmla="*/ 7025799 w 9922465"/>
              <a:gd name="connsiteY1823" fmla="*/ 1030723 h 1934496"/>
              <a:gd name="connsiteX1824" fmla="*/ 7080991 w 9922465"/>
              <a:gd name="connsiteY1824" fmla="*/ 975532 h 1934496"/>
              <a:gd name="connsiteX1825" fmla="*/ 6553135 w 9922465"/>
              <a:gd name="connsiteY1825" fmla="*/ 975532 h 1934496"/>
              <a:gd name="connsiteX1826" fmla="*/ 6608327 w 9922465"/>
              <a:gd name="connsiteY1826" fmla="*/ 1030723 h 1934496"/>
              <a:gd name="connsiteX1827" fmla="*/ 6553135 w 9922465"/>
              <a:gd name="connsiteY1827" fmla="*/ 1085914 h 1934496"/>
              <a:gd name="connsiteX1828" fmla="*/ 6497943 w 9922465"/>
              <a:gd name="connsiteY1828" fmla="*/ 1030723 h 1934496"/>
              <a:gd name="connsiteX1829" fmla="*/ 6553135 w 9922465"/>
              <a:gd name="connsiteY1829" fmla="*/ 975532 h 1934496"/>
              <a:gd name="connsiteX1830" fmla="*/ 6419501 w 9922465"/>
              <a:gd name="connsiteY1830" fmla="*/ 975532 h 1934496"/>
              <a:gd name="connsiteX1831" fmla="*/ 6474693 w 9922465"/>
              <a:gd name="connsiteY1831" fmla="*/ 1030723 h 1934496"/>
              <a:gd name="connsiteX1832" fmla="*/ 6419501 w 9922465"/>
              <a:gd name="connsiteY1832" fmla="*/ 1085914 h 1934496"/>
              <a:gd name="connsiteX1833" fmla="*/ 6364309 w 9922465"/>
              <a:gd name="connsiteY1833" fmla="*/ 1030723 h 1934496"/>
              <a:gd name="connsiteX1834" fmla="*/ 6419501 w 9922465"/>
              <a:gd name="connsiteY1834" fmla="*/ 975532 h 1934496"/>
              <a:gd name="connsiteX1835" fmla="*/ 6155571 w 9922465"/>
              <a:gd name="connsiteY1835" fmla="*/ 975532 h 1934496"/>
              <a:gd name="connsiteX1836" fmla="*/ 6210763 w 9922465"/>
              <a:gd name="connsiteY1836" fmla="*/ 1030723 h 1934496"/>
              <a:gd name="connsiteX1837" fmla="*/ 6155571 w 9922465"/>
              <a:gd name="connsiteY1837" fmla="*/ 1085914 h 1934496"/>
              <a:gd name="connsiteX1838" fmla="*/ 6100379 w 9922465"/>
              <a:gd name="connsiteY1838" fmla="*/ 1030723 h 1934496"/>
              <a:gd name="connsiteX1839" fmla="*/ 6155571 w 9922465"/>
              <a:gd name="connsiteY1839" fmla="*/ 975532 h 1934496"/>
              <a:gd name="connsiteX1840" fmla="*/ 6021936 w 9922465"/>
              <a:gd name="connsiteY1840" fmla="*/ 975532 h 1934496"/>
              <a:gd name="connsiteX1841" fmla="*/ 6077128 w 9922465"/>
              <a:gd name="connsiteY1841" fmla="*/ 1030723 h 1934496"/>
              <a:gd name="connsiteX1842" fmla="*/ 6021936 w 9922465"/>
              <a:gd name="connsiteY1842" fmla="*/ 1085914 h 1934496"/>
              <a:gd name="connsiteX1843" fmla="*/ 5966744 w 9922465"/>
              <a:gd name="connsiteY1843" fmla="*/ 1030723 h 1934496"/>
              <a:gd name="connsiteX1844" fmla="*/ 6021936 w 9922465"/>
              <a:gd name="connsiteY1844" fmla="*/ 975532 h 1934496"/>
              <a:gd name="connsiteX1845" fmla="*/ 5884963 w 9922465"/>
              <a:gd name="connsiteY1845" fmla="*/ 975532 h 1934496"/>
              <a:gd name="connsiteX1846" fmla="*/ 5940155 w 9922465"/>
              <a:gd name="connsiteY1846" fmla="*/ 1030723 h 1934496"/>
              <a:gd name="connsiteX1847" fmla="*/ 5884963 w 9922465"/>
              <a:gd name="connsiteY1847" fmla="*/ 1085914 h 1934496"/>
              <a:gd name="connsiteX1848" fmla="*/ 5829771 w 9922465"/>
              <a:gd name="connsiteY1848" fmla="*/ 1030723 h 1934496"/>
              <a:gd name="connsiteX1849" fmla="*/ 5884963 w 9922465"/>
              <a:gd name="connsiteY1849" fmla="*/ 975532 h 1934496"/>
              <a:gd name="connsiteX1850" fmla="*/ 5621031 w 9922465"/>
              <a:gd name="connsiteY1850" fmla="*/ 975532 h 1934496"/>
              <a:gd name="connsiteX1851" fmla="*/ 5676223 w 9922465"/>
              <a:gd name="connsiteY1851" fmla="*/ 1030723 h 1934496"/>
              <a:gd name="connsiteX1852" fmla="*/ 5621031 w 9922465"/>
              <a:gd name="connsiteY1852" fmla="*/ 1085914 h 1934496"/>
              <a:gd name="connsiteX1853" fmla="*/ 5565839 w 9922465"/>
              <a:gd name="connsiteY1853" fmla="*/ 1030723 h 1934496"/>
              <a:gd name="connsiteX1854" fmla="*/ 5621031 w 9922465"/>
              <a:gd name="connsiteY1854" fmla="*/ 975532 h 1934496"/>
              <a:gd name="connsiteX1855" fmla="*/ 5223472 w 9922465"/>
              <a:gd name="connsiteY1855" fmla="*/ 975532 h 1934496"/>
              <a:gd name="connsiteX1856" fmla="*/ 5278664 w 9922465"/>
              <a:gd name="connsiteY1856" fmla="*/ 1030723 h 1934496"/>
              <a:gd name="connsiteX1857" fmla="*/ 5223472 w 9922465"/>
              <a:gd name="connsiteY1857" fmla="*/ 1085914 h 1934496"/>
              <a:gd name="connsiteX1858" fmla="*/ 5168280 w 9922465"/>
              <a:gd name="connsiteY1858" fmla="*/ 1030723 h 1934496"/>
              <a:gd name="connsiteX1859" fmla="*/ 5223472 w 9922465"/>
              <a:gd name="connsiteY1859" fmla="*/ 975532 h 1934496"/>
              <a:gd name="connsiteX1860" fmla="*/ 4294710 w 9922465"/>
              <a:gd name="connsiteY1860" fmla="*/ 975532 h 1934496"/>
              <a:gd name="connsiteX1861" fmla="*/ 4349902 w 9922465"/>
              <a:gd name="connsiteY1861" fmla="*/ 1030723 h 1934496"/>
              <a:gd name="connsiteX1862" fmla="*/ 4294710 w 9922465"/>
              <a:gd name="connsiteY1862" fmla="*/ 1085914 h 1934496"/>
              <a:gd name="connsiteX1863" fmla="*/ 4239518 w 9922465"/>
              <a:gd name="connsiteY1863" fmla="*/ 1030723 h 1934496"/>
              <a:gd name="connsiteX1864" fmla="*/ 4294710 w 9922465"/>
              <a:gd name="connsiteY1864" fmla="*/ 975532 h 1934496"/>
              <a:gd name="connsiteX1865" fmla="*/ 3499584 w 9922465"/>
              <a:gd name="connsiteY1865" fmla="*/ 975532 h 1934496"/>
              <a:gd name="connsiteX1866" fmla="*/ 3554776 w 9922465"/>
              <a:gd name="connsiteY1866" fmla="*/ 1030723 h 1934496"/>
              <a:gd name="connsiteX1867" fmla="*/ 3499584 w 9922465"/>
              <a:gd name="connsiteY1867" fmla="*/ 1085914 h 1934496"/>
              <a:gd name="connsiteX1868" fmla="*/ 3444392 w 9922465"/>
              <a:gd name="connsiteY1868" fmla="*/ 1030723 h 1934496"/>
              <a:gd name="connsiteX1869" fmla="*/ 3499584 w 9922465"/>
              <a:gd name="connsiteY1869" fmla="*/ 975532 h 1934496"/>
              <a:gd name="connsiteX1870" fmla="*/ 2834836 w 9922465"/>
              <a:gd name="connsiteY1870" fmla="*/ 975532 h 1934496"/>
              <a:gd name="connsiteX1871" fmla="*/ 2890028 w 9922465"/>
              <a:gd name="connsiteY1871" fmla="*/ 1030723 h 1934496"/>
              <a:gd name="connsiteX1872" fmla="*/ 2834836 w 9922465"/>
              <a:gd name="connsiteY1872" fmla="*/ 1085914 h 1934496"/>
              <a:gd name="connsiteX1873" fmla="*/ 2779643 w 9922465"/>
              <a:gd name="connsiteY1873" fmla="*/ 1030723 h 1934496"/>
              <a:gd name="connsiteX1874" fmla="*/ 2834836 w 9922465"/>
              <a:gd name="connsiteY1874" fmla="*/ 975532 h 1934496"/>
              <a:gd name="connsiteX1875" fmla="*/ 2303639 w 9922465"/>
              <a:gd name="connsiteY1875" fmla="*/ 975532 h 1934496"/>
              <a:gd name="connsiteX1876" fmla="*/ 2358830 w 9922465"/>
              <a:gd name="connsiteY1876" fmla="*/ 1030723 h 1934496"/>
              <a:gd name="connsiteX1877" fmla="*/ 2303639 w 9922465"/>
              <a:gd name="connsiteY1877" fmla="*/ 1085914 h 1934496"/>
              <a:gd name="connsiteX1878" fmla="*/ 2248448 w 9922465"/>
              <a:gd name="connsiteY1878" fmla="*/ 1030723 h 1934496"/>
              <a:gd name="connsiteX1879" fmla="*/ 2303639 w 9922465"/>
              <a:gd name="connsiteY1879" fmla="*/ 975532 h 1934496"/>
              <a:gd name="connsiteX1880" fmla="*/ 2039712 w 9922465"/>
              <a:gd name="connsiteY1880" fmla="*/ 975532 h 1934496"/>
              <a:gd name="connsiteX1881" fmla="*/ 2094905 w 9922465"/>
              <a:gd name="connsiteY1881" fmla="*/ 1030723 h 1934496"/>
              <a:gd name="connsiteX1882" fmla="*/ 2039712 w 9922465"/>
              <a:gd name="connsiteY1882" fmla="*/ 1085914 h 1934496"/>
              <a:gd name="connsiteX1883" fmla="*/ 1984518 w 9922465"/>
              <a:gd name="connsiteY1883" fmla="*/ 1030723 h 1934496"/>
              <a:gd name="connsiteX1884" fmla="*/ 2039712 w 9922465"/>
              <a:gd name="connsiteY1884" fmla="*/ 975532 h 1934496"/>
              <a:gd name="connsiteX1885" fmla="*/ 1909414 w 9922465"/>
              <a:gd name="connsiteY1885" fmla="*/ 975532 h 1934496"/>
              <a:gd name="connsiteX1886" fmla="*/ 1964607 w 9922465"/>
              <a:gd name="connsiteY1886" fmla="*/ 1030723 h 1934496"/>
              <a:gd name="connsiteX1887" fmla="*/ 1909414 w 9922465"/>
              <a:gd name="connsiteY1887" fmla="*/ 1085914 h 1934496"/>
              <a:gd name="connsiteX1888" fmla="*/ 1854220 w 9922465"/>
              <a:gd name="connsiteY1888" fmla="*/ 1030723 h 1934496"/>
              <a:gd name="connsiteX1889" fmla="*/ 1909414 w 9922465"/>
              <a:gd name="connsiteY1889" fmla="*/ 975532 h 1934496"/>
              <a:gd name="connsiteX1890" fmla="*/ 1779117 w 9922465"/>
              <a:gd name="connsiteY1890" fmla="*/ 975532 h 1934496"/>
              <a:gd name="connsiteX1891" fmla="*/ 1834310 w 9922465"/>
              <a:gd name="connsiteY1891" fmla="*/ 1030723 h 1934496"/>
              <a:gd name="connsiteX1892" fmla="*/ 1779117 w 9922465"/>
              <a:gd name="connsiteY1892" fmla="*/ 1085914 h 1934496"/>
              <a:gd name="connsiteX1893" fmla="*/ 1723923 w 9922465"/>
              <a:gd name="connsiteY1893" fmla="*/ 1030723 h 1934496"/>
              <a:gd name="connsiteX1894" fmla="*/ 1779117 w 9922465"/>
              <a:gd name="connsiteY1894" fmla="*/ 975532 h 1934496"/>
              <a:gd name="connsiteX1895" fmla="*/ 1645480 w 9922465"/>
              <a:gd name="connsiteY1895" fmla="*/ 975532 h 1934496"/>
              <a:gd name="connsiteX1896" fmla="*/ 1700679 w 9922465"/>
              <a:gd name="connsiteY1896" fmla="*/ 1030723 h 1934496"/>
              <a:gd name="connsiteX1897" fmla="*/ 1645480 w 9922465"/>
              <a:gd name="connsiteY1897" fmla="*/ 1085914 h 1934496"/>
              <a:gd name="connsiteX1898" fmla="*/ 1590287 w 9922465"/>
              <a:gd name="connsiteY1898" fmla="*/ 1030723 h 1934496"/>
              <a:gd name="connsiteX1899" fmla="*/ 1645480 w 9922465"/>
              <a:gd name="connsiteY1899" fmla="*/ 975532 h 1934496"/>
              <a:gd name="connsiteX1900" fmla="*/ 1515189 w 9922465"/>
              <a:gd name="connsiteY1900" fmla="*/ 975532 h 1934496"/>
              <a:gd name="connsiteX1901" fmla="*/ 1570378 w 9922465"/>
              <a:gd name="connsiteY1901" fmla="*/ 1030723 h 1934496"/>
              <a:gd name="connsiteX1902" fmla="*/ 1515189 w 9922465"/>
              <a:gd name="connsiteY1902" fmla="*/ 1085914 h 1934496"/>
              <a:gd name="connsiteX1903" fmla="*/ 1459995 w 9922465"/>
              <a:gd name="connsiteY1903" fmla="*/ 1030723 h 1934496"/>
              <a:gd name="connsiteX1904" fmla="*/ 1515189 w 9922465"/>
              <a:gd name="connsiteY1904" fmla="*/ 975532 h 1934496"/>
              <a:gd name="connsiteX1905" fmla="*/ 1381549 w 9922465"/>
              <a:gd name="connsiteY1905" fmla="*/ 975532 h 1934496"/>
              <a:gd name="connsiteX1906" fmla="*/ 1436744 w 9922465"/>
              <a:gd name="connsiteY1906" fmla="*/ 1030723 h 1934496"/>
              <a:gd name="connsiteX1907" fmla="*/ 1381549 w 9922465"/>
              <a:gd name="connsiteY1907" fmla="*/ 1085914 h 1934496"/>
              <a:gd name="connsiteX1908" fmla="*/ 1326361 w 9922465"/>
              <a:gd name="connsiteY1908" fmla="*/ 1030723 h 1934496"/>
              <a:gd name="connsiteX1909" fmla="*/ 1381549 w 9922465"/>
              <a:gd name="connsiteY1909" fmla="*/ 975532 h 1934496"/>
              <a:gd name="connsiteX1910" fmla="*/ 1117621 w 9922465"/>
              <a:gd name="connsiteY1910" fmla="*/ 975532 h 1934496"/>
              <a:gd name="connsiteX1911" fmla="*/ 1172814 w 9922465"/>
              <a:gd name="connsiteY1911" fmla="*/ 1030723 h 1934496"/>
              <a:gd name="connsiteX1912" fmla="*/ 1117621 w 9922465"/>
              <a:gd name="connsiteY1912" fmla="*/ 1085914 h 1934496"/>
              <a:gd name="connsiteX1913" fmla="*/ 1062427 w 9922465"/>
              <a:gd name="connsiteY1913" fmla="*/ 1030723 h 1934496"/>
              <a:gd name="connsiteX1914" fmla="*/ 1117621 w 9922465"/>
              <a:gd name="connsiteY1914" fmla="*/ 975532 h 1934496"/>
              <a:gd name="connsiteX1915" fmla="*/ 980643 w 9922465"/>
              <a:gd name="connsiteY1915" fmla="*/ 975532 h 1934496"/>
              <a:gd name="connsiteX1916" fmla="*/ 1035836 w 9922465"/>
              <a:gd name="connsiteY1916" fmla="*/ 1030723 h 1934496"/>
              <a:gd name="connsiteX1917" fmla="*/ 980643 w 9922465"/>
              <a:gd name="connsiteY1917" fmla="*/ 1085914 h 1934496"/>
              <a:gd name="connsiteX1918" fmla="*/ 925449 w 9922465"/>
              <a:gd name="connsiteY1918" fmla="*/ 1030723 h 1934496"/>
              <a:gd name="connsiteX1919" fmla="*/ 980643 w 9922465"/>
              <a:gd name="connsiteY1919" fmla="*/ 975532 h 1934496"/>
              <a:gd name="connsiteX1920" fmla="*/ 716703 w 9922465"/>
              <a:gd name="connsiteY1920" fmla="*/ 975532 h 1934496"/>
              <a:gd name="connsiteX1921" fmla="*/ 771897 w 9922465"/>
              <a:gd name="connsiteY1921" fmla="*/ 1030723 h 1934496"/>
              <a:gd name="connsiteX1922" fmla="*/ 716703 w 9922465"/>
              <a:gd name="connsiteY1922" fmla="*/ 1085914 h 1934496"/>
              <a:gd name="connsiteX1923" fmla="*/ 661511 w 9922465"/>
              <a:gd name="connsiteY1923" fmla="*/ 1030723 h 1934496"/>
              <a:gd name="connsiteX1924" fmla="*/ 716703 w 9922465"/>
              <a:gd name="connsiteY1924" fmla="*/ 975532 h 1934496"/>
              <a:gd name="connsiteX1925" fmla="*/ 583065 w 9922465"/>
              <a:gd name="connsiteY1925" fmla="*/ 975532 h 1934496"/>
              <a:gd name="connsiteX1926" fmla="*/ 638258 w 9922465"/>
              <a:gd name="connsiteY1926" fmla="*/ 1030723 h 1934496"/>
              <a:gd name="connsiteX1927" fmla="*/ 583065 w 9922465"/>
              <a:gd name="connsiteY1927" fmla="*/ 1085914 h 1934496"/>
              <a:gd name="connsiteX1928" fmla="*/ 527871 w 9922465"/>
              <a:gd name="connsiteY1928" fmla="*/ 1030723 h 1934496"/>
              <a:gd name="connsiteX1929" fmla="*/ 583065 w 9922465"/>
              <a:gd name="connsiteY1929" fmla="*/ 975532 h 1934496"/>
              <a:gd name="connsiteX1930" fmla="*/ 449419 w 9922465"/>
              <a:gd name="connsiteY1930" fmla="*/ 975532 h 1934496"/>
              <a:gd name="connsiteX1931" fmla="*/ 504612 w 9922465"/>
              <a:gd name="connsiteY1931" fmla="*/ 1030723 h 1934496"/>
              <a:gd name="connsiteX1932" fmla="*/ 449419 w 9922465"/>
              <a:gd name="connsiteY1932" fmla="*/ 1085914 h 1934496"/>
              <a:gd name="connsiteX1933" fmla="*/ 394227 w 9922465"/>
              <a:gd name="connsiteY1933" fmla="*/ 1030723 h 1934496"/>
              <a:gd name="connsiteX1934" fmla="*/ 449419 w 9922465"/>
              <a:gd name="connsiteY1934" fmla="*/ 975532 h 1934496"/>
              <a:gd name="connsiteX1935" fmla="*/ 319124 w 9922465"/>
              <a:gd name="connsiteY1935" fmla="*/ 975532 h 1934496"/>
              <a:gd name="connsiteX1936" fmla="*/ 374317 w 9922465"/>
              <a:gd name="connsiteY1936" fmla="*/ 1030723 h 1934496"/>
              <a:gd name="connsiteX1937" fmla="*/ 319124 w 9922465"/>
              <a:gd name="connsiteY1937" fmla="*/ 1085914 h 1934496"/>
              <a:gd name="connsiteX1938" fmla="*/ 263931 w 9922465"/>
              <a:gd name="connsiteY1938" fmla="*/ 1030723 h 1934496"/>
              <a:gd name="connsiteX1939" fmla="*/ 319124 w 9922465"/>
              <a:gd name="connsiteY1939" fmla="*/ 975532 h 1934496"/>
              <a:gd name="connsiteX1940" fmla="*/ 185492 w 9922465"/>
              <a:gd name="connsiteY1940" fmla="*/ 975532 h 1934496"/>
              <a:gd name="connsiteX1941" fmla="*/ 240682 w 9922465"/>
              <a:gd name="connsiteY1941" fmla="*/ 1030723 h 1934496"/>
              <a:gd name="connsiteX1942" fmla="*/ 185492 w 9922465"/>
              <a:gd name="connsiteY1942" fmla="*/ 1085914 h 1934496"/>
              <a:gd name="connsiteX1943" fmla="*/ 130299 w 9922465"/>
              <a:gd name="connsiteY1943" fmla="*/ 1030723 h 1934496"/>
              <a:gd name="connsiteX1944" fmla="*/ 185492 w 9922465"/>
              <a:gd name="connsiteY1944" fmla="*/ 975532 h 1934496"/>
              <a:gd name="connsiteX1945" fmla="*/ 55197 w 9922465"/>
              <a:gd name="connsiteY1945" fmla="*/ 975532 h 1934496"/>
              <a:gd name="connsiteX1946" fmla="*/ 110388 w 9922465"/>
              <a:gd name="connsiteY1946" fmla="*/ 1030723 h 1934496"/>
              <a:gd name="connsiteX1947" fmla="*/ 55197 w 9922465"/>
              <a:gd name="connsiteY1947" fmla="*/ 1085914 h 1934496"/>
              <a:gd name="connsiteX1948" fmla="*/ 7 w 9922465"/>
              <a:gd name="connsiteY1948" fmla="*/ 1030723 h 1934496"/>
              <a:gd name="connsiteX1949" fmla="*/ 55197 w 9922465"/>
              <a:gd name="connsiteY1949" fmla="*/ 975532 h 1934496"/>
              <a:gd name="connsiteX1950" fmla="*/ 9469710 w 9922465"/>
              <a:gd name="connsiteY1950" fmla="*/ 855263 h 1934496"/>
              <a:gd name="connsiteX1951" fmla="*/ 9524902 w 9922465"/>
              <a:gd name="connsiteY1951" fmla="*/ 910454 h 1934496"/>
              <a:gd name="connsiteX1952" fmla="*/ 9469710 w 9922465"/>
              <a:gd name="connsiteY1952" fmla="*/ 965645 h 1934496"/>
              <a:gd name="connsiteX1953" fmla="*/ 9414518 w 9922465"/>
              <a:gd name="connsiteY1953" fmla="*/ 910454 h 1934496"/>
              <a:gd name="connsiteX1954" fmla="*/ 9469710 w 9922465"/>
              <a:gd name="connsiteY1954" fmla="*/ 855263 h 1934496"/>
              <a:gd name="connsiteX1955" fmla="*/ 9336075 w 9922465"/>
              <a:gd name="connsiteY1955" fmla="*/ 855263 h 1934496"/>
              <a:gd name="connsiteX1956" fmla="*/ 9391267 w 9922465"/>
              <a:gd name="connsiteY1956" fmla="*/ 910454 h 1934496"/>
              <a:gd name="connsiteX1957" fmla="*/ 9336075 w 9922465"/>
              <a:gd name="connsiteY1957" fmla="*/ 965645 h 1934496"/>
              <a:gd name="connsiteX1958" fmla="*/ 9280883 w 9922465"/>
              <a:gd name="connsiteY1958" fmla="*/ 910454 h 1934496"/>
              <a:gd name="connsiteX1959" fmla="*/ 9336075 w 9922465"/>
              <a:gd name="connsiteY1959" fmla="*/ 855263 h 1934496"/>
              <a:gd name="connsiteX1960" fmla="*/ 9199100 w 9922465"/>
              <a:gd name="connsiteY1960" fmla="*/ 855263 h 1934496"/>
              <a:gd name="connsiteX1961" fmla="*/ 9254292 w 9922465"/>
              <a:gd name="connsiteY1961" fmla="*/ 910454 h 1934496"/>
              <a:gd name="connsiteX1962" fmla="*/ 9199100 w 9922465"/>
              <a:gd name="connsiteY1962" fmla="*/ 965645 h 1934496"/>
              <a:gd name="connsiteX1963" fmla="*/ 9143908 w 9922465"/>
              <a:gd name="connsiteY1963" fmla="*/ 910454 h 1934496"/>
              <a:gd name="connsiteX1964" fmla="*/ 9199100 w 9922465"/>
              <a:gd name="connsiteY1964" fmla="*/ 855263 h 1934496"/>
              <a:gd name="connsiteX1965" fmla="*/ 9068806 w 9922465"/>
              <a:gd name="connsiteY1965" fmla="*/ 855263 h 1934496"/>
              <a:gd name="connsiteX1966" fmla="*/ 9123998 w 9922465"/>
              <a:gd name="connsiteY1966" fmla="*/ 910454 h 1934496"/>
              <a:gd name="connsiteX1967" fmla="*/ 9068806 w 9922465"/>
              <a:gd name="connsiteY1967" fmla="*/ 965645 h 1934496"/>
              <a:gd name="connsiteX1968" fmla="*/ 9013614 w 9922465"/>
              <a:gd name="connsiteY1968" fmla="*/ 910454 h 1934496"/>
              <a:gd name="connsiteX1969" fmla="*/ 9068806 w 9922465"/>
              <a:gd name="connsiteY1969" fmla="*/ 855263 h 1934496"/>
              <a:gd name="connsiteX1970" fmla="*/ 8935170 w 9922465"/>
              <a:gd name="connsiteY1970" fmla="*/ 855263 h 1934496"/>
              <a:gd name="connsiteX1971" fmla="*/ 8990362 w 9922465"/>
              <a:gd name="connsiteY1971" fmla="*/ 910454 h 1934496"/>
              <a:gd name="connsiteX1972" fmla="*/ 8935170 w 9922465"/>
              <a:gd name="connsiteY1972" fmla="*/ 965645 h 1934496"/>
              <a:gd name="connsiteX1973" fmla="*/ 8879978 w 9922465"/>
              <a:gd name="connsiteY1973" fmla="*/ 910454 h 1934496"/>
              <a:gd name="connsiteX1974" fmla="*/ 8935170 w 9922465"/>
              <a:gd name="connsiteY1974" fmla="*/ 855263 h 1934496"/>
              <a:gd name="connsiteX1975" fmla="*/ 8801536 w 9922465"/>
              <a:gd name="connsiteY1975" fmla="*/ 855263 h 1934496"/>
              <a:gd name="connsiteX1976" fmla="*/ 8856728 w 9922465"/>
              <a:gd name="connsiteY1976" fmla="*/ 910454 h 1934496"/>
              <a:gd name="connsiteX1977" fmla="*/ 8801536 w 9922465"/>
              <a:gd name="connsiteY1977" fmla="*/ 965645 h 1934496"/>
              <a:gd name="connsiteX1978" fmla="*/ 8746344 w 9922465"/>
              <a:gd name="connsiteY1978" fmla="*/ 910454 h 1934496"/>
              <a:gd name="connsiteX1979" fmla="*/ 8801536 w 9922465"/>
              <a:gd name="connsiteY1979" fmla="*/ 855263 h 1934496"/>
              <a:gd name="connsiteX1980" fmla="*/ 8671243 w 9922465"/>
              <a:gd name="connsiteY1980" fmla="*/ 855263 h 1934496"/>
              <a:gd name="connsiteX1981" fmla="*/ 8726435 w 9922465"/>
              <a:gd name="connsiteY1981" fmla="*/ 910454 h 1934496"/>
              <a:gd name="connsiteX1982" fmla="*/ 8671243 w 9922465"/>
              <a:gd name="connsiteY1982" fmla="*/ 965645 h 1934496"/>
              <a:gd name="connsiteX1983" fmla="*/ 8616051 w 9922465"/>
              <a:gd name="connsiteY1983" fmla="*/ 910454 h 1934496"/>
              <a:gd name="connsiteX1984" fmla="*/ 8671243 w 9922465"/>
              <a:gd name="connsiteY1984" fmla="*/ 855263 h 1934496"/>
              <a:gd name="connsiteX1985" fmla="*/ 8537609 w 9922465"/>
              <a:gd name="connsiteY1985" fmla="*/ 855263 h 1934496"/>
              <a:gd name="connsiteX1986" fmla="*/ 8592801 w 9922465"/>
              <a:gd name="connsiteY1986" fmla="*/ 910454 h 1934496"/>
              <a:gd name="connsiteX1987" fmla="*/ 8537609 w 9922465"/>
              <a:gd name="connsiteY1987" fmla="*/ 965645 h 1934496"/>
              <a:gd name="connsiteX1988" fmla="*/ 8482417 w 9922465"/>
              <a:gd name="connsiteY1988" fmla="*/ 910454 h 1934496"/>
              <a:gd name="connsiteX1989" fmla="*/ 8537609 w 9922465"/>
              <a:gd name="connsiteY1989" fmla="*/ 855263 h 1934496"/>
              <a:gd name="connsiteX1990" fmla="*/ 8407315 w 9922465"/>
              <a:gd name="connsiteY1990" fmla="*/ 855263 h 1934496"/>
              <a:gd name="connsiteX1991" fmla="*/ 8462507 w 9922465"/>
              <a:gd name="connsiteY1991" fmla="*/ 910454 h 1934496"/>
              <a:gd name="connsiteX1992" fmla="*/ 8407315 w 9922465"/>
              <a:gd name="connsiteY1992" fmla="*/ 965645 h 1934496"/>
              <a:gd name="connsiteX1993" fmla="*/ 8352123 w 9922465"/>
              <a:gd name="connsiteY1993" fmla="*/ 910454 h 1934496"/>
              <a:gd name="connsiteX1994" fmla="*/ 8407315 w 9922465"/>
              <a:gd name="connsiteY1994" fmla="*/ 855263 h 1934496"/>
              <a:gd name="connsiteX1995" fmla="*/ 8273681 w 9922465"/>
              <a:gd name="connsiteY1995" fmla="*/ 855263 h 1934496"/>
              <a:gd name="connsiteX1996" fmla="*/ 8328873 w 9922465"/>
              <a:gd name="connsiteY1996" fmla="*/ 910454 h 1934496"/>
              <a:gd name="connsiteX1997" fmla="*/ 8273681 w 9922465"/>
              <a:gd name="connsiteY1997" fmla="*/ 965645 h 1934496"/>
              <a:gd name="connsiteX1998" fmla="*/ 8218489 w 9922465"/>
              <a:gd name="connsiteY1998" fmla="*/ 910454 h 1934496"/>
              <a:gd name="connsiteX1999" fmla="*/ 8273681 w 9922465"/>
              <a:gd name="connsiteY1999" fmla="*/ 855263 h 1934496"/>
              <a:gd name="connsiteX2000" fmla="*/ 8143386 w 9922465"/>
              <a:gd name="connsiteY2000" fmla="*/ 855263 h 1934496"/>
              <a:gd name="connsiteX2001" fmla="*/ 8198578 w 9922465"/>
              <a:gd name="connsiteY2001" fmla="*/ 910454 h 1934496"/>
              <a:gd name="connsiteX2002" fmla="*/ 8143386 w 9922465"/>
              <a:gd name="connsiteY2002" fmla="*/ 965645 h 1934496"/>
              <a:gd name="connsiteX2003" fmla="*/ 8088194 w 9922465"/>
              <a:gd name="connsiteY2003" fmla="*/ 910454 h 1934496"/>
              <a:gd name="connsiteX2004" fmla="*/ 8143386 w 9922465"/>
              <a:gd name="connsiteY2004" fmla="*/ 855263 h 1934496"/>
              <a:gd name="connsiteX2005" fmla="*/ 8009752 w 9922465"/>
              <a:gd name="connsiteY2005" fmla="*/ 855263 h 1934496"/>
              <a:gd name="connsiteX2006" fmla="*/ 8064944 w 9922465"/>
              <a:gd name="connsiteY2006" fmla="*/ 910454 h 1934496"/>
              <a:gd name="connsiteX2007" fmla="*/ 8009752 w 9922465"/>
              <a:gd name="connsiteY2007" fmla="*/ 965645 h 1934496"/>
              <a:gd name="connsiteX2008" fmla="*/ 7954560 w 9922465"/>
              <a:gd name="connsiteY2008" fmla="*/ 910454 h 1934496"/>
              <a:gd name="connsiteX2009" fmla="*/ 8009752 w 9922465"/>
              <a:gd name="connsiteY2009" fmla="*/ 855263 h 1934496"/>
              <a:gd name="connsiteX2010" fmla="*/ 7876117 w 9922465"/>
              <a:gd name="connsiteY2010" fmla="*/ 855263 h 1934496"/>
              <a:gd name="connsiteX2011" fmla="*/ 7931309 w 9922465"/>
              <a:gd name="connsiteY2011" fmla="*/ 910454 h 1934496"/>
              <a:gd name="connsiteX2012" fmla="*/ 7876117 w 9922465"/>
              <a:gd name="connsiteY2012" fmla="*/ 965645 h 1934496"/>
              <a:gd name="connsiteX2013" fmla="*/ 7820925 w 9922465"/>
              <a:gd name="connsiteY2013" fmla="*/ 910454 h 1934496"/>
              <a:gd name="connsiteX2014" fmla="*/ 7876117 w 9922465"/>
              <a:gd name="connsiteY2014" fmla="*/ 855263 h 1934496"/>
              <a:gd name="connsiteX2015" fmla="*/ 7745822 w 9922465"/>
              <a:gd name="connsiteY2015" fmla="*/ 855263 h 1934496"/>
              <a:gd name="connsiteX2016" fmla="*/ 7801014 w 9922465"/>
              <a:gd name="connsiteY2016" fmla="*/ 910454 h 1934496"/>
              <a:gd name="connsiteX2017" fmla="*/ 7745822 w 9922465"/>
              <a:gd name="connsiteY2017" fmla="*/ 965645 h 1934496"/>
              <a:gd name="connsiteX2018" fmla="*/ 7690630 w 9922465"/>
              <a:gd name="connsiteY2018" fmla="*/ 910454 h 1934496"/>
              <a:gd name="connsiteX2019" fmla="*/ 7745822 w 9922465"/>
              <a:gd name="connsiteY2019" fmla="*/ 855263 h 1934496"/>
              <a:gd name="connsiteX2020" fmla="*/ 7608849 w 9922465"/>
              <a:gd name="connsiteY2020" fmla="*/ 855263 h 1934496"/>
              <a:gd name="connsiteX2021" fmla="*/ 7664041 w 9922465"/>
              <a:gd name="connsiteY2021" fmla="*/ 910454 h 1934496"/>
              <a:gd name="connsiteX2022" fmla="*/ 7608849 w 9922465"/>
              <a:gd name="connsiteY2022" fmla="*/ 965645 h 1934496"/>
              <a:gd name="connsiteX2023" fmla="*/ 7553657 w 9922465"/>
              <a:gd name="connsiteY2023" fmla="*/ 910454 h 1934496"/>
              <a:gd name="connsiteX2024" fmla="*/ 7608849 w 9922465"/>
              <a:gd name="connsiteY2024" fmla="*/ 855263 h 1934496"/>
              <a:gd name="connsiteX2025" fmla="*/ 7481895 w 9922465"/>
              <a:gd name="connsiteY2025" fmla="*/ 855263 h 1934496"/>
              <a:gd name="connsiteX2026" fmla="*/ 7537087 w 9922465"/>
              <a:gd name="connsiteY2026" fmla="*/ 910454 h 1934496"/>
              <a:gd name="connsiteX2027" fmla="*/ 7481895 w 9922465"/>
              <a:gd name="connsiteY2027" fmla="*/ 965645 h 1934496"/>
              <a:gd name="connsiteX2028" fmla="*/ 7426703 w 9922465"/>
              <a:gd name="connsiteY2028" fmla="*/ 910454 h 1934496"/>
              <a:gd name="connsiteX2029" fmla="*/ 7481895 w 9922465"/>
              <a:gd name="connsiteY2029" fmla="*/ 855263 h 1934496"/>
              <a:gd name="connsiteX2030" fmla="*/ 7341578 w 9922465"/>
              <a:gd name="connsiteY2030" fmla="*/ 855263 h 1934496"/>
              <a:gd name="connsiteX2031" fmla="*/ 7396770 w 9922465"/>
              <a:gd name="connsiteY2031" fmla="*/ 910454 h 1934496"/>
              <a:gd name="connsiteX2032" fmla="*/ 7341578 w 9922465"/>
              <a:gd name="connsiteY2032" fmla="*/ 965645 h 1934496"/>
              <a:gd name="connsiteX2033" fmla="*/ 7286386 w 9922465"/>
              <a:gd name="connsiteY2033" fmla="*/ 910454 h 1934496"/>
              <a:gd name="connsiteX2034" fmla="*/ 7341578 w 9922465"/>
              <a:gd name="connsiteY2034" fmla="*/ 855263 h 1934496"/>
              <a:gd name="connsiteX2035" fmla="*/ 7211285 w 9922465"/>
              <a:gd name="connsiteY2035" fmla="*/ 855263 h 1934496"/>
              <a:gd name="connsiteX2036" fmla="*/ 7266477 w 9922465"/>
              <a:gd name="connsiteY2036" fmla="*/ 910454 h 1934496"/>
              <a:gd name="connsiteX2037" fmla="*/ 7211285 w 9922465"/>
              <a:gd name="connsiteY2037" fmla="*/ 965645 h 1934496"/>
              <a:gd name="connsiteX2038" fmla="*/ 7156093 w 9922465"/>
              <a:gd name="connsiteY2038" fmla="*/ 910454 h 1934496"/>
              <a:gd name="connsiteX2039" fmla="*/ 7211285 w 9922465"/>
              <a:gd name="connsiteY2039" fmla="*/ 855263 h 1934496"/>
              <a:gd name="connsiteX2040" fmla="*/ 7080993 w 9922465"/>
              <a:gd name="connsiteY2040" fmla="*/ 855263 h 1934496"/>
              <a:gd name="connsiteX2041" fmla="*/ 7136185 w 9922465"/>
              <a:gd name="connsiteY2041" fmla="*/ 910454 h 1934496"/>
              <a:gd name="connsiteX2042" fmla="*/ 7080993 w 9922465"/>
              <a:gd name="connsiteY2042" fmla="*/ 965645 h 1934496"/>
              <a:gd name="connsiteX2043" fmla="*/ 7025801 w 9922465"/>
              <a:gd name="connsiteY2043" fmla="*/ 910454 h 1934496"/>
              <a:gd name="connsiteX2044" fmla="*/ 7080993 w 9922465"/>
              <a:gd name="connsiteY2044" fmla="*/ 855263 h 1934496"/>
              <a:gd name="connsiteX2045" fmla="*/ 6947357 w 9922465"/>
              <a:gd name="connsiteY2045" fmla="*/ 855263 h 1934496"/>
              <a:gd name="connsiteX2046" fmla="*/ 7002549 w 9922465"/>
              <a:gd name="connsiteY2046" fmla="*/ 910454 h 1934496"/>
              <a:gd name="connsiteX2047" fmla="*/ 6947357 w 9922465"/>
              <a:gd name="connsiteY2047" fmla="*/ 965645 h 1934496"/>
              <a:gd name="connsiteX2048" fmla="*/ 6892165 w 9922465"/>
              <a:gd name="connsiteY2048" fmla="*/ 910454 h 1934496"/>
              <a:gd name="connsiteX2049" fmla="*/ 6947357 w 9922465"/>
              <a:gd name="connsiteY2049" fmla="*/ 855263 h 1934496"/>
              <a:gd name="connsiteX2050" fmla="*/ 6817063 w 9922465"/>
              <a:gd name="connsiteY2050" fmla="*/ 855263 h 1934496"/>
              <a:gd name="connsiteX2051" fmla="*/ 6872255 w 9922465"/>
              <a:gd name="connsiteY2051" fmla="*/ 910454 h 1934496"/>
              <a:gd name="connsiteX2052" fmla="*/ 6817063 w 9922465"/>
              <a:gd name="connsiteY2052" fmla="*/ 965645 h 1934496"/>
              <a:gd name="connsiteX2053" fmla="*/ 6761871 w 9922465"/>
              <a:gd name="connsiteY2053" fmla="*/ 910454 h 1934496"/>
              <a:gd name="connsiteX2054" fmla="*/ 6817063 w 9922465"/>
              <a:gd name="connsiteY2054" fmla="*/ 855263 h 1934496"/>
              <a:gd name="connsiteX2055" fmla="*/ 6683430 w 9922465"/>
              <a:gd name="connsiteY2055" fmla="*/ 855263 h 1934496"/>
              <a:gd name="connsiteX2056" fmla="*/ 6738622 w 9922465"/>
              <a:gd name="connsiteY2056" fmla="*/ 910454 h 1934496"/>
              <a:gd name="connsiteX2057" fmla="*/ 6683430 w 9922465"/>
              <a:gd name="connsiteY2057" fmla="*/ 965645 h 1934496"/>
              <a:gd name="connsiteX2058" fmla="*/ 6628238 w 9922465"/>
              <a:gd name="connsiteY2058" fmla="*/ 910454 h 1934496"/>
              <a:gd name="connsiteX2059" fmla="*/ 6683430 w 9922465"/>
              <a:gd name="connsiteY2059" fmla="*/ 855263 h 1934496"/>
              <a:gd name="connsiteX2060" fmla="*/ 6553135 w 9922465"/>
              <a:gd name="connsiteY2060" fmla="*/ 855263 h 1934496"/>
              <a:gd name="connsiteX2061" fmla="*/ 6608327 w 9922465"/>
              <a:gd name="connsiteY2061" fmla="*/ 910454 h 1934496"/>
              <a:gd name="connsiteX2062" fmla="*/ 6553135 w 9922465"/>
              <a:gd name="connsiteY2062" fmla="*/ 965645 h 1934496"/>
              <a:gd name="connsiteX2063" fmla="*/ 6497943 w 9922465"/>
              <a:gd name="connsiteY2063" fmla="*/ 910454 h 1934496"/>
              <a:gd name="connsiteX2064" fmla="*/ 6553135 w 9922465"/>
              <a:gd name="connsiteY2064" fmla="*/ 855263 h 1934496"/>
              <a:gd name="connsiteX2065" fmla="*/ 6419502 w 9922465"/>
              <a:gd name="connsiteY2065" fmla="*/ 855263 h 1934496"/>
              <a:gd name="connsiteX2066" fmla="*/ 6474694 w 9922465"/>
              <a:gd name="connsiteY2066" fmla="*/ 910454 h 1934496"/>
              <a:gd name="connsiteX2067" fmla="*/ 6419502 w 9922465"/>
              <a:gd name="connsiteY2067" fmla="*/ 965645 h 1934496"/>
              <a:gd name="connsiteX2068" fmla="*/ 6364310 w 9922465"/>
              <a:gd name="connsiteY2068" fmla="*/ 910454 h 1934496"/>
              <a:gd name="connsiteX2069" fmla="*/ 6419502 w 9922465"/>
              <a:gd name="connsiteY2069" fmla="*/ 855263 h 1934496"/>
              <a:gd name="connsiteX2070" fmla="*/ 6289206 w 9922465"/>
              <a:gd name="connsiteY2070" fmla="*/ 855263 h 1934496"/>
              <a:gd name="connsiteX2071" fmla="*/ 6344398 w 9922465"/>
              <a:gd name="connsiteY2071" fmla="*/ 910454 h 1934496"/>
              <a:gd name="connsiteX2072" fmla="*/ 6289206 w 9922465"/>
              <a:gd name="connsiteY2072" fmla="*/ 965645 h 1934496"/>
              <a:gd name="connsiteX2073" fmla="*/ 6234014 w 9922465"/>
              <a:gd name="connsiteY2073" fmla="*/ 910454 h 1934496"/>
              <a:gd name="connsiteX2074" fmla="*/ 6289206 w 9922465"/>
              <a:gd name="connsiteY2074" fmla="*/ 855263 h 1934496"/>
              <a:gd name="connsiteX2075" fmla="*/ 6155571 w 9922465"/>
              <a:gd name="connsiteY2075" fmla="*/ 855263 h 1934496"/>
              <a:gd name="connsiteX2076" fmla="*/ 6210763 w 9922465"/>
              <a:gd name="connsiteY2076" fmla="*/ 910454 h 1934496"/>
              <a:gd name="connsiteX2077" fmla="*/ 6155571 w 9922465"/>
              <a:gd name="connsiteY2077" fmla="*/ 965645 h 1934496"/>
              <a:gd name="connsiteX2078" fmla="*/ 6100379 w 9922465"/>
              <a:gd name="connsiteY2078" fmla="*/ 910454 h 1934496"/>
              <a:gd name="connsiteX2079" fmla="*/ 6155571 w 9922465"/>
              <a:gd name="connsiteY2079" fmla="*/ 855263 h 1934496"/>
              <a:gd name="connsiteX2080" fmla="*/ 6021938 w 9922465"/>
              <a:gd name="connsiteY2080" fmla="*/ 855263 h 1934496"/>
              <a:gd name="connsiteX2081" fmla="*/ 6077130 w 9922465"/>
              <a:gd name="connsiteY2081" fmla="*/ 910454 h 1934496"/>
              <a:gd name="connsiteX2082" fmla="*/ 6021938 w 9922465"/>
              <a:gd name="connsiteY2082" fmla="*/ 965645 h 1934496"/>
              <a:gd name="connsiteX2083" fmla="*/ 5966746 w 9922465"/>
              <a:gd name="connsiteY2083" fmla="*/ 910454 h 1934496"/>
              <a:gd name="connsiteX2084" fmla="*/ 6021938 w 9922465"/>
              <a:gd name="connsiteY2084" fmla="*/ 855263 h 1934496"/>
              <a:gd name="connsiteX2085" fmla="*/ 5884961 w 9922465"/>
              <a:gd name="connsiteY2085" fmla="*/ 855263 h 1934496"/>
              <a:gd name="connsiteX2086" fmla="*/ 5940153 w 9922465"/>
              <a:gd name="connsiteY2086" fmla="*/ 910454 h 1934496"/>
              <a:gd name="connsiteX2087" fmla="*/ 5884961 w 9922465"/>
              <a:gd name="connsiteY2087" fmla="*/ 965645 h 1934496"/>
              <a:gd name="connsiteX2088" fmla="*/ 5829769 w 9922465"/>
              <a:gd name="connsiteY2088" fmla="*/ 910454 h 1934496"/>
              <a:gd name="connsiteX2089" fmla="*/ 5884961 w 9922465"/>
              <a:gd name="connsiteY2089" fmla="*/ 855263 h 1934496"/>
              <a:gd name="connsiteX2090" fmla="*/ 5754668 w 9922465"/>
              <a:gd name="connsiteY2090" fmla="*/ 855263 h 1934496"/>
              <a:gd name="connsiteX2091" fmla="*/ 5809860 w 9922465"/>
              <a:gd name="connsiteY2091" fmla="*/ 910454 h 1934496"/>
              <a:gd name="connsiteX2092" fmla="*/ 5754668 w 9922465"/>
              <a:gd name="connsiteY2092" fmla="*/ 965645 h 1934496"/>
              <a:gd name="connsiteX2093" fmla="*/ 5699476 w 9922465"/>
              <a:gd name="connsiteY2093" fmla="*/ 910454 h 1934496"/>
              <a:gd name="connsiteX2094" fmla="*/ 5754668 w 9922465"/>
              <a:gd name="connsiteY2094" fmla="*/ 855263 h 1934496"/>
              <a:gd name="connsiteX2095" fmla="*/ 5621034 w 9922465"/>
              <a:gd name="connsiteY2095" fmla="*/ 855263 h 1934496"/>
              <a:gd name="connsiteX2096" fmla="*/ 5676226 w 9922465"/>
              <a:gd name="connsiteY2096" fmla="*/ 910454 h 1934496"/>
              <a:gd name="connsiteX2097" fmla="*/ 5621034 w 9922465"/>
              <a:gd name="connsiteY2097" fmla="*/ 965645 h 1934496"/>
              <a:gd name="connsiteX2098" fmla="*/ 5565842 w 9922465"/>
              <a:gd name="connsiteY2098" fmla="*/ 910454 h 1934496"/>
              <a:gd name="connsiteX2099" fmla="*/ 5621034 w 9922465"/>
              <a:gd name="connsiteY2099" fmla="*/ 855263 h 1934496"/>
              <a:gd name="connsiteX2100" fmla="*/ 5487399 w 9922465"/>
              <a:gd name="connsiteY2100" fmla="*/ 855263 h 1934496"/>
              <a:gd name="connsiteX2101" fmla="*/ 5542591 w 9922465"/>
              <a:gd name="connsiteY2101" fmla="*/ 910454 h 1934496"/>
              <a:gd name="connsiteX2102" fmla="*/ 5487399 w 9922465"/>
              <a:gd name="connsiteY2102" fmla="*/ 965645 h 1934496"/>
              <a:gd name="connsiteX2103" fmla="*/ 5432207 w 9922465"/>
              <a:gd name="connsiteY2103" fmla="*/ 910454 h 1934496"/>
              <a:gd name="connsiteX2104" fmla="*/ 5487399 w 9922465"/>
              <a:gd name="connsiteY2104" fmla="*/ 855263 h 1934496"/>
              <a:gd name="connsiteX2105" fmla="*/ 5357105 w 9922465"/>
              <a:gd name="connsiteY2105" fmla="*/ 855263 h 1934496"/>
              <a:gd name="connsiteX2106" fmla="*/ 5412297 w 9922465"/>
              <a:gd name="connsiteY2106" fmla="*/ 910454 h 1934496"/>
              <a:gd name="connsiteX2107" fmla="*/ 5357105 w 9922465"/>
              <a:gd name="connsiteY2107" fmla="*/ 965645 h 1934496"/>
              <a:gd name="connsiteX2108" fmla="*/ 5301913 w 9922465"/>
              <a:gd name="connsiteY2108" fmla="*/ 910454 h 1934496"/>
              <a:gd name="connsiteX2109" fmla="*/ 5357105 w 9922465"/>
              <a:gd name="connsiteY2109" fmla="*/ 855263 h 1934496"/>
              <a:gd name="connsiteX2110" fmla="*/ 5223472 w 9922465"/>
              <a:gd name="connsiteY2110" fmla="*/ 855263 h 1934496"/>
              <a:gd name="connsiteX2111" fmla="*/ 5278664 w 9922465"/>
              <a:gd name="connsiteY2111" fmla="*/ 910454 h 1934496"/>
              <a:gd name="connsiteX2112" fmla="*/ 5223472 w 9922465"/>
              <a:gd name="connsiteY2112" fmla="*/ 965645 h 1934496"/>
              <a:gd name="connsiteX2113" fmla="*/ 5168280 w 9922465"/>
              <a:gd name="connsiteY2113" fmla="*/ 910454 h 1934496"/>
              <a:gd name="connsiteX2114" fmla="*/ 5223472 w 9922465"/>
              <a:gd name="connsiteY2114" fmla="*/ 855263 h 1934496"/>
              <a:gd name="connsiteX2115" fmla="*/ 5093178 w 9922465"/>
              <a:gd name="connsiteY2115" fmla="*/ 855263 h 1934496"/>
              <a:gd name="connsiteX2116" fmla="*/ 5148370 w 9922465"/>
              <a:gd name="connsiteY2116" fmla="*/ 910454 h 1934496"/>
              <a:gd name="connsiteX2117" fmla="*/ 5093178 w 9922465"/>
              <a:gd name="connsiteY2117" fmla="*/ 965645 h 1934496"/>
              <a:gd name="connsiteX2118" fmla="*/ 5037986 w 9922465"/>
              <a:gd name="connsiteY2118" fmla="*/ 910454 h 1934496"/>
              <a:gd name="connsiteX2119" fmla="*/ 5093178 w 9922465"/>
              <a:gd name="connsiteY2119" fmla="*/ 855263 h 1934496"/>
              <a:gd name="connsiteX2120" fmla="*/ 4161076 w 9922465"/>
              <a:gd name="connsiteY2120" fmla="*/ 855263 h 1934496"/>
              <a:gd name="connsiteX2121" fmla="*/ 4216268 w 9922465"/>
              <a:gd name="connsiteY2121" fmla="*/ 910454 h 1934496"/>
              <a:gd name="connsiteX2122" fmla="*/ 4161076 w 9922465"/>
              <a:gd name="connsiteY2122" fmla="*/ 965645 h 1934496"/>
              <a:gd name="connsiteX2123" fmla="*/ 4105884 w 9922465"/>
              <a:gd name="connsiteY2123" fmla="*/ 910454 h 1934496"/>
              <a:gd name="connsiteX2124" fmla="*/ 4161076 w 9922465"/>
              <a:gd name="connsiteY2124" fmla="*/ 855263 h 1934496"/>
              <a:gd name="connsiteX2125" fmla="*/ 3633218 w 9922465"/>
              <a:gd name="connsiteY2125" fmla="*/ 855263 h 1934496"/>
              <a:gd name="connsiteX2126" fmla="*/ 3688410 w 9922465"/>
              <a:gd name="connsiteY2126" fmla="*/ 910454 h 1934496"/>
              <a:gd name="connsiteX2127" fmla="*/ 3633218 w 9922465"/>
              <a:gd name="connsiteY2127" fmla="*/ 965645 h 1934496"/>
              <a:gd name="connsiteX2128" fmla="*/ 3578026 w 9922465"/>
              <a:gd name="connsiteY2128" fmla="*/ 910454 h 1934496"/>
              <a:gd name="connsiteX2129" fmla="*/ 3633218 w 9922465"/>
              <a:gd name="connsiteY2129" fmla="*/ 855263 h 1934496"/>
              <a:gd name="connsiteX2130" fmla="*/ 3499586 w 9922465"/>
              <a:gd name="connsiteY2130" fmla="*/ 855263 h 1934496"/>
              <a:gd name="connsiteX2131" fmla="*/ 3554778 w 9922465"/>
              <a:gd name="connsiteY2131" fmla="*/ 910454 h 1934496"/>
              <a:gd name="connsiteX2132" fmla="*/ 3499586 w 9922465"/>
              <a:gd name="connsiteY2132" fmla="*/ 965645 h 1934496"/>
              <a:gd name="connsiteX2133" fmla="*/ 3444394 w 9922465"/>
              <a:gd name="connsiteY2133" fmla="*/ 910454 h 1934496"/>
              <a:gd name="connsiteX2134" fmla="*/ 3499586 w 9922465"/>
              <a:gd name="connsiteY2134" fmla="*/ 855263 h 1934496"/>
              <a:gd name="connsiteX2135" fmla="*/ 3369290 w 9922465"/>
              <a:gd name="connsiteY2135" fmla="*/ 855263 h 1934496"/>
              <a:gd name="connsiteX2136" fmla="*/ 3424482 w 9922465"/>
              <a:gd name="connsiteY2136" fmla="*/ 910454 h 1934496"/>
              <a:gd name="connsiteX2137" fmla="*/ 3369290 w 9922465"/>
              <a:gd name="connsiteY2137" fmla="*/ 965645 h 1934496"/>
              <a:gd name="connsiteX2138" fmla="*/ 3314098 w 9922465"/>
              <a:gd name="connsiteY2138" fmla="*/ 910454 h 1934496"/>
              <a:gd name="connsiteX2139" fmla="*/ 3369290 w 9922465"/>
              <a:gd name="connsiteY2139" fmla="*/ 855263 h 1934496"/>
              <a:gd name="connsiteX2140" fmla="*/ 2834849 w 9922465"/>
              <a:gd name="connsiteY2140" fmla="*/ 855263 h 1934496"/>
              <a:gd name="connsiteX2141" fmla="*/ 2890040 w 9922465"/>
              <a:gd name="connsiteY2141" fmla="*/ 910454 h 1934496"/>
              <a:gd name="connsiteX2142" fmla="*/ 2834849 w 9922465"/>
              <a:gd name="connsiteY2142" fmla="*/ 965645 h 1934496"/>
              <a:gd name="connsiteX2143" fmla="*/ 2779655 w 9922465"/>
              <a:gd name="connsiteY2143" fmla="*/ 910454 h 1934496"/>
              <a:gd name="connsiteX2144" fmla="*/ 2834849 w 9922465"/>
              <a:gd name="connsiteY2144" fmla="*/ 855263 h 1934496"/>
              <a:gd name="connsiteX2145" fmla="*/ 2707895 w 9922465"/>
              <a:gd name="connsiteY2145" fmla="*/ 855263 h 1934496"/>
              <a:gd name="connsiteX2146" fmla="*/ 2763087 w 9922465"/>
              <a:gd name="connsiteY2146" fmla="*/ 910454 h 1934496"/>
              <a:gd name="connsiteX2147" fmla="*/ 2707895 w 9922465"/>
              <a:gd name="connsiteY2147" fmla="*/ 965645 h 1934496"/>
              <a:gd name="connsiteX2148" fmla="*/ 2652702 w 9922465"/>
              <a:gd name="connsiteY2148" fmla="*/ 910454 h 1934496"/>
              <a:gd name="connsiteX2149" fmla="*/ 2707895 w 9922465"/>
              <a:gd name="connsiteY2149" fmla="*/ 855263 h 1934496"/>
              <a:gd name="connsiteX2150" fmla="*/ 2570919 w 9922465"/>
              <a:gd name="connsiteY2150" fmla="*/ 855263 h 1934496"/>
              <a:gd name="connsiteX2151" fmla="*/ 2626110 w 9922465"/>
              <a:gd name="connsiteY2151" fmla="*/ 910454 h 1934496"/>
              <a:gd name="connsiteX2152" fmla="*/ 2570919 w 9922465"/>
              <a:gd name="connsiteY2152" fmla="*/ 965645 h 1934496"/>
              <a:gd name="connsiteX2153" fmla="*/ 2515724 w 9922465"/>
              <a:gd name="connsiteY2153" fmla="*/ 910454 h 1934496"/>
              <a:gd name="connsiteX2154" fmla="*/ 2570919 w 9922465"/>
              <a:gd name="connsiteY2154" fmla="*/ 855263 h 1934496"/>
              <a:gd name="connsiteX2155" fmla="*/ 2303651 w 9922465"/>
              <a:gd name="connsiteY2155" fmla="*/ 855263 h 1934496"/>
              <a:gd name="connsiteX2156" fmla="*/ 2358843 w 9922465"/>
              <a:gd name="connsiteY2156" fmla="*/ 910454 h 1934496"/>
              <a:gd name="connsiteX2157" fmla="*/ 2303651 w 9922465"/>
              <a:gd name="connsiteY2157" fmla="*/ 965645 h 1934496"/>
              <a:gd name="connsiteX2158" fmla="*/ 2248461 w 9922465"/>
              <a:gd name="connsiteY2158" fmla="*/ 910454 h 1934496"/>
              <a:gd name="connsiteX2159" fmla="*/ 2303651 w 9922465"/>
              <a:gd name="connsiteY2159" fmla="*/ 855263 h 1934496"/>
              <a:gd name="connsiteX2160" fmla="*/ 2173362 w 9922465"/>
              <a:gd name="connsiteY2160" fmla="*/ 855263 h 1934496"/>
              <a:gd name="connsiteX2161" fmla="*/ 2228554 w 9922465"/>
              <a:gd name="connsiteY2161" fmla="*/ 910454 h 1934496"/>
              <a:gd name="connsiteX2162" fmla="*/ 2173362 w 9922465"/>
              <a:gd name="connsiteY2162" fmla="*/ 965645 h 1934496"/>
              <a:gd name="connsiteX2163" fmla="*/ 2118170 w 9922465"/>
              <a:gd name="connsiteY2163" fmla="*/ 910454 h 1934496"/>
              <a:gd name="connsiteX2164" fmla="*/ 2173362 w 9922465"/>
              <a:gd name="connsiteY2164" fmla="*/ 855263 h 1934496"/>
              <a:gd name="connsiteX2165" fmla="*/ 2039725 w 9922465"/>
              <a:gd name="connsiteY2165" fmla="*/ 855263 h 1934496"/>
              <a:gd name="connsiteX2166" fmla="*/ 2094919 w 9922465"/>
              <a:gd name="connsiteY2166" fmla="*/ 910454 h 1934496"/>
              <a:gd name="connsiteX2167" fmla="*/ 2039725 w 9922465"/>
              <a:gd name="connsiteY2167" fmla="*/ 965645 h 1934496"/>
              <a:gd name="connsiteX2168" fmla="*/ 1984533 w 9922465"/>
              <a:gd name="connsiteY2168" fmla="*/ 910454 h 1934496"/>
              <a:gd name="connsiteX2169" fmla="*/ 2039725 w 9922465"/>
              <a:gd name="connsiteY2169" fmla="*/ 855263 h 1934496"/>
              <a:gd name="connsiteX2170" fmla="*/ 1909428 w 9922465"/>
              <a:gd name="connsiteY2170" fmla="*/ 855263 h 1934496"/>
              <a:gd name="connsiteX2171" fmla="*/ 1964620 w 9922465"/>
              <a:gd name="connsiteY2171" fmla="*/ 910454 h 1934496"/>
              <a:gd name="connsiteX2172" fmla="*/ 1909428 w 9922465"/>
              <a:gd name="connsiteY2172" fmla="*/ 965645 h 1934496"/>
              <a:gd name="connsiteX2173" fmla="*/ 1854234 w 9922465"/>
              <a:gd name="connsiteY2173" fmla="*/ 910454 h 1934496"/>
              <a:gd name="connsiteX2174" fmla="*/ 1909428 w 9922465"/>
              <a:gd name="connsiteY2174" fmla="*/ 855263 h 1934496"/>
              <a:gd name="connsiteX2175" fmla="*/ 1779130 w 9922465"/>
              <a:gd name="connsiteY2175" fmla="*/ 855263 h 1934496"/>
              <a:gd name="connsiteX2176" fmla="*/ 1834324 w 9922465"/>
              <a:gd name="connsiteY2176" fmla="*/ 910454 h 1934496"/>
              <a:gd name="connsiteX2177" fmla="*/ 1779130 w 9922465"/>
              <a:gd name="connsiteY2177" fmla="*/ 965645 h 1934496"/>
              <a:gd name="connsiteX2178" fmla="*/ 1723937 w 9922465"/>
              <a:gd name="connsiteY2178" fmla="*/ 910454 h 1934496"/>
              <a:gd name="connsiteX2179" fmla="*/ 1779130 w 9922465"/>
              <a:gd name="connsiteY2179" fmla="*/ 855263 h 1934496"/>
              <a:gd name="connsiteX2180" fmla="*/ 1645495 w 9922465"/>
              <a:gd name="connsiteY2180" fmla="*/ 855263 h 1934496"/>
              <a:gd name="connsiteX2181" fmla="*/ 1700693 w 9922465"/>
              <a:gd name="connsiteY2181" fmla="*/ 910454 h 1934496"/>
              <a:gd name="connsiteX2182" fmla="*/ 1645495 w 9922465"/>
              <a:gd name="connsiteY2182" fmla="*/ 965645 h 1934496"/>
              <a:gd name="connsiteX2183" fmla="*/ 1590303 w 9922465"/>
              <a:gd name="connsiteY2183" fmla="*/ 910454 h 1934496"/>
              <a:gd name="connsiteX2184" fmla="*/ 1645495 w 9922465"/>
              <a:gd name="connsiteY2184" fmla="*/ 855263 h 1934496"/>
              <a:gd name="connsiteX2185" fmla="*/ 1515206 w 9922465"/>
              <a:gd name="connsiteY2185" fmla="*/ 855263 h 1934496"/>
              <a:gd name="connsiteX2186" fmla="*/ 1570391 w 9922465"/>
              <a:gd name="connsiteY2186" fmla="*/ 910454 h 1934496"/>
              <a:gd name="connsiteX2187" fmla="*/ 1515206 w 9922465"/>
              <a:gd name="connsiteY2187" fmla="*/ 965645 h 1934496"/>
              <a:gd name="connsiteX2188" fmla="*/ 1460009 w 9922465"/>
              <a:gd name="connsiteY2188" fmla="*/ 910454 h 1934496"/>
              <a:gd name="connsiteX2189" fmla="*/ 1515206 w 9922465"/>
              <a:gd name="connsiteY2189" fmla="*/ 855263 h 1934496"/>
              <a:gd name="connsiteX2190" fmla="*/ 1381566 w 9922465"/>
              <a:gd name="connsiteY2190" fmla="*/ 855263 h 1934496"/>
              <a:gd name="connsiteX2191" fmla="*/ 1436758 w 9922465"/>
              <a:gd name="connsiteY2191" fmla="*/ 910454 h 1934496"/>
              <a:gd name="connsiteX2192" fmla="*/ 1381566 w 9922465"/>
              <a:gd name="connsiteY2192" fmla="*/ 965645 h 1934496"/>
              <a:gd name="connsiteX2193" fmla="*/ 1326375 w 9922465"/>
              <a:gd name="connsiteY2193" fmla="*/ 910454 h 1934496"/>
              <a:gd name="connsiteX2194" fmla="*/ 1381566 w 9922465"/>
              <a:gd name="connsiteY2194" fmla="*/ 855263 h 1934496"/>
              <a:gd name="connsiteX2195" fmla="*/ 1251271 w 9922465"/>
              <a:gd name="connsiteY2195" fmla="*/ 855263 h 1934496"/>
              <a:gd name="connsiteX2196" fmla="*/ 1306464 w 9922465"/>
              <a:gd name="connsiteY2196" fmla="*/ 910454 h 1934496"/>
              <a:gd name="connsiteX2197" fmla="*/ 1251271 w 9922465"/>
              <a:gd name="connsiteY2197" fmla="*/ 965645 h 1934496"/>
              <a:gd name="connsiteX2198" fmla="*/ 1196078 w 9922465"/>
              <a:gd name="connsiteY2198" fmla="*/ 910454 h 1934496"/>
              <a:gd name="connsiteX2199" fmla="*/ 1251271 w 9922465"/>
              <a:gd name="connsiteY2199" fmla="*/ 855263 h 1934496"/>
              <a:gd name="connsiteX2200" fmla="*/ 1117634 w 9922465"/>
              <a:gd name="connsiteY2200" fmla="*/ 855263 h 1934496"/>
              <a:gd name="connsiteX2201" fmla="*/ 1172828 w 9922465"/>
              <a:gd name="connsiteY2201" fmla="*/ 910454 h 1934496"/>
              <a:gd name="connsiteX2202" fmla="*/ 1117634 w 9922465"/>
              <a:gd name="connsiteY2202" fmla="*/ 965645 h 1934496"/>
              <a:gd name="connsiteX2203" fmla="*/ 1062440 w 9922465"/>
              <a:gd name="connsiteY2203" fmla="*/ 910454 h 1934496"/>
              <a:gd name="connsiteX2204" fmla="*/ 1117634 w 9922465"/>
              <a:gd name="connsiteY2204" fmla="*/ 855263 h 1934496"/>
              <a:gd name="connsiteX2205" fmla="*/ 980654 w 9922465"/>
              <a:gd name="connsiteY2205" fmla="*/ 855263 h 1934496"/>
              <a:gd name="connsiteX2206" fmla="*/ 1035848 w 9922465"/>
              <a:gd name="connsiteY2206" fmla="*/ 910454 h 1934496"/>
              <a:gd name="connsiteX2207" fmla="*/ 980654 w 9922465"/>
              <a:gd name="connsiteY2207" fmla="*/ 965645 h 1934496"/>
              <a:gd name="connsiteX2208" fmla="*/ 925460 w 9922465"/>
              <a:gd name="connsiteY2208" fmla="*/ 910454 h 1934496"/>
              <a:gd name="connsiteX2209" fmla="*/ 980654 w 9922465"/>
              <a:gd name="connsiteY2209" fmla="*/ 855263 h 1934496"/>
              <a:gd name="connsiteX2210" fmla="*/ 847016 w 9922465"/>
              <a:gd name="connsiteY2210" fmla="*/ 855263 h 1934496"/>
              <a:gd name="connsiteX2211" fmla="*/ 902209 w 9922465"/>
              <a:gd name="connsiteY2211" fmla="*/ 910454 h 1934496"/>
              <a:gd name="connsiteX2212" fmla="*/ 847016 w 9922465"/>
              <a:gd name="connsiteY2212" fmla="*/ 965645 h 1934496"/>
              <a:gd name="connsiteX2213" fmla="*/ 791816 w 9922465"/>
              <a:gd name="connsiteY2213" fmla="*/ 910454 h 1934496"/>
              <a:gd name="connsiteX2214" fmla="*/ 847016 w 9922465"/>
              <a:gd name="connsiteY2214" fmla="*/ 855263 h 1934496"/>
              <a:gd name="connsiteX2215" fmla="*/ 716709 w 9922465"/>
              <a:gd name="connsiteY2215" fmla="*/ 855263 h 1934496"/>
              <a:gd name="connsiteX2216" fmla="*/ 771907 w 9922465"/>
              <a:gd name="connsiteY2216" fmla="*/ 910454 h 1934496"/>
              <a:gd name="connsiteX2217" fmla="*/ 716709 w 9922465"/>
              <a:gd name="connsiteY2217" fmla="*/ 965645 h 1934496"/>
              <a:gd name="connsiteX2218" fmla="*/ 661522 w 9922465"/>
              <a:gd name="connsiteY2218" fmla="*/ 910454 h 1934496"/>
              <a:gd name="connsiteX2219" fmla="*/ 716709 w 9922465"/>
              <a:gd name="connsiteY2219" fmla="*/ 855263 h 1934496"/>
              <a:gd name="connsiteX2220" fmla="*/ 583074 w 9922465"/>
              <a:gd name="connsiteY2220" fmla="*/ 855263 h 1934496"/>
              <a:gd name="connsiteX2221" fmla="*/ 638268 w 9922465"/>
              <a:gd name="connsiteY2221" fmla="*/ 910454 h 1934496"/>
              <a:gd name="connsiteX2222" fmla="*/ 583074 w 9922465"/>
              <a:gd name="connsiteY2222" fmla="*/ 965645 h 1934496"/>
              <a:gd name="connsiteX2223" fmla="*/ 527881 w 9922465"/>
              <a:gd name="connsiteY2223" fmla="*/ 910454 h 1934496"/>
              <a:gd name="connsiteX2224" fmla="*/ 583074 w 9922465"/>
              <a:gd name="connsiteY2224" fmla="*/ 855263 h 1934496"/>
              <a:gd name="connsiteX2225" fmla="*/ 9867273 w 9922465"/>
              <a:gd name="connsiteY2225" fmla="*/ 855260 h 1934496"/>
              <a:gd name="connsiteX2226" fmla="*/ 9922465 w 9922465"/>
              <a:gd name="connsiteY2226" fmla="*/ 910451 h 1934496"/>
              <a:gd name="connsiteX2227" fmla="*/ 9867273 w 9922465"/>
              <a:gd name="connsiteY2227" fmla="*/ 965642 h 1934496"/>
              <a:gd name="connsiteX2228" fmla="*/ 9812081 w 9922465"/>
              <a:gd name="connsiteY2228" fmla="*/ 910451 h 1934496"/>
              <a:gd name="connsiteX2229" fmla="*/ 9867273 w 9922465"/>
              <a:gd name="connsiteY2229" fmla="*/ 855260 h 1934496"/>
              <a:gd name="connsiteX2230" fmla="*/ 9733637 w 9922465"/>
              <a:gd name="connsiteY2230" fmla="*/ 855260 h 1934496"/>
              <a:gd name="connsiteX2231" fmla="*/ 9788829 w 9922465"/>
              <a:gd name="connsiteY2231" fmla="*/ 910451 h 1934496"/>
              <a:gd name="connsiteX2232" fmla="*/ 9733637 w 9922465"/>
              <a:gd name="connsiteY2232" fmla="*/ 965642 h 1934496"/>
              <a:gd name="connsiteX2233" fmla="*/ 9678445 w 9922465"/>
              <a:gd name="connsiteY2233" fmla="*/ 910451 h 1934496"/>
              <a:gd name="connsiteX2234" fmla="*/ 9733637 w 9922465"/>
              <a:gd name="connsiteY2234" fmla="*/ 855260 h 1934496"/>
              <a:gd name="connsiteX2235" fmla="*/ 9603343 w 9922465"/>
              <a:gd name="connsiteY2235" fmla="*/ 855260 h 1934496"/>
              <a:gd name="connsiteX2236" fmla="*/ 9658535 w 9922465"/>
              <a:gd name="connsiteY2236" fmla="*/ 910451 h 1934496"/>
              <a:gd name="connsiteX2237" fmla="*/ 9603343 w 9922465"/>
              <a:gd name="connsiteY2237" fmla="*/ 965642 h 1934496"/>
              <a:gd name="connsiteX2238" fmla="*/ 9548151 w 9922465"/>
              <a:gd name="connsiteY2238" fmla="*/ 910451 h 1934496"/>
              <a:gd name="connsiteX2239" fmla="*/ 9603343 w 9922465"/>
              <a:gd name="connsiteY2239" fmla="*/ 855260 h 1934496"/>
              <a:gd name="connsiteX2240" fmla="*/ 449429 w 9922465"/>
              <a:gd name="connsiteY2240" fmla="*/ 855260 h 1934496"/>
              <a:gd name="connsiteX2241" fmla="*/ 504621 w 9922465"/>
              <a:gd name="connsiteY2241" fmla="*/ 910451 h 1934496"/>
              <a:gd name="connsiteX2242" fmla="*/ 449429 w 9922465"/>
              <a:gd name="connsiteY2242" fmla="*/ 965642 h 1934496"/>
              <a:gd name="connsiteX2243" fmla="*/ 394234 w 9922465"/>
              <a:gd name="connsiteY2243" fmla="*/ 910451 h 1934496"/>
              <a:gd name="connsiteX2244" fmla="*/ 449429 w 9922465"/>
              <a:gd name="connsiteY2244" fmla="*/ 855260 h 1934496"/>
              <a:gd name="connsiteX2245" fmla="*/ 319132 w 9922465"/>
              <a:gd name="connsiteY2245" fmla="*/ 855260 h 1934496"/>
              <a:gd name="connsiteX2246" fmla="*/ 374326 w 9922465"/>
              <a:gd name="connsiteY2246" fmla="*/ 910451 h 1934496"/>
              <a:gd name="connsiteX2247" fmla="*/ 319132 w 9922465"/>
              <a:gd name="connsiteY2247" fmla="*/ 965642 h 1934496"/>
              <a:gd name="connsiteX2248" fmla="*/ 263940 w 9922465"/>
              <a:gd name="connsiteY2248" fmla="*/ 910451 h 1934496"/>
              <a:gd name="connsiteX2249" fmla="*/ 319132 w 9922465"/>
              <a:gd name="connsiteY2249" fmla="*/ 855260 h 1934496"/>
              <a:gd name="connsiteX2250" fmla="*/ 185499 w 9922465"/>
              <a:gd name="connsiteY2250" fmla="*/ 855260 h 1934496"/>
              <a:gd name="connsiteX2251" fmla="*/ 240690 w 9922465"/>
              <a:gd name="connsiteY2251" fmla="*/ 910451 h 1934496"/>
              <a:gd name="connsiteX2252" fmla="*/ 185499 w 9922465"/>
              <a:gd name="connsiteY2252" fmla="*/ 965642 h 1934496"/>
              <a:gd name="connsiteX2253" fmla="*/ 130308 w 9922465"/>
              <a:gd name="connsiteY2253" fmla="*/ 910451 h 1934496"/>
              <a:gd name="connsiteX2254" fmla="*/ 185499 w 9922465"/>
              <a:gd name="connsiteY2254" fmla="*/ 855260 h 1934496"/>
              <a:gd name="connsiteX2255" fmla="*/ 9733637 w 9922465"/>
              <a:gd name="connsiteY2255" fmla="*/ 724970 h 1934496"/>
              <a:gd name="connsiteX2256" fmla="*/ 9788829 w 9922465"/>
              <a:gd name="connsiteY2256" fmla="*/ 780161 h 1934496"/>
              <a:gd name="connsiteX2257" fmla="*/ 9733637 w 9922465"/>
              <a:gd name="connsiteY2257" fmla="*/ 835352 h 1934496"/>
              <a:gd name="connsiteX2258" fmla="*/ 9678445 w 9922465"/>
              <a:gd name="connsiteY2258" fmla="*/ 780161 h 1934496"/>
              <a:gd name="connsiteX2259" fmla="*/ 9733637 w 9922465"/>
              <a:gd name="connsiteY2259" fmla="*/ 724970 h 1934496"/>
              <a:gd name="connsiteX2260" fmla="*/ 9603344 w 9922465"/>
              <a:gd name="connsiteY2260" fmla="*/ 724970 h 1934496"/>
              <a:gd name="connsiteX2261" fmla="*/ 9658536 w 9922465"/>
              <a:gd name="connsiteY2261" fmla="*/ 780161 h 1934496"/>
              <a:gd name="connsiteX2262" fmla="*/ 9603344 w 9922465"/>
              <a:gd name="connsiteY2262" fmla="*/ 835352 h 1934496"/>
              <a:gd name="connsiteX2263" fmla="*/ 9548152 w 9922465"/>
              <a:gd name="connsiteY2263" fmla="*/ 780161 h 1934496"/>
              <a:gd name="connsiteX2264" fmla="*/ 9603344 w 9922465"/>
              <a:gd name="connsiteY2264" fmla="*/ 724970 h 1934496"/>
              <a:gd name="connsiteX2265" fmla="*/ 9469710 w 9922465"/>
              <a:gd name="connsiteY2265" fmla="*/ 724970 h 1934496"/>
              <a:gd name="connsiteX2266" fmla="*/ 9524902 w 9922465"/>
              <a:gd name="connsiteY2266" fmla="*/ 780161 h 1934496"/>
              <a:gd name="connsiteX2267" fmla="*/ 9469710 w 9922465"/>
              <a:gd name="connsiteY2267" fmla="*/ 835352 h 1934496"/>
              <a:gd name="connsiteX2268" fmla="*/ 9414518 w 9922465"/>
              <a:gd name="connsiteY2268" fmla="*/ 780161 h 1934496"/>
              <a:gd name="connsiteX2269" fmla="*/ 9469710 w 9922465"/>
              <a:gd name="connsiteY2269" fmla="*/ 724970 h 1934496"/>
              <a:gd name="connsiteX2270" fmla="*/ 9336075 w 9922465"/>
              <a:gd name="connsiteY2270" fmla="*/ 724970 h 1934496"/>
              <a:gd name="connsiteX2271" fmla="*/ 9391267 w 9922465"/>
              <a:gd name="connsiteY2271" fmla="*/ 780161 h 1934496"/>
              <a:gd name="connsiteX2272" fmla="*/ 9336075 w 9922465"/>
              <a:gd name="connsiteY2272" fmla="*/ 835352 h 1934496"/>
              <a:gd name="connsiteX2273" fmla="*/ 9280883 w 9922465"/>
              <a:gd name="connsiteY2273" fmla="*/ 780161 h 1934496"/>
              <a:gd name="connsiteX2274" fmla="*/ 9336075 w 9922465"/>
              <a:gd name="connsiteY2274" fmla="*/ 724970 h 1934496"/>
              <a:gd name="connsiteX2275" fmla="*/ 9199100 w 9922465"/>
              <a:gd name="connsiteY2275" fmla="*/ 724970 h 1934496"/>
              <a:gd name="connsiteX2276" fmla="*/ 9254292 w 9922465"/>
              <a:gd name="connsiteY2276" fmla="*/ 780161 h 1934496"/>
              <a:gd name="connsiteX2277" fmla="*/ 9199100 w 9922465"/>
              <a:gd name="connsiteY2277" fmla="*/ 835352 h 1934496"/>
              <a:gd name="connsiteX2278" fmla="*/ 9143908 w 9922465"/>
              <a:gd name="connsiteY2278" fmla="*/ 780161 h 1934496"/>
              <a:gd name="connsiteX2279" fmla="*/ 9199100 w 9922465"/>
              <a:gd name="connsiteY2279" fmla="*/ 724970 h 1934496"/>
              <a:gd name="connsiteX2280" fmla="*/ 9068806 w 9922465"/>
              <a:gd name="connsiteY2280" fmla="*/ 724970 h 1934496"/>
              <a:gd name="connsiteX2281" fmla="*/ 9123998 w 9922465"/>
              <a:gd name="connsiteY2281" fmla="*/ 780161 h 1934496"/>
              <a:gd name="connsiteX2282" fmla="*/ 9068806 w 9922465"/>
              <a:gd name="connsiteY2282" fmla="*/ 835352 h 1934496"/>
              <a:gd name="connsiteX2283" fmla="*/ 9013614 w 9922465"/>
              <a:gd name="connsiteY2283" fmla="*/ 780161 h 1934496"/>
              <a:gd name="connsiteX2284" fmla="*/ 9068806 w 9922465"/>
              <a:gd name="connsiteY2284" fmla="*/ 724970 h 1934496"/>
              <a:gd name="connsiteX2285" fmla="*/ 8935170 w 9922465"/>
              <a:gd name="connsiteY2285" fmla="*/ 724970 h 1934496"/>
              <a:gd name="connsiteX2286" fmla="*/ 8990362 w 9922465"/>
              <a:gd name="connsiteY2286" fmla="*/ 780161 h 1934496"/>
              <a:gd name="connsiteX2287" fmla="*/ 8935170 w 9922465"/>
              <a:gd name="connsiteY2287" fmla="*/ 835352 h 1934496"/>
              <a:gd name="connsiteX2288" fmla="*/ 8879978 w 9922465"/>
              <a:gd name="connsiteY2288" fmla="*/ 780161 h 1934496"/>
              <a:gd name="connsiteX2289" fmla="*/ 8935170 w 9922465"/>
              <a:gd name="connsiteY2289" fmla="*/ 724970 h 1934496"/>
              <a:gd name="connsiteX2290" fmla="*/ 8801536 w 9922465"/>
              <a:gd name="connsiteY2290" fmla="*/ 724970 h 1934496"/>
              <a:gd name="connsiteX2291" fmla="*/ 8856728 w 9922465"/>
              <a:gd name="connsiteY2291" fmla="*/ 780161 h 1934496"/>
              <a:gd name="connsiteX2292" fmla="*/ 8801536 w 9922465"/>
              <a:gd name="connsiteY2292" fmla="*/ 835352 h 1934496"/>
              <a:gd name="connsiteX2293" fmla="*/ 8746344 w 9922465"/>
              <a:gd name="connsiteY2293" fmla="*/ 780161 h 1934496"/>
              <a:gd name="connsiteX2294" fmla="*/ 8801536 w 9922465"/>
              <a:gd name="connsiteY2294" fmla="*/ 724970 h 1934496"/>
              <a:gd name="connsiteX2295" fmla="*/ 8671243 w 9922465"/>
              <a:gd name="connsiteY2295" fmla="*/ 724970 h 1934496"/>
              <a:gd name="connsiteX2296" fmla="*/ 8726435 w 9922465"/>
              <a:gd name="connsiteY2296" fmla="*/ 780161 h 1934496"/>
              <a:gd name="connsiteX2297" fmla="*/ 8671243 w 9922465"/>
              <a:gd name="connsiteY2297" fmla="*/ 835352 h 1934496"/>
              <a:gd name="connsiteX2298" fmla="*/ 8616051 w 9922465"/>
              <a:gd name="connsiteY2298" fmla="*/ 780161 h 1934496"/>
              <a:gd name="connsiteX2299" fmla="*/ 8671243 w 9922465"/>
              <a:gd name="connsiteY2299" fmla="*/ 724970 h 1934496"/>
              <a:gd name="connsiteX2300" fmla="*/ 8537609 w 9922465"/>
              <a:gd name="connsiteY2300" fmla="*/ 724970 h 1934496"/>
              <a:gd name="connsiteX2301" fmla="*/ 8592801 w 9922465"/>
              <a:gd name="connsiteY2301" fmla="*/ 780161 h 1934496"/>
              <a:gd name="connsiteX2302" fmla="*/ 8537609 w 9922465"/>
              <a:gd name="connsiteY2302" fmla="*/ 835352 h 1934496"/>
              <a:gd name="connsiteX2303" fmla="*/ 8482417 w 9922465"/>
              <a:gd name="connsiteY2303" fmla="*/ 780161 h 1934496"/>
              <a:gd name="connsiteX2304" fmla="*/ 8537609 w 9922465"/>
              <a:gd name="connsiteY2304" fmla="*/ 724970 h 1934496"/>
              <a:gd name="connsiteX2305" fmla="*/ 8407318 w 9922465"/>
              <a:gd name="connsiteY2305" fmla="*/ 724970 h 1934496"/>
              <a:gd name="connsiteX2306" fmla="*/ 8462510 w 9922465"/>
              <a:gd name="connsiteY2306" fmla="*/ 780161 h 1934496"/>
              <a:gd name="connsiteX2307" fmla="*/ 8407318 w 9922465"/>
              <a:gd name="connsiteY2307" fmla="*/ 835352 h 1934496"/>
              <a:gd name="connsiteX2308" fmla="*/ 8352126 w 9922465"/>
              <a:gd name="connsiteY2308" fmla="*/ 780161 h 1934496"/>
              <a:gd name="connsiteX2309" fmla="*/ 8407318 w 9922465"/>
              <a:gd name="connsiteY2309" fmla="*/ 724970 h 1934496"/>
              <a:gd name="connsiteX2310" fmla="*/ 8273682 w 9922465"/>
              <a:gd name="connsiteY2310" fmla="*/ 724970 h 1934496"/>
              <a:gd name="connsiteX2311" fmla="*/ 8328874 w 9922465"/>
              <a:gd name="connsiteY2311" fmla="*/ 780161 h 1934496"/>
              <a:gd name="connsiteX2312" fmla="*/ 8273682 w 9922465"/>
              <a:gd name="connsiteY2312" fmla="*/ 835352 h 1934496"/>
              <a:gd name="connsiteX2313" fmla="*/ 8218490 w 9922465"/>
              <a:gd name="connsiteY2313" fmla="*/ 780161 h 1934496"/>
              <a:gd name="connsiteX2314" fmla="*/ 8273682 w 9922465"/>
              <a:gd name="connsiteY2314" fmla="*/ 724970 h 1934496"/>
              <a:gd name="connsiteX2315" fmla="*/ 8143386 w 9922465"/>
              <a:gd name="connsiteY2315" fmla="*/ 724970 h 1934496"/>
              <a:gd name="connsiteX2316" fmla="*/ 8198578 w 9922465"/>
              <a:gd name="connsiteY2316" fmla="*/ 780161 h 1934496"/>
              <a:gd name="connsiteX2317" fmla="*/ 8143386 w 9922465"/>
              <a:gd name="connsiteY2317" fmla="*/ 835352 h 1934496"/>
              <a:gd name="connsiteX2318" fmla="*/ 8088194 w 9922465"/>
              <a:gd name="connsiteY2318" fmla="*/ 780161 h 1934496"/>
              <a:gd name="connsiteX2319" fmla="*/ 8143386 w 9922465"/>
              <a:gd name="connsiteY2319" fmla="*/ 724970 h 1934496"/>
              <a:gd name="connsiteX2320" fmla="*/ 8009753 w 9922465"/>
              <a:gd name="connsiteY2320" fmla="*/ 724970 h 1934496"/>
              <a:gd name="connsiteX2321" fmla="*/ 8064945 w 9922465"/>
              <a:gd name="connsiteY2321" fmla="*/ 780161 h 1934496"/>
              <a:gd name="connsiteX2322" fmla="*/ 8009753 w 9922465"/>
              <a:gd name="connsiteY2322" fmla="*/ 835352 h 1934496"/>
              <a:gd name="connsiteX2323" fmla="*/ 7954561 w 9922465"/>
              <a:gd name="connsiteY2323" fmla="*/ 780161 h 1934496"/>
              <a:gd name="connsiteX2324" fmla="*/ 8009753 w 9922465"/>
              <a:gd name="connsiteY2324" fmla="*/ 724970 h 1934496"/>
              <a:gd name="connsiteX2325" fmla="*/ 7876118 w 9922465"/>
              <a:gd name="connsiteY2325" fmla="*/ 724970 h 1934496"/>
              <a:gd name="connsiteX2326" fmla="*/ 7931310 w 9922465"/>
              <a:gd name="connsiteY2326" fmla="*/ 780161 h 1934496"/>
              <a:gd name="connsiteX2327" fmla="*/ 7876118 w 9922465"/>
              <a:gd name="connsiteY2327" fmla="*/ 835352 h 1934496"/>
              <a:gd name="connsiteX2328" fmla="*/ 7820926 w 9922465"/>
              <a:gd name="connsiteY2328" fmla="*/ 780161 h 1934496"/>
              <a:gd name="connsiteX2329" fmla="*/ 7876118 w 9922465"/>
              <a:gd name="connsiteY2329" fmla="*/ 724970 h 1934496"/>
              <a:gd name="connsiteX2330" fmla="*/ 7745824 w 9922465"/>
              <a:gd name="connsiteY2330" fmla="*/ 724970 h 1934496"/>
              <a:gd name="connsiteX2331" fmla="*/ 7801016 w 9922465"/>
              <a:gd name="connsiteY2331" fmla="*/ 780161 h 1934496"/>
              <a:gd name="connsiteX2332" fmla="*/ 7745824 w 9922465"/>
              <a:gd name="connsiteY2332" fmla="*/ 835352 h 1934496"/>
              <a:gd name="connsiteX2333" fmla="*/ 7690632 w 9922465"/>
              <a:gd name="connsiteY2333" fmla="*/ 780161 h 1934496"/>
              <a:gd name="connsiteX2334" fmla="*/ 7745824 w 9922465"/>
              <a:gd name="connsiteY2334" fmla="*/ 724970 h 1934496"/>
              <a:gd name="connsiteX2335" fmla="*/ 7608850 w 9922465"/>
              <a:gd name="connsiteY2335" fmla="*/ 724970 h 1934496"/>
              <a:gd name="connsiteX2336" fmla="*/ 7664042 w 9922465"/>
              <a:gd name="connsiteY2336" fmla="*/ 780161 h 1934496"/>
              <a:gd name="connsiteX2337" fmla="*/ 7608850 w 9922465"/>
              <a:gd name="connsiteY2337" fmla="*/ 835352 h 1934496"/>
              <a:gd name="connsiteX2338" fmla="*/ 7553658 w 9922465"/>
              <a:gd name="connsiteY2338" fmla="*/ 780161 h 1934496"/>
              <a:gd name="connsiteX2339" fmla="*/ 7608850 w 9922465"/>
              <a:gd name="connsiteY2339" fmla="*/ 724970 h 1934496"/>
              <a:gd name="connsiteX2340" fmla="*/ 7481895 w 9922465"/>
              <a:gd name="connsiteY2340" fmla="*/ 724970 h 1934496"/>
              <a:gd name="connsiteX2341" fmla="*/ 7537087 w 9922465"/>
              <a:gd name="connsiteY2341" fmla="*/ 780161 h 1934496"/>
              <a:gd name="connsiteX2342" fmla="*/ 7481895 w 9922465"/>
              <a:gd name="connsiteY2342" fmla="*/ 835352 h 1934496"/>
              <a:gd name="connsiteX2343" fmla="*/ 7426703 w 9922465"/>
              <a:gd name="connsiteY2343" fmla="*/ 780161 h 1934496"/>
              <a:gd name="connsiteX2344" fmla="*/ 7481895 w 9922465"/>
              <a:gd name="connsiteY2344" fmla="*/ 724970 h 1934496"/>
              <a:gd name="connsiteX2345" fmla="*/ 7341579 w 9922465"/>
              <a:gd name="connsiteY2345" fmla="*/ 724970 h 1934496"/>
              <a:gd name="connsiteX2346" fmla="*/ 7396771 w 9922465"/>
              <a:gd name="connsiteY2346" fmla="*/ 780161 h 1934496"/>
              <a:gd name="connsiteX2347" fmla="*/ 7341579 w 9922465"/>
              <a:gd name="connsiteY2347" fmla="*/ 835352 h 1934496"/>
              <a:gd name="connsiteX2348" fmla="*/ 7286387 w 9922465"/>
              <a:gd name="connsiteY2348" fmla="*/ 780161 h 1934496"/>
              <a:gd name="connsiteX2349" fmla="*/ 7341579 w 9922465"/>
              <a:gd name="connsiteY2349" fmla="*/ 724970 h 1934496"/>
              <a:gd name="connsiteX2350" fmla="*/ 7211286 w 9922465"/>
              <a:gd name="connsiteY2350" fmla="*/ 724970 h 1934496"/>
              <a:gd name="connsiteX2351" fmla="*/ 7266478 w 9922465"/>
              <a:gd name="connsiteY2351" fmla="*/ 780161 h 1934496"/>
              <a:gd name="connsiteX2352" fmla="*/ 7211286 w 9922465"/>
              <a:gd name="connsiteY2352" fmla="*/ 835352 h 1934496"/>
              <a:gd name="connsiteX2353" fmla="*/ 7156094 w 9922465"/>
              <a:gd name="connsiteY2353" fmla="*/ 780161 h 1934496"/>
              <a:gd name="connsiteX2354" fmla="*/ 7211286 w 9922465"/>
              <a:gd name="connsiteY2354" fmla="*/ 724970 h 1934496"/>
              <a:gd name="connsiteX2355" fmla="*/ 7080994 w 9922465"/>
              <a:gd name="connsiteY2355" fmla="*/ 724970 h 1934496"/>
              <a:gd name="connsiteX2356" fmla="*/ 7136186 w 9922465"/>
              <a:gd name="connsiteY2356" fmla="*/ 780161 h 1934496"/>
              <a:gd name="connsiteX2357" fmla="*/ 7080994 w 9922465"/>
              <a:gd name="connsiteY2357" fmla="*/ 835352 h 1934496"/>
              <a:gd name="connsiteX2358" fmla="*/ 7025802 w 9922465"/>
              <a:gd name="connsiteY2358" fmla="*/ 780161 h 1934496"/>
              <a:gd name="connsiteX2359" fmla="*/ 7080994 w 9922465"/>
              <a:gd name="connsiteY2359" fmla="*/ 724970 h 1934496"/>
              <a:gd name="connsiteX2360" fmla="*/ 6947358 w 9922465"/>
              <a:gd name="connsiteY2360" fmla="*/ 724970 h 1934496"/>
              <a:gd name="connsiteX2361" fmla="*/ 7002550 w 9922465"/>
              <a:gd name="connsiteY2361" fmla="*/ 780161 h 1934496"/>
              <a:gd name="connsiteX2362" fmla="*/ 6947358 w 9922465"/>
              <a:gd name="connsiteY2362" fmla="*/ 835352 h 1934496"/>
              <a:gd name="connsiteX2363" fmla="*/ 6892166 w 9922465"/>
              <a:gd name="connsiteY2363" fmla="*/ 780161 h 1934496"/>
              <a:gd name="connsiteX2364" fmla="*/ 6947358 w 9922465"/>
              <a:gd name="connsiteY2364" fmla="*/ 724970 h 1934496"/>
              <a:gd name="connsiteX2365" fmla="*/ 6817064 w 9922465"/>
              <a:gd name="connsiteY2365" fmla="*/ 724970 h 1934496"/>
              <a:gd name="connsiteX2366" fmla="*/ 6872256 w 9922465"/>
              <a:gd name="connsiteY2366" fmla="*/ 780161 h 1934496"/>
              <a:gd name="connsiteX2367" fmla="*/ 6817064 w 9922465"/>
              <a:gd name="connsiteY2367" fmla="*/ 835352 h 1934496"/>
              <a:gd name="connsiteX2368" fmla="*/ 6761872 w 9922465"/>
              <a:gd name="connsiteY2368" fmla="*/ 780161 h 1934496"/>
              <a:gd name="connsiteX2369" fmla="*/ 6817064 w 9922465"/>
              <a:gd name="connsiteY2369" fmla="*/ 724970 h 1934496"/>
              <a:gd name="connsiteX2370" fmla="*/ 6683431 w 9922465"/>
              <a:gd name="connsiteY2370" fmla="*/ 724970 h 1934496"/>
              <a:gd name="connsiteX2371" fmla="*/ 6738623 w 9922465"/>
              <a:gd name="connsiteY2371" fmla="*/ 780161 h 1934496"/>
              <a:gd name="connsiteX2372" fmla="*/ 6683431 w 9922465"/>
              <a:gd name="connsiteY2372" fmla="*/ 835352 h 1934496"/>
              <a:gd name="connsiteX2373" fmla="*/ 6628239 w 9922465"/>
              <a:gd name="connsiteY2373" fmla="*/ 780161 h 1934496"/>
              <a:gd name="connsiteX2374" fmla="*/ 6683431 w 9922465"/>
              <a:gd name="connsiteY2374" fmla="*/ 724970 h 1934496"/>
              <a:gd name="connsiteX2375" fmla="*/ 6553137 w 9922465"/>
              <a:gd name="connsiteY2375" fmla="*/ 724970 h 1934496"/>
              <a:gd name="connsiteX2376" fmla="*/ 6608329 w 9922465"/>
              <a:gd name="connsiteY2376" fmla="*/ 780161 h 1934496"/>
              <a:gd name="connsiteX2377" fmla="*/ 6553137 w 9922465"/>
              <a:gd name="connsiteY2377" fmla="*/ 835352 h 1934496"/>
              <a:gd name="connsiteX2378" fmla="*/ 6497945 w 9922465"/>
              <a:gd name="connsiteY2378" fmla="*/ 780161 h 1934496"/>
              <a:gd name="connsiteX2379" fmla="*/ 6553137 w 9922465"/>
              <a:gd name="connsiteY2379" fmla="*/ 724970 h 1934496"/>
              <a:gd name="connsiteX2380" fmla="*/ 6419503 w 9922465"/>
              <a:gd name="connsiteY2380" fmla="*/ 724970 h 1934496"/>
              <a:gd name="connsiteX2381" fmla="*/ 6474695 w 9922465"/>
              <a:gd name="connsiteY2381" fmla="*/ 780161 h 1934496"/>
              <a:gd name="connsiteX2382" fmla="*/ 6419503 w 9922465"/>
              <a:gd name="connsiteY2382" fmla="*/ 835352 h 1934496"/>
              <a:gd name="connsiteX2383" fmla="*/ 6364311 w 9922465"/>
              <a:gd name="connsiteY2383" fmla="*/ 780161 h 1934496"/>
              <a:gd name="connsiteX2384" fmla="*/ 6419503 w 9922465"/>
              <a:gd name="connsiteY2384" fmla="*/ 724970 h 1934496"/>
              <a:gd name="connsiteX2385" fmla="*/ 6289207 w 9922465"/>
              <a:gd name="connsiteY2385" fmla="*/ 724970 h 1934496"/>
              <a:gd name="connsiteX2386" fmla="*/ 6344399 w 9922465"/>
              <a:gd name="connsiteY2386" fmla="*/ 780161 h 1934496"/>
              <a:gd name="connsiteX2387" fmla="*/ 6289207 w 9922465"/>
              <a:gd name="connsiteY2387" fmla="*/ 835352 h 1934496"/>
              <a:gd name="connsiteX2388" fmla="*/ 6234015 w 9922465"/>
              <a:gd name="connsiteY2388" fmla="*/ 780161 h 1934496"/>
              <a:gd name="connsiteX2389" fmla="*/ 6289207 w 9922465"/>
              <a:gd name="connsiteY2389" fmla="*/ 724970 h 1934496"/>
              <a:gd name="connsiteX2390" fmla="*/ 6155573 w 9922465"/>
              <a:gd name="connsiteY2390" fmla="*/ 724970 h 1934496"/>
              <a:gd name="connsiteX2391" fmla="*/ 6210765 w 9922465"/>
              <a:gd name="connsiteY2391" fmla="*/ 780161 h 1934496"/>
              <a:gd name="connsiteX2392" fmla="*/ 6155573 w 9922465"/>
              <a:gd name="connsiteY2392" fmla="*/ 835352 h 1934496"/>
              <a:gd name="connsiteX2393" fmla="*/ 6100381 w 9922465"/>
              <a:gd name="connsiteY2393" fmla="*/ 780161 h 1934496"/>
              <a:gd name="connsiteX2394" fmla="*/ 6155573 w 9922465"/>
              <a:gd name="connsiteY2394" fmla="*/ 724970 h 1934496"/>
              <a:gd name="connsiteX2395" fmla="*/ 5621035 w 9922465"/>
              <a:gd name="connsiteY2395" fmla="*/ 724970 h 1934496"/>
              <a:gd name="connsiteX2396" fmla="*/ 5676227 w 9922465"/>
              <a:gd name="connsiteY2396" fmla="*/ 780161 h 1934496"/>
              <a:gd name="connsiteX2397" fmla="*/ 5621035 w 9922465"/>
              <a:gd name="connsiteY2397" fmla="*/ 835352 h 1934496"/>
              <a:gd name="connsiteX2398" fmla="*/ 5565843 w 9922465"/>
              <a:gd name="connsiteY2398" fmla="*/ 780161 h 1934496"/>
              <a:gd name="connsiteX2399" fmla="*/ 5621035 w 9922465"/>
              <a:gd name="connsiteY2399" fmla="*/ 724970 h 1934496"/>
              <a:gd name="connsiteX2400" fmla="*/ 5487399 w 9922465"/>
              <a:gd name="connsiteY2400" fmla="*/ 724970 h 1934496"/>
              <a:gd name="connsiteX2401" fmla="*/ 5542591 w 9922465"/>
              <a:gd name="connsiteY2401" fmla="*/ 780161 h 1934496"/>
              <a:gd name="connsiteX2402" fmla="*/ 5487399 w 9922465"/>
              <a:gd name="connsiteY2402" fmla="*/ 835352 h 1934496"/>
              <a:gd name="connsiteX2403" fmla="*/ 5432207 w 9922465"/>
              <a:gd name="connsiteY2403" fmla="*/ 780161 h 1934496"/>
              <a:gd name="connsiteX2404" fmla="*/ 5487399 w 9922465"/>
              <a:gd name="connsiteY2404" fmla="*/ 724970 h 1934496"/>
              <a:gd name="connsiteX2405" fmla="*/ 5357106 w 9922465"/>
              <a:gd name="connsiteY2405" fmla="*/ 724970 h 1934496"/>
              <a:gd name="connsiteX2406" fmla="*/ 5412298 w 9922465"/>
              <a:gd name="connsiteY2406" fmla="*/ 780161 h 1934496"/>
              <a:gd name="connsiteX2407" fmla="*/ 5357106 w 9922465"/>
              <a:gd name="connsiteY2407" fmla="*/ 835352 h 1934496"/>
              <a:gd name="connsiteX2408" fmla="*/ 5301914 w 9922465"/>
              <a:gd name="connsiteY2408" fmla="*/ 780161 h 1934496"/>
              <a:gd name="connsiteX2409" fmla="*/ 5357106 w 9922465"/>
              <a:gd name="connsiteY2409" fmla="*/ 724970 h 1934496"/>
              <a:gd name="connsiteX2410" fmla="*/ 5223473 w 9922465"/>
              <a:gd name="connsiteY2410" fmla="*/ 724970 h 1934496"/>
              <a:gd name="connsiteX2411" fmla="*/ 5278665 w 9922465"/>
              <a:gd name="connsiteY2411" fmla="*/ 780161 h 1934496"/>
              <a:gd name="connsiteX2412" fmla="*/ 5223473 w 9922465"/>
              <a:gd name="connsiteY2412" fmla="*/ 835352 h 1934496"/>
              <a:gd name="connsiteX2413" fmla="*/ 5168281 w 9922465"/>
              <a:gd name="connsiteY2413" fmla="*/ 780161 h 1934496"/>
              <a:gd name="connsiteX2414" fmla="*/ 5223473 w 9922465"/>
              <a:gd name="connsiteY2414" fmla="*/ 724970 h 1934496"/>
              <a:gd name="connsiteX2415" fmla="*/ 5093178 w 9922465"/>
              <a:gd name="connsiteY2415" fmla="*/ 724970 h 1934496"/>
              <a:gd name="connsiteX2416" fmla="*/ 5148370 w 9922465"/>
              <a:gd name="connsiteY2416" fmla="*/ 780161 h 1934496"/>
              <a:gd name="connsiteX2417" fmla="*/ 5093178 w 9922465"/>
              <a:gd name="connsiteY2417" fmla="*/ 835352 h 1934496"/>
              <a:gd name="connsiteX2418" fmla="*/ 5037986 w 9922465"/>
              <a:gd name="connsiteY2418" fmla="*/ 780161 h 1934496"/>
              <a:gd name="connsiteX2419" fmla="*/ 5093178 w 9922465"/>
              <a:gd name="connsiteY2419" fmla="*/ 724970 h 1934496"/>
              <a:gd name="connsiteX2420" fmla="*/ 3897148 w 9922465"/>
              <a:gd name="connsiteY2420" fmla="*/ 724970 h 1934496"/>
              <a:gd name="connsiteX2421" fmla="*/ 3952340 w 9922465"/>
              <a:gd name="connsiteY2421" fmla="*/ 780161 h 1934496"/>
              <a:gd name="connsiteX2422" fmla="*/ 3897148 w 9922465"/>
              <a:gd name="connsiteY2422" fmla="*/ 835352 h 1934496"/>
              <a:gd name="connsiteX2423" fmla="*/ 3841956 w 9922465"/>
              <a:gd name="connsiteY2423" fmla="*/ 780161 h 1934496"/>
              <a:gd name="connsiteX2424" fmla="*/ 3897148 w 9922465"/>
              <a:gd name="connsiteY2424" fmla="*/ 724970 h 1934496"/>
              <a:gd name="connsiteX2425" fmla="*/ 3763514 w 9922465"/>
              <a:gd name="connsiteY2425" fmla="*/ 724970 h 1934496"/>
              <a:gd name="connsiteX2426" fmla="*/ 3818706 w 9922465"/>
              <a:gd name="connsiteY2426" fmla="*/ 780161 h 1934496"/>
              <a:gd name="connsiteX2427" fmla="*/ 3763514 w 9922465"/>
              <a:gd name="connsiteY2427" fmla="*/ 835352 h 1934496"/>
              <a:gd name="connsiteX2428" fmla="*/ 3708322 w 9922465"/>
              <a:gd name="connsiteY2428" fmla="*/ 780161 h 1934496"/>
              <a:gd name="connsiteX2429" fmla="*/ 3763514 w 9922465"/>
              <a:gd name="connsiteY2429" fmla="*/ 724970 h 1934496"/>
              <a:gd name="connsiteX2430" fmla="*/ 3633221 w 9922465"/>
              <a:gd name="connsiteY2430" fmla="*/ 724970 h 1934496"/>
              <a:gd name="connsiteX2431" fmla="*/ 3688413 w 9922465"/>
              <a:gd name="connsiteY2431" fmla="*/ 780161 h 1934496"/>
              <a:gd name="connsiteX2432" fmla="*/ 3633221 w 9922465"/>
              <a:gd name="connsiteY2432" fmla="*/ 835352 h 1934496"/>
              <a:gd name="connsiteX2433" fmla="*/ 3578029 w 9922465"/>
              <a:gd name="connsiteY2433" fmla="*/ 780161 h 1934496"/>
              <a:gd name="connsiteX2434" fmla="*/ 3633221 w 9922465"/>
              <a:gd name="connsiteY2434" fmla="*/ 724970 h 1934496"/>
              <a:gd name="connsiteX2435" fmla="*/ 3499586 w 9922465"/>
              <a:gd name="connsiteY2435" fmla="*/ 724970 h 1934496"/>
              <a:gd name="connsiteX2436" fmla="*/ 3554778 w 9922465"/>
              <a:gd name="connsiteY2436" fmla="*/ 780161 h 1934496"/>
              <a:gd name="connsiteX2437" fmla="*/ 3499586 w 9922465"/>
              <a:gd name="connsiteY2437" fmla="*/ 835352 h 1934496"/>
              <a:gd name="connsiteX2438" fmla="*/ 3444394 w 9922465"/>
              <a:gd name="connsiteY2438" fmla="*/ 780161 h 1934496"/>
              <a:gd name="connsiteX2439" fmla="*/ 3499586 w 9922465"/>
              <a:gd name="connsiteY2439" fmla="*/ 724970 h 1934496"/>
              <a:gd name="connsiteX2440" fmla="*/ 3369292 w 9922465"/>
              <a:gd name="connsiteY2440" fmla="*/ 724970 h 1934496"/>
              <a:gd name="connsiteX2441" fmla="*/ 3424484 w 9922465"/>
              <a:gd name="connsiteY2441" fmla="*/ 780161 h 1934496"/>
              <a:gd name="connsiteX2442" fmla="*/ 3369292 w 9922465"/>
              <a:gd name="connsiteY2442" fmla="*/ 835352 h 1934496"/>
              <a:gd name="connsiteX2443" fmla="*/ 3314100 w 9922465"/>
              <a:gd name="connsiteY2443" fmla="*/ 780161 h 1934496"/>
              <a:gd name="connsiteX2444" fmla="*/ 3369292 w 9922465"/>
              <a:gd name="connsiteY2444" fmla="*/ 724970 h 1934496"/>
              <a:gd name="connsiteX2445" fmla="*/ 2834856 w 9922465"/>
              <a:gd name="connsiteY2445" fmla="*/ 724970 h 1934496"/>
              <a:gd name="connsiteX2446" fmla="*/ 2890049 w 9922465"/>
              <a:gd name="connsiteY2446" fmla="*/ 780161 h 1934496"/>
              <a:gd name="connsiteX2447" fmla="*/ 2834856 w 9922465"/>
              <a:gd name="connsiteY2447" fmla="*/ 835352 h 1934496"/>
              <a:gd name="connsiteX2448" fmla="*/ 2779665 w 9922465"/>
              <a:gd name="connsiteY2448" fmla="*/ 780161 h 1934496"/>
              <a:gd name="connsiteX2449" fmla="*/ 2834856 w 9922465"/>
              <a:gd name="connsiteY2449" fmla="*/ 724970 h 1934496"/>
              <a:gd name="connsiteX2450" fmla="*/ 2707901 w 9922465"/>
              <a:gd name="connsiteY2450" fmla="*/ 724970 h 1934496"/>
              <a:gd name="connsiteX2451" fmla="*/ 2763094 w 9922465"/>
              <a:gd name="connsiteY2451" fmla="*/ 780161 h 1934496"/>
              <a:gd name="connsiteX2452" fmla="*/ 2707901 w 9922465"/>
              <a:gd name="connsiteY2452" fmla="*/ 835352 h 1934496"/>
              <a:gd name="connsiteX2453" fmla="*/ 2652711 w 9922465"/>
              <a:gd name="connsiteY2453" fmla="*/ 780161 h 1934496"/>
              <a:gd name="connsiteX2454" fmla="*/ 2707901 w 9922465"/>
              <a:gd name="connsiteY2454" fmla="*/ 724970 h 1934496"/>
              <a:gd name="connsiteX2455" fmla="*/ 2570929 w 9922465"/>
              <a:gd name="connsiteY2455" fmla="*/ 724970 h 1934496"/>
              <a:gd name="connsiteX2456" fmla="*/ 2626122 w 9922465"/>
              <a:gd name="connsiteY2456" fmla="*/ 780161 h 1934496"/>
              <a:gd name="connsiteX2457" fmla="*/ 2570929 w 9922465"/>
              <a:gd name="connsiteY2457" fmla="*/ 835352 h 1934496"/>
              <a:gd name="connsiteX2458" fmla="*/ 2515735 w 9922465"/>
              <a:gd name="connsiteY2458" fmla="*/ 780161 h 1934496"/>
              <a:gd name="connsiteX2459" fmla="*/ 2570929 w 9922465"/>
              <a:gd name="connsiteY2459" fmla="*/ 724970 h 1934496"/>
              <a:gd name="connsiteX2460" fmla="*/ 2437294 w 9922465"/>
              <a:gd name="connsiteY2460" fmla="*/ 724970 h 1934496"/>
              <a:gd name="connsiteX2461" fmla="*/ 2492487 w 9922465"/>
              <a:gd name="connsiteY2461" fmla="*/ 780161 h 1934496"/>
              <a:gd name="connsiteX2462" fmla="*/ 2437294 w 9922465"/>
              <a:gd name="connsiteY2462" fmla="*/ 835352 h 1934496"/>
              <a:gd name="connsiteX2463" fmla="*/ 2382104 w 9922465"/>
              <a:gd name="connsiteY2463" fmla="*/ 780161 h 1934496"/>
              <a:gd name="connsiteX2464" fmla="*/ 2437294 w 9922465"/>
              <a:gd name="connsiteY2464" fmla="*/ 724970 h 1934496"/>
              <a:gd name="connsiteX2465" fmla="*/ 2303662 w 9922465"/>
              <a:gd name="connsiteY2465" fmla="*/ 724970 h 1934496"/>
              <a:gd name="connsiteX2466" fmla="*/ 2358853 w 9922465"/>
              <a:gd name="connsiteY2466" fmla="*/ 780161 h 1934496"/>
              <a:gd name="connsiteX2467" fmla="*/ 2303662 w 9922465"/>
              <a:gd name="connsiteY2467" fmla="*/ 835352 h 1934496"/>
              <a:gd name="connsiteX2468" fmla="*/ 2248471 w 9922465"/>
              <a:gd name="connsiteY2468" fmla="*/ 780161 h 1934496"/>
              <a:gd name="connsiteX2469" fmla="*/ 2303662 w 9922465"/>
              <a:gd name="connsiteY2469" fmla="*/ 724970 h 1934496"/>
              <a:gd name="connsiteX2470" fmla="*/ 2173371 w 9922465"/>
              <a:gd name="connsiteY2470" fmla="*/ 724970 h 1934496"/>
              <a:gd name="connsiteX2471" fmla="*/ 2228562 w 9922465"/>
              <a:gd name="connsiteY2471" fmla="*/ 780161 h 1934496"/>
              <a:gd name="connsiteX2472" fmla="*/ 2173371 w 9922465"/>
              <a:gd name="connsiteY2472" fmla="*/ 835352 h 1934496"/>
              <a:gd name="connsiteX2473" fmla="*/ 2118177 w 9922465"/>
              <a:gd name="connsiteY2473" fmla="*/ 780161 h 1934496"/>
              <a:gd name="connsiteX2474" fmla="*/ 2173371 w 9922465"/>
              <a:gd name="connsiteY2474" fmla="*/ 724970 h 1934496"/>
              <a:gd name="connsiteX2475" fmla="*/ 2039733 w 9922465"/>
              <a:gd name="connsiteY2475" fmla="*/ 724970 h 1934496"/>
              <a:gd name="connsiteX2476" fmla="*/ 2094927 w 9922465"/>
              <a:gd name="connsiteY2476" fmla="*/ 780161 h 1934496"/>
              <a:gd name="connsiteX2477" fmla="*/ 2039733 w 9922465"/>
              <a:gd name="connsiteY2477" fmla="*/ 835352 h 1934496"/>
              <a:gd name="connsiteX2478" fmla="*/ 1984539 w 9922465"/>
              <a:gd name="connsiteY2478" fmla="*/ 780161 h 1934496"/>
              <a:gd name="connsiteX2479" fmla="*/ 2039733 w 9922465"/>
              <a:gd name="connsiteY2479" fmla="*/ 724970 h 1934496"/>
              <a:gd name="connsiteX2480" fmla="*/ 1909436 w 9922465"/>
              <a:gd name="connsiteY2480" fmla="*/ 724970 h 1934496"/>
              <a:gd name="connsiteX2481" fmla="*/ 1964630 w 9922465"/>
              <a:gd name="connsiteY2481" fmla="*/ 780161 h 1934496"/>
              <a:gd name="connsiteX2482" fmla="*/ 1909436 w 9922465"/>
              <a:gd name="connsiteY2482" fmla="*/ 835352 h 1934496"/>
              <a:gd name="connsiteX2483" fmla="*/ 1854243 w 9922465"/>
              <a:gd name="connsiteY2483" fmla="*/ 780161 h 1934496"/>
              <a:gd name="connsiteX2484" fmla="*/ 1909436 w 9922465"/>
              <a:gd name="connsiteY2484" fmla="*/ 724970 h 1934496"/>
              <a:gd name="connsiteX2485" fmla="*/ 1779142 w 9922465"/>
              <a:gd name="connsiteY2485" fmla="*/ 724970 h 1934496"/>
              <a:gd name="connsiteX2486" fmla="*/ 1834335 w 9922465"/>
              <a:gd name="connsiteY2486" fmla="*/ 780161 h 1934496"/>
              <a:gd name="connsiteX2487" fmla="*/ 1779142 w 9922465"/>
              <a:gd name="connsiteY2487" fmla="*/ 835352 h 1934496"/>
              <a:gd name="connsiteX2488" fmla="*/ 1723947 w 9922465"/>
              <a:gd name="connsiteY2488" fmla="*/ 780161 h 1934496"/>
              <a:gd name="connsiteX2489" fmla="*/ 1779142 w 9922465"/>
              <a:gd name="connsiteY2489" fmla="*/ 724970 h 1934496"/>
              <a:gd name="connsiteX2490" fmla="*/ 1645501 w 9922465"/>
              <a:gd name="connsiteY2490" fmla="*/ 724970 h 1934496"/>
              <a:gd name="connsiteX2491" fmla="*/ 1700699 w 9922465"/>
              <a:gd name="connsiteY2491" fmla="*/ 780161 h 1934496"/>
              <a:gd name="connsiteX2492" fmla="*/ 1645501 w 9922465"/>
              <a:gd name="connsiteY2492" fmla="*/ 835352 h 1934496"/>
              <a:gd name="connsiteX2493" fmla="*/ 1590310 w 9922465"/>
              <a:gd name="connsiteY2493" fmla="*/ 780161 h 1934496"/>
              <a:gd name="connsiteX2494" fmla="*/ 1645501 w 9922465"/>
              <a:gd name="connsiteY2494" fmla="*/ 724970 h 1934496"/>
              <a:gd name="connsiteX2495" fmla="*/ 1515213 w 9922465"/>
              <a:gd name="connsiteY2495" fmla="*/ 724970 h 1934496"/>
              <a:gd name="connsiteX2496" fmla="*/ 1570399 w 9922465"/>
              <a:gd name="connsiteY2496" fmla="*/ 780161 h 1934496"/>
              <a:gd name="connsiteX2497" fmla="*/ 1515213 w 9922465"/>
              <a:gd name="connsiteY2497" fmla="*/ 835352 h 1934496"/>
              <a:gd name="connsiteX2498" fmla="*/ 1460016 w 9922465"/>
              <a:gd name="connsiteY2498" fmla="*/ 780161 h 1934496"/>
              <a:gd name="connsiteX2499" fmla="*/ 1515213 w 9922465"/>
              <a:gd name="connsiteY2499" fmla="*/ 724970 h 1934496"/>
              <a:gd name="connsiteX2500" fmla="*/ 1381573 w 9922465"/>
              <a:gd name="connsiteY2500" fmla="*/ 724970 h 1934496"/>
              <a:gd name="connsiteX2501" fmla="*/ 1436767 w 9922465"/>
              <a:gd name="connsiteY2501" fmla="*/ 780161 h 1934496"/>
              <a:gd name="connsiteX2502" fmla="*/ 1381573 w 9922465"/>
              <a:gd name="connsiteY2502" fmla="*/ 835352 h 1934496"/>
              <a:gd name="connsiteX2503" fmla="*/ 1326381 w 9922465"/>
              <a:gd name="connsiteY2503" fmla="*/ 780161 h 1934496"/>
              <a:gd name="connsiteX2504" fmla="*/ 1381573 w 9922465"/>
              <a:gd name="connsiteY2504" fmla="*/ 724970 h 1934496"/>
              <a:gd name="connsiteX2505" fmla="*/ 1251282 w 9922465"/>
              <a:gd name="connsiteY2505" fmla="*/ 724970 h 1934496"/>
              <a:gd name="connsiteX2506" fmla="*/ 1306475 w 9922465"/>
              <a:gd name="connsiteY2506" fmla="*/ 780161 h 1934496"/>
              <a:gd name="connsiteX2507" fmla="*/ 1251282 w 9922465"/>
              <a:gd name="connsiteY2507" fmla="*/ 835352 h 1934496"/>
              <a:gd name="connsiteX2508" fmla="*/ 1196089 w 9922465"/>
              <a:gd name="connsiteY2508" fmla="*/ 780161 h 1934496"/>
              <a:gd name="connsiteX2509" fmla="*/ 1251282 w 9922465"/>
              <a:gd name="connsiteY2509" fmla="*/ 724970 h 1934496"/>
              <a:gd name="connsiteX2510" fmla="*/ 1117642 w 9922465"/>
              <a:gd name="connsiteY2510" fmla="*/ 724970 h 1934496"/>
              <a:gd name="connsiteX2511" fmla="*/ 1172836 w 9922465"/>
              <a:gd name="connsiteY2511" fmla="*/ 780161 h 1934496"/>
              <a:gd name="connsiteX2512" fmla="*/ 1117642 w 9922465"/>
              <a:gd name="connsiteY2512" fmla="*/ 835352 h 1934496"/>
              <a:gd name="connsiteX2513" fmla="*/ 1062448 w 9922465"/>
              <a:gd name="connsiteY2513" fmla="*/ 780161 h 1934496"/>
              <a:gd name="connsiteX2514" fmla="*/ 1117642 w 9922465"/>
              <a:gd name="connsiteY2514" fmla="*/ 724970 h 1934496"/>
              <a:gd name="connsiteX2515" fmla="*/ 980664 w 9922465"/>
              <a:gd name="connsiteY2515" fmla="*/ 724970 h 1934496"/>
              <a:gd name="connsiteX2516" fmla="*/ 1035857 w 9922465"/>
              <a:gd name="connsiteY2516" fmla="*/ 780161 h 1934496"/>
              <a:gd name="connsiteX2517" fmla="*/ 980664 w 9922465"/>
              <a:gd name="connsiteY2517" fmla="*/ 835352 h 1934496"/>
              <a:gd name="connsiteX2518" fmla="*/ 925471 w 9922465"/>
              <a:gd name="connsiteY2518" fmla="*/ 780161 h 1934496"/>
              <a:gd name="connsiteX2519" fmla="*/ 980664 w 9922465"/>
              <a:gd name="connsiteY2519" fmla="*/ 724970 h 1934496"/>
              <a:gd name="connsiteX2520" fmla="*/ 847022 w 9922465"/>
              <a:gd name="connsiteY2520" fmla="*/ 724970 h 1934496"/>
              <a:gd name="connsiteX2521" fmla="*/ 902217 w 9922465"/>
              <a:gd name="connsiteY2521" fmla="*/ 780161 h 1934496"/>
              <a:gd name="connsiteX2522" fmla="*/ 847022 w 9922465"/>
              <a:gd name="connsiteY2522" fmla="*/ 835352 h 1934496"/>
              <a:gd name="connsiteX2523" fmla="*/ 791823 w 9922465"/>
              <a:gd name="connsiteY2523" fmla="*/ 780161 h 1934496"/>
              <a:gd name="connsiteX2524" fmla="*/ 847022 w 9922465"/>
              <a:gd name="connsiteY2524" fmla="*/ 724970 h 1934496"/>
              <a:gd name="connsiteX2525" fmla="*/ 716722 w 9922465"/>
              <a:gd name="connsiteY2525" fmla="*/ 724970 h 1934496"/>
              <a:gd name="connsiteX2526" fmla="*/ 771916 w 9922465"/>
              <a:gd name="connsiteY2526" fmla="*/ 780161 h 1934496"/>
              <a:gd name="connsiteX2527" fmla="*/ 716722 w 9922465"/>
              <a:gd name="connsiteY2527" fmla="*/ 835352 h 1934496"/>
              <a:gd name="connsiteX2528" fmla="*/ 661530 w 9922465"/>
              <a:gd name="connsiteY2528" fmla="*/ 780161 h 1934496"/>
              <a:gd name="connsiteX2529" fmla="*/ 716722 w 9922465"/>
              <a:gd name="connsiteY2529" fmla="*/ 724970 h 1934496"/>
              <a:gd name="connsiteX2530" fmla="*/ 583085 w 9922465"/>
              <a:gd name="connsiteY2530" fmla="*/ 724970 h 1934496"/>
              <a:gd name="connsiteX2531" fmla="*/ 638278 w 9922465"/>
              <a:gd name="connsiteY2531" fmla="*/ 780161 h 1934496"/>
              <a:gd name="connsiteX2532" fmla="*/ 583085 w 9922465"/>
              <a:gd name="connsiteY2532" fmla="*/ 835352 h 1934496"/>
              <a:gd name="connsiteX2533" fmla="*/ 527891 w 9922465"/>
              <a:gd name="connsiteY2533" fmla="*/ 780161 h 1934496"/>
              <a:gd name="connsiteX2534" fmla="*/ 583085 w 9922465"/>
              <a:gd name="connsiteY2534" fmla="*/ 724970 h 1934496"/>
              <a:gd name="connsiteX2535" fmla="*/ 449437 w 9922465"/>
              <a:gd name="connsiteY2535" fmla="*/ 724970 h 1934496"/>
              <a:gd name="connsiteX2536" fmla="*/ 504629 w 9922465"/>
              <a:gd name="connsiteY2536" fmla="*/ 780161 h 1934496"/>
              <a:gd name="connsiteX2537" fmla="*/ 449437 w 9922465"/>
              <a:gd name="connsiteY2537" fmla="*/ 835352 h 1934496"/>
              <a:gd name="connsiteX2538" fmla="*/ 394244 w 9922465"/>
              <a:gd name="connsiteY2538" fmla="*/ 780161 h 1934496"/>
              <a:gd name="connsiteX2539" fmla="*/ 449437 w 9922465"/>
              <a:gd name="connsiteY2539" fmla="*/ 724970 h 1934496"/>
              <a:gd name="connsiteX2540" fmla="*/ 319140 w 9922465"/>
              <a:gd name="connsiteY2540" fmla="*/ 724970 h 1934496"/>
              <a:gd name="connsiteX2541" fmla="*/ 374334 w 9922465"/>
              <a:gd name="connsiteY2541" fmla="*/ 780161 h 1934496"/>
              <a:gd name="connsiteX2542" fmla="*/ 319140 w 9922465"/>
              <a:gd name="connsiteY2542" fmla="*/ 835352 h 1934496"/>
              <a:gd name="connsiteX2543" fmla="*/ 263948 w 9922465"/>
              <a:gd name="connsiteY2543" fmla="*/ 780161 h 1934496"/>
              <a:gd name="connsiteX2544" fmla="*/ 319140 w 9922465"/>
              <a:gd name="connsiteY2544" fmla="*/ 724970 h 1934496"/>
              <a:gd name="connsiteX2545" fmla="*/ 185509 w 9922465"/>
              <a:gd name="connsiteY2545" fmla="*/ 724970 h 1934496"/>
              <a:gd name="connsiteX2546" fmla="*/ 240701 w 9922465"/>
              <a:gd name="connsiteY2546" fmla="*/ 780161 h 1934496"/>
              <a:gd name="connsiteX2547" fmla="*/ 185509 w 9922465"/>
              <a:gd name="connsiteY2547" fmla="*/ 835352 h 1934496"/>
              <a:gd name="connsiteX2548" fmla="*/ 130319 w 9922465"/>
              <a:gd name="connsiteY2548" fmla="*/ 780161 h 1934496"/>
              <a:gd name="connsiteX2549" fmla="*/ 185509 w 9922465"/>
              <a:gd name="connsiteY2549" fmla="*/ 724970 h 1934496"/>
              <a:gd name="connsiteX2550" fmla="*/ 8801538 w 9922465"/>
              <a:gd name="connsiteY2550" fmla="*/ 608039 h 1934496"/>
              <a:gd name="connsiteX2551" fmla="*/ 8856730 w 9922465"/>
              <a:gd name="connsiteY2551" fmla="*/ 663230 h 1934496"/>
              <a:gd name="connsiteX2552" fmla="*/ 8801538 w 9922465"/>
              <a:gd name="connsiteY2552" fmla="*/ 718421 h 1934496"/>
              <a:gd name="connsiteX2553" fmla="*/ 8746346 w 9922465"/>
              <a:gd name="connsiteY2553" fmla="*/ 663230 h 1934496"/>
              <a:gd name="connsiteX2554" fmla="*/ 8801538 w 9922465"/>
              <a:gd name="connsiteY2554" fmla="*/ 608039 h 1934496"/>
              <a:gd name="connsiteX2555" fmla="*/ 8671244 w 9922465"/>
              <a:gd name="connsiteY2555" fmla="*/ 608039 h 1934496"/>
              <a:gd name="connsiteX2556" fmla="*/ 8726436 w 9922465"/>
              <a:gd name="connsiteY2556" fmla="*/ 663230 h 1934496"/>
              <a:gd name="connsiteX2557" fmla="*/ 8671244 w 9922465"/>
              <a:gd name="connsiteY2557" fmla="*/ 718421 h 1934496"/>
              <a:gd name="connsiteX2558" fmla="*/ 8616052 w 9922465"/>
              <a:gd name="connsiteY2558" fmla="*/ 663230 h 1934496"/>
              <a:gd name="connsiteX2559" fmla="*/ 8671244 w 9922465"/>
              <a:gd name="connsiteY2559" fmla="*/ 608039 h 1934496"/>
              <a:gd name="connsiteX2560" fmla="*/ 8537609 w 9922465"/>
              <a:gd name="connsiteY2560" fmla="*/ 608039 h 1934496"/>
              <a:gd name="connsiteX2561" fmla="*/ 8592801 w 9922465"/>
              <a:gd name="connsiteY2561" fmla="*/ 663230 h 1934496"/>
              <a:gd name="connsiteX2562" fmla="*/ 8537609 w 9922465"/>
              <a:gd name="connsiteY2562" fmla="*/ 718421 h 1934496"/>
              <a:gd name="connsiteX2563" fmla="*/ 8482417 w 9922465"/>
              <a:gd name="connsiteY2563" fmla="*/ 663230 h 1934496"/>
              <a:gd name="connsiteX2564" fmla="*/ 8537609 w 9922465"/>
              <a:gd name="connsiteY2564" fmla="*/ 608039 h 1934496"/>
              <a:gd name="connsiteX2565" fmla="*/ 8407318 w 9922465"/>
              <a:gd name="connsiteY2565" fmla="*/ 608039 h 1934496"/>
              <a:gd name="connsiteX2566" fmla="*/ 8462510 w 9922465"/>
              <a:gd name="connsiteY2566" fmla="*/ 663230 h 1934496"/>
              <a:gd name="connsiteX2567" fmla="*/ 8407318 w 9922465"/>
              <a:gd name="connsiteY2567" fmla="*/ 718421 h 1934496"/>
              <a:gd name="connsiteX2568" fmla="*/ 8352126 w 9922465"/>
              <a:gd name="connsiteY2568" fmla="*/ 663230 h 1934496"/>
              <a:gd name="connsiteX2569" fmla="*/ 8407318 w 9922465"/>
              <a:gd name="connsiteY2569" fmla="*/ 608039 h 1934496"/>
              <a:gd name="connsiteX2570" fmla="*/ 8273682 w 9922465"/>
              <a:gd name="connsiteY2570" fmla="*/ 608039 h 1934496"/>
              <a:gd name="connsiteX2571" fmla="*/ 8328874 w 9922465"/>
              <a:gd name="connsiteY2571" fmla="*/ 663230 h 1934496"/>
              <a:gd name="connsiteX2572" fmla="*/ 8273682 w 9922465"/>
              <a:gd name="connsiteY2572" fmla="*/ 718421 h 1934496"/>
              <a:gd name="connsiteX2573" fmla="*/ 8218490 w 9922465"/>
              <a:gd name="connsiteY2573" fmla="*/ 663230 h 1934496"/>
              <a:gd name="connsiteX2574" fmla="*/ 8273682 w 9922465"/>
              <a:gd name="connsiteY2574" fmla="*/ 608039 h 1934496"/>
              <a:gd name="connsiteX2575" fmla="*/ 8143386 w 9922465"/>
              <a:gd name="connsiteY2575" fmla="*/ 608039 h 1934496"/>
              <a:gd name="connsiteX2576" fmla="*/ 8198578 w 9922465"/>
              <a:gd name="connsiteY2576" fmla="*/ 663230 h 1934496"/>
              <a:gd name="connsiteX2577" fmla="*/ 8143386 w 9922465"/>
              <a:gd name="connsiteY2577" fmla="*/ 718421 h 1934496"/>
              <a:gd name="connsiteX2578" fmla="*/ 8088194 w 9922465"/>
              <a:gd name="connsiteY2578" fmla="*/ 663230 h 1934496"/>
              <a:gd name="connsiteX2579" fmla="*/ 8143386 w 9922465"/>
              <a:gd name="connsiteY2579" fmla="*/ 608039 h 1934496"/>
              <a:gd name="connsiteX2580" fmla="*/ 8009753 w 9922465"/>
              <a:gd name="connsiteY2580" fmla="*/ 608039 h 1934496"/>
              <a:gd name="connsiteX2581" fmla="*/ 8064945 w 9922465"/>
              <a:gd name="connsiteY2581" fmla="*/ 663230 h 1934496"/>
              <a:gd name="connsiteX2582" fmla="*/ 8009753 w 9922465"/>
              <a:gd name="connsiteY2582" fmla="*/ 718421 h 1934496"/>
              <a:gd name="connsiteX2583" fmla="*/ 7954561 w 9922465"/>
              <a:gd name="connsiteY2583" fmla="*/ 663230 h 1934496"/>
              <a:gd name="connsiteX2584" fmla="*/ 8009753 w 9922465"/>
              <a:gd name="connsiteY2584" fmla="*/ 608039 h 1934496"/>
              <a:gd name="connsiteX2585" fmla="*/ 7876118 w 9922465"/>
              <a:gd name="connsiteY2585" fmla="*/ 608039 h 1934496"/>
              <a:gd name="connsiteX2586" fmla="*/ 7931310 w 9922465"/>
              <a:gd name="connsiteY2586" fmla="*/ 663230 h 1934496"/>
              <a:gd name="connsiteX2587" fmla="*/ 7876118 w 9922465"/>
              <a:gd name="connsiteY2587" fmla="*/ 718421 h 1934496"/>
              <a:gd name="connsiteX2588" fmla="*/ 7820926 w 9922465"/>
              <a:gd name="connsiteY2588" fmla="*/ 663230 h 1934496"/>
              <a:gd name="connsiteX2589" fmla="*/ 7876118 w 9922465"/>
              <a:gd name="connsiteY2589" fmla="*/ 608039 h 1934496"/>
              <a:gd name="connsiteX2590" fmla="*/ 7745824 w 9922465"/>
              <a:gd name="connsiteY2590" fmla="*/ 608039 h 1934496"/>
              <a:gd name="connsiteX2591" fmla="*/ 7801016 w 9922465"/>
              <a:gd name="connsiteY2591" fmla="*/ 663230 h 1934496"/>
              <a:gd name="connsiteX2592" fmla="*/ 7745824 w 9922465"/>
              <a:gd name="connsiteY2592" fmla="*/ 718421 h 1934496"/>
              <a:gd name="connsiteX2593" fmla="*/ 7690632 w 9922465"/>
              <a:gd name="connsiteY2593" fmla="*/ 663230 h 1934496"/>
              <a:gd name="connsiteX2594" fmla="*/ 7745824 w 9922465"/>
              <a:gd name="connsiteY2594" fmla="*/ 608039 h 1934496"/>
              <a:gd name="connsiteX2595" fmla="*/ 7608850 w 9922465"/>
              <a:gd name="connsiteY2595" fmla="*/ 608039 h 1934496"/>
              <a:gd name="connsiteX2596" fmla="*/ 7664042 w 9922465"/>
              <a:gd name="connsiteY2596" fmla="*/ 663230 h 1934496"/>
              <a:gd name="connsiteX2597" fmla="*/ 7608850 w 9922465"/>
              <a:gd name="connsiteY2597" fmla="*/ 718421 h 1934496"/>
              <a:gd name="connsiteX2598" fmla="*/ 7553658 w 9922465"/>
              <a:gd name="connsiteY2598" fmla="*/ 663230 h 1934496"/>
              <a:gd name="connsiteX2599" fmla="*/ 7608850 w 9922465"/>
              <a:gd name="connsiteY2599" fmla="*/ 608039 h 1934496"/>
              <a:gd name="connsiteX2600" fmla="*/ 7481895 w 9922465"/>
              <a:gd name="connsiteY2600" fmla="*/ 608039 h 1934496"/>
              <a:gd name="connsiteX2601" fmla="*/ 7537087 w 9922465"/>
              <a:gd name="connsiteY2601" fmla="*/ 663230 h 1934496"/>
              <a:gd name="connsiteX2602" fmla="*/ 7481895 w 9922465"/>
              <a:gd name="connsiteY2602" fmla="*/ 718421 h 1934496"/>
              <a:gd name="connsiteX2603" fmla="*/ 7426703 w 9922465"/>
              <a:gd name="connsiteY2603" fmla="*/ 663230 h 1934496"/>
              <a:gd name="connsiteX2604" fmla="*/ 7481895 w 9922465"/>
              <a:gd name="connsiteY2604" fmla="*/ 608039 h 1934496"/>
              <a:gd name="connsiteX2605" fmla="*/ 7341579 w 9922465"/>
              <a:gd name="connsiteY2605" fmla="*/ 608039 h 1934496"/>
              <a:gd name="connsiteX2606" fmla="*/ 7396771 w 9922465"/>
              <a:gd name="connsiteY2606" fmla="*/ 663230 h 1934496"/>
              <a:gd name="connsiteX2607" fmla="*/ 7341579 w 9922465"/>
              <a:gd name="connsiteY2607" fmla="*/ 718421 h 1934496"/>
              <a:gd name="connsiteX2608" fmla="*/ 7286387 w 9922465"/>
              <a:gd name="connsiteY2608" fmla="*/ 663230 h 1934496"/>
              <a:gd name="connsiteX2609" fmla="*/ 7341579 w 9922465"/>
              <a:gd name="connsiteY2609" fmla="*/ 608039 h 1934496"/>
              <a:gd name="connsiteX2610" fmla="*/ 7211286 w 9922465"/>
              <a:gd name="connsiteY2610" fmla="*/ 608039 h 1934496"/>
              <a:gd name="connsiteX2611" fmla="*/ 7266478 w 9922465"/>
              <a:gd name="connsiteY2611" fmla="*/ 663230 h 1934496"/>
              <a:gd name="connsiteX2612" fmla="*/ 7211286 w 9922465"/>
              <a:gd name="connsiteY2612" fmla="*/ 718421 h 1934496"/>
              <a:gd name="connsiteX2613" fmla="*/ 7156094 w 9922465"/>
              <a:gd name="connsiteY2613" fmla="*/ 663230 h 1934496"/>
              <a:gd name="connsiteX2614" fmla="*/ 7211286 w 9922465"/>
              <a:gd name="connsiteY2614" fmla="*/ 608039 h 1934496"/>
              <a:gd name="connsiteX2615" fmla="*/ 7080994 w 9922465"/>
              <a:gd name="connsiteY2615" fmla="*/ 608039 h 1934496"/>
              <a:gd name="connsiteX2616" fmla="*/ 7136186 w 9922465"/>
              <a:gd name="connsiteY2616" fmla="*/ 663230 h 1934496"/>
              <a:gd name="connsiteX2617" fmla="*/ 7080994 w 9922465"/>
              <a:gd name="connsiteY2617" fmla="*/ 718421 h 1934496"/>
              <a:gd name="connsiteX2618" fmla="*/ 7025802 w 9922465"/>
              <a:gd name="connsiteY2618" fmla="*/ 663230 h 1934496"/>
              <a:gd name="connsiteX2619" fmla="*/ 7080994 w 9922465"/>
              <a:gd name="connsiteY2619" fmla="*/ 608039 h 1934496"/>
              <a:gd name="connsiteX2620" fmla="*/ 6947358 w 9922465"/>
              <a:gd name="connsiteY2620" fmla="*/ 608039 h 1934496"/>
              <a:gd name="connsiteX2621" fmla="*/ 7002550 w 9922465"/>
              <a:gd name="connsiteY2621" fmla="*/ 663230 h 1934496"/>
              <a:gd name="connsiteX2622" fmla="*/ 6947358 w 9922465"/>
              <a:gd name="connsiteY2622" fmla="*/ 718421 h 1934496"/>
              <a:gd name="connsiteX2623" fmla="*/ 6892166 w 9922465"/>
              <a:gd name="connsiteY2623" fmla="*/ 663230 h 1934496"/>
              <a:gd name="connsiteX2624" fmla="*/ 6947358 w 9922465"/>
              <a:gd name="connsiteY2624" fmla="*/ 608039 h 1934496"/>
              <a:gd name="connsiteX2625" fmla="*/ 6817064 w 9922465"/>
              <a:gd name="connsiteY2625" fmla="*/ 608039 h 1934496"/>
              <a:gd name="connsiteX2626" fmla="*/ 6872256 w 9922465"/>
              <a:gd name="connsiteY2626" fmla="*/ 663230 h 1934496"/>
              <a:gd name="connsiteX2627" fmla="*/ 6817064 w 9922465"/>
              <a:gd name="connsiteY2627" fmla="*/ 718421 h 1934496"/>
              <a:gd name="connsiteX2628" fmla="*/ 6761872 w 9922465"/>
              <a:gd name="connsiteY2628" fmla="*/ 663230 h 1934496"/>
              <a:gd name="connsiteX2629" fmla="*/ 6817064 w 9922465"/>
              <a:gd name="connsiteY2629" fmla="*/ 608039 h 1934496"/>
              <a:gd name="connsiteX2630" fmla="*/ 6683431 w 9922465"/>
              <a:gd name="connsiteY2630" fmla="*/ 608039 h 1934496"/>
              <a:gd name="connsiteX2631" fmla="*/ 6738623 w 9922465"/>
              <a:gd name="connsiteY2631" fmla="*/ 663230 h 1934496"/>
              <a:gd name="connsiteX2632" fmla="*/ 6683431 w 9922465"/>
              <a:gd name="connsiteY2632" fmla="*/ 718421 h 1934496"/>
              <a:gd name="connsiteX2633" fmla="*/ 6628239 w 9922465"/>
              <a:gd name="connsiteY2633" fmla="*/ 663230 h 1934496"/>
              <a:gd name="connsiteX2634" fmla="*/ 6683431 w 9922465"/>
              <a:gd name="connsiteY2634" fmla="*/ 608039 h 1934496"/>
              <a:gd name="connsiteX2635" fmla="*/ 6155573 w 9922465"/>
              <a:gd name="connsiteY2635" fmla="*/ 608039 h 1934496"/>
              <a:gd name="connsiteX2636" fmla="*/ 6210765 w 9922465"/>
              <a:gd name="connsiteY2636" fmla="*/ 663230 h 1934496"/>
              <a:gd name="connsiteX2637" fmla="*/ 6155573 w 9922465"/>
              <a:gd name="connsiteY2637" fmla="*/ 718421 h 1934496"/>
              <a:gd name="connsiteX2638" fmla="*/ 6100381 w 9922465"/>
              <a:gd name="connsiteY2638" fmla="*/ 663230 h 1934496"/>
              <a:gd name="connsiteX2639" fmla="*/ 6155573 w 9922465"/>
              <a:gd name="connsiteY2639" fmla="*/ 608039 h 1934496"/>
              <a:gd name="connsiteX2640" fmla="*/ 5487399 w 9922465"/>
              <a:gd name="connsiteY2640" fmla="*/ 608039 h 1934496"/>
              <a:gd name="connsiteX2641" fmla="*/ 5542591 w 9922465"/>
              <a:gd name="connsiteY2641" fmla="*/ 663230 h 1934496"/>
              <a:gd name="connsiteX2642" fmla="*/ 5487399 w 9922465"/>
              <a:gd name="connsiteY2642" fmla="*/ 718421 h 1934496"/>
              <a:gd name="connsiteX2643" fmla="*/ 5432207 w 9922465"/>
              <a:gd name="connsiteY2643" fmla="*/ 663230 h 1934496"/>
              <a:gd name="connsiteX2644" fmla="*/ 5487399 w 9922465"/>
              <a:gd name="connsiteY2644" fmla="*/ 608039 h 1934496"/>
              <a:gd name="connsiteX2645" fmla="*/ 5357106 w 9922465"/>
              <a:gd name="connsiteY2645" fmla="*/ 608039 h 1934496"/>
              <a:gd name="connsiteX2646" fmla="*/ 5412298 w 9922465"/>
              <a:gd name="connsiteY2646" fmla="*/ 663230 h 1934496"/>
              <a:gd name="connsiteX2647" fmla="*/ 5357106 w 9922465"/>
              <a:gd name="connsiteY2647" fmla="*/ 718421 h 1934496"/>
              <a:gd name="connsiteX2648" fmla="*/ 5301914 w 9922465"/>
              <a:gd name="connsiteY2648" fmla="*/ 663230 h 1934496"/>
              <a:gd name="connsiteX2649" fmla="*/ 5357106 w 9922465"/>
              <a:gd name="connsiteY2649" fmla="*/ 608039 h 1934496"/>
              <a:gd name="connsiteX2650" fmla="*/ 5223473 w 9922465"/>
              <a:gd name="connsiteY2650" fmla="*/ 608038 h 1934496"/>
              <a:gd name="connsiteX2651" fmla="*/ 5278665 w 9922465"/>
              <a:gd name="connsiteY2651" fmla="*/ 663229 h 1934496"/>
              <a:gd name="connsiteX2652" fmla="*/ 5223473 w 9922465"/>
              <a:gd name="connsiteY2652" fmla="*/ 718420 h 1934496"/>
              <a:gd name="connsiteX2653" fmla="*/ 5168281 w 9922465"/>
              <a:gd name="connsiteY2653" fmla="*/ 663229 h 1934496"/>
              <a:gd name="connsiteX2654" fmla="*/ 5223473 w 9922465"/>
              <a:gd name="connsiteY2654" fmla="*/ 608038 h 1934496"/>
              <a:gd name="connsiteX2655" fmla="*/ 4030786 w 9922465"/>
              <a:gd name="connsiteY2655" fmla="*/ 608038 h 1934496"/>
              <a:gd name="connsiteX2656" fmla="*/ 4085978 w 9922465"/>
              <a:gd name="connsiteY2656" fmla="*/ 663229 h 1934496"/>
              <a:gd name="connsiteX2657" fmla="*/ 4030786 w 9922465"/>
              <a:gd name="connsiteY2657" fmla="*/ 718420 h 1934496"/>
              <a:gd name="connsiteX2658" fmla="*/ 3975594 w 9922465"/>
              <a:gd name="connsiteY2658" fmla="*/ 663229 h 1934496"/>
              <a:gd name="connsiteX2659" fmla="*/ 4030786 w 9922465"/>
              <a:gd name="connsiteY2659" fmla="*/ 608038 h 1934496"/>
              <a:gd name="connsiteX2660" fmla="*/ 3897148 w 9922465"/>
              <a:gd name="connsiteY2660" fmla="*/ 608038 h 1934496"/>
              <a:gd name="connsiteX2661" fmla="*/ 3952340 w 9922465"/>
              <a:gd name="connsiteY2661" fmla="*/ 663229 h 1934496"/>
              <a:gd name="connsiteX2662" fmla="*/ 3897148 w 9922465"/>
              <a:gd name="connsiteY2662" fmla="*/ 718420 h 1934496"/>
              <a:gd name="connsiteX2663" fmla="*/ 3841956 w 9922465"/>
              <a:gd name="connsiteY2663" fmla="*/ 663229 h 1934496"/>
              <a:gd name="connsiteX2664" fmla="*/ 3897148 w 9922465"/>
              <a:gd name="connsiteY2664" fmla="*/ 608038 h 1934496"/>
              <a:gd name="connsiteX2665" fmla="*/ 3763514 w 9922465"/>
              <a:gd name="connsiteY2665" fmla="*/ 608038 h 1934496"/>
              <a:gd name="connsiteX2666" fmla="*/ 3818706 w 9922465"/>
              <a:gd name="connsiteY2666" fmla="*/ 663229 h 1934496"/>
              <a:gd name="connsiteX2667" fmla="*/ 3763514 w 9922465"/>
              <a:gd name="connsiteY2667" fmla="*/ 718420 h 1934496"/>
              <a:gd name="connsiteX2668" fmla="*/ 3708322 w 9922465"/>
              <a:gd name="connsiteY2668" fmla="*/ 663229 h 1934496"/>
              <a:gd name="connsiteX2669" fmla="*/ 3763514 w 9922465"/>
              <a:gd name="connsiteY2669" fmla="*/ 608038 h 1934496"/>
              <a:gd name="connsiteX2670" fmla="*/ 3633221 w 9922465"/>
              <a:gd name="connsiteY2670" fmla="*/ 608038 h 1934496"/>
              <a:gd name="connsiteX2671" fmla="*/ 3688413 w 9922465"/>
              <a:gd name="connsiteY2671" fmla="*/ 663229 h 1934496"/>
              <a:gd name="connsiteX2672" fmla="*/ 3633221 w 9922465"/>
              <a:gd name="connsiteY2672" fmla="*/ 718420 h 1934496"/>
              <a:gd name="connsiteX2673" fmla="*/ 3578029 w 9922465"/>
              <a:gd name="connsiteY2673" fmla="*/ 663229 h 1934496"/>
              <a:gd name="connsiteX2674" fmla="*/ 3633221 w 9922465"/>
              <a:gd name="connsiteY2674" fmla="*/ 608038 h 1934496"/>
              <a:gd name="connsiteX2675" fmla="*/ 3499589 w 9922465"/>
              <a:gd name="connsiteY2675" fmla="*/ 608038 h 1934496"/>
              <a:gd name="connsiteX2676" fmla="*/ 3554781 w 9922465"/>
              <a:gd name="connsiteY2676" fmla="*/ 663229 h 1934496"/>
              <a:gd name="connsiteX2677" fmla="*/ 3499589 w 9922465"/>
              <a:gd name="connsiteY2677" fmla="*/ 718420 h 1934496"/>
              <a:gd name="connsiteX2678" fmla="*/ 3444397 w 9922465"/>
              <a:gd name="connsiteY2678" fmla="*/ 663229 h 1934496"/>
              <a:gd name="connsiteX2679" fmla="*/ 3499589 w 9922465"/>
              <a:gd name="connsiteY2679" fmla="*/ 608038 h 1934496"/>
              <a:gd name="connsiteX2680" fmla="*/ 3369292 w 9922465"/>
              <a:gd name="connsiteY2680" fmla="*/ 608038 h 1934496"/>
              <a:gd name="connsiteX2681" fmla="*/ 3424484 w 9922465"/>
              <a:gd name="connsiteY2681" fmla="*/ 663229 h 1934496"/>
              <a:gd name="connsiteX2682" fmla="*/ 3369292 w 9922465"/>
              <a:gd name="connsiteY2682" fmla="*/ 718420 h 1934496"/>
              <a:gd name="connsiteX2683" fmla="*/ 3314100 w 9922465"/>
              <a:gd name="connsiteY2683" fmla="*/ 663229 h 1934496"/>
              <a:gd name="connsiteX2684" fmla="*/ 3369292 w 9922465"/>
              <a:gd name="connsiteY2684" fmla="*/ 608038 h 1934496"/>
              <a:gd name="connsiteX2685" fmla="*/ 3235657 w 9922465"/>
              <a:gd name="connsiteY2685" fmla="*/ 608038 h 1934496"/>
              <a:gd name="connsiteX2686" fmla="*/ 3290849 w 9922465"/>
              <a:gd name="connsiteY2686" fmla="*/ 663229 h 1934496"/>
              <a:gd name="connsiteX2687" fmla="*/ 3235657 w 9922465"/>
              <a:gd name="connsiteY2687" fmla="*/ 718420 h 1934496"/>
              <a:gd name="connsiteX2688" fmla="*/ 3180465 w 9922465"/>
              <a:gd name="connsiteY2688" fmla="*/ 663229 h 1934496"/>
              <a:gd name="connsiteX2689" fmla="*/ 3235657 w 9922465"/>
              <a:gd name="connsiteY2689" fmla="*/ 608038 h 1934496"/>
              <a:gd name="connsiteX2690" fmla="*/ 2570932 w 9922465"/>
              <a:gd name="connsiteY2690" fmla="*/ 608038 h 1934496"/>
              <a:gd name="connsiteX2691" fmla="*/ 2626123 w 9922465"/>
              <a:gd name="connsiteY2691" fmla="*/ 663229 h 1934496"/>
              <a:gd name="connsiteX2692" fmla="*/ 2570932 w 9922465"/>
              <a:gd name="connsiteY2692" fmla="*/ 718420 h 1934496"/>
              <a:gd name="connsiteX2693" fmla="*/ 2515738 w 9922465"/>
              <a:gd name="connsiteY2693" fmla="*/ 663229 h 1934496"/>
              <a:gd name="connsiteX2694" fmla="*/ 2570932 w 9922465"/>
              <a:gd name="connsiteY2694" fmla="*/ 608038 h 1934496"/>
              <a:gd name="connsiteX2695" fmla="*/ 2437297 w 9922465"/>
              <a:gd name="connsiteY2695" fmla="*/ 608038 h 1934496"/>
              <a:gd name="connsiteX2696" fmla="*/ 2492487 w 9922465"/>
              <a:gd name="connsiteY2696" fmla="*/ 663229 h 1934496"/>
              <a:gd name="connsiteX2697" fmla="*/ 2437297 w 9922465"/>
              <a:gd name="connsiteY2697" fmla="*/ 718420 h 1934496"/>
              <a:gd name="connsiteX2698" fmla="*/ 2382108 w 9922465"/>
              <a:gd name="connsiteY2698" fmla="*/ 663229 h 1934496"/>
              <a:gd name="connsiteX2699" fmla="*/ 2437297 w 9922465"/>
              <a:gd name="connsiteY2699" fmla="*/ 608038 h 1934496"/>
              <a:gd name="connsiteX2700" fmla="*/ 2303664 w 9922465"/>
              <a:gd name="connsiteY2700" fmla="*/ 608038 h 1934496"/>
              <a:gd name="connsiteX2701" fmla="*/ 2358856 w 9922465"/>
              <a:gd name="connsiteY2701" fmla="*/ 663229 h 1934496"/>
              <a:gd name="connsiteX2702" fmla="*/ 2303664 w 9922465"/>
              <a:gd name="connsiteY2702" fmla="*/ 718420 h 1934496"/>
              <a:gd name="connsiteX2703" fmla="*/ 2248473 w 9922465"/>
              <a:gd name="connsiteY2703" fmla="*/ 663229 h 1934496"/>
              <a:gd name="connsiteX2704" fmla="*/ 2303664 w 9922465"/>
              <a:gd name="connsiteY2704" fmla="*/ 608038 h 1934496"/>
              <a:gd name="connsiteX2705" fmla="*/ 2173372 w 9922465"/>
              <a:gd name="connsiteY2705" fmla="*/ 608038 h 1934496"/>
              <a:gd name="connsiteX2706" fmla="*/ 2228565 w 9922465"/>
              <a:gd name="connsiteY2706" fmla="*/ 663229 h 1934496"/>
              <a:gd name="connsiteX2707" fmla="*/ 2173372 w 9922465"/>
              <a:gd name="connsiteY2707" fmla="*/ 718420 h 1934496"/>
              <a:gd name="connsiteX2708" fmla="*/ 2118180 w 9922465"/>
              <a:gd name="connsiteY2708" fmla="*/ 663229 h 1934496"/>
              <a:gd name="connsiteX2709" fmla="*/ 2173372 w 9922465"/>
              <a:gd name="connsiteY2709" fmla="*/ 608038 h 1934496"/>
              <a:gd name="connsiteX2710" fmla="*/ 2039736 w 9922465"/>
              <a:gd name="connsiteY2710" fmla="*/ 608038 h 1934496"/>
              <a:gd name="connsiteX2711" fmla="*/ 2094930 w 9922465"/>
              <a:gd name="connsiteY2711" fmla="*/ 663229 h 1934496"/>
              <a:gd name="connsiteX2712" fmla="*/ 2039736 w 9922465"/>
              <a:gd name="connsiteY2712" fmla="*/ 718420 h 1934496"/>
              <a:gd name="connsiteX2713" fmla="*/ 1984543 w 9922465"/>
              <a:gd name="connsiteY2713" fmla="*/ 663229 h 1934496"/>
              <a:gd name="connsiteX2714" fmla="*/ 2039736 w 9922465"/>
              <a:gd name="connsiteY2714" fmla="*/ 608038 h 1934496"/>
              <a:gd name="connsiteX2715" fmla="*/ 1909437 w 9922465"/>
              <a:gd name="connsiteY2715" fmla="*/ 608038 h 1934496"/>
              <a:gd name="connsiteX2716" fmla="*/ 1964630 w 9922465"/>
              <a:gd name="connsiteY2716" fmla="*/ 663229 h 1934496"/>
              <a:gd name="connsiteX2717" fmla="*/ 1909437 w 9922465"/>
              <a:gd name="connsiteY2717" fmla="*/ 718420 h 1934496"/>
              <a:gd name="connsiteX2718" fmla="*/ 1854244 w 9922465"/>
              <a:gd name="connsiteY2718" fmla="*/ 663229 h 1934496"/>
              <a:gd name="connsiteX2719" fmla="*/ 1909437 w 9922465"/>
              <a:gd name="connsiteY2719" fmla="*/ 608038 h 1934496"/>
              <a:gd name="connsiteX2720" fmla="*/ 1779142 w 9922465"/>
              <a:gd name="connsiteY2720" fmla="*/ 608038 h 1934496"/>
              <a:gd name="connsiteX2721" fmla="*/ 1834335 w 9922465"/>
              <a:gd name="connsiteY2721" fmla="*/ 663229 h 1934496"/>
              <a:gd name="connsiteX2722" fmla="*/ 1779142 w 9922465"/>
              <a:gd name="connsiteY2722" fmla="*/ 718420 h 1934496"/>
              <a:gd name="connsiteX2723" fmla="*/ 1723950 w 9922465"/>
              <a:gd name="connsiteY2723" fmla="*/ 663229 h 1934496"/>
              <a:gd name="connsiteX2724" fmla="*/ 1779142 w 9922465"/>
              <a:gd name="connsiteY2724" fmla="*/ 608038 h 1934496"/>
              <a:gd name="connsiteX2725" fmla="*/ 1645508 w 9922465"/>
              <a:gd name="connsiteY2725" fmla="*/ 608038 h 1934496"/>
              <a:gd name="connsiteX2726" fmla="*/ 1700702 w 9922465"/>
              <a:gd name="connsiteY2726" fmla="*/ 663229 h 1934496"/>
              <a:gd name="connsiteX2727" fmla="*/ 1645508 w 9922465"/>
              <a:gd name="connsiteY2727" fmla="*/ 718420 h 1934496"/>
              <a:gd name="connsiteX2728" fmla="*/ 1590311 w 9922465"/>
              <a:gd name="connsiteY2728" fmla="*/ 663229 h 1934496"/>
              <a:gd name="connsiteX2729" fmla="*/ 1645508 w 9922465"/>
              <a:gd name="connsiteY2729" fmla="*/ 608038 h 1934496"/>
              <a:gd name="connsiteX2730" fmla="*/ 1515217 w 9922465"/>
              <a:gd name="connsiteY2730" fmla="*/ 608038 h 1934496"/>
              <a:gd name="connsiteX2731" fmla="*/ 1570402 w 9922465"/>
              <a:gd name="connsiteY2731" fmla="*/ 663229 h 1934496"/>
              <a:gd name="connsiteX2732" fmla="*/ 1515217 w 9922465"/>
              <a:gd name="connsiteY2732" fmla="*/ 718420 h 1934496"/>
              <a:gd name="connsiteX2733" fmla="*/ 1460020 w 9922465"/>
              <a:gd name="connsiteY2733" fmla="*/ 663229 h 1934496"/>
              <a:gd name="connsiteX2734" fmla="*/ 1515217 w 9922465"/>
              <a:gd name="connsiteY2734" fmla="*/ 608038 h 1934496"/>
              <a:gd name="connsiteX2735" fmla="*/ 1381573 w 9922465"/>
              <a:gd name="connsiteY2735" fmla="*/ 608038 h 1934496"/>
              <a:gd name="connsiteX2736" fmla="*/ 1436767 w 9922465"/>
              <a:gd name="connsiteY2736" fmla="*/ 663229 h 1934496"/>
              <a:gd name="connsiteX2737" fmla="*/ 1381573 w 9922465"/>
              <a:gd name="connsiteY2737" fmla="*/ 718420 h 1934496"/>
              <a:gd name="connsiteX2738" fmla="*/ 1326384 w 9922465"/>
              <a:gd name="connsiteY2738" fmla="*/ 663229 h 1934496"/>
              <a:gd name="connsiteX2739" fmla="*/ 1381573 w 9922465"/>
              <a:gd name="connsiteY2739" fmla="*/ 608038 h 1934496"/>
              <a:gd name="connsiteX2740" fmla="*/ 1251282 w 9922465"/>
              <a:gd name="connsiteY2740" fmla="*/ 608038 h 1934496"/>
              <a:gd name="connsiteX2741" fmla="*/ 1306476 w 9922465"/>
              <a:gd name="connsiteY2741" fmla="*/ 663229 h 1934496"/>
              <a:gd name="connsiteX2742" fmla="*/ 1251282 w 9922465"/>
              <a:gd name="connsiteY2742" fmla="*/ 718420 h 1934496"/>
              <a:gd name="connsiteX2743" fmla="*/ 1196089 w 9922465"/>
              <a:gd name="connsiteY2743" fmla="*/ 663229 h 1934496"/>
              <a:gd name="connsiteX2744" fmla="*/ 1251282 w 9922465"/>
              <a:gd name="connsiteY2744" fmla="*/ 608038 h 1934496"/>
              <a:gd name="connsiteX2745" fmla="*/ 8143386 w 9922465"/>
              <a:gd name="connsiteY2745" fmla="*/ 494447 h 1934496"/>
              <a:gd name="connsiteX2746" fmla="*/ 8198578 w 9922465"/>
              <a:gd name="connsiteY2746" fmla="*/ 549638 h 1934496"/>
              <a:gd name="connsiteX2747" fmla="*/ 8143386 w 9922465"/>
              <a:gd name="connsiteY2747" fmla="*/ 604829 h 1934496"/>
              <a:gd name="connsiteX2748" fmla="*/ 8088194 w 9922465"/>
              <a:gd name="connsiteY2748" fmla="*/ 549638 h 1934496"/>
              <a:gd name="connsiteX2749" fmla="*/ 8143386 w 9922465"/>
              <a:gd name="connsiteY2749" fmla="*/ 494447 h 1934496"/>
              <a:gd name="connsiteX2750" fmla="*/ 8009753 w 9922465"/>
              <a:gd name="connsiteY2750" fmla="*/ 494447 h 1934496"/>
              <a:gd name="connsiteX2751" fmla="*/ 8064945 w 9922465"/>
              <a:gd name="connsiteY2751" fmla="*/ 549638 h 1934496"/>
              <a:gd name="connsiteX2752" fmla="*/ 8009753 w 9922465"/>
              <a:gd name="connsiteY2752" fmla="*/ 604829 h 1934496"/>
              <a:gd name="connsiteX2753" fmla="*/ 7954561 w 9922465"/>
              <a:gd name="connsiteY2753" fmla="*/ 549638 h 1934496"/>
              <a:gd name="connsiteX2754" fmla="*/ 8009753 w 9922465"/>
              <a:gd name="connsiteY2754" fmla="*/ 494447 h 1934496"/>
              <a:gd name="connsiteX2755" fmla="*/ 7876118 w 9922465"/>
              <a:gd name="connsiteY2755" fmla="*/ 494447 h 1934496"/>
              <a:gd name="connsiteX2756" fmla="*/ 7931310 w 9922465"/>
              <a:gd name="connsiteY2756" fmla="*/ 549638 h 1934496"/>
              <a:gd name="connsiteX2757" fmla="*/ 7876118 w 9922465"/>
              <a:gd name="connsiteY2757" fmla="*/ 604829 h 1934496"/>
              <a:gd name="connsiteX2758" fmla="*/ 7820926 w 9922465"/>
              <a:gd name="connsiteY2758" fmla="*/ 549638 h 1934496"/>
              <a:gd name="connsiteX2759" fmla="*/ 7876118 w 9922465"/>
              <a:gd name="connsiteY2759" fmla="*/ 494447 h 1934496"/>
              <a:gd name="connsiteX2760" fmla="*/ 7745824 w 9922465"/>
              <a:gd name="connsiteY2760" fmla="*/ 494447 h 1934496"/>
              <a:gd name="connsiteX2761" fmla="*/ 7801016 w 9922465"/>
              <a:gd name="connsiteY2761" fmla="*/ 549638 h 1934496"/>
              <a:gd name="connsiteX2762" fmla="*/ 7745824 w 9922465"/>
              <a:gd name="connsiteY2762" fmla="*/ 604829 h 1934496"/>
              <a:gd name="connsiteX2763" fmla="*/ 7690632 w 9922465"/>
              <a:gd name="connsiteY2763" fmla="*/ 549638 h 1934496"/>
              <a:gd name="connsiteX2764" fmla="*/ 7745824 w 9922465"/>
              <a:gd name="connsiteY2764" fmla="*/ 494447 h 1934496"/>
              <a:gd name="connsiteX2765" fmla="*/ 7608850 w 9922465"/>
              <a:gd name="connsiteY2765" fmla="*/ 494447 h 1934496"/>
              <a:gd name="connsiteX2766" fmla="*/ 7664042 w 9922465"/>
              <a:gd name="connsiteY2766" fmla="*/ 549638 h 1934496"/>
              <a:gd name="connsiteX2767" fmla="*/ 7608850 w 9922465"/>
              <a:gd name="connsiteY2767" fmla="*/ 604829 h 1934496"/>
              <a:gd name="connsiteX2768" fmla="*/ 7553658 w 9922465"/>
              <a:gd name="connsiteY2768" fmla="*/ 549638 h 1934496"/>
              <a:gd name="connsiteX2769" fmla="*/ 7608850 w 9922465"/>
              <a:gd name="connsiteY2769" fmla="*/ 494447 h 1934496"/>
              <a:gd name="connsiteX2770" fmla="*/ 7481895 w 9922465"/>
              <a:gd name="connsiteY2770" fmla="*/ 494447 h 1934496"/>
              <a:gd name="connsiteX2771" fmla="*/ 7537087 w 9922465"/>
              <a:gd name="connsiteY2771" fmla="*/ 549638 h 1934496"/>
              <a:gd name="connsiteX2772" fmla="*/ 7481895 w 9922465"/>
              <a:gd name="connsiteY2772" fmla="*/ 604829 h 1934496"/>
              <a:gd name="connsiteX2773" fmla="*/ 7426703 w 9922465"/>
              <a:gd name="connsiteY2773" fmla="*/ 549638 h 1934496"/>
              <a:gd name="connsiteX2774" fmla="*/ 7481895 w 9922465"/>
              <a:gd name="connsiteY2774" fmla="*/ 494447 h 1934496"/>
              <a:gd name="connsiteX2775" fmla="*/ 7341580 w 9922465"/>
              <a:gd name="connsiteY2775" fmla="*/ 494447 h 1934496"/>
              <a:gd name="connsiteX2776" fmla="*/ 7396772 w 9922465"/>
              <a:gd name="connsiteY2776" fmla="*/ 549638 h 1934496"/>
              <a:gd name="connsiteX2777" fmla="*/ 7341580 w 9922465"/>
              <a:gd name="connsiteY2777" fmla="*/ 604829 h 1934496"/>
              <a:gd name="connsiteX2778" fmla="*/ 7286388 w 9922465"/>
              <a:gd name="connsiteY2778" fmla="*/ 549638 h 1934496"/>
              <a:gd name="connsiteX2779" fmla="*/ 7341580 w 9922465"/>
              <a:gd name="connsiteY2779" fmla="*/ 494447 h 1934496"/>
              <a:gd name="connsiteX2780" fmla="*/ 7211286 w 9922465"/>
              <a:gd name="connsiteY2780" fmla="*/ 494447 h 1934496"/>
              <a:gd name="connsiteX2781" fmla="*/ 7266478 w 9922465"/>
              <a:gd name="connsiteY2781" fmla="*/ 549638 h 1934496"/>
              <a:gd name="connsiteX2782" fmla="*/ 7211286 w 9922465"/>
              <a:gd name="connsiteY2782" fmla="*/ 604829 h 1934496"/>
              <a:gd name="connsiteX2783" fmla="*/ 7156094 w 9922465"/>
              <a:gd name="connsiteY2783" fmla="*/ 549638 h 1934496"/>
              <a:gd name="connsiteX2784" fmla="*/ 7211286 w 9922465"/>
              <a:gd name="connsiteY2784" fmla="*/ 494447 h 1934496"/>
              <a:gd name="connsiteX2785" fmla="*/ 7080994 w 9922465"/>
              <a:gd name="connsiteY2785" fmla="*/ 494447 h 1934496"/>
              <a:gd name="connsiteX2786" fmla="*/ 7136186 w 9922465"/>
              <a:gd name="connsiteY2786" fmla="*/ 549638 h 1934496"/>
              <a:gd name="connsiteX2787" fmla="*/ 7080994 w 9922465"/>
              <a:gd name="connsiteY2787" fmla="*/ 604829 h 1934496"/>
              <a:gd name="connsiteX2788" fmla="*/ 7025802 w 9922465"/>
              <a:gd name="connsiteY2788" fmla="*/ 549638 h 1934496"/>
              <a:gd name="connsiteX2789" fmla="*/ 7080994 w 9922465"/>
              <a:gd name="connsiteY2789" fmla="*/ 494447 h 1934496"/>
              <a:gd name="connsiteX2790" fmla="*/ 6947358 w 9922465"/>
              <a:gd name="connsiteY2790" fmla="*/ 494447 h 1934496"/>
              <a:gd name="connsiteX2791" fmla="*/ 7002550 w 9922465"/>
              <a:gd name="connsiteY2791" fmla="*/ 549638 h 1934496"/>
              <a:gd name="connsiteX2792" fmla="*/ 6947358 w 9922465"/>
              <a:gd name="connsiteY2792" fmla="*/ 604829 h 1934496"/>
              <a:gd name="connsiteX2793" fmla="*/ 6892166 w 9922465"/>
              <a:gd name="connsiteY2793" fmla="*/ 549638 h 1934496"/>
              <a:gd name="connsiteX2794" fmla="*/ 6947358 w 9922465"/>
              <a:gd name="connsiteY2794" fmla="*/ 494447 h 1934496"/>
              <a:gd name="connsiteX2795" fmla="*/ 6289207 w 9922465"/>
              <a:gd name="connsiteY2795" fmla="*/ 494447 h 1934496"/>
              <a:gd name="connsiteX2796" fmla="*/ 6344399 w 9922465"/>
              <a:gd name="connsiteY2796" fmla="*/ 549638 h 1934496"/>
              <a:gd name="connsiteX2797" fmla="*/ 6289207 w 9922465"/>
              <a:gd name="connsiteY2797" fmla="*/ 604829 h 1934496"/>
              <a:gd name="connsiteX2798" fmla="*/ 6234015 w 9922465"/>
              <a:gd name="connsiteY2798" fmla="*/ 549638 h 1934496"/>
              <a:gd name="connsiteX2799" fmla="*/ 6289207 w 9922465"/>
              <a:gd name="connsiteY2799" fmla="*/ 494447 h 1934496"/>
              <a:gd name="connsiteX2800" fmla="*/ 4030786 w 9922465"/>
              <a:gd name="connsiteY2800" fmla="*/ 494447 h 1934496"/>
              <a:gd name="connsiteX2801" fmla="*/ 4085978 w 9922465"/>
              <a:gd name="connsiteY2801" fmla="*/ 549638 h 1934496"/>
              <a:gd name="connsiteX2802" fmla="*/ 4030786 w 9922465"/>
              <a:gd name="connsiteY2802" fmla="*/ 604829 h 1934496"/>
              <a:gd name="connsiteX2803" fmla="*/ 3975594 w 9922465"/>
              <a:gd name="connsiteY2803" fmla="*/ 549638 h 1934496"/>
              <a:gd name="connsiteX2804" fmla="*/ 4030786 w 9922465"/>
              <a:gd name="connsiteY2804" fmla="*/ 494447 h 1934496"/>
              <a:gd name="connsiteX2805" fmla="*/ 3897148 w 9922465"/>
              <a:gd name="connsiteY2805" fmla="*/ 494447 h 1934496"/>
              <a:gd name="connsiteX2806" fmla="*/ 3952340 w 9922465"/>
              <a:gd name="connsiteY2806" fmla="*/ 549638 h 1934496"/>
              <a:gd name="connsiteX2807" fmla="*/ 3897148 w 9922465"/>
              <a:gd name="connsiteY2807" fmla="*/ 604829 h 1934496"/>
              <a:gd name="connsiteX2808" fmla="*/ 3841956 w 9922465"/>
              <a:gd name="connsiteY2808" fmla="*/ 549638 h 1934496"/>
              <a:gd name="connsiteX2809" fmla="*/ 3897148 w 9922465"/>
              <a:gd name="connsiteY2809" fmla="*/ 494447 h 1934496"/>
              <a:gd name="connsiteX2810" fmla="*/ 3763514 w 9922465"/>
              <a:gd name="connsiteY2810" fmla="*/ 494447 h 1934496"/>
              <a:gd name="connsiteX2811" fmla="*/ 3818706 w 9922465"/>
              <a:gd name="connsiteY2811" fmla="*/ 549638 h 1934496"/>
              <a:gd name="connsiteX2812" fmla="*/ 3763514 w 9922465"/>
              <a:gd name="connsiteY2812" fmla="*/ 604829 h 1934496"/>
              <a:gd name="connsiteX2813" fmla="*/ 3708322 w 9922465"/>
              <a:gd name="connsiteY2813" fmla="*/ 549638 h 1934496"/>
              <a:gd name="connsiteX2814" fmla="*/ 3763514 w 9922465"/>
              <a:gd name="connsiteY2814" fmla="*/ 494447 h 1934496"/>
              <a:gd name="connsiteX2815" fmla="*/ 3633221 w 9922465"/>
              <a:gd name="connsiteY2815" fmla="*/ 494447 h 1934496"/>
              <a:gd name="connsiteX2816" fmla="*/ 3688413 w 9922465"/>
              <a:gd name="connsiteY2816" fmla="*/ 549638 h 1934496"/>
              <a:gd name="connsiteX2817" fmla="*/ 3633221 w 9922465"/>
              <a:gd name="connsiteY2817" fmla="*/ 604829 h 1934496"/>
              <a:gd name="connsiteX2818" fmla="*/ 3578029 w 9922465"/>
              <a:gd name="connsiteY2818" fmla="*/ 549638 h 1934496"/>
              <a:gd name="connsiteX2819" fmla="*/ 3633221 w 9922465"/>
              <a:gd name="connsiteY2819" fmla="*/ 494447 h 1934496"/>
              <a:gd name="connsiteX2820" fmla="*/ 3499589 w 9922465"/>
              <a:gd name="connsiteY2820" fmla="*/ 494447 h 1934496"/>
              <a:gd name="connsiteX2821" fmla="*/ 3554781 w 9922465"/>
              <a:gd name="connsiteY2821" fmla="*/ 549638 h 1934496"/>
              <a:gd name="connsiteX2822" fmla="*/ 3499589 w 9922465"/>
              <a:gd name="connsiteY2822" fmla="*/ 604829 h 1934496"/>
              <a:gd name="connsiteX2823" fmla="*/ 3444397 w 9922465"/>
              <a:gd name="connsiteY2823" fmla="*/ 549638 h 1934496"/>
              <a:gd name="connsiteX2824" fmla="*/ 3499589 w 9922465"/>
              <a:gd name="connsiteY2824" fmla="*/ 494447 h 1934496"/>
              <a:gd name="connsiteX2825" fmla="*/ 3369292 w 9922465"/>
              <a:gd name="connsiteY2825" fmla="*/ 494447 h 1934496"/>
              <a:gd name="connsiteX2826" fmla="*/ 3424484 w 9922465"/>
              <a:gd name="connsiteY2826" fmla="*/ 549638 h 1934496"/>
              <a:gd name="connsiteX2827" fmla="*/ 3369292 w 9922465"/>
              <a:gd name="connsiteY2827" fmla="*/ 604829 h 1934496"/>
              <a:gd name="connsiteX2828" fmla="*/ 3314100 w 9922465"/>
              <a:gd name="connsiteY2828" fmla="*/ 549638 h 1934496"/>
              <a:gd name="connsiteX2829" fmla="*/ 3369292 w 9922465"/>
              <a:gd name="connsiteY2829" fmla="*/ 494447 h 1934496"/>
              <a:gd name="connsiteX2830" fmla="*/ 3235657 w 9922465"/>
              <a:gd name="connsiteY2830" fmla="*/ 494447 h 1934496"/>
              <a:gd name="connsiteX2831" fmla="*/ 3290849 w 9922465"/>
              <a:gd name="connsiteY2831" fmla="*/ 549638 h 1934496"/>
              <a:gd name="connsiteX2832" fmla="*/ 3235657 w 9922465"/>
              <a:gd name="connsiteY2832" fmla="*/ 604829 h 1934496"/>
              <a:gd name="connsiteX2833" fmla="*/ 3180465 w 9922465"/>
              <a:gd name="connsiteY2833" fmla="*/ 549638 h 1934496"/>
              <a:gd name="connsiteX2834" fmla="*/ 3235657 w 9922465"/>
              <a:gd name="connsiteY2834" fmla="*/ 494447 h 1934496"/>
              <a:gd name="connsiteX2835" fmla="*/ 2437297 w 9922465"/>
              <a:gd name="connsiteY2835" fmla="*/ 494447 h 1934496"/>
              <a:gd name="connsiteX2836" fmla="*/ 2492487 w 9922465"/>
              <a:gd name="connsiteY2836" fmla="*/ 549638 h 1934496"/>
              <a:gd name="connsiteX2837" fmla="*/ 2437297 w 9922465"/>
              <a:gd name="connsiteY2837" fmla="*/ 604829 h 1934496"/>
              <a:gd name="connsiteX2838" fmla="*/ 2382108 w 9922465"/>
              <a:gd name="connsiteY2838" fmla="*/ 549638 h 1934496"/>
              <a:gd name="connsiteX2839" fmla="*/ 2437297 w 9922465"/>
              <a:gd name="connsiteY2839" fmla="*/ 494447 h 1934496"/>
              <a:gd name="connsiteX2840" fmla="*/ 2303664 w 9922465"/>
              <a:gd name="connsiteY2840" fmla="*/ 494447 h 1934496"/>
              <a:gd name="connsiteX2841" fmla="*/ 2358856 w 9922465"/>
              <a:gd name="connsiteY2841" fmla="*/ 549638 h 1934496"/>
              <a:gd name="connsiteX2842" fmla="*/ 2303664 w 9922465"/>
              <a:gd name="connsiteY2842" fmla="*/ 604829 h 1934496"/>
              <a:gd name="connsiteX2843" fmla="*/ 2248473 w 9922465"/>
              <a:gd name="connsiteY2843" fmla="*/ 549638 h 1934496"/>
              <a:gd name="connsiteX2844" fmla="*/ 2303664 w 9922465"/>
              <a:gd name="connsiteY2844" fmla="*/ 494447 h 1934496"/>
              <a:gd name="connsiteX2845" fmla="*/ 2173372 w 9922465"/>
              <a:gd name="connsiteY2845" fmla="*/ 494447 h 1934496"/>
              <a:gd name="connsiteX2846" fmla="*/ 2228565 w 9922465"/>
              <a:gd name="connsiteY2846" fmla="*/ 549638 h 1934496"/>
              <a:gd name="connsiteX2847" fmla="*/ 2173372 w 9922465"/>
              <a:gd name="connsiteY2847" fmla="*/ 604829 h 1934496"/>
              <a:gd name="connsiteX2848" fmla="*/ 2118180 w 9922465"/>
              <a:gd name="connsiteY2848" fmla="*/ 549638 h 1934496"/>
              <a:gd name="connsiteX2849" fmla="*/ 2173372 w 9922465"/>
              <a:gd name="connsiteY2849" fmla="*/ 494447 h 1934496"/>
              <a:gd name="connsiteX2850" fmla="*/ 2039736 w 9922465"/>
              <a:gd name="connsiteY2850" fmla="*/ 494447 h 1934496"/>
              <a:gd name="connsiteX2851" fmla="*/ 2094930 w 9922465"/>
              <a:gd name="connsiteY2851" fmla="*/ 549638 h 1934496"/>
              <a:gd name="connsiteX2852" fmla="*/ 2039736 w 9922465"/>
              <a:gd name="connsiteY2852" fmla="*/ 604829 h 1934496"/>
              <a:gd name="connsiteX2853" fmla="*/ 1984543 w 9922465"/>
              <a:gd name="connsiteY2853" fmla="*/ 549638 h 1934496"/>
              <a:gd name="connsiteX2854" fmla="*/ 2039736 w 9922465"/>
              <a:gd name="connsiteY2854" fmla="*/ 494447 h 1934496"/>
              <a:gd name="connsiteX2855" fmla="*/ 1909437 w 9922465"/>
              <a:gd name="connsiteY2855" fmla="*/ 494447 h 1934496"/>
              <a:gd name="connsiteX2856" fmla="*/ 1964630 w 9922465"/>
              <a:gd name="connsiteY2856" fmla="*/ 549638 h 1934496"/>
              <a:gd name="connsiteX2857" fmla="*/ 1909437 w 9922465"/>
              <a:gd name="connsiteY2857" fmla="*/ 604829 h 1934496"/>
              <a:gd name="connsiteX2858" fmla="*/ 1854244 w 9922465"/>
              <a:gd name="connsiteY2858" fmla="*/ 549638 h 1934496"/>
              <a:gd name="connsiteX2859" fmla="*/ 1909437 w 9922465"/>
              <a:gd name="connsiteY2859" fmla="*/ 494447 h 1934496"/>
              <a:gd name="connsiteX2860" fmla="*/ 1779142 w 9922465"/>
              <a:gd name="connsiteY2860" fmla="*/ 494447 h 1934496"/>
              <a:gd name="connsiteX2861" fmla="*/ 1834335 w 9922465"/>
              <a:gd name="connsiteY2861" fmla="*/ 549638 h 1934496"/>
              <a:gd name="connsiteX2862" fmla="*/ 1779142 w 9922465"/>
              <a:gd name="connsiteY2862" fmla="*/ 604829 h 1934496"/>
              <a:gd name="connsiteX2863" fmla="*/ 1723950 w 9922465"/>
              <a:gd name="connsiteY2863" fmla="*/ 549638 h 1934496"/>
              <a:gd name="connsiteX2864" fmla="*/ 1779142 w 9922465"/>
              <a:gd name="connsiteY2864" fmla="*/ 494447 h 1934496"/>
              <a:gd name="connsiteX2865" fmla="*/ 1645508 w 9922465"/>
              <a:gd name="connsiteY2865" fmla="*/ 494447 h 1934496"/>
              <a:gd name="connsiteX2866" fmla="*/ 1700702 w 9922465"/>
              <a:gd name="connsiteY2866" fmla="*/ 549638 h 1934496"/>
              <a:gd name="connsiteX2867" fmla="*/ 1645508 w 9922465"/>
              <a:gd name="connsiteY2867" fmla="*/ 604829 h 1934496"/>
              <a:gd name="connsiteX2868" fmla="*/ 1590311 w 9922465"/>
              <a:gd name="connsiteY2868" fmla="*/ 549638 h 1934496"/>
              <a:gd name="connsiteX2869" fmla="*/ 1645508 w 9922465"/>
              <a:gd name="connsiteY2869" fmla="*/ 494447 h 1934496"/>
              <a:gd name="connsiteX2870" fmla="*/ 1515217 w 9922465"/>
              <a:gd name="connsiteY2870" fmla="*/ 494447 h 1934496"/>
              <a:gd name="connsiteX2871" fmla="*/ 1570402 w 9922465"/>
              <a:gd name="connsiteY2871" fmla="*/ 549638 h 1934496"/>
              <a:gd name="connsiteX2872" fmla="*/ 1515217 w 9922465"/>
              <a:gd name="connsiteY2872" fmla="*/ 604829 h 1934496"/>
              <a:gd name="connsiteX2873" fmla="*/ 1460020 w 9922465"/>
              <a:gd name="connsiteY2873" fmla="*/ 549638 h 1934496"/>
              <a:gd name="connsiteX2874" fmla="*/ 1515217 w 9922465"/>
              <a:gd name="connsiteY2874" fmla="*/ 494447 h 1934496"/>
              <a:gd name="connsiteX2875" fmla="*/ 1381573 w 9922465"/>
              <a:gd name="connsiteY2875" fmla="*/ 494447 h 1934496"/>
              <a:gd name="connsiteX2876" fmla="*/ 1436767 w 9922465"/>
              <a:gd name="connsiteY2876" fmla="*/ 549638 h 1934496"/>
              <a:gd name="connsiteX2877" fmla="*/ 1381573 w 9922465"/>
              <a:gd name="connsiteY2877" fmla="*/ 604829 h 1934496"/>
              <a:gd name="connsiteX2878" fmla="*/ 1326384 w 9922465"/>
              <a:gd name="connsiteY2878" fmla="*/ 549638 h 1934496"/>
              <a:gd name="connsiteX2879" fmla="*/ 1381573 w 9922465"/>
              <a:gd name="connsiteY2879" fmla="*/ 494447 h 1934496"/>
              <a:gd name="connsiteX2880" fmla="*/ 1251282 w 9922465"/>
              <a:gd name="connsiteY2880" fmla="*/ 494447 h 1934496"/>
              <a:gd name="connsiteX2881" fmla="*/ 1306476 w 9922465"/>
              <a:gd name="connsiteY2881" fmla="*/ 549638 h 1934496"/>
              <a:gd name="connsiteX2882" fmla="*/ 1251282 w 9922465"/>
              <a:gd name="connsiteY2882" fmla="*/ 604829 h 1934496"/>
              <a:gd name="connsiteX2883" fmla="*/ 1196089 w 9922465"/>
              <a:gd name="connsiteY2883" fmla="*/ 549638 h 1934496"/>
              <a:gd name="connsiteX2884" fmla="*/ 1251282 w 9922465"/>
              <a:gd name="connsiteY2884" fmla="*/ 494447 h 1934496"/>
              <a:gd name="connsiteX2885" fmla="*/ 8801538 w 9922465"/>
              <a:gd name="connsiteY2885" fmla="*/ 364154 h 1934496"/>
              <a:gd name="connsiteX2886" fmla="*/ 8856730 w 9922465"/>
              <a:gd name="connsiteY2886" fmla="*/ 419345 h 1934496"/>
              <a:gd name="connsiteX2887" fmla="*/ 8801538 w 9922465"/>
              <a:gd name="connsiteY2887" fmla="*/ 474536 h 1934496"/>
              <a:gd name="connsiteX2888" fmla="*/ 8746346 w 9922465"/>
              <a:gd name="connsiteY2888" fmla="*/ 419345 h 1934496"/>
              <a:gd name="connsiteX2889" fmla="*/ 8801538 w 9922465"/>
              <a:gd name="connsiteY2889" fmla="*/ 364154 h 1934496"/>
              <a:gd name="connsiteX2890" fmla="*/ 8671244 w 9922465"/>
              <a:gd name="connsiteY2890" fmla="*/ 364154 h 1934496"/>
              <a:gd name="connsiteX2891" fmla="*/ 8726436 w 9922465"/>
              <a:gd name="connsiteY2891" fmla="*/ 419345 h 1934496"/>
              <a:gd name="connsiteX2892" fmla="*/ 8671244 w 9922465"/>
              <a:gd name="connsiteY2892" fmla="*/ 474536 h 1934496"/>
              <a:gd name="connsiteX2893" fmla="*/ 8616052 w 9922465"/>
              <a:gd name="connsiteY2893" fmla="*/ 419345 h 1934496"/>
              <a:gd name="connsiteX2894" fmla="*/ 8671244 w 9922465"/>
              <a:gd name="connsiteY2894" fmla="*/ 364154 h 1934496"/>
              <a:gd name="connsiteX2895" fmla="*/ 8537609 w 9922465"/>
              <a:gd name="connsiteY2895" fmla="*/ 364154 h 1934496"/>
              <a:gd name="connsiteX2896" fmla="*/ 8592801 w 9922465"/>
              <a:gd name="connsiteY2896" fmla="*/ 419345 h 1934496"/>
              <a:gd name="connsiteX2897" fmla="*/ 8537609 w 9922465"/>
              <a:gd name="connsiteY2897" fmla="*/ 474536 h 1934496"/>
              <a:gd name="connsiteX2898" fmla="*/ 8482417 w 9922465"/>
              <a:gd name="connsiteY2898" fmla="*/ 419345 h 1934496"/>
              <a:gd name="connsiteX2899" fmla="*/ 8537609 w 9922465"/>
              <a:gd name="connsiteY2899" fmla="*/ 364154 h 1934496"/>
              <a:gd name="connsiteX2900" fmla="*/ 7745824 w 9922465"/>
              <a:gd name="connsiteY2900" fmla="*/ 364154 h 1934496"/>
              <a:gd name="connsiteX2901" fmla="*/ 7801016 w 9922465"/>
              <a:gd name="connsiteY2901" fmla="*/ 419345 h 1934496"/>
              <a:gd name="connsiteX2902" fmla="*/ 7745824 w 9922465"/>
              <a:gd name="connsiteY2902" fmla="*/ 474536 h 1934496"/>
              <a:gd name="connsiteX2903" fmla="*/ 7690632 w 9922465"/>
              <a:gd name="connsiteY2903" fmla="*/ 419345 h 1934496"/>
              <a:gd name="connsiteX2904" fmla="*/ 7745824 w 9922465"/>
              <a:gd name="connsiteY2904" fmla="*/ 364154 h 1934496"/>
              <a:gd name="connsiteX2905" fmla="*/ 7608850 w 9922465"/>
              <a:gd name="connsiteY2905" fmla="*/ 364154 h 1934496"/>
              <a:gd name="connsiteX2906" fmla="*/ 7664042 w 9922465"/>
              <a:gd name="connsiteY2906" fmla="*/ 419345 h 1934496"/>
              <a:gd name="connsiteX2907" fmla="*/ 7608850 w 9922465"/>
              <a:gd name="connsiteY2907" fmla="*/ 474536 h 1934496"/>
              <a:gd name="connsiteX2908" fmla="*/ 7553658 w 9922465"/>
              <a:gd name="connsiteY2908" fmla="*/ 419345 h 1934496"/>
              <a:gd name="connsiteX2909" fmla="*/ 7608850 w 9922465"/>
              <a:gd name="connsiteY2909" fmla="*/ 364154 h 1934496"/>
              <a:gd name="connsiteX2910" fmla="*/ 7481895 w 9922465"/>
              <a:gd name="connsiteY2910" fmla="*/ 364154 h 1934496"/>
              <a:gd name="connsiteX2911" fmla="*/ 7537087 w 9922465"/>
              <a:gd name="connsiteY2911" fmla="*/ 419345 h 1934496"/>
              <a:gd name="connsiteX2912" fmla="*/ 7481895 w 9922465"/>
              <a:gd name="connsiteY2912" fmla="*/ 474536 h 1934496"/>
              <a:gd name="connsiteX2913" fmla="*/ 7426703 w 9922465"/>
              <a:gd name="connsiteY2913" fmla="*/ 419345 h 1934496"/>
              <a:gd name="connsiteX2914" fmla="*/ 7481895 w 9922465"/>
              <a:gd name="connsiteY2914" fmla="*/ 364154 h 1934496"/>
              <a:gd name="connsiteX2915" fmla="*/ 7341580 w 9922465"/>
              <a:gd name="connsiteY2915" fmla="*/ 364154 h 1934496"/>
              <a:gd name="connsiteX2916" fmla="*/ 7396772 w 9922465"/>
              <a:gd name="connsiteY2916" fmla="*/ 419345 h 1934496"/>
              <a:gd name="connsiteX2917" fmla="*/ 7341580 w 9922465"/>
              <a:gd name="connsiteY2917" fmla="*/ 474536 h 1934496"/>
              <a:gd name="connsiteX2918" fmla="*/ 7286388 w 9922465"/>
              <a:gd name="connsiteY2918" fmla="*/ 419345 h 1934496"/>
              <a:gd name="connsiteX2919" fmla="*/ 7341580 w 9922465"/>
              <a:gd name="connsiteY2919" fmla="*/ 364154 h 1934496"/>
              <a:gd name="connsiteX2920" fmla="*/ 6553137 w 9922465"/>
              <a:gd name="connsiteY2920" fmla="*/ 364154 h 1934496"/>
              <a:gd name="connsiteX2921" fmla="*/ 6608329 w 9922465"/>
              <a:gd name="connsiteY2921" fmla="*/ 419345 h 1934496"/>
              <a:gd name="connsiteX2922" fmla="*/ 6553137 w 9922465"/>
              <a:gd name="connsiteY2922" fmla="*/ 474536 h 1934496"/>
              <a:gd name="connsiteX2923" fmla="*/ 6497945 w 9922465"/>
              <a:gd name="connsiteY2923" fmla="*/ 419345 h 1934496"/>
              <a:gd name="connsiteX2924" fmla="*/ 6553137 w 9922465"/>
              <a:gd name="connsiteY2924" fmla="*/ 364154 h 1934496"/>
              <a:gd name="connsiteX2925" fmla="*/ 6419503 w 9922465"/>
              <a:gd name="connsiteY2925" fmla="*/ 364154 h 1934496"/>
              <a:gd name="connsiteX2926" fmla="*/ 6474695 w 9922465"/>
              <a:gd name="connsiteY2926" fmla="*/ 419345 h 1934496"/>
              <a:gd name="connsiteX2927" fmla="*/ 6419503 w 9922465"/>
              <a:gd name="connsiteY2927" fmla="*/ 474536 h 1934496"/>
              <a:gd name="connsiteX2928" fmla="*/ 6364311 w 9922465"/>
              <a:gd name="connsiteY2928" fmla="*/ 419345 h 1934496"/>
              <a:gd name="connsiteX2929" fmla="*/ 6419503 w 9922465"/>
              <a:gd name="connsiteY2929" fmla="*/ 364154 h 1934496"/>
              <a:gd name="connsiteX2930" fmla="*/ 4030786 w 9922465"/>
              <a:gd name="connsiteY2930" fmla="*/ 364154 h 1934496"/>
              <a:gd name="connsiteX2931" fmla="*/ 4085978 w 9922465"/>
              <a:gd name="connsiteY2931" fmla="*/ 419345 h 1934496"/>
              <a:gd name="connsiteX2932" fmla="*/ 4030786 w 9922465"/>
              <a:gd name="connsiteY2932" fmla="*/ 474536 h 1934496"/>
              <a:gd name="connsiteX2933" fmla="*/ 3975594 w 9922465"/>
              <a:gd name="connsiteY2933" fmla="*/ 419345 h 1934496"/>
              <a:gd name="connsiteX2934" fmla="*/ 4030786 w 9922465"/>
              <a:gd name="connsiteY2934" fmla="*/ 364154 h 1934496"/>
              <a:gd name="connsiteX2935" fmla="*/ 3897148 w 9922465"/>
              <a:gd name="connsiteY2935" fmla="*/ 364154 h 1934496"/>
              <a:gd name="connsiteX2936" fmla="*/ 3952340 w 9922465"/>
              <a:gd name="connsiteY2936" fmla="*/ 419345 h 1934496"/>
              <a:gd name="connsiteX2937" fmla="*/ 3897148 w 9922465"/>
              <a:gd name="connsiteY2937" fmla="*/ 474536 h 1934496"/>
              <a:gd name="connsiteX2938" fmla="*/ 3841956 w 9922465"/>
              <a:gd name="connsiteY2938" fmla="*/ 419345 h 1934496"/>
              <a:gd name="connsiteX2939" fmla="*/ 3897148 w 9922465"/>
              <a:gd name="connsiteY2939" fmla="*/ 364154 h 1934496"/>
              <a:gd name="connsiteX2940" fmla="*/ 3763514 w 9922465"/>
              <a:gd name="connsiteY2940" fmla="*/ 364154 h 1934496"/>
              <a:gd name="connsiteX2941" fmla="*/ 3818706 w 9922465"/>
              <a:gd name="connsiteY2941" fmla="*/ 419345 h 1934496"/>
              <a:gd name="connsiteX2942" fmla="*/ 3763514 w 9922465"/>
              <a:gd name="connsiteY2942" fmla="*/ 474536 h 1934496"/>
              <a:gd name="connsiteX2943" fmla="*/ 3708322 w 9922465"/>
              <a:gd name="connsiteY2943" fmla="*/ 419345 h 1934496"/>
              <a:gd name="connsiteX2944" fmla="*/ 3763514 w 9922465"/>
              <a:gd name="connsiteY2944" fmla="*/ 364154 h 1934496"/>
              <a:gd name="connsiteX2945" fmla="*/ 3633221 w 9922465"/>
              <a:gd name="connsiteY2945" fmla="*/ 364154 h 1934496"/>
              <a:gd name="connsiteX2946" fmla="*/ 3688413 w 9922465"/>
              <a:gd name="connsiteY2946" fmla="*/ 419345 h 1934496"/>
              <a:gd name="connsiteX2947" fmla="*/ 3633221 w 9922465"/>
              <a:gd name="connsiteY2947" fmla="*/ 474536 h 1934496"/>
              <a:gd name="connsiteX2948" fmla="*/ 3578029 w 9922465"/>
              <a:gd name="connsiteY2948" fmla="*/ 419345 h 1934496"/>
              <a:gd name="connsiteX2949" fmla="*/ 3633221 w 9922465"/>
              <a:gd name="connsiteY2949" fmla="*/ 364154 h 1934496"/>
              <a:gd name="connsiteX2950" fmla="*/ 3499589 w 9922465"/>
              <a:gd name="connsiteY2950" fmla="*/ 364154 h 1934496"/>
              <a:gd name="connsiteX2951" fmla="*/ 3554781 w 9922465"/>
              <a:gd name="connsiteY2951" fmla="*/ 419345 h 1934496"/>
              <a:gd name="connsiteX2952" fmla="*/ 3499589 w 9922465"/>
              <a:gd name="connsiteY2952" fmla="*/ 474536 h 1934496"/>
              <a:gd name="connsiteX2953" fmla="*/ 3444397 w 9922465"/>
              <a:gd name="connsiteY2953" fmla="*/ 419345 h 1934496"/>
              <a:gd name="connsiteX2954" fmla="*/ 3499589 w 9922465"/>
              <a:gd name="connsiteY2954" fmla="*/ 364154 h 1934496"/>
              <a:gd name="connsiteX2955" fmla="*/ 3369292 w 9922465"/>
              <a:gd name="connsiteY2955" fmla="*/ 364154 h 1934496"/>
              <a:gd name="connsiteX2956" fmla="*/ 3424484 w 9922465"/>
              <a:gd name="connsiteY2956" fmla="*/ 419345 h 1934496"/>
              <a:gd name="connsiteX2957" fmla="*/ 3369292 w 9922465"/>
              <a:gd name="connsiteY2957" fmla="*/ 474536 h 1934496"/>
              <a:gd name="connsiteX2958" fmla="*/ 3314100 w 9922465"/>
              <a:gd name="connsiteY2958" fmla="*/ 419345 h 1934496"/>
              <a:gd name="connsiteX2959" fmla="*/ 3369292 w 9922465"/>
              <a:gd name="connsiteY2959" fmla="*/ 364154 h 1934496"/>
              <a:gd name="connsiteX2960" fmla="*/ 3235657 w 9922465"/>
              <a:gd name="connsiteY2960" fmla="*/ 364154 h 1934496"/>
              <a:gd name="connsiteX2961" fmla="*/ 3290849 w 9922465"/>
              <a:gd name="connsiteY2961" fmla="*/ 419345 h 1934496"/>
              <a:gd name="connsiteX2962" fmla="*/ 3235657 w 9922465"/>
              <a:gd name="connsiteY2962" fmla="*/ 474536 h 1934496"/>
              <a:gd name="connsiteX2963" fmla="*/ 3180465 w 9922465"/>
              <a:gd name="connsiteY2963" fmla="*/ 419345 h 1934496"/>
              <a:gd name="connsiteX2964" fmla="*/ 3235657 w 9922465"/>
              <a:gd name="connsiteY2964" fmla="*/ 364154 h 1934496"/>
              <a:gd name="connsiteX2965" fmla="*/ 3098681 w 9922465"/>
              <a:gd name="connsiteY2965" fmla="*/ 364154 h 1934496"/>
              <a:gd name="connsiteX2966" fmla="*/ 3153873 w 9922465"/>
              <a:gd name="connsiteY2966" fmla="*/ 419345 h 1934496"/>
              <a:gd name="connsiteX2967" fmla="*/ 3098681 w 9922465"/>
              <a:gd name="connsiteY2967" fmla="*/ 474536 h 1934496"/>
              <a:gd name="connsiteX2968" fmla="*/ 3043489 w 9922465"/>
              <a:gd name="connsiteY2968" fmla="*/ 419345 h 1934496"/>
              <a:gd name="connsiteX2969" fmla="*/ 3098681 w 9922465"/>
              <a:gd name="connsiteY2969" fmla="*/ 364154 h 1934496"/>
              <a:gd name="connsiteX2970" fmla="*/ 2971729 w 9922465"/>
              <a:gd name="connsiteY2970" fmla="*/ 364154 h 1934496"/>
              <a:gd name="connsiteX2971" fmla="*/ 3026921 w 9922465"/>
              <a:gd name="connsiteY2971" fmla="*/ 419345 h 1934496"/>
              <a:gd name="connsiteX2972" fmla="*/ 2971729 w 9922465"/>
              <a:gd name="connsiteY2972" fmla="*/ 474536 h 1934496"/>
              <a:gd name="connsiteX2973" fmla="*/ 2916537 w 9922465"/>
              <a:gd name="connsiteY2973" fmla="*/ 419345 h 1934496"/>
              <a:gd name="connsiteX2974" fmla="*/ 2971729 w 9922465"/>
              <a:gd name="connsiteY2974" fmla="*/ 364154 h 1934496"/>
              <a:gd name="connsiteX2975" fmla="*/ 2834862 w 9922465"/>
              <a:gd name="connsiteY2975" fmla="*/ 364154 h 1934496"/>
              <a:gd name="connsiteX2976" fmla="*/ 2890052 w 9922465"/>
              <a:gd name="connsiteY2976" fmla="*/ 419345 h 1934496"/>
              <a:gd name="connsiteX2977" fmla="*/ 2834862 w 9922465"/>
              <a:gd name="connsiteY2977" fmla="*/ 474536 h 1934496"/>
              <a:gd name="connsiteX2978" fmla="*/ 2779671 w 9922465"/>
              <a:gd name="connsiteY2978" fmla="*/ 419345 h 1934496"/>
              <a:gd name="connsiteX2979" fmla="*/ 2834862 w 9922465"/>
              <a:gd name="connsiteY2979" fmla="*/ 364154 h 1934496"/>
              <a:gd name="connsiteX2980" fmla="*/ 2437297 w 9922465"/>
              <a:gd name="connsiteY2980" fmla="*/ 364154 h 1934496"/>
              <a:gd name="connsiteX2981" fmla="*/ 2492487 w 9922465"/>
              <a:gd name="connsiteY2981" fmla="*/ 419345 h 1934496"/>
              <a:gd name="connsiteX2982" fmla="*/ 2437297 w 9922465"/>
              <a:gd name="connsiteY2982" fmla="*/ 474536 h 1934496"/>
              <a:gd name="connsiteX2983" fmla="*/ 2382108 w 9922465"/>
              <a:gd name="connsiteY2983" fmla="*/ 419345 h 1934496"/>
              <a:gd name="connsiteX2984" fmla="*/ 2437297 w 9922465"/>
              <a:gd name="connsiteY2984" fmla="*/ 364154 h 1934496"/>
              <a:gd name="connsiteX2985" fmla="*/ 2303664 w 9922465"/>
              <a:gd name="connsiteY2985" fmla="*/ 364154 h 1934496"/>
              <a:gd name="connsiteX2986" fmla="*/ 2358856 w 9922465"/>
              <a:gd name="connsiteY2986" fmla="*/ 419345 h 1934496"/>
              <a:gd name="connsiteX2987" fmla="*/ 2303664 w 9922465"/>
              <a:gd name="connsiteY2987" fmla="*/ 474536 h 1934496"/>
              <a:gd name="connsiteX2988" fmla="*/ 2248473 w 9922465"/>
              <a:gd name="connsiteY2988" fmla="*/ 419345 h 1934496"/>
              <a:gd name="connsiteX2989" fmla="*/ 2303664 w 9922465"/>
              <a:gd name="connsiteY2989" fmla="*/ 364154 h 1934496"/>
              <a:gd name="connsiteX2990" fmla="*/ 2173372 w 9922465"/>
              <a:gd name="connsiteY2990" fmla="*/ 364154 h 1934496"/>
              <a:gd name="connsiteX2991" fmla="*/ 2228565 w 9922465"/>
              <a:gd name="connsiteY2991" fmla="*/ 419345 h 1934496"/>
              <a:gd name="connsiteX2992" fmla="*/ 2173372 w 9922465"/>
              <a:gd name="connsiteY2992" fmla="*/ 474536 h 1934496"/>
              <a:gd name="connsiteX2993" fmla="*/ 2118180 w 9922465"/>
              <a:gd name="connsiteY2993" fmla="*/ 419345 h 1934496"/>
              <a:gd name="connsiteX2994" fmla="*/ 2173372 w 9922465"/>
              <a:gd name="connsiteY2994" fmla="*/ 364154 h 1934496"/>
              <a:gd name="connsiteX2995" fmla="*/ 2039736 w 9922465"/>
              <a:gd name="connsiteY2995" fmla="*/ 364154 h 1934496"/>
              <a:gd name="connsiteX2996" fmla="*/ 2094930 w 9922465"/>
              <a:gd name="connsiteY2996" fmla="*/ 419345 h 1934496"/>
              <a:gd name="connsiteX2997" fmla="*/ 2039736 w 9922465"/>
              <a:gd name="connsiteY2997" fmla="*/ 474536 h 1934496"/>
              <a:gd name="connsiteX2998" fmla="*/ 1984543 w 9922465"/>
              <a:gd name="connsiteY2998" fmla="*/ 419345 h 1934496"/>
              <a:gd name="connsiteX2999" fmla="*/ 2039736 w 9922465"/>
              <a:gd name="connsiteY2999" fmla="*/ 364154 h 1934496"/>
              <a:gd name="connsiteX3000" fmla="*/ 1909440 w 9922465"/>
              <a:gd name="connsiteY3000" fmla="*/ 364154 h 1934496"/>
              <a:gd name="connsiteX3001" fmla="*/ 1964634 w 9922465"/>
              <a:gd name="connsiteY3001" fmla="*/ 419345 h 1934496"/>
              <a:gd name="connsiteX3002" fmla="*/ 1909440 w 9922465"/>
              <a:gd name="connsiteY3002" fmla="*/ 474536 h 1934496"/>
              <a:gd name="connsiteX3003" fmla="*/ 1854246 w 9922465"/>
              <a:gd name="connsiteY3003" fmla="*/ 419345 h 1934496"/>
              <a:gd name="connsiteX3004" fmla="*/ 1909440 w 9922465"/>
              <a:gd name="connsiteY3004" fmla="*/ 364154 h 1934496"/>
              <a:gd name="connsiteX3005" fmla="*/ 1779142 w 9922465"/>
              <a:gd name="connsiteY3005" fmla="*/ 364154 h 1934496"/>
              <a:gd name="connsiteX3006" fmla="*/ 1834337 w 9922465"/>
              <a:gd name="connsiteY3006" fmla="*/ 419345 h 1934496"/>
              <a:gd name="connsiteX3007" fmla="*/ 1779142 w 9922465"/>
              <a:gd name="connsiteY3007" fmla="*/ 474536 h 1934496"/>
              <a:gd name="connsiteX3008" fmla="*/ 1723951 w 9922465"/>
              <a:gd name="connsiteY3008" fmla="*/ 419345 h 1934496"/>
              <a:gd name="connsiteX3009" fmla="*/ 1779142 w 9922465"/>
              <a:gd name="connsiteY3009" fmla="*/ 364154 h 1934496"/>
              <a:gd name="connsiteX3010" fmla="*/ 1645508 w 9922465"/>
              <a:gd name="connsiteY3010" fmla="*/ 364154 h 1934496"/>
              <a:gd name="connsiteX3011" fmla="*/ 1700702 w 9922465"/>
              <a:gd name="connsiteY3011" fmla="*/ 419345 h 1934496"/>
              <a:gd name="connsiteX3012" fmla="*/ 1645508 w 9922465"/>
              <a:gd name="connsiteY3012" fmla="*/ 474536 h 1934496"/>
              <a:gd name="connsiteX3013" fmla="*/ 1590313 w 9922465"/>
              <a:gd name="connsiteY3013" fmla="*/ 419345 h 1934496"/>
              <a:gd name="connsiteX3014" fmla="*/ 1645508 w 9922465"/>
              <a:gd name="connsiteY3014" fmla="*/ 364154 h 1934496"/>
              <a:gd name="connsiteX3015" fmla="*/ 1515217 w 9922465"/>
              <a:gd name="connsiteY3015" fmla="*/ 364154 h 1934496"/>
              <a:gd name="connsiteX3016" fmla="*/ 1570405 w 9922465"/>
              <a:gd name="connsiteY3016" fmla="*/ 419345 h 1934496"/>
              <a:gd name="connsiteX3017" fmla="*/ 1515217 w 9922465"/>
              <a:gd name="connsiteY3017" fmla="*/ 474536 h 1934496"/>
              <a:gd name="connsiteX3018" fmla="*/ 1460020 w 9922465"/>
              <a:gd name="connsiteY3018" fmla="*/ 419345 h 1934496"/>
              <a:gd name="connsiteX3019" fmla="*/ 1515217 w 9922465"/>
              <a:gd name="connsiteY3019" fmla="*/ 364154 h 1934496"/>
              <a:gd name="connsiteX3020" fmla="*/ 1381573 w 9922465"/>
              <a:gd name="connsiteY3020" fmla="*/ 364154 h 1934496"/>
              <a:gd name="connsiteX3021" fmla="*/ 1436767 w 9922465"/>
              <a:gd name="connsiteY3021" fmla="*/ 419345 h 1934496"/>
              <a:gd name="connsiteX3022" fmla="*/ 1381573 w 9922465"/>
              <a:gd name="connsiteY3022" fmla="*/ 474536 h 1934496"/>
              <a:gd name="connsiteX3023" fmla="*/ 1326384 w 9922465"/>
              <a:gd name="connsiteY3023" fmla="*/ 419345 h 1934496"/>
              <a:gd name="connsiteX3024" fmla="*/ 1381573 w 9922465"/>
              <a:gd name="connsiteY3024" fmla="*/ 364154 h 1934496"/>
              <a:gd name="connsiteX3025" fmla="*/ 1251283 w 9922465"/>
              <a:gd name="connsiteY3025" fmla="*/ 364154 h 1934496"/>
              <a:gd name="connsiteX3026" fmla="*/ 1306476 w 9922465"/>
              <a:gd name="connsiteY3026" fmla="*/ 419345 h 1934496"/>
              <a:gd name="connsiteX3027" fmla="*/ 1251283 w 9922465"/>
              <a:gd name="connsiteY3027" fmla="*/ 474536 h 1934496"/>
              <a:gd name="connsiteX3028" fmla="*/ 1196091 w 9922465"/>
              <a:gd name="connsiteY3028" fmla="*/ 419345 h 1934496"/>
              <a:gd name="connsiteX3029" fmla="*/ 1251283 w 9922465"/>
              <a:gd name="connsiteY3029" fmla="*/ 364154 h 1934496"/>
              <a:gd name="connsiteX3030" fmla="*/ 7608850 w 9922465"/>
              <a:gd name="connsiteY3030" fmla="*/ 247225 h 1934496"/>
              <a:gd name="connsiteX3031" fmla="*/ 7664042 w 9922465"/>
              <a:gd name="connsiteY3031" fmla="*/ 302416 h 1934496"/>
              <a:gd name="connsiteX3032" fmla="*/ 7608850 w 9922465"/>
              <a:gd name="connsiteY3032" fmla="*/ 357607 h 1934496"/>
              <a:gd name="connsiteX3033" fmla="*/ 7553658 w 9922465"/>
              <a:gd name="connsiteY3033" fmla="*/ 302416 h 1934496"/>
              <a:gd name="connsiteX3034" fmla="*/ 7608850 w 9922465"/>
              <a:gd name="connsiteY3034" fmla="*/ 247225 h 1934496"/>
              <a:gd name="connsiteX3035" fmla="*/ 7481898 w 9922465"/>
              <a:gd name="connsiteY3035" fmla="*/ 247225 h 1934496"/>
              <a:gd name="connsiteX3036" fmla="*/ 7537090 w 9922465"/>
              <a:gd name="connsiteY3036" fmla="*/ 302416 h 1934496"/>
              <a:gd name="connsiteX3037" fmla="*/ 7481898 w 9922465"/>
              <a:gd name="connsiteY3037" fmla="*/ 357607 h 1934496"/>
              <a:gd name="connsiteX3038" fmla="*/ 7426706 w 9922465"/>
              <a:gd name="connsiteY3038" fmla="*/ 302416 h 1934496"/>
              <a:gd name="connsiteX3039" fmla="*/ 7481898 w 9922465"/>
              <a:gd name="connsiteY3039" fmla="*/ 247225 h 1934496"/>
              <a:gd name="connsiteX3040" fmla="*/ 5093178 w 9922465"/>
              <a:gd name="connsiteY3040" fmla="*/ 247225 h 1934496"/>
              <a:gd name="connsiteX3041" fmla="*/ 5148370 w 9922465"/>
              <a:gd name="connsiteY3041" fmla="*/ 302416 h 1934496"/>
              <a:gd name="connsiteX3042" fmla="*/ 5093178 w 9922465"/>
              <a:gd name="connsiteY3042" fmla="*/ 357607 h 1934496"/>
              <a:gd name="connsiteX3043" fmla="*/ 5037986 w 9922465"/>
              <a:gd name="connsiteY3043" fmla="*/ 302416 h 1934496"/>
              <a:gd name="connsiteX3044" fmla="*/ 5093178 w 9922465"/>
              <a:gd name="connsiteY3044" fmla="*/ 247225 h 1934496"/>
              <a:gd name="connsiteX3045" fmla="*/ 4030786 w 9922465"/>
              <a:gd name="connsiteY3045" fmla="*/ 247225 h 1934496"/>
              <a:gd name="connsiteX3046" fmla="*/ 4085978 w 9922465"/>
              <a:gd name="connsiteY3046" fmla="*/ 302416 h 1934496"/>
              <a:gd name="connsiteX3047" fmla="*/ 4030786 w 9922465"/>
              <a:gd name="connsiteY3047" fmla="*/ 357607 h 1934496"/>
              <a:gd name="connsiteX3048" fmla="*/ 3975594 w 9922465"/>
              <a:gd name="connsiteY3048" fmla="*/ 302416 h 1934496"/>
              <a:gd name="connsiteX3049" fmla="*/ 4030786 w 9922465"/>
              <a:gd name="connsiteY3049" fmla="*/ 247225 h 1934496"/>
              <a:gd name="connsiteX3050" fmla="*/ 3897148 w 9922465"/>
              <a:gd name="connsiteY3050" fmla="*/ 247225 h 1934496"/>
              <a:gd name="connsiteX3051" fmla="*/ 3952340 w 9922465"/>
              <a:gd name="connsiteY3051" fmla="*/ 302416 h 1934496"/>
              <a:gd name="connsiteX3052" fmla="*/ 3897148 w 9922465"/>
              <a:gd name="connsiteY3052" fmla="*/ 357607 h 1934496"/>
              <a:gd name="connsiteX3053" fmla="*/ 3841956 w 9922465"/>
              <a:gd name="connsiteY3053" fmla="*/ 302416 h 1934496"/>
              <a:gd name="connsiteX3054" fmla="*/ 3897148 w 9922465"/>
              <a:gd name="connsiteY3054" fmla="*/ 247225 h 1934496"/>
              <a:gd name="connsiteX3055" fmla="*/ 3763514 w 9922465"/>
              <a:gd name="connsiteY3055" fmla="*/ 247225 h 1934496"/>
              <a:gd name="connsiteX3056" fmla="*/ 3818706 w 9922465"/>
              <a:gd name="connsiteY3056" fmla="*/ 302416 h 1934496"/>
              <a:gd name="connsiteX3057" fmla="*/ 3763514 w 9922465"/>
              <a:gd name="connsiteY3057" fmla="*/ 357607 h 1934496"/>
              <a:gd name="connsiteX3058" fmla="*/ 3708322 w 9922465"/>
              <a:gd name="connsiteY3058" fmla="*/ 302416 h 1934496"/>
              <a:gd name="connsiteX3059" fmla="*/ 3763514 w 9922465"/>
              <a:gd name="connsiteY3059" fmla="*/ 247225 h 1934496"/>
              <a:gd name="connsiteX3060" fmla="*/ 3633221 w 9922465"/>
              <a:gd name="connsiteY3060" fmla="*/ 247225 h 1934496"/>
              <a:gd name="connsiteX3061" fmla="*/ 3688413 w 9922465"/>
              <a:gd name="connsiteY3061" fmla="*/ 302416 h 1934496"/>
              <a:gd name="connsiteX3062" fmla="*/ 3633221 w 9922465"/>
              <a:gd name="connsiteY3062" fmla="*/ 357607 h 1934496"/>
              <a:gd name="connsiteX3063" fmla="*/ 3578029 w 9922465"/>
              <a:gd name="connsiteY3063" fmla="*/ 302416 h 1934496"/>
              <a:gd name="connsiteX3064" fmla="*/ 3633221 w 9922465"/>
              <a:gd name="connsiteY3064" fmla="*/ 247225 h 1934496"/>
              <a:gd name="connsiteX3065" fmla="*/ 3499589 w 9922465"/>
              <a:gd name="connsiteY3065" fmla="*/ 247225 h 1934496"/>
              <a:gd name="connsiteX3066" fmla="*/ 3554781 w 9922465"/>
              <a:gd name="connsiteY3066" fmla="*/ 302416 h 1934496"/>
              <a:gd name="connsiteX3067" fmla="*/ 3499589 w 9922465"/>
              <a:gd name="connsiteY3067" fmla="*/ 357607 h 1934496"/>
              <a:gd name="connsiteX3068" fmla="*/ 3444397 w 9922465"/>
              <a:gd name="connsiteY3068" fmla="*/ 302416 h 1934496"/>
              <a:gd name="connsiteX3069" fmla="*/ 3499589 w 9922465"/>
              <a:gd name="connsiteY3069" fmla="*/ 247225 h 1934496"/>
              <a:gd name="connsiteX3070" fmla="*/ 3369293 w 9922465"/>
              <a:gd name="connsiteY3070" fmla="*/ 247225 h 1934496"/>
              <a:gd name="connsiteX3071" fmla="*/ 3424485 w 9922465"/>
              <a:gd name="connsiteY3071" fmla="*/ 302416 h 1934496"/>
              <a:gd name="connsiteX3072" fmla="*/ 3369293 w 9922465"/>
              <a:gd name="connsiteY3072" fmla="*/ 357607 h 1934496"/>
              <a:gd name="connsiteX3073" fmla="*/ 3314101 w 9922465"/>
              <a:gd name="connsiteY3073" fmla="*/ 302416 h 1934496"/>
              <a:gd name="connsiteX3074" fmla="*/ 3369293 w 9922465"/>
              <a:gd name="connsiteY3074" fmla="*/ 247225 h 1934496"/>
              <a:gd name="connsiteX3075" fmla="*/ 3235657 w 9922465"/>
              <a:gd name="connsiteY3075" fmla="*/ 247225 h 1934496"/>
              <a:gd name="connsiteX3076" fmla="*/ 3290849 w 9922465"/>
              <a:gd name="connsiteY3076" fmla="*/ 302416 h 1934496"/>
              <a:gd name="connsiteX3077" fmla="*/ 3235657 w 9922465"/>
              <a:gd name="connsiteY3077" fmla="*/ 357607 h 1934496"/>
              <a:gd name="connsiteX3078" fmla="*/ 3180465 w 9922465"/>
              <a:gd name="connsiteY3078" fmla="*/ 302416 h 1934496"/>
              <a:gd name="connsiteX3079" fmla="*/ 3235657 w 9922465"/>
              <a:gd name="connsiteY3079" fmla="*/ 247225 h 1934496"/>
              <a:gd name="connsiteX3080" fmla="*/ 3098682 w 9922465"/>
              <a:gd name="connsiteY3080" fmla="*/ 247225 h 1934496"/>
              <a:gd name="connsiteX3081" fmla="*/ 3153874 w 9922465"/>
              <a:gd name="connsiteY3081" fmla="*/ 302416 h 1934496"/>
              <a:gd name="connsiteX3082" fmla="*/ 3098682 w 9922465"/>
              <a:gd name="connsiteY3082" fmla="*/ 357607 h 1934496"/>
              <a:gd name="connsiteX3083" fmla="*/ 3043490 w 9922465"/>
              <a:gd name="connsiteY3083" fmla="*/ 302416 h 1934496"/>
              <a:gd name="connsiteX3084" fmla="*/ 3098682 w 9922465"/>
              <a:gd name="connsiteY3084" fmla="*/ 247225 h 1934496"/>
              <a:gd name="connsiteX3085" fmla="*/ 2971729 w 9922465"/>
              <a:gd name="connsiteY3085" fmla="*/ 247225 h 1934496"/>
              <a:gd name="connsiteX3086" fmla="*/ 3026921 w 9922465"/>
              <a:gd name="connsiteY3086" fmla="*/ 302416 h 1934496"/>
              <a:gd name="connsiteX3087" fmla="*/ 2971729 w 9922465"/>
              <a:gd name="connsiteY3087" fmla="*/ 357607 h 1934496"/>
              <a:gd name="connsiteX3088" fmla="*/ 2916537 w 9922465"/>
              <a:gd name="connsiteY3088" fmla="*/ 302416 h 1934496"/>
              <a:gd name="connsiteX3089" fmla="*/ 2971729 w 9922465"/>
              <a:gd name="connsiteY3089" fmla="*/ 247225 h 1934496"/>
              <a:gd name="connsiteX3090" fmla="*/ 2834862 w 9922465"/>
              <a:gd name="connsiteY3090" fmla="*/ 247225 h 1934496"/>
              <a:gd name="connsiteX3091" fmla="*/ 2890052 w 9922465"/>
              <a:gd name="connsiteY3091" fmla="*/ 302416 h 1934496"/>
              <a:gd name="connsiteX3092" fmla="*/ 2834862 w 9922465"/>
              <a:gd name="connsiteY3092" fmla="*/ 357607 h 1934496"/>
              <a:gd name="connsiteX3093" fmla="*/ 2779671 w 9922465"/>
              <a:gd name="connsiteY3093" fmla="*/ 302416 h 1934496"/>
              <a:gd name="connsiteX3094" fmla="*/ 2834862 w 9922465"/>
              <a:gd name="connsiteY3094" fmla="*/ 247225 h 1934496"/>
              <a:gd name="connsiteX3095" fmla="*/ 2570933 w 9922465"/>
              <a:gd name="connsiteY3095" fmla="*/ 247225 h 1934496"/>
              <a:gd name="connsiteX3096" fmla="*/ 2626123 w 9922465"/>
              <a:gd name="connsiteY3096" fmla="*/ 302416 h 1934496"/>
              <a:gd name="connsiteX3097" fmla="*/ 2570933 w 9922465"/>
              <a:gd name="connsiteY3097" fmla="*/ 357607 h 1934496"/>
              <a:gd name="connsiteX3098" fmla="*/ 2515738 w 9922465"/>
              <a:gd name="connsiteY3098" fmla="*/ 302416 h 1934496"/>
              <a:gd name="connsiteX3099" fmla="*/ 2570933 w 9922465"/>
              <a:gd name="connsiteY3099" fmla="*/ 247225 h 1934496"/>
              <a:gd name="connsiteX3100" fmla="*/ 2437297 w 9922465"/>
              <a:gd name="connsiteY3100" fmla="*/ 247225 h 1934496"/>
              <a:gd name="connsiteX3101" fmla="*/ 2492487 w 9922465"/>
              <a:gd name="connsiteY3101" fmla="*/ 302416 h 1934496"/>
              <a:gd name="connsiteX3102" fmla="*/ 2437297 w 9922465"/>
              <a:gd name="connsiteY3102" fmla="*/ 357607 h 1934496"/>
              <a:gd name="connsiteX3103" fmla="*/ 2382108 w 9922465"/>
              <a:gd name="connsiteY3103" fmla="*/ 302416 h 1934496"/>
              <a:gd name="connsiteX3104" fmla="*/ 2437297 w 9922465"/>
              <a:gd name="connsiteY3104" fmla="*/ 247225 h 1934496"/>
              <a:gd name="connsiteX3105" fmla="*/ 2303666 w 9922465"/>
              <a:gd name="connsiteY3105" fmla="*/ 247225 h 1934496"/>
              <a:gd name="connsiteX3106" fmla="*/ 2358856 w 9922465"/>
              <a:gd name="connsiteY3106" fmla="*/ 302416 h 1934496"/>
              <a:gd name="connsiteX3107" fmla="*/ 2303666 w 9922465"/>
              <a:gd name="connsiteY3107" fmla="*/ 357607 h 1934496"/>
              <a:gd name="connsiteX3108" fmla="*/ 2248473 w 9922465"/>
              <a:gd name="connsiteY3108" fmla="*/ 302416 h 1934496"/>
              <a:gd name="connsiteX3109" fmla="*/ 2303666 w 9922465"/>
              <a:gd name="connsiteY3109" fmla="*/ 247225 h 1934496"/>
              <a:gd name="connsiteX3110" fmla="*/ 2173372 w 9922465"/>
              <a:gd name="connsiteY3110" fmla="*/ 247225 h 1934496"/>
              <a:gd name="connsiteX3111" fmla="*/ 2228566 w 9922465"/>
              <a:gd name="connsiteY3111" fmla="*/ 302416 h 1934496"/>
              <a:gd name="connsiteX3112" fmla="*/ 2173372 w 9922465"/>
              <a:gd name="connsiteY3112" fmla="*/ 357607 h 1934496"/>
              <a:gd name="connsiteX3113" fmla="*/ 2118180 w 9922465"/>
              <a:gd name="connsiteY3113" fmla="*/ 302416 h 1934496"/>
              <a:gd name="connsiteX3114" fmla="*/ 2173372 w 9922465"/>
              <a:gd name="connsiteY3114" fmla="*/ 247225 h 1934496"/>
              <a:gd name="connsiteX3115" fmla="*/ 1909440 w 9922465"/>
              <a:gd name="connsiteY3115" fmla="*/ 247225 h 1934496"/>
              <a:gd name="connsiteX3116" fmla="*/ 1964634 w 9922465"/>
              <a:gd name="connsiteY3116" fmla="*/ 302416 h 1934496"/>
              <a:gd name="connsiteX3117" fmla="*/ 1909440 w 9922465"/>
              <a:gd name="connsiteY3117" fmla="*/ 357607 h 1934496"/>
              <a:gd name="connsiteX3118" fmla="*/ 1854246 w 9922465"/>
              <a:gd name="connsiteY3118" fmla="*/ 302416 h 1934496"/>
              <a:gd name="connsiteX3119" fmla="*/ 1909440 w 9922465"/>
              <a:gd name="connsiteY3119" fmla="*/ 247225 h 1934496"/>
              <a:gd name="connsiteX3120" fmla="*/ 1779142 w 9922465"/>
              <a:gd name="connsiteY3120" fmla="*/ 247225 h 1934496"/>
              <a:gd name="connsiteX3121" fmla="*/ 1834337 w 9922465"/>
              <a:gd name="connsiteY3121" fmla="*/ 302416 h 1934496"/>
              <a:gd name="connsiteX3122" fmla="*/ 1779142 w 9922465"/>
              <a:gd name="connsiteY3122" fmla="*/ 357607 h 1934496"/>
              <a:gd name="connsiteX3123" fmla="*/ 1723951 w 9922465"/>
              <a:gd name="connsiteY3123" fmla="*/ 302416 h 1934496"/>
              <a:gd name="connsiteX3124" fmla="*/ 1779142 w 9922465"/>
              <a:gd name="connsiteY3124" fmla="*/ 247225 h 1934496"/>
              <a:gd name="connsiteX3125" fmla="*/ 1645508 w 9922465"/>
              <a:gd name="connsiteY3125" fmla="*/ 247225 h 1934496"/>
              <a:gd name="connsiteX3126" fmla="*/ 1700702 w 9922465"/>
              <a:gd name="connsiteY3126" fmla="*/ 302416 h 1934496"/>
              <a:gd name="connsiteX3127" fmla="*/ 1645508 w 9922465"/>
              <a:gd name="connsiteY3127" fmla="*/ 357607 h 1934496"/>
              <a:gd name="connsiteX3128" fmla="*/ 1590313 w 9922465"/>
              <a:gd name="connsiteY3128" fmla="*/ 302416 h 1934496"/>
              <a:gd name="connsiteX3129" fmla="*/ 1645508 w 9922465"/>
              <a:gd name="connsiteY3129" fmla="*/ 247225 h 1934496"/>
              <a:gd name="connsiteX3130" fmla="*/ 1515217 w 9922465"/>
              <a:gd name="connsiteY3130" fmla="*/ 247225 h 1934496"/>
              <a:gd name="connsiteX3131" fmla="*/ 1570405 w 9922465"/>
              <a:gd name="connsiteY3131" fmla="*/ 302416 h 1934496"/>
              <a:gd name="connsiteX3132" fmla="*/ 1515217 w 9922465"/>
              <a:gd name="connsiteY3132" fmla="*/ 357607 h 1934496"/>
              <a:gd name="connsiteX3133" fmla="*/ 1460020 w 9922465"/>
              <a:gd name="connsiteY3133" fmla="*/ 302416 h 1934496"/>
              <a:gd name="connsiteX3134" fmla="*/ 1515217 w 9922465"/>
              <a:gd name="connsiteY3134" fmla="*/ 247225 h 1934496"/>
              <a:gd name="connsiteX3135" fmla="*/ 1381573 w 9922465"/>
              <a:gd name="connsiteY3135" fmla="*/ 247225 h 1934496"/>
              <a:gd name="connsiteX3136" fmla="*/ 1436767 w 9922465"/>
              <a:gd name="connsiteY3136" fmla="*/ 302416 h 1934496"/>
              <a:gd name="connsiteX3137" fmla="*/ 1381573 w 9922465"/>
              <a:gd name="connsiteY3137" fmla="*/ 357607 h 1934496"/>
              <a:gd name="connsiteX3138" fmla="*/ 1326384 w 9922465"/>
              <a:gd name="connsiteY3138" fmla="*/ 302416 h 1934496"/>
              <a:gd name="connsiteX3139" fmla="*/ 1381573 w 9922465"/>
              <a:gd name="connsiteY3139" fmla="*/ 247225 h 1934496"/>
              <a:gd name="connsiteX3140" fmla="*/ 7481898 w 9922465"/>
              <a:gd name="connsiteY3140" fmla="*/ 120271 h 1934496"/>
              <a:gd name="connsiteX3141" fmla="*/ 7537090 w 9922465"/>
              <a:gd name="connsiteY3141" fmla="*/ 175462 h 1934496"/>
              <a:gd name="connsiteX3142" fmla="*/ 7481898 w 9922465"/>
              <a:gd name="connsiteY3142" fmla="*/ 230653 h 1934496"/>
              <a:gd name="connsiteX3143" fmla="*/ 7426706 w 9922465"/>
              <a:gd name="connsiteY3143" fmla="*/ 175462 h 1934496"/>
              <a:gd name="connsiteX3144" fmla="*/ 7481898 w 9922465"/>
              <a:gd name="connsiteY3144" fmla="*/ 120271 h 1934496"/>
              <a:gd name="connsiteX3145" fmla="*/ 7341580 w 9922465"/>
              <a:gd name="connsiteY3145" fmla="*/ 120271 h 1934496"/>
              <a:gd name="connsiteX3146" fmla="*/ 7396772 w 9922465"/>
              <a:gd name="connsiteY3146" fmla="*/ 175462 h 1934496"/>
              <a:gd name="connsiteX3147" fmla="*/ 7341580 w 9922465"/>
              <a:gd name="connsiteY3147" fmla="*/ 230653 h 1934496"/>
              <a:gd name="connsiteX3148" fmla="*/ 7286388 w 9922465"/>
              <a:gd name="connsiteY3148" fmla="*/ 175462 h 1934496"/>
              <a:gd name="connsiteX3149" fmla="*/ 7341580 w 9922465"/>
              <a:gd name="connsiteY3149" fmla="*/ 120271 h 1934496"/>
              <a:gd name="connsiteX3150" fmla="*/ 7211288 w 9922465"/>
              <a:gd name="connsiteY3150" fmla="*/ 120271 h 1934496"/>
              <a:gd name="connsiteX3151" fmla="*/ 7266480 w 9922465"/>
              <a:gd name="connsiteY3151" fmla="*/ 175462 h 1934496"/>
              <a:gd name="connsiteX3152" fmla="*/ 7211288 w 9922465"/>
              <a:gd name="connsiteY3152" fmla="*/ 230653 h 1934496"/>
              <a:gd name="connsiteX3153" fmla="*/ 7156096 w 9922465"/>
              <a:gd name="connsiteY3153" fmla="*/ 175462 h 1934496"/>
              <a:gd name="connsiteX3154" fmla="*/ 7211288 w 9922465"/>
              <a:gd name="connsiteY3154" fmla="*/ 120271 h 1934496"/>
              <a:gd name="connsiteX3155" fmla="*/ 5223474 w 9922465"/>
              <a:gd name="connsiteY3155" fmla="*/ 120271 h 1934496"/>
              <a:gd name="connsiteX3156" fmla="*/ 5278666 w 9922465"/>
              <a:gd name="connsiteY3156" fmla="*/ 175462 h 1934496"/>
              <a:gd name="connsiteX3157" fmla="*/ 5223474 w 9922465"/>
              <a:gd name="connsiteY3157" fmla="*/ 230653 h 1934496"/>
              <a:gd name="connsiteX3158" fmla="*/ 5168282 w 9922465"/>
              <a:gd name="connsiteY3158" fmla="*/ 175462 h 1934496"/>
              <a:gd name="connsiteX3159" fmla="*/ 5223474 w 9922465"/>
              <a:gd name="connsiteY3159" fmla="*/ 120271 h 1934496"/>
              <a:gd name="connsiteX3160" fmla="*/ 5093178 w 9922465"/>
              <a:gd name="connsiteY3160" fmla="*/ 120271 h 1934496"/>
              <a:gd name="connsiteX3161" fmla="*/ 5148370 w 9922465"/>
              <a:gd name="connsiteY3161" fmla="*/ 175462 h 1934496"/>
              <a:gd name="connsiteX3162" fmla="*/ 5093178 w 9922465"/>
              <a:gd name="connsiteY3162" fmla="*/ 230653 h 1934496"/>
              <a:gd name="connsiteX3163" fmla="*/ 5037986 w 9922465"/>
              <a:gd name="connsiteY3163" fmla="*/ 175462 h 1934496"/>
              <a:gd name="connsiteX3164" fmla="*/ 5093178 w 9922465"/>
              <a:gd name="connsiteY3164" fmla="*/ 120271 h 1934496"/>
              <a:gd name="connsiteX3165" fmla="*/ 4161077 w 9922465"/>
              <a:gd name="connsiteY3165" fmla="*/ 120271 h 1934496"/>
              <a:gd name="connsiteX3166" fmla="*/ 4216269 w 9922465"/>
              <a:gd name="connsiteY3166" fmla="*/ 175462 h 1934496"/>
              <a:gd name="connsiteX3167" fmla="*/ 4161077 w 9922465"/>
              <a:gd name="connsiteY3167" fmla="*/ 230653 h 1934496"/>
              <a:gd name="connsiteX3168" fmla="*/ 4105885 w 9922465"/>
              <a:gd name="connsiteY3168" fmla="*/ 175462 h 1934496"/>
              <a:gd name="connsiteX3169" fmla="*/ 4161077 w 9922465"/>
              <a:gd name="connsiteY3169" fmla="*/ 120271 h 1934496"/>
              <a:gd name="connsiteX3170" fmla="*/ 4030786 w 9922465"/>
              <a:gd name="connsiteY3170" fmla="*/ 120271 h 1934496"/>
              <a:gd name="connsiteX3171" fmla="*/ 4085978 w 9922465"/>
              <a:gd name="connsiteY3171" fmla="*/ 175462 h 1934496"/>
              <a:gd name="connsiteX3172" fmla="*/ 4030786 w 9922465"/>
              <a:gd name="connsiteY3172" fmla="*/ 230653 h 1934496"/>
              <a:gd name="connsiteX3173" fmla="*/ 3975594 w 9922465"/>
              <a:gd name="connsiteY3173" fmla="*/ 175462 h 1934496"/>
              <a:gd name="connsiteX3174" fmla="*/ 4030786 w 9922465"/>
              <a:gd name="connsiteY3174" fmla="*/ 120271 h 1934496"/>
              <a:gd name="connsiteX3175" fmla="*/ 3897148 w 9922465"/>
              <a:gd name="connsiteY3175" fmla="*/ 120271 h 1934496"/>
              <a:gd name="connsiteX3176" fmla="*/ 3952340 w 9922465"/>
              <a:gd name="connsiteY3176" fmla="*/ 175462 h 1934496"/>
              <a:gd name="connsiteX3177" fmla="*/ 3897148 w 9922465"/>
              <a:gd name="connsiteY3177" fmla="*/ 230653 h 1934496"/>
              <a:gd name="connsiteX3178" fmla="*/ 3841956 w 9922465"/>
              <a:gd name="connsiteY3178" fmla="*/ 175462 h 1934496"/>
              <a:gd name="connsiteX3179" fmla="*/ 3897148 w 9922465"/>
              <a:gd name="connsiteY3179" fmla="*/ 120271 h 1934496"/>
              <a:gd name="connsiteX3180" fmla="*/ 3763514 w 9922465"/>
              <a:gd name="connsiteY3180" fmla="*/ 120271 h 1934496"/>
              <a:gd name="connsiteX3181" fmla="*/ 3818706 w 9922465"/>
              <a:gd name="connsiteY3181" fmla="*/ 175462 h 1934496"/>
              <a:gd name="connsiteX3182" fmla="*/ 3763514 w 9922465"/>
              <a:gd name="connsiteY3182" fmla="*/ 230653 h 1934496"/>
              <a:gd name="connsiteX3183" fmla="*/ 3708322 w 9922465"/>
              <a:gd name="connsiteY3183" fmla="*/ 175462 h 1934496"/>
              <a:gd name="connsiteX3184" fmla="*/ 3763514 w 9922465"/>
              <a:gd name="connsiteY3184" fmla="*/ 120271 h 1934496"/>
              <a:gd name="connsiteX3185" fmla="*/ 3633221 w 9922465"/>
              <a:gd name="connsiteY3185" fmla="*/ 120271 h 1934496"/>
              <a:gd name="connsiteX3186" fmla="*/ 3688413 w 9922465"/>
              <a:gd name="connsiteY3186" fmla="*/ 175462 h 1934496"/>
              <a:gd name="connsiteX3187" fmla="*/ 3633221 w 9922465"/>
              <a:gd name="connsiteY3187" fmla="*/ 230653 h 1934496"/>
              <a:gd name="connsiteX3188" fmla="*/ 3578029 w 9922465"/>
              <a:gd name="connsiteY3188" fmla="*/ 175462 h 1934496"/>
              <a:gd name="connsiteX3189" fmla="*/ 3633221 w 9922465"/>
              <a:gd name="connsiteY3189" fmla="*/ 120271 h 1934496"/>
              <a:gd name="connsiteX3190" fmla="*/ 3499589 w 9922465"/>
              <a:gd name="connsiteY3190" fmla="*/ 120271 h 1934496"/>
              <a:gd name="connsiteX3191" fmla="*/ 3554781 w 9922465"/>
              <a:gd name="connsiteY3191" fmla="*/ 175462 h 1934496"/>
              <a:gd name="connsiteX3192" fmla="*/ 3499589 w 9922465"/>
              <a:gd name="connsiteY3192" fmla="*/ 230653 h 1934496"/>
              <a:gd name="connsiteX3193" fmla="*/ 3444397 w 9922465"/>
              <a:gd name="connsiteY3193" fmla="*/ 175462 h 1934496"/>
              <a:gd name="connsiteX3194" fmla="*/ 3499589 w 9922465"/>
              <a:gd name="connsiteY3194" fmla="*/ 120271 h 1934496"/>
              <a:gd name="connsiteX3195" fmla="*/ 3369293 w 9922465"/>
              <a:gd name="connsiteY3195" fmla="*/ 120271 h 1934496"/>
              <a:gd name="connsiteX3196" fmla="*/ 3424485 w 9922465"/>
              <a:gd name="connsiteY3196" fmla="*/ 175462 h 1934496"/>
              <a:gd name="connsiteX3197" fmla="*/ 3369293 w 9922465"/>
              <a:gd name="connsiteY3197" fmla="*/ 230653 h 1934496"/>
              <a:gd name="connsiteX3198" fmla="*/ 3314101 w 9922465"/>
              <a:gd name="connsiteY3198" fmla="*/ 175462 h 1934496"/>
              <a:gd name="connsiteX3199" fmla="*/ 3369293 w 9922465"/>
              <a:gd name="connsiteY3199" fmla="*/ 120271 h 1934496"/>
              <a:gd name="connsiteX3200" fmla="*/ 3235657 w 9922465"/>
              <a:gd name="connsiteY3200" fmla="*/ 120271 h 1934496"/>
              <a:gd name="connsiteX3201" fmla="*/ 3290849 w 9922465"/>
              <a:gd name="connsiteY3201" fmla="*/ 175462 h 1934496"/>
              <a:gd name="connsiteX3202" fmla="*/ 3235657 w 9922465"/>
              <a:gd name="connsiteY3202" fmla="*/ 230653 h 1934496"/>
              <a:gd name="connsiteX3203" fmla="*/ 3180465 w 9922465"/>
              <a:gd name="connsiteY3203" fmla="*/ 175462 h 1934496"/>
              <a:gd name="connsiteX3204" fmla="*/ 3235657 w 9922465"/>
              <a:gd name="connsiteY3204" fmla="*/ 120271 h 1934496"/>
              <a:gd name="connsiteX3205" fmla="*/ 3098682 w 9922465"/>
              <a:gd name="connsiteY3205" fmla="*/ 120271 h 1934496"/>
              <a:gd name="connsiteX3206" fmla="*/ 3153874 w 9922465"/>
              <a:gd name="connsiteY3206" fmla="*/ 175462 h 1934496"/>
              <a:gd name="connsiteX3207" fmla="*/ 3098682 w 9922465"/>
              <a:gd name="connsiteY3207" fmla="*/ 230653 h 1934496"/>
              <a:gd name="connsiteX3208" fmla="*/ 3043490 w 9922465"/>
              <a:gd name="connsiteY3208" fmla="*/ 175462 h 1934496"/>
              <a:gd name="connsiteX3209" fmla="*/ 3098682 w 9922465"/>
              <a:gd name="connsiteY3209" fmla="*/ 120271 h 1934496"/>
              <a:gd name="connsiteX3210" fmla="*/ 2971729 w 9922465"/>
              <a:gd name="connsiteY3210" fmla="*/ 120271 h 1934496"/>
              <a:gd name="connsiteX3211" fmla="*/ 3026921 w 9922465"/>
              <a:gd name="connsiteY3211" fmla="*/ 175462 h 1934496"/>
              <a:gd name="connsiteX3212" fmla="*/ 2971729 w 9922465"/>
              <a:gd name="connsiteY3212" fmla="*/ 230653 h 1934496"/>
              <a:gd name="connsiteX3213" fmla="*/ 2916537 w 9922465"/>
              <a:gd name="connsiteY3213" fmla="*/ 175462 h 1934496"/>
              <a:gd name="connsiteX3214" fmla="*/ 2971729 w 9922465"/>
              <a:gd name="connsiteY3214" fmla="*/ 120271 h 1934496"/>
              <a:gd name="connsiteX3215" fmla="*/ 2707903 w 9922465"/>
              <a:gd name="connsiteY3215" fmla="*/ 120271 h 1934496"/>
              <a:gd name="connsiteX3216" fmla="*/ 2763100 w 9922465"/>
              <a:gd name="connsiteY3216" fmla="*/ 175462 h 1934496"/>
              <a:gd name="connsiteX3217" fmla="*/ 2707903 w 9922465"/>
              <a:gd name="connsiteY3217" fmla="*/ 230653 h 1934496"/>
              <a:gd name="connsiteX3218" fmla="*/ 2652715 w 9922465"/>
              <a:gd name="connsiteY3218" fmla="*/ 175462 h 1934496"/>
              <a:gd name="connsiteX3219" fmla="*/ 2707903 w 9922465"/>
              <a:gd name="connsiteY3219" fmla="*/ 120271 h 1934496"/>
              <a:gd name="connsiteX3220" fmla="*/ 2570933 w 9922465"/>
              <a:gd name="connsiteY3220" fmla="*/ 120271 h 1934496"/>
              <a:gd name="connsiteX3221" fmla="*/ 2626123 w 9922465"/>
              <a:gd name="connsiteY3221" fmla="*/ 175462 h 1934496"/>
              <a:gd name="connsiteX3222" fmla="*/ 2570933 w 9922465"/>
              <a:gd name="connsiteY3222" fmla="*/ 230653 h 1934496"/>
              <a:gd name="connsiteX3223" fmla="*/ 2515738 w 9922465"/>
              <a:gd name="connsiteY3223" fmla="*/ 175462 h 1934496"/>
              <a:gd name="connsiteX3224" fmla="*/ 2570933 w 9922465"/>
              <a:gd name="connsiteY3224" fmla="*/ 120271 h 1934496"/>
              <a:gd name="connsiteX3225" fmla="*/ 2437297 w 9922465"/>
              <a:gd name="connsiteY3225" fmla="*/ 120271 h 1934496"/>
              <a:gd name="connsiteX3226" fmla="*/ 2492487 w 9922465"/>
              <a:gd name="connsiteY3226" fmla="*/ 175462 h 1934496"/>
              <a:gd name="connsiteX3227" fmla="*/ 2437297 w 9922465"/>
              <a:gd name="connsiteY3227" fmla="*/ 230653 h 1934496"/>
              <a:gd name="connsiteX3228" fmla="*/ 2382108 w 9922465"/>
              <a:gd name="connsiteY3228" fmla="*/ 175462 h 1934496"/>
              <a:gd name="connsiteX3229" fmla="*/ 2437297 w 9922465"/>
              <a:gd name="connsiteY3229" fmla="*/ 120271 h 1934496"/>
              <a:gd name="connsiteX3230" fmla="*/ 2303666 w 9922465"/>
              <a:gd name="connsiteY3230" fmla="*/ 120271 h 1934496"/>
              <a:gd name="connsiteX3231" fmla="*/ 2358856 w 9922465"/>
              <a:gd name="connsiteY3231" fmla="*/ 175462 h 1934496"/>
              <a:gd name="connsiteX3232" fmla="*/ 2303666 w 9922465"/>
              <a:gd name="connsiteY3232" fmla="*/ 230653 h 1934496"/>
              <a:gd name="connsiteX3233" fmla="*/ 2248473 w 9922465"/>
              <a:gd name="connsiteY3233" fmla="*/ 175462 h 1934496"/>
              <a:gd name="connsiteX3234" fmla="*/ 2303666 w 9922465"/>
              <a:gd name="connsiteY3234" fmla="*/ 120271 h 1934496"/>
              <a:gd name="connsiteX3235" fmla="*/ 2173372 w 9922465"/>
              <a:gd name="connsiteY3235" fmla="*/ 120271 h 1934496"/>
              <a:gd name="connsiteX3236" fmla="*/ 2228566 w 9922465"/>
              <a:gd name="connsiteY3236" fmla="*/ 175462 h 1934496"/>
              <a:gd name="connsiteX3237" fmla="*/ 2173372 w 9922465"/>
              <a:gd name="connsiteY3237" fmla="*/ 230653 h 1934496"/>
              <a:gd name="connsiteX3238" fmla="*/ 2118180 w 9922465"/>
              <a:gd name="connsiteY3238" fmla="*/ 175462 h 1934496"/>
              <a:gd name="connsiteX3239" fmla="*/ 2173372 w 9922465"/>
              <a:gd name="connsiteY3239" fmla="*/ 120271 h 1934496"/>
              <a:gd name="connsiteX3240" fmla="*/ 7341580 w 9922465"/>
              <a:gd name="connsiteY3240" fmla="*/ 0 h 1934496"/>
              <a:gd name="connsiteX3241" fmla="*/ 7396772 w 9922465"/>
              <a:gd name="connsiteY3241" fmla="*/ 55191 h 1934496"/>
              <a:gd name="connsiteX3242" fmla="*/ 7341580 w 9922465"/>
              <a:gd name="connsiteY3242" fmla="*/ 110382 h 1934496"/>
              <a:gd name="connsiteX3243" fmla="*/ 7286388 w 9922465"/>
              <a:gd name="connsiteY3243" fmla="*/ 55191 h 1934496"/>
              <a:gd name="connsiteX3244" fmla="*/ 7341580 w 9922465"/>
              <a:gd name="connsiteY3244" fmla="*/ 0 h 1934496"/>
              <a:gd name="connsiteX3245" fmla="*/ 4294713 w 9922465"/>
              <a:gd name="connsiteY3245" fmla="*/ 0 h 1934496"/>
              <a:gd name="connsiteX3246" fmla="*/ 4349905 w 9922465"/>
              <a:gd name="connsiteY3246" fmla="*/ 55191 h 1934496"/>
              <a:gd name="connsiteX3247" fmla="*/ 4294713 w 9922465"/>
              <a:gd name="connsiteY3247" fmla="*/ 110382 h 1934496"/>
              <a:gd name="connsiteX3248" fmla="*/ 4239521 w 9922465"/>
              <a:gd name="connsiteY3248" fmla="*/ 55191 h 1934496"/>
              <a:gd name="connsiteX3249" fmla="*/ 4294713 w 9922465"/>
              <a:gd name="connsiteY3249" fmla="*/ 0 h 1934496"/>
              <a:gd name="connsiteX3250" fmla="*/ 4161077 w 9922465"/>
              <a:gd name="connsiteY3250" fmla="*/ 0 h 1934496"/>
              <a:gd name="connsiteX3251" fmla="*/ 4216269 w 9922465"/>
              <a:gd name="connsiteY3251" fmla="*/ 55191 h 1934496"/>
              <a:gd name="connsiteX3252" fmla="*/ 4161077 w 9922465"/>
              <a:gd name="connsiteY3252" fmla="*/ 110382 h 1934496"/>
              <a:gd name="connsiteX3253" fmla="*/ 4105885 w 9922465"/>
              <a:gd name="connsiteY3253" fmla="*/ 55191 h 1934496"/>
              <a:gd name="connsiteX3254" fmla="*/ 4161077 w 9922465"/>
              <a:gd name="connsiteY3254" fmla="*/ 0 h 1934496"/>
              <a:gd name="connsiteX3255" fmla="*/ 4030786 w 9922465"/>
              <a:gd name="connsiteY3255" fmla="*/ 0 h 1934496"/>
              <a:gd name="connsiteX3256" fmla="*/ 4085978 w 9922465"/>
              <a:gd name="connsiteY3256" fmla="*/ 55191 h 1934496"/>
              <a:gd name="connsiteX3257" fmla="*/ 4030786 w 9922465"/>
              <a:gd name="connsiteY3257" fmla="*/ 110382 h 1934496"/>
              <a:gd name="connsiteX3258" fmla="*/ 3975594 w 9922465"/>
              <a:gd name="connsiteY3258" fmla="*/ 55191 h 1934496"/>
              <a:gd name="connsiteX3259" fmla="*/ 4030786 w 9922465"/>
              <a:gd name="connsiteY3259" fmla="*/ 0 h 1934496"/>
              <a:gd name="connsiteX3260" fmla="*/ 3897148 w 9922465"/>
              <a:gd name="connsiteY3260" fmla="*/ 0 h 1934496"/>
              <a:gd name="connsiteX3261" fmla="*/ 3952340 w 9922465"/>
              <a:gd name="connsiteY3261" fmla="*/ 55191 h 1934496"/>
              <a:gd name="connsiteX3262" fmla="*/ 3897148 w 9922465"/>
              <a:gd name="connsiteY3262" fmla="*/ 110382 h 1934496"/>
              <a:gd name="connsiteX3263" fmla="*/ 3841956 w 9922465"/>
              <a:gd name="connsiteY3263" fmla="*/ 55191 h 1934496"/>
              <a:gd name="connsiteX3264" fmla="*/ 3897148 w 9922465"/>
              <a:gd name="connsiteY3264" fmla="*/ 0 h 1934496"/>
              <a:gd name="connsiteX3265" fmla="*/ 3763514 w 9922465"/>
              <a:gd name="connsiteY3265" fmla="*/ 0 h 1934496"/>
              <a:gd name="connsiteX3266" fmla="*/ 3818706 w 9922465"/>
              <a:gd name="connsiteY3266" fmla="*/ 55191 h 1934496"/>
              <a:gd name="connsiteX3267" fmla="*/ 3763514 w 9922465"/>
              <a:gd name="connsiteY3267" fmla="*/ 110382 h 1934496"/>
              <a:gd name="connsiteX3268" fmla="*/ 3708322 w 9922465"/>
              <a:gd name="connsiteY3268" fmla="*/ 55191 h 1934496"/>
              <a:gd name="connsiteX3269" fmla="*/ 3763514 w 9922465"/>
              <a:gd name="connsiteY3269" fmla="*/ 0 h 1934496"/>
              <a:gd name="connsiteX3270" fmla="*/ 3633221 w 9922465"/>
              <a:gd name="connsiteY3270" fmla="*/ 0 h 1934496"/>
              <a:gd name="connsiteX3271" fmla="*/ 3688413 w 9922465"/>
              <a:gd name="connsiteY3271" fmla="*/ 55191 h 1934496"/>
              <a:gd name="connsiteX3272" fmla="*/ 3633221 w 9922465"/>
              <a:gd name="connsiteY3272" fmla="*/ 110382 h 1934496"/>
              <a:gd name="connsiteX3273" fmla="*/ 3578029 w 9922465"/>
              <a:gd name="connsiteY3273" fmla="*/ 55191 h 1934496"/>
              <a:gd name="connsiteX3274" fmla="*/ 3633221 w 9922465"/>
              <a:gd name="connsiteY3274" fmla="*/ 0 h 1934496"/>
              <a:gd name="connsiteX3275" fmla="*/ 3499589 w 9922465"/>
              <a:gd name="connsiteY3275" fmla="*/ 0 h 1934496"/>
              <a:gd name="connsiteX3276" fmla="*/ 3554781 w 9922465"/>
              <a:gd name="connsiteY3276" fmla="*/ 55191 h 1934496"/>
              <a:gd name="connsiteX3277" fmla="*/ 3499589 w 9922465"/>
              <a:gd name="connsiteY3277" fmla="*/ 110382 h 1934496"/>
              <a:gd name="connsiteX3278" fmla="*/ 3444397 w 9922465"/>
              <a:gd name="connsiteY3278" fmla="*/ 55191 h 1934496"/>
              <a:gd name="connsiteX3279" fmla="*/ 3499589 w 9922465"/>
              <a:gd name="connsiteY3279" fmla="*/ 0 h 1934496"/>
              <a:gd name="connsiteX3280" fmla="*/ 3369293 w 9922465"/>
              <a:gd name="connsiteY3280" fmla="*/ 0 h 1934496"/>
              <a:gd name="connsiteX3281" fmla="*/ 3424485 w 9922465"/>
              <a:gd name="connsiteY3281" fmla="*/ 55191 h 1934496"/>
              <a:gd name="connsiteX3282" fmla="*/ 3369293 w 9922465"/>
              <a:gd name="connsiteY3282" fmla="*/ 110382 h 1934496"/>
              <a:gd name="connsiteX3283" fmla="*/ 3314101 w 9922465"/>
              <a:gd name="connsiteY3283" fmla="*/ 55191 h 1934496"/>
              <a:gd name="connsiteX3284" fmla="*/ 3369293 w 9922465"/>
              <a:gd name="connsiteY3284" fmla="*/ 0 h 1934496"/>
              <a:gd name="connsiteX3285" fmla="*/ 3235657 w 9922465"/>
              <a:gd name="connsiteY3285" fmla="*/ 0 h 1934496"/>
              <a:gd name="connsiteX3286" fmla="*/ 3290849 w 9922465"/>
              <a:gd name="connsiteY3286" fmla="*/ 55191 h 1934496"/>
              <a:gd name="connsiteX3287" fmla="*/ 3235657 w 9922465"/>
              <a:gd name="connsiteY3287" fmla="*/ 110382 h 1934496"/>
              <a:gd name="connsiteX3288" fmla="*/ 3180465 w 9922465"/>
              <a:gd name="connsiteY3288" fmla="*/ 55191 h 1934496"/>
              <a:gd name="connsiteX3289" fmla="*/ 3235657 w 9922465"/>
              <a:gd name="connsiteY3289" fmla="*/ 0 h 1934496"/>
              <a:gd name="connsiteX3290" fmla="*/ 2834862 w 9922465"/>
              <a:gd name="connsiteY3290" fmla="*/ 0 h 1934496"/>
              <a:gd name="connsiteX3291" fmla="*/ 2890052 w 9922465"/>
              <a:gd name="connsiteY3291" fmla="*/ 55191 h 1934496"/>
              <a:gd name="connsiteX3292" fmla="*/ 2834862 w 9922465"/>
              <a:gd name="connsiteY3292" fmla="*/ 110382 h 1934496"/>
              <a:gd name="connsiteX3293" fmla="*/ 2779671 w 9922465"/>
              <a:gd name="connsiteY3293" fmla="*/ 55191 h 1934496"/>
              <a:gd name="connsiteX3294" fmla="*/ 2834862 w 9922465"/>
              <a:gd name="connsiteY3294" fmla="*/ 0 h 1934496"/>
              <a:gd name="connsiteX3295" fmla="*/ 2707903 w 9922465"/>
              <a:gd name="connsiteY3295" fmla="*/ 0 h 1934496"/>
              <a:gd name="connsiteX3296" fmla="*/ 2763100 w 9922465"/>
              <a:gd name="connsiteY3296" fmla="*/ 55191 h 1934496"/>
              <a:gd name="connsiteX3297" fmla="*/ 2707903 w 9922465"/>
              <a:gd name="connsiteY3297" fmla="*/ 110382 h 1934496"/>
              <a:gd name="connsiteX3298" fmla="*/ 2652715 w 9922465"/>
              <a:gd name="connsiteY3298" fmla="*/ 55191 h 1934496"/>
              <a:gd name="connsiteX3299" fmla="*/ 2707903 w 9922465"/>
              <a:gd name="connsiteY3299" fmla="*/ 0 h 1934496"/>
              <a:gd name="connsiteX3300" fmla="*/ 2570933 w 9922465"/>
              <a:gd name="connsiteY3300" fmla="*/ 0 h 1934496"/>
              <a:gd name="connsiteX3301" fmla="*/ 2626123 w 9922465"/>
              <a:gd name="connsiteY3301" fmla="*/ 55191 h 1934496"/>
              <a:gd name="connsiteX3302" fmla="*/ 2570933 w 9922465"/>
              <a:gd name="connsiteY3302" fmla="*/ 110382 h 1934496"/>
              <a:gd name="connsiteX3303" fmla="*/ 2515738 w 9922465"/>
              <a:gd name="connsiteY3303" fmla="*/ 55191 h 1934496"/>
              <a:gd name="connsiteX3304" fmla="*/ 2570933 w 9922465"/>
              <a:gd name="connsiteY3304" fmla="*/ 0 h 1934496"/>
              <a:gd name="connsiteX3305" fmla="*/ 2437297 w 9922465"/>
              <a:gd name="connsiteY3305" fmla="*/ 0 h 1934496"/>
              <a:gd name="connsiteX3306" fmla="*/ 2492487 w 9922465"/>
              <a:gd name="connsiteY3306" fmla="*/ 55191 h 1934496"/>
              <a:gd name="connsiteX3307" fmla="*/ 2437297 w 9922465"/>
              <a:gd name="connsiteY3307" fmla="*/ 110382 h 1934496"/>
              <a:gd name="connsiteX3308" fmla="*/ 2382108 w 9922465"/>
              <a:gd name="connsiteY3308" fmla="*/ 55191 h 1934496"/>
              <a:gd name="connsiteX3309" fmla="*/ 2437297 w 9922465"/>
              <a:gd name="connsiteY3309" fmla="*/ 0 h 19344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 ang="0">
                <a:pos x="connsiteX2048" y="connsiteY2048"/>
              </a:cxn>
              <a:cxn ang="0">
                <a:pos x="connsiteX2049" y="connsiteY2049"/>
              </a:cxn>
              <a:cxn ang="0">
                <a:pos x="connsiteX2050" y="connsiteY2050"/>
              </a:cxn>
              <a:cxn ang="0">
                <a:pos x="connsiteX2051" y="connsiteY2051"/>
              </a:cxn>
              <a:cxn ang="0">
                <a:pos x="connsiteX2052" y="connsiteY2052"/>
              </a:cxn>
              <a:cxn ang="0">
                <a:pos x="connsiteX2053" y="connsiteY2053"/>
              </a:cxn>
              <a:cxn ang="0">
                <a:pos x="connsiteX2054" y="connsiteY2054"/>
              </a:cxn>
              <a:cxn ang="0">
                <a:pos x="connsiteX2055" y="connsiteY2055"/>
              </a:cxn>
              <a:cxn ang="0">
                <a:pos x="connsiteX2056" y="connsiteY2056"/>
              </a:cxn>
              <a:cxn ang="0">
                <a:pos x="connsiteX2057" y="connsiteY2057"/>
              </a:cxn>
              <a:cxn ang="0">
                <a:pos x="connsiteX2058" y="connsiteY2058"/>
              </a:cxn>
              <a:cxn ang="0">
                <a:pos x="connsiteX2059" y="connsiteY2059"/>
              </a:cxn>
              <a:cxn ang="0">
                <a:pos x="connsiteX2060" y="connsiteY2060"/>
              </a:cxn>
              <a:cxn ang="0">
                <a:pos x="connsiteX2061" y="connsiteY2061"/>
              </a:cxn>
              <a:cxn ang="0">
                <a:pos x="connsiteX2062" y="connsiteY2062"/>
              </a:cxn>
              <a:cxn ang="0">
                <a:pos x="connsiteX2063" y="connsiteY2063"/>
              </a:cxn>
              <a:cxn ang="0">
                <a:pos x="connsiteX2064" y="connsiteY2064"/>
              </a:cxn>
              <a:cxn ang="0">
                <a:pos x="connsiteX2065" y="connsiteY2065"/>
              </a:cxn>
              <a:cxn ang="0">
                <a:pos x="connsiteX2066" y="connsiteY2066"/>
              </a:cxn>
              <a:cxn ang="0">
                <a:pos x="connsiteX2067" y="connsiteY2067"/>
              </a:cxn>
              <a:cxn ang="0">
                <a:pos x="connsiteX2068" y="connsiteY2068"/>
              </a:cxn>
              <a:cxn ang="0">
                <a:pos x="connsiteX2069" y="connsiteY2069"/>
              </a:cxn>
              <a:cxn ang="0">
                <a:pos x="connsiteX2070" y="connsiteY2070"/>
              </a:cxn>
              <a:cxn ang="0">
                <a:pos x="connsiteX2071" y="connsiteY2071"/>
              </a:cxn>
              <a:cxn ang="0">
                <a:pos x="connsiteX2072" y="connsiteY2072"/>
              </a:cxn>
              <a:cxn ang="0">
                <a:pos x="connsiteX2073" y="connsiteY2073"/>
              </a:cxn>
              <a:cxn ang="0">
                <a:pos x="connsiteX2074" y="connsiteY2074"/>
              </a:cxn>
              <a:cxn ang="0">
                <a:pos x="connsiteX2075" y="connsiteY2075"/>
              </a:cxn>
              <a:cxn ang="0">
                <a:pos x="connsiteX2076" y="connsiteY2076"/>
              </a:cxn>
              <a:cxn ang="0">
                <a:pos x="connsiteX2077" y="connsiteY2077"/>
              </a:cxn>
              <a:cxn ang="0">
                <a:pos x="connsiteX2078" y="connsiteY2078"/>
              </a:cxn>
              <a:cxn ang="0">
                <a:pos x="connsiteX2079" y="connsiteY2079"/>
              </a:cxn>
              <a:cxn ang="0">
                <a:pos x="connsiteX2080" y="connsiteY2080"/>
              </a:cxn>
              <a:cxn ang="0">
                <a:pos x="connsiteX2081" y="connsiteY2081"/>
              </a:cxn>
              <a:cxn ang="0">
                <a:pos x="connsiteX2082" y="connsiteY2082"/>
              </a:cxn>
              <a:cxn ang="0">
                <a:pos x="connsiteX2083" y="connsiteY2083"/>
              </a:cxn>
              <a:cxn ang="0">
                <a:pos x="connsiteX2084" y="connsiteY2084"/>
              </a:cxn>
              <a:cxn ang="0">
                <a:pos x="connsiteX2085" y="connsiteY2085"/>
              </a:cxn>
              <a:cxn ang="0">
                <a:pos x="connsiteX2086" y="connsiteY2086"/>
              </a:cxn>
              <a:cxn ang="0">
                <a:pos x="connsiteX2087" y="connsiteY2087"/>
              </a:cxn>
              <a:cxn ang="0">
                <a:pos x="connsiteX2088" y="connsiteY2088"/>
              </a:cxn>
              <a:cxn ang="0">
                <a:pos x="connsiteX2089" y="connsiteY2089"/>
              </a:cxn>
              <a:cxn ang="0">
                <a:pos x="connsiteX2090" y="connsiteY2090"/>
              </a:cxn>
              <a:cxn ang="0">
                <a:pos x="connsiteX2091" y="connsiteY2091"/>
              </a:cxn>
              <a:cxn ang="0">
                <a:pos x="connsiteX2092" y="connsiteY2092"/>
              </a:cxn>
              <a:cxn ang="0">
                <a:pos x="connsiteX2093" y="connsiteY2093"/>
              </a:cxn>
              <a:cxn ang="0">
                <a:pos x="connsiteX2094" y="connsiteY2094"/>
              </a:cxn>
              <a:cxn ang="0">
                <a:pos x="connsiteX2095" y="connsiteY2095"/>
              </a:cxn>
              <a:cxn ang="0">
                <a:pos x="connsiteX2096" y="connsiteY2096"/>
              </a:cxn>
              <a:cxn ang="0">
                <a:pos x="connsiteX2097" y="connsiteY2097"/>
              </a:cxn>
              <a:cxn ang="0">
                <a:pos x="connsiteX2098" y="connsiteY2098"/>
              </a:cxn>
              <a:cxn ang="0">
                <a:pos x="connsiteX2099" y="connsiteY2099"/>
              </a:cxn>
              <a:cxn ang="0">
                <a:pos x="connsiteX2100" y="connsiteY2100"/>
              </a:cxn>
              <a:cxn ang="0">
                <a:pos x="connsiteX2101" y="connsiteY2101"/>
              </a:cxn>
              <a:cxn ang="0">
                <a:pos x="connsiteX2102" y="connsiteY2102"/>
              </a:cxn>
              <a:cxn ang="0">
                <a:pos x="connsiteX2103" y="connsiteY2103"/>
              </a:cxn>
              <a:cxn ang="0">
                <a:pos x="connsiteX2104" y="connsiteY2104"/>
              </a:cxn>
              <a:cxn ang="0">
                <a:pos x="connsiteX2105" y="connsiteY2105"/>
              </a:cxn>
              <a:cxn ang="0">
                <a:pos x="connsiteX2106" y="connsiteY2106"/>
              </a:cxn>
              <a:cxn ang="0">
                <a:pos x="connsiteX2107" y="connsiteY2107"/>
              </a:cxn>
              <a:cxn ang="0">
                <a:pos x="connsiteX2108" y="connsiteY2108"/>
              </a:cxn>
              <a:cxn ang="0">
                <a:pos x="connsiteX2109" y="connsiteY2109"/>
              </a:cxn>
              <a:cxn ang="0">
                <a:pos x="connsiteX2110" y="connsiteY2110"/>
              </a:cxn>
              <a:cxn ang="0">
                <a:pos x="connsiteX2111" y="connsiteY2111"/>
              </a:cxn>
              <a:cxn ang="0">
                <a:pos x="connsiteX2112" y="connsiteY2112"/>
              </a:cxn>
              <a:cxn ang="0">
                <a:pos x="connsiteX2113" y="connsiteY2113"/>
              </a:cxn>
              <a:cxn ang="0">
                <a:pos x="connsiteX2114" y="connsiteY2114"/>
              </a:cxn>
              <a:cxn ang="0">
                <a:pos x="connsiteX2115" y="connsiteY2115"/>
              </a:cxn>
              <a:cxn ang="0">
                <a:pos x="connsiteX2116" y="connsiteY2116"/>
              </a:cxn>
              <a:cxn ang="0">
                <a:pos x="connsiteX2117" y="connsiteY2117"/>
              </a:cxn>
              <a:cxn ang="0">
                <a:pos x="connsiteX2118" y="connsiteY2118"/>
              </a:cxn>
              <a:cxn ang="0">
                <a:pos x="connsiteX2119" y="connsiteY2119"/>
              </a:cxn>
              <a:cxn ang="0">
                <a:pos x="connsiteX2120" y="connsiteY2120"/>
              </a:cxn>
              <a:cxn ang="0">
                <a:pos x="connsiteX2121" y="connsiteY2121"/>
              </a:cxn>
              <a:cxn ang="0">
                <a:pos x="connsiteX2122" y="connsiteY2122"/>
              </a:cxn>
              <a:cxn ang="0">
                <a:pos x="connsiteX2123" y="connsiteY2123"/>
              </a:cxn>
              <a:cxn ang="0">
                <a:pos x="connsiteX2124" y="connsiteY2124"/>
              </a:cxn>
              <a:cxn ang="0">
                <a:pos x="connsiteX2125" y="connsiteY2125"/>
              </a:cxn>
              <a:cxn ang="0">
                <a:pos x="connsiteX2126" y="connsiteY2126"/>
              </a:cxn>
              <a:cxn ang="0">
                <a:pos x="connsiteX2127" y="connsiteY2127"/>
              </a:cxn>
              <a:cxn ang="0">
                <a:pos x="connsiteX2128" y="connsiteY2128"/>
              </a:cxn>
              <a:cxn ang="0">
                <a:pos x="connsiteX2129" y="connsiteY2129"/>
              </a:cxn>
              <a:cxn ang="0">
                <a:pos x="connsiteX2130" y="connsiteY2130"/>
              </a:cxn>
              <a:cxn ang="0">
                <a:pos x="connsiteX2131" y="connsiteY2131"/>
              </a:cxn>
              <a:cxn ang="0">
                <a:pos x="connsiteX2132" y="connsiteY2132"/>
              </a:cxn>
              <a:cxn ang="0">
                <a:pos x="connsiteX2133" y="connsiteY2133"/>
              </a:cxn>
              <a:cxn ang="0">
                <a:pos x="connsiteX2134" y="connsiteY2134"/>
              </a:cxn>
              <a:cxn ang="0">
                <a:pos x="connsiteX2135" y="connsiteY2135"/>
              </a:cxn>
              <a:cxn ang="0">
                <a:pos x="connsiteX2136" y="connsiteY2136"/>
              </a:cxn>
              <a:cxn ang="0">
                <a:pos x="connsiteX2137" y="connsiteY2137"/>
              </a:cxn>
              <a:cxn ang="0">
                <a:pos x="connsiteX2138" y="connsiteY2138"/>
              </a:cxn>
              <a:cxn ang="0">
                <a:pos x="connsiteX2139" y="connsiteY2139"/>
              </a:cxn>
              <a:cxn ang="0">
                <a:pos x="connsiteX2140" y="connsiteY2140"/>
              </a:cxn>
              <a:cxn ang="0">
                <a:pos x="connsiteX2141" y="connsiteY2141"/>
              </a:cxn>
              <a:cxn ang="0">
                <a:pos x="connsiteX2142" y="connsiteY2142"/>
              </a:cxn>
              <a:cxn ang="0">
                <a:pos x="connsiteX2143" y="connsiteY2143"/>
              </a:cxn>
              <a:cxn ang="0">
                <a:pos x="connsiteX2144" y="connsiteY2144"/>
              </a:cxn>
              <a:cxn ang="0">
                <a:pos x="connsiteX2145" y="connsiteY2145"/>
              </a:cxn>
              <a:cxn ang="0">
                <a:pos x="connsiteX2146" y="connsiteY2146"/>
              </a:cxn>
              <a:cxn ang="0">
                <a:pos x="connsiteX2147" y="connsiteY2147"/>
              </a:cxn>
              <a:cxn ang="0">
                <a:pos x="connsiteX2148" y="connsiteY2148"/>
              </a:cxn>
              <a:cxn ang="0">
                <a:pos x="connsiteX2149" y="connsiteY2149"/>
              </a:cxn>
              <a:cxn ang="0">
                <a:pos x="connsiteX2150" y="connsiteY2150"/>
              </a:cxn>
              <a:cxn ang="0">
                <a:pos x="connsiteX2151" y="connsiteY2151"/>
              </a:cxn>
              <a:cxn ang="0">
                <a:pos x="connsiteX2152" y="connsiteY2152"/>
              </a:cxn>
              <a:cxn ang="0">
                <a:pos x="connsiteX2153" y="connsiteY2153"/>
              </a:cxn>
              <a:cxn ang="0">
                <a:pos x="connsiteX2154" y="connsiteY2154"/>
              </a:cxn>
              <a:cxn ang="0">
                <a:pos x="connsiteX2155" y="connsiteY2155"/>
              </a:cxn>
              <a:cxn ang="0">
                <a:pos x="connsiteX2156" y="connsiteY2156"/>
              </a:cxn>
              <a:cxn ang="0">
                <a:pos x="connsiteX2157" y="connsiteY2157"/>
              </a:cxn>
              <a:cxn ang="0">
                <a:pos x="connsiteX2158" y="connsiteY2158"/>
              </a:cxn>
              <a:cxn ang="0">
                <a:pos x="connsiteX2159" y="connsiteY2159"/>
              </a:cxn>
              <a:cxn ang="0">
                <a:pos x="connsiteX2160" y="connsiteY2160"/>
              </a:cxn>
              <a:cxn ang="0">
                <a:pos x="connsiteX2161" y="connsiteY2161"/>
              </a:cxn>
              <a:cxn ang="0">
                <a:pos x="connsiteX2162" y="connsiteY2162"/>
              </a:cxn>
              <a:cxn ang="0">
                <a:pos x="connsiteX2163" y="connsiteY2163"/>
              </a:cxn>
              <a:cxn ang="0">
                <a:pos x="connsiteX2164" y="connsiteY2164"/>
              </a:cxn>
              <a:cxn ang="0">
                <a:pos x="connsiteX2165" y="connsiteY2165"/>
              </a:cxn>
              <a:cxn ang="0">
                <a:pos x="connsiteX2166" y="connsiteY2166"/>
              </a:cxn>
              <a:cxn ang="0">
                <a:pos x="connsiteX2167" y="connsiteY2167"/>
              </a:cxn>
              <a:cxn ang="0">
                <a:pos x="connsiteX2168" y="connsiteY2168"/>
              </a:cxn>
              <a:cxn ang="0">
                <a:pos x="connsiteX2169" y="connsiteY2169"/>
              </a:cxn>
              <a:cxn ang="0">
                <a:pos x="connsiteX2170" y="connsiteY2170"/>
              </a:cxn>
              <a:cxn ang="0">
                <a:pos x="connsiteX2171" y="connsiteY2171"/>
              </a:cxn>
              <a:cxn ang="0">
                <a:pos x="connsiteX2172" y="connsiteY2172"/>
              </a:cxn>
              <a:cxn ang="0">
                <a:pos x="connsiteX2173" y="connsiteY2173"/>
              </a:cxn>
              <a:cxn ang="0">
                <a:pos x="connsiteX2174" y="connsiteY2174"/>
              </a:cxn>
              <a:cxn ang="0">
                <a:pos x="connsiteX2175" y="connsiteY2175"/>
              </a:cxn>
              <a:cxn ang="0">
                <a:pos x="connsiteX2176" y="connsiteY2176"/>
              </a:cxn>
              <a:cxn ang="0">
                <a:pos x="connsiteX2177" y="connsiteY2177"/>
              </a:cxn>
              <a:cxn ang="0">
                <a:pos x="connsiteX2178" y="connsiteY2178"/>
              </a:cxn>
              <a:cxn ang="0">
                <a:pos x="connsiteX2179" y="connsiteY2179"/>
              </a:cxn>
              <a:cxn ang="0">
                <a:pos x="connsiteX2180" y="connsiteY2180"/>
              </a:cxn>
              <a:cxn ang="0">
                <a:pos x="connsiteX2181" y="connsiteY2181"/>
              </a:cxn>
              <a:cxn ang="0">
                <a:pos x="connsiteX2182" y="connsiteY2182"/>
              </a:cxn>
              <a:cxn ang="0">
                <a:pos x="connsiteX2183" y="connsiteY2183"/>
              </a:cxn>
              <a:cxn ang="0">
                <a:pos x="connsiteX2184" y="connsiteY2184"/>
              </a:cxn>
              <a:cxn ang="0">
                <a:pos x="connsiteX2185" y="connsiteY2185"/>
              </a:cxn>
              <a:cxn ang="0">
                <a:pos x="connsiteX2186" y="connsiteY2186"/>
              </a:cxn>
              <a:cxn ang="0">
                <a:pos x="connsiteX2187" y="connsiteY2187"/>
              </a:cxn>
              <a:cxn ang="0">
                <a:pos x="connsiteX2188" y="connsiteY2188"/>
              </a:cxn>
              <a:cxn ang="0">
                <a:pos x="connsiteX2189" y="connsiteY2189"/>
              </a:cxn>
              <a:cxn ang="0">
                <a:pos x="connsiteX2190" y="connsiteY2190"/>
              </a:cxn>
              <a:cxn ang="0">
                <a:pos x="connsiteX2191" y="connsiteY2191"/>
              </a:cxn>
              <a:cxn ang="0">
                <a:pos x="connsiteX2192" y="connsiteY2192"/>
              </a:cxn>
              <a:cxn ang="0">
                <a:pos x="connsiteX2193" y="connsiteY2193"/>
              </a:cxn>
              <a:cxn ang="0">
                <a:pos x="connsiteX2194" y="connsiteY2194"/>
              </a:cxn>
              <a:cxn ang="0">
                <a:pos x="connsiteX2195" y="connsiteY2195"/>
              </a:cxn>
              <a:cxn ang="0">
                <a:pos x="connsiteX2196" y="connsiteY2196"/>
              </a:cxn>
              <a:cxn ang="0">
                <a:pos x="connsiteX2197" y="connsiteY2197"/>
              </a:cxn>
              <a:cxn ang="0">
                <a:pos x="connsiteX2198" y="connsiteY2198"/>
              </a:cxn>
              <a:cxn ang="0">
                <a:pos x="connsiteX2199" y="connsiteY2199"/>
              </a:cxn>
              <a:cxn ang="0">
                <a:pos x="connsiteX2200" y="connsiteY2200"/>
              </a:cxn>
              <a:cxn ang="0">
                <a:pos x="connsiteX2201" y="connsiteY2201"/>
              </a:cxn>
              <a:cxn ang="0">
                <a:pos x="connsiteX2202" y="connsiteY2202"/>
              </a:cxn>
              <a:cxn ang="0">
                <a:pos x="connsiteX2203" y="connsiteY2203"/>
              </a:cxn>
              <a:cxn ang="0">
                <a:pos x="connsiteX2204" y="connsiteY2204"/>
              </a:cxn>
              <a:cxn ang="0">
                <a:pos x="connsiteX2205" y="connsiteY2205"/>
              </a:cxn>
              <a:cxn ang="0">
                <a:pos x="connsiteX2206" y="connsiteY2206"/>
              </a:cxn>
              <a:cxn ang="0">
                <a:pos x="connsiteX2207" y="connsiteY2207"/>
              </a:cxn>
              <a:cxn ang="0">
                <a:pos x="connsiteX2208" y="connsiteY2208"/>
              </a:cxn>
              <a:cxn ang="0">
                <a:pos x="connsiteX2209" y="connsiteY2209"/>
              </a:cxn>
              <a:cxn ang="0">
                <a:pos x="connsiteX2210" y="connsiteY2210"/>
              </a:cxn>
              <a:cxn ang="0">
                <a:pos x="connsiteX2211" y="connsiteY2211"/>
              </a:cxn>
              <a:cxn ang="0">
                <a:pos x="connsiteX2212" y="connsiteY2212"/>
              </a:cxn>
              <a:cxn ang="0">
                <a:pos x="connsiteX2213" y="connsiteY2213"/>
              </a:cxn>
              <a:cxn ang="0">
                <a:pos x="connsiteX2214" y="connsiteY2214"/>
              </a:cxn>
              <a:cxn ang="0">
                <a:pos x="connsiteX2215" y="connsiteY2215"/>
              </a:cxn>
              <a:cxn ang="0">
                <a:pos x="connsiteX2216" y="connsiteY2216"/>
              </a:cxn>
              <a:cxn ang="0">
                <a:pos x="connsiteX2217" y="connsiteY2217"/>
              </a:cxn>
              <a:cxn ang="0">
                <a:pos x="connsiteX2218" y="connsiteY2218"/>
              </a:cxn>
              <a:cxn ang="0">
                <a:pos x="connsiteX2219" y="connsiteY2219"/>
              </a:cxn>
              <a:cxn ang="0">
                <a:pos x="connsiteX2220" y="connsiteY2220"/>
              </a:cxn>
              <a:cxn ang="0">
                <a:pos x="connsiteX2221" y="connsiteY2221"/>
              </a:cxn>
              <a:cxn ang="0">
                <a:pos x="connsiteX2222" y="connsiteY2222"/>
              </a:cxn>
              <a:cxn ang="0">
                <a:pos x="connsiteX2223" y="connsiteY2223"/>
              </a:cxn>
              <a:cxn ang="0">
                <a:pos x="connsiteX2224" y="connsiteY2224"/>
              </a:cxn>
              <a:cxn ang="0">
                <a:pos x="connsiteX2225" y="connsiteY2225"/>
              </a:cxn>
              <a:cxn ang="0">
                <a:pos x="connsiteX2226" y="connsiteY2226"/>
              </a:cxn>
              <a:cxn ang="0">
                <a:pos x="connsiteX2227" y="connsiteY2227"/>
              </a:cxn>
              <a:cxn ang="0">
                <a:pos x="connsiteX2228" y="connsiteY2228"/>
              </a:cxn>
              <a:cxn ang="0">
                <a:pos x="connsiteX2229" y="connsiteY2229"/>
              </a:cxn>
              <a:cxn ang="0">
                <a:pos x="connsiteX2230" y="connsiteY2230"/>
              </a:cxn>
              <a:cxn ang="0">
                <a:pos x="connsiteX2231" y="connsiteY2231"/>
              </a:cxn>
              <a:cxn ang="0">
                <a:pos x="connsiteX2232" y="connsiteY2232"/>
              </a:cxn>
              <a:cxn ang="0">
                <a:pos x="connsiteX2233" y="connsiteY2233"/>
              </a:cxn>
              <a:cxn ang="0">
                <a:pos x="connsiteX2234" y="connsiteY2234"/>
              </a:cxn>
              <a:cxn ang="0">
                <a:pos x="connsiteX2235" y="connsiteY2235"/>
              </a:cxn>
              <a:cxn ang="0">
                <a:pos x="connsiteX2236" y="connsiteY2236"/>
              </a:cxn>
              <a:cxn ang="0">
                <a:pos x="connsiteX2237" y="connsiteY2237"/>
              </a:cxn>
              <a:cxn ang="0">
                <a:pos x="connsiteX2238" y="connsiteY2238"/>
              </a:cxn>
              <a:cxn ang="0">
                <a:pos x="connsiteX2239" y="connsiteY2239"/>
              </a:cxn>
              <a:cxn ang="0">
                <a:pos x="connsiteX2240" y="connsiteY2240"/>
              </a:cxn>
              <a:cxn ang="0">
                <a:pos x="connsiteX2241" y="connsiteY2241"/>
              </a:cxn>
              <a:cxn ang="0">
                <a:pos x="connsiteX2242" y="connsiteY2242"/>
              </a:cxn>
              <a:cxn ang="0">
                <a:pos x="connsiteX2243" y="connsiteY2243"/>
              </a:cxn>
              <a:cxn ang="0">
                <a:pos x="connsiteX2244" y="connsiteY2244"/>
              </a:cxn>
              <a:cxn ang="0">
                <a:pos x="connsiteX2245" y="connsiteY2245"/>
              </a:cxn>
              <a:cxn ang="0">
                <a:pos x="connsiteX2246" y="connsiteY2246"/>
              </a:cxn>
              <a:cxn ang="0">
                <a:pos x="connsiteX2247" y="connsiteY2247"/>
              </a:cxn>
              <a:cxn ang="0">
                <a:pos x="connsiteX2248" y="connsiteY2248"/>
              </a:cxn>
              <a:cxn ang="0">
                <a:pos x="connsiteX2249" y="connsiteY2249"/>
              </a:cxn>
              <a:cxn ang="0">
                <a:pos x="connsiteX2250" y="connsiteY2250"/>
              </a:cxn>
              <a:cxn ang="0">
                <a:pos x="connsiteX2251" y="connsiteY2251"/>
              </a:cxn>
              <a:cxn ang="0">
                <a:pos x="connsiteX2252" y="connsiteY2252"/>
              </a:cxn>
              <a:cxn ang="0">
                <a:pos x="connsiteX2253" y="connsiteY2253"/>
              </a:cxn>
              <a:cxn ang="0">
                <a:pos x="connsiteX2254" y="connsiteY2254"/>
              </a:cxn>
              <a:cxn ang="0">
                <a:pos x="connsiteX2255" y="connsiteY2255"/>
              </a:cxn>
              <a:cxn ang="0">
                <a:pos x="connsiteX2256" y="connsiteY2256"/>
              </a:cxn>
              <a:cxn ang="0">
                <a:pos x="connsiteX2257" y="connsiteY2257"/>
              </a:cxn>
              <a:cxn ang="0">
                <a:pos x="connsiteX2258" y="connsiteY2258"/>
              </a:cxn>
              <a:cxn ang="0">
                <a:pos x="connsiteX2259" y="connsiteY2259"/>
              </a:cxn>
              <a:cxn ang="0">
                <a:pos x="connsiteX2260" y="connsiteY2260"/>
              </a:cxn>
              <a:cxn ang="0">
                <a:pos x="connsiteX2261" y="connsiteY2261"/>
              </a:cxn>
              <a:cxn ang="0">
                <a:pos x="connsiteX2262" y="connsiteY2262"/>
              </a:cxn>
              <a:cxn ang="0">
                <a:pos x="connsiteX2263" y="connsiteY2263"/>
              </a:cxn>
              <a:cxn ang="0">
                <a:pos x="connsiteX2264" y="connsiteY2264"/>
              </a:cxn>
              <a:cxn ang="0">
                <a:pos x="connsiteX2265" y="connsiteY2265"/>
              </a:cxn>
              <a:cxn ang="0">
                <a:pos x="connsiteX2266" y="connsiteY2266"/>
              </a:cxn>
              <a:cxn ang="0">
                <a:pos x="connsiteX2267" y="connsiteY2267"/>
              </a:cxn>
              <a:cxn ang="0">
                <a:pos x="connsiteX2268" y="connsiteY2268"/>
              </a:cxn>
              <a:cxn ang="0">
                <a:pos x="connsiteX2269" y="connsiteY2269"/>
              </a:cxn>
              <a:cxn ang="0">
                <a:pos x="connsiteX2270" y="connsiteY2270"/>
              </a:cxn>
              <a:cxn ang="0">
                <a:pos x="connsiteX2271" y="connsiteY2271"/>
              </a:cxn>
              <a:cxn ang="0">
                <a:pos x="connsiteX2272" y="connsiteY2272"/>
              </a:cxn>
              <a:cxn ang="0">
                <a:pos x="connsiteX2273" y="connsiteY2273"/>
              </a:cxn>
              <a:cxn ang="0">
                <a:pos x="connsiteX2274" y="connsiteY2274"/>
              </a:cxn>
              <a:cxn ang="0">
                <a:pos x="connsiteX2275" y="connsiteY2275"/>
              </a:cxn>
              <a:cxn ang="0">
                <a:pos x="connsiteX2276" y="connsiteY2276"/>
              </a:cxn>
              <a:cxn ang="0">
                <a:pos x="connsiteX2277" y="connsiteY2277"/>
              </a:cxn>
              <a:cxn ang="0">
                <a:pos x="connsiteX2278" y="connsiteY2278"/>
              </a:cxn>
              <a:cxn ang="0">
                <a:pos x="connsiteX2279" y="connsiteY2279"/>
              </a:cxn>
              <a:cxn ang="0">
                <a:pos x="connsiteX2280" y="connsiteY2280"/>
              </a:cxn>
              <a:cxn ang="0">
                <a:pos x="connsiteX2281" y="connsiteY2281"/>
              </a:cxn>
              <a:cxn ang="0">
                <a:pos x="connsiteX2282" y="connsiteY2282"/>
              </a:cxn>
              <a:cxn ang="0">
                <a:pos x="connsiteX2283" y="connsiteY2283"/>
              </a:cxn>
              <a:cxn ang="0">
                <a:pos x="connsiteX2284" y="connsiteY2284"/>
              </a:cxn>
              <a:cxn ang="0">
                <a:pos x="connsiteX2285" y="connsiteY2285"/>
              </a:cxn>
              <a:cxn ang="0">
                <a:pos x="connsiteX2286" y="connsiteY2286"/>
              </a:cxn>
              <a:cxn ang="0">
                <a:pos x="connsiteX2287" y="connsiteY2287"/>
              </a:cxn>
              <a:cxn ang="0">
                <a:pos x="connsiteX2288" y="connsiteY2288"/>
              </a:cxn>
              <a:cxn ang="0">
                <a:pos x="connsiteX2289" y="connsiteY2289"/>
              </a:cxn>
              <a:cxn ang="0">
                <a:pos x="connsiteX2290" y="connsiteY2290"/>
              </a:cxn>
              <a:cxn ang="0">
                <a:pos x="connsiteX2291" y="connsiteY2291"/>
              </a:cxn>
              <a:cxn ang="0">
                <a:pos x="connsiteX2292" y="connsiteY2292"/>
              </a:cxn>
              <a:cxn ang="0">
                <a:pos x="connsiteX2293" y="connsiteY2293"/>
              </a:cxn>
              <a:cxn ang="0">
                <a:pos x="connsiteX2294" y="connsiteY2294"/>
              </a:cxn>
              <a:cxn ang="0">
                <a:pos x="connsiteX2295" y="connsiteY2295"/>
              </a:cxn>
              <a:cxn ang="0">
                <a:pos x="connsiteX2296" y="connsiteY2296"/>
              </a:cxn>
              <a:cxn ang="0">
                <a:pos x="connsiteX2297" y="connsiteY2297"/>
              </a:cxn>
              <a:cxn ang="0">
                <a:pos x="connsiteX2298" y="connsiteY2298"/>
              </a:cxn>
              <a:cxn ang="0">
                <a:pos x="connsiteX2299" y="connsiteY2299"/>
              </a:cxn>
              <a:cxn ang="0">
                <a:pos x="connsiteX2300" y="connsiteY2300"/>
              </a:cxn>
              <a:cxn ang="0">
                <a:pos x="connsiteX2301" y="connsiteY2301"/>
              </a:cxn>
              <a:cxn ang="0">
                <a:pos x="connsiteX2302" y="connsiteY2302"/>
              </a:cxn>
              <a:cxn ang="0">
                <a:pos x="connsiteX2303" y="connsiteY2303"/>
              </a:cxn>
              <a:cxn ang="0">
                <a:pos x="connsiteX2304" y="connsiteY2304"/>
              </a:cxn>
              <a:cxn ang="0">
                <a:pos x="connsiteX2305" y="connsiteY2305"/>
              </a:cxn>
              <a:cxn ang="0">
                <a:pos x="connsiteX2306" y="connsiteY2306"/>
              </a:cxn>
              <a:cxn ang="0">
                <a:pos x="connsiteX2307" y="connsiteY2307"/>
              </a:cxn>
              <a:cxn ang="0">
                <a:pos x="connsiteX2308" y="connsiteY2308"/>
              </a:cxn>
              <a:cxn ang="0">
                <a:pos x="connsiteX2309" y="connsiteY2309"/>
              </a:cxn>
              <a:cxn ang="0">
                <a:pos x="connsiteX2310" y="connsiteY2310"/>
              </a:cxn>
              <a:cxn ang="0">
                <a:pos x="connsiteX2311" y="connsiteY2311"/>
              </a:cxn>
              <a:cxn ang="0">
                <a:pos x="connsiteX2312" y="connsiteY2312"/>
              </a:cxn>
              <a:cxn ang="0">
                <a:pos x="connsiteX2313" y="connsiteY2313"/>
              </a:cxn>
              <a:cxn ang="0">
                <a:pos x="connsiteX2314" y="connsiteY2314"/>
              </a:cxn>
              <a:cxn ang="0">
                <a:pos x="connsiteX2315" y="connsiteY2315"/>
              </a:cxn>
              <a:cxn ang="0">
                <a:pos x="connsiteX2316" y="connsiteY2316"/>
              </a:cxn>
              <a:cxn ang="0">
                <a:pos x="connsiteX2317" y="connsiteY2317"/>
              </a:cxn>
              <a:cxn ang="0">
                <a:pos x="connsiteX2318" y="connsiteY2318"/>
              </a:cxn>
              <a:cxn ang="0">
                <a:pos x="connsiteX2319" y="connsiteY2319"/>
              </a:cxn>
              <a:cxn ang="0">
                <a:pos x="connsiteX2320" y="connsiteY2320"/>
              </a:cxn>
              <a:cxn ang="0">
                <a:pos x="connsiteX2321" y="connsiteY2321"/>
              </a:cxn>
              <a:cxn ang="0">
                <a:pos x="connsiteX2322" y="connsiteY2322"/>
              </a:cxn>
              <a:cxn ang="0">
                <a:pos x="connsiteX2323" y="connsiteY2323"/>
              </a:cxn>
              <a:cxn ang="0">
                <a:pos x="connsiteX2324" y="connsiteY2324"/>
              </a:cxn>
              <a:cxn ang="0">
                <a:pos x="connsiteX2325" y="connsiteY2325"/>
              </a:cxn>
              <a:cxn ang="0">
                <a:pos x="connsiteX2326" y="connsiteY2326"/>
              </a:cxn>
              <a:cxn ang="0">
                <a:pos x="connsiteX2327" y="connsiteY2327"/>
              </a:cxn>
              <a:cxn ang="0">
                <a:pos x="connsiteX2328" y="connsiteY2328"/>
              </a:cxn>
              <a:cxn ang="0">
                <a:pos x="connsiteX2329" y="connsiteY2329"/>
              </a:cxn>
              <a:cxn ang="0">
                <a:pos x="connsiteX2330" y="connsiteY2330"/>
              </a:cxn>
              <a:cxn ang="0">
                <a:pos x="connsiteX2331" y="connsiteY2331"/>
              </a:cxn>
              <a:cxn ang="0">
                <a:pos x="connsiteX2332" y="connsiteY2332"/>
              </a:cxn>
              <a:cxn ang="0">
                <a:pos x="connsiteX2333" y="connsiteY2333"/>
              </a:cxn>
              <a:cxn ang="0">
                <a:pos x="connsiteX2334" y="connsiteY2334"/>
              </a:cxn>
              <a:cxn ang="0">
                <a:pos x="connsiteX2335" y="connsiteY2335"/>
              </a:cxn>
              <a:cxn ang="0">
                <a:pos x="connsiteX2336" y="connsiteY2336"/>
              </a:cxn>
              <a:cxn ang="0">
                <a:pos x="connsiteX2337" y="connsiteY2337"/>
              </a:cxn>
              <a:cxn ang="0">
                <a:pos x="connsiteX2338" y="connsiteY2338"/>
              </a:cxn>
              <a:cxn ang="0">
                <a:pos x="connsiteX2339" y="connsiteY2339"/>
              </a:cxn>
              <a:cxn ang="0">
                <a:pos x="connsiteX2340" y="connsiteY2340"/>
              </a:cxn>
              <a:cxn ang="0">
                <a:pos x="connsiteX2341" y="connsiteY2341"/>
              </a:cxn>
              <a:cxn ang="0">
                <a:pos x="connsiteX2342" y="connsiteY2342"/>
              </a:cxn>
              <a:cxn ang="0">
                <a:pos x="connsiteX2343" y="connsiteY2343"/>
              </a:cxn>
              <a:cxn ang="0">
                <a:pos x="connsiteX2344" y="connsiteY2344"/>
              </a:cxn>
              <a:cxn ang="0">
                <a:pos x="connsiteX2345" y="connsiteY2345"/>
              </a:cxn>
              <a:cxn ang="0">
                <a:pos x="connsiteX2346" y="connsiteY2346"/>
              </a:cxn>
              <a:cxn ang="0">
                <a:pos x="connsiteX2347" y="connsiteY2347"/>
              </a:cxn>
              <a:cxn ang="0">
                <a:pos x="connsiteX2348" y="connsiteY2348"/>
              </a:cxn>
              <a:cxn ang="0">
                <a:pos x="connsiteX2349" y="connsiteY2349"/>
              </a:cxn>
              <a:cxn ang="0">
                <a:pos x="connsiteX2350" y="connsiteY2350"/>
              </a:cxn>
              <a:cxn ang="0">
                <a:pos x="connsiteX2351" y="connsiteY2351"/>
              </a:cxn>
              <a:cxn ang="0">
                <a:pos x="connsiteX2352" y="connsiteY2352"/>
              </a:cxn>
              <a:cxn ang="0">
                <a:pos x="connsiteX2353" y="connsiteY2353"/>
              </a:cxn>
              <a:cxn ang="0">
                <a:pos x="connsiteX2354" y="connsiteY2354"/>
              </a:cxn>
              <a:cxn ang="0">
                <a:pos x="connsiteX2355" y="connsiteY2355"/>
              </a:cxn>
              <a:cxn ang="0">
                <a:pos x="connsiteX2356" y="connsiteY2356"/>
              </a:cxn>
              <a:cxn ang="0">
                <a:pos x="connsiteX2357" y="connsiteY2357"/>
              </a:cxn>
              <a:cxn ang="0">
                <a:pos x="connsiteX2358" y="connsiteY2358"/>
              </a:cxn>
              <a:cxn ang="0">
                <a:pos x="connsiteX2359" y="connsiteY2359"/>
              </a:cxn>
              <a:cxn ang="0">
                <a:pos x="connsiteX2360" y="connsiteY2360"/>
              </a:cxn>
              <a:cxn ang="0">
                <a:pos x="connsiteX2361" y="connsiteY2361"/>
              </a:cxn>
              <a:cxn ang="0">
                <a:pos x="connsiteX2362" y="connsiteY2362"/>
              </a:cxn>
              <a:cxn ang="0">
                <a:pos x="connsiteX2363" y="connsiteY2363"/>
              </a:cxn>
              <a:cxn ang="0">
                <a:pos x="connsiteX2364" y="connsiteY2364"/>
              </a:cxn>
              <a:cxn ang="0">
                <a:pos x="connsiteX2365" y="connsiteY2365"/>
              </a:cxn>
              <a:cxn ang="0">
                <a:pos x="connsiteX2366" y="connsiteY2366"/>
              </a:cxn>
              <a:cxn ang="0">
                <a:pos x="connsiteX2367" y="connsiteY2367"/>
              </a:cxn>
              <a:cxn ang="0">
                <a:pos x="connsiteX2368" y="connsiteY2368"/>
              </a:cxn>
              <a:cxn ang="0">
                <a:pos x="connsiteX2369" y="connsiteY2369"/>
              </a:cxn>
              <a:cxn ang="0">
                <a:pos x="connsiteX2370" y="connsiteY2370"/>
              </a:cxn>
              <a:cxn ang="0">
                <a:pos x="connsiteX2371" y="connsiteY2371"/>
              </a:cxn>
              <a:cxn ang="0">
                <a:pos x="connsiteX2372" y="connsiteY2372"/>
              </a:cxn>
              <a:cxn ang="0">
                <a:pos x="connsiteX2373" y="connsiteY2373"/>
              </a:cxn>
              <a:cxn ang="0">
                <a:pos x="connsiteX2374" y="connsiteY2374"/>
              </a:cxn>
              <a:cxn ang="0">
                <a:pos x="connsiteX2375" y="connsiteY2375"/>
              </a:cxn>
              <a:cxn ang="0">
                <a:pos x="connsiteX2376" y="connsiteY2376"/>
              </a:cxn>
              <a:cxn ang="0">
                <a:pos x="connsiteX2377" y="connsiteY2377"/>
              </a:cxn>
              <a:cxn ang="0">
                <a:pos x="connsiteX2378" y="connsiteY2378"/>
              </a:cxn>
              <a:cxn ang="0">
                <a:pos x="connsiteX2379" y="connsiteY2379"/>
              </a:cxn>
              <a:cxn ang="0">
                <a:pos x="connsiteX2380" y="connsiteY2380"/>
              </a:cxn>
              <a:cxn ang="0">
                <a:pos x="connsiteX2381" y="connsiteY2381"/>
              </a:cxn>
              <a:cxn ang="0">
                <a:pos x="connsiteX2382" y="connsiteY2382"/>
              </a:cxn>
              <a:cxn ang="0">
                <a:pos x="connsiteX2383" y="connsiteY2383"/>
              </a:cxn>
              <a:cxn ang="0">
                <a:pos x="connsiteX2384" y="connsiteY2384"/>
              </a:cxn>
              <a:cxn ang="0">
                <a:pos x="connsiteX2385" y="connsiteY2385"/>
              </a:cxn>
              <a:cxn ang="0">
                <a:pos x="connsiteX2386" y="connsiteY2386"/>
              </a:cxn>
              <a:cxn ang="0">
                <a:pos x="connsiteX2387" y="connsiteY2387"/>
              </a:cxn>
              <a:cxn ang="0">
                <a:pos x="connsiteX2388" y="connsiteY2388"/>
              </a:cxn>
              <a:cxn ang="0">
                <a:pos x="connsiteX2389" y="connsiteY2389"/>
              </a:cxn>
              <a:cxn ang="0">
                <a:pos x="connsiteX2390" y="connsiteY2390"/>
              </a:cxn>
              <a:cxn ang="0">
                <a:pos x="connsiteX2391" y="connsiteY2391"/>
              </a:cxn>
              <a:cxn ang="0">
                <a:pos x="connsiteX2392" y="connsiteY2392"/>
              </a:cxn>
              <a:cxn ang="0">
                <a:pos x="connsiteX2393" y="connsiteY2393"/>
              </a:cxn>
              <a:cxn ang="0">
                <a:pos x="connsiteX2394" y="connsiteY2394"/>
              </a:cxn>
              <a:cxn ang="0">
                <a:pos x="connsiteX2395" y="connsiteY2395"/>
              </a:cxn>
              <a:cxn ang="0">
                <a:pos x="connsiteX2396" y="connsiteY2396"/>
              </a:cxn>
              <a:cxn ang="0">
                <a:pos x="connsiteX2397" y="connsiteY2397"/>
              </a:cxn>
              <a:cxn ang="0">
                <a:pos x="connsiteX2398" y="connsiteY2398"/>
              </a:cxn>
              <a:cxn ang="0">
                <a:pos x="connsiteX2399" y="connsiteY2399"/>
              </a:cxn>
              <a:cxn ang="0">
                <a:pos x="connsiteX2400" y="connsiteY2400"/>
              </a:cxn>
              <a:cxn ang="0">
                <a:pos x="connsiteX2401" y="connsiteY2401"/>
              </a:cxn>
              <a:cxn ang="0">
                <a:pos x="connsiteX2402" y="connsiteY2402"/>
              </a:cxn>
              <a:cxn ang="0">
                <a:pos x="connsiteX2403" y="connsiteY2403"/>
              </a:cxn>
              <a:cxn ang="0">
                <a:pos x="connsiteX2404" y="connsiteY2404"/>
              </a:cxn>
              <a:cxn ang="0">
                <a:pos x="connsiteX2405" y="connsiteY2405"/>
              </a:cxn>
              <a:cxn ang="0">
                <a:pos x="connsiteX2406" y="connsiteY2406"/>
              </a:cxn>
              <a:cxn ang="0">
                <a:pos x="connsiteX2407" y="connsiteY2407"/>
              </a:cxn>
              <a:cxn ang="0">
                <a:pos x="connsiteX2408" y="connsiteY2408"/>
              </a:cxn>
              <a:cxn ang="0">
                <a:pos x="connsiteX2409" y="connsiteY2409"/>
              </a:cxn>
              <a:cxn ang="0">
                <a:pos x="connsiteX2410" y="connsiteY2410"/>
              </a:cxn>
              <a:cxn ang="0">
                <a:pos x="connsiteX2411" y="connsiteY2411"/>
              </a:cxn>
              <a:cxn ang="0">
                <a:pos x="connsiteX2412" y="connsiteY2412"/>
              </a:cxn>
              <a:cxn ang="0">
                <a:pos x="connsiteX2413" y="connsiteY2413"/>
              </a:cxn>
              <a:cxn ang="0">
                <a:pos x="connsiteX2414" y="connsiteY2414"/>
              </a:cxn>
              <a:cxn ang="0">
                <a:pos x="connsiteX2415" y="connsiteY2415"/>
              </a:cxn>
              <a:cxn ang="0">
                <a:pos x="connsiteX2416" y="connsiteY2416"/>
              </a:cxn>
              <a:cxn ang="0">
                <a:pos x="connsiteX2417" y="connsiteY2417"/>
              </a:cxn>
              <a:cxn ang="0">
                <a:pos x="connsiteX2418" y="connsiteY2418"/>
              </a:cxn>
              <a:cxn ang="0">
                <a:pos x="connsiteX2419" y="connsiteY2419"/>
              </a:cxn>
              <a:cxn ang="0">
                <a:pos x="connsiteX2420" y="connsiteY2420"/>
              </a:cxn>
              <a:cxn ang="0">
                <a:pos x="connsiteX2421" y="connsiteY2421"/>
              </a:cxn>
              <a:cxn ang="0">
                <a:pos x="connsiteX2422" y="connsiteY2422"/>
              </a:cxn>
              <a:cxn ang="0">
                <a:pos x="connsiteX2423" y="connsiteY2423"/>
              </a:cxn>
              <a:cxn ang="0">
                <a:pos x="connsiteX2424" y="connsiteY2424"/>
              </a:cxn>
              <a:cxn ang="0">
                <a:pos x="connsiteX2425" y="connsiteY2425"/>
              </a:cxn>
              <a:cxn ang="0">
                <a:pos x="connsiteX2426" y="connsiteY2426"/>
              </a:cxn>
              <a:cxn ang="0">
                <a:pos x="connsiteX2427" y="connsiteY2427"/>
              </a:cxn>
              <a:cxn ang="0">
                <a:pos x="connsiteX2428" y="connsiteY2428"/>
              </a:cxn>
              <a:cxn ang="0">
                <a:pos x="connsiteX2429" y="connsiteY2429"/>
              </a:cxn>
              <a:cxn ang="0">
                <a:pos x="connsiteX2430" y="connsiteY2430"/>
              </a:cxn>
              <a:cxn ang="0">
                <a:pos x="connsiteX2431" y="connsiteY2431"/>
              </a:cxn>
              <a:cxn ang="0">
                <a:pos x="connsiteX2432" y="connsiteY2432"/>
              </a:cxn>
              <a:cxn ang="0">
                <a:pos x="connsiteX2433" y="connsiteY2433"/>
              </a:cxn>
              <a:cxn ang="0">
                <a:pos x="connsiteX2434" y="connsiteY2434"/>
              </a:cxn>
              <a:cxn ang="0">
                <a:pos x="connsiteX2435" y="connsiteY2435"/>
              </a:cxn>
              <a:cxn ang="0">
                <a:pos x="connsiteX2436" y="connsiteY2436"/>
              </a:cxn>
              <a:cxn ang="0">
                <a:pos x="connsiteX2437" y="connsiteY2437"/>
              </a:cxn>
              <a:cxn ang="0">
                <a:pos x="connsiteX2438" y="connsiteY2438"/>
              </a:cxn>
              <a:cxn ang="0">
                <a:pos x="connsiteX2439" y="connsiteY2439"/>
              </a:cxn>
              <a:cxn ang="0">
                <a:pos x="connsiteX2440" y="connsiteY2440"/>
              </a:cxn>
              <a:cxn ang="0">
                <a:pos x="connsiteX2441" y="connsiteY2441"/>
              </a:cxn>
              <a:cxn ang="0">
                <a:pos x="connsiteX2442" y="connsiteY2442"/>
              </a:cxn>
              <a:cxn ang="0">
                <a:pos x="connsiteX2443" y="connsiteY2443"/>
              </a:cxn>
              <a:cxn ang="0">
                <a:pos x="connsiteX2444" y="connsiteY2444"/>
              </a:cxn>
              <a:cxn ang="0">
                <a:pos x="connsiteX2445" y="connsiteY2445"/>
              </a:cxn>
              <a:cxn ang="0">
                <a:pos x="connsiteX2446" y="connsiteY2446"/>
              </a:cxn>
              <a:cxn ang="0">
                <a:pos x="connsiteX2447" y="connsiteY2447"/>
              </a:cxn>
              <a:cxn ang="0">
                <a:pos x="connsiteX2448" y="connsiteY2448"/>
              </a:cxn>
              <a:cxn ang="0">
                <a:pos x="connsiteX2449" y="connsiteY2449"/>
              </a:cxn>
              <a:cxn ang="0">
                <a:pos x="connsiteX2450" y="connsiteY2450"/>
              </a:cxn>
              <a:cxn ang="0">
                <a:pos x="connsiteX2451" y="connsiteY2451"/>
              </a:cxn>
              <a:cxn ang="0">
                <a:pos x="connsiteX2452" y="connsiteY2452"/>
              </a:cxn>
              <a:cxn ang="0">
                <a:pos x="connsiteX2453" y="connsiteY2453"/>
              </a:cxn>
              <a:cxn ang="0">
                <a:pos x="connsiteX2454" y="connsiteY2454"/>
              </a:cxn>
              <a:cxn ang="0">
                <a:pos x="connsiteX2455" y="connsiteY2455"/>
              </a:cxn>
              <a:cxn ang="0">
                <a:pos x="connsiteX2456" y="connsiteY2456"/>
              </a:cxn>
              <a:cxn ang="0">
                <a:pos x="connsiteX2457" y="connsiteY2457"/>
              </a:cxn>
              <a:cxn ang="0">
                <a:pos x="connsiteX2458" y="connsiteY2458"/>
              </a:cxn>
              <a:cxn ang="0">
                <a:pos x="connsiteX2459" y="connsiteY2459"/>
              </a:cxn>
              <a:cxn ang="0">
                <a:pos x="connsiteX2460" y="connsiteY2460"/>
              </a:cxn>
              <a:cxn ang="0">
                <a:pos x="connsiteX2461" y="connsiteY2461"/>
              </a:cxn>
              <a:cxn ang="0">
                <a:pos x="connsiteX2462" y="connsiteY2462"/>
              </a:cxn>
              <a:cxn ang="0">
                <a:pos x="connsiteX2463" y="connsiteY2463"/>
              </a:cxn>
              <a:cxn ang="0">
                <a:pos x="connsiteX2464" y="connsiteY2464"/>
              </a:cxn>
              <a:cxn ang="0">
                <a:pos x="connsiteX2465" y="connsiteY2465"/>
              </a:cxn>
              <a:cxn ang="0">
                <a:pos x="connsiteX2466" y="connsiteY2466"/>
              </a:cxn>
              <a:cxn ang="0">
                <a:pos x="connsiteX2467" y="connsiteY2467"/>
              </a:cxn>
              <a:cxn ang="0">
                <a:pos x="connsiteX2468" y="connsiteY2468"/>
              </a:cxn>
              <a:cxn ang="0">
                <a:pos x="connsiteX2469" y="connsiteY2469"/>
              </a:cxn>
              <a:cxn ang="0">
                <a:pos x="connsiteX2470" y="connsiteY2470"/>
              </a:cxn>
              <a:cxn ang="0">
                <a:pos x="connsiteX2471" y="connsiteY2471"/>
              </a:cxn>
              <a:cxn ang="0">
                <a:pos x="connsiteX2472" y="connsiteY2472"/>
              </a:cxn>
              <a:cxn ang="0">
                <a:pos x="connsiteX2473" y="connsiteY2473"/>
              </a:cxn>
              <a:cxn ang="0">
                <a:pos x="connsiteX2474" y="connsiteY2474"/>
              </a:cxn>
              <a:cxn ang="0">
                <a:pos x="connsiteX2475" y="connsiteY2475"/>
              </a:cxn>
              <a:cxn ang="0">
                <a:pos x="connsiteX2476" y="connsiteY2476"/>
              </a:cxn>
              <a:cxn ang="0">
                <a:pos x="connsiteX2477" y="connsiteY2477"/>
              </a:cxn>
              <a:cxn ang="0">
                <a:pos x="connsiteX2478" y="connsiteY2478"/>
              </a:cxn>
              <a:cxn ang="0">
                <a:pos x="connsiteX2479" y="connsiteY2479"/>
              </a:cxn>
              <a:cxn ang="0">
                <a:pos x="connsiteX2480" y="connsiteY2480"/>
              </a:cxn>
              <a:cxn ang="0">
                <a:pos x="connsiteX2481" y="connsiteY2481"/>
              </a:cxn>
              <a:cxn ang="0">
                <a:pos x="connsiteX2482" y="connsiteY2482"/>
              </a:cxn>
              <a:cxn ang="0">
                <a:pos x="connsiteX2483" y="connsiteY2483"/>
              </a:cxn>
              <a:cxn ang="0">
                <a:pos x="connsiteX2484" y="connsiteY2484"/>
              </a:cxn>
              <a:cxn ang="0">
                <a:pos x="connsiteX2485" y="connsiteY2485"/>
              </a:cxn>
              <a:cxn ang="0">
                <a:pos x="connsiteX2486" y="connsiteY2486"/>
              </a:cxn>
              <a:cxn ang="0">
                <a:pos x="connsiteX2487" y="connsiteY2487"/>
              </a:cxn>
              <a:cxn ang="0">
                <a:pos x="connsiteX2488" y="connsiteY2488"/>
              </a:cxn>
              <a:cxn ang="0">
                <a:pos x="connsiteX2489" y="connsiteY2489"/>
              </a:cxn>
              <a:cxn ang="0">
                <a:pos x="connsiteX2490" y="connsiteY2490"/>
              </a:cxn>
              <a:cxn ang="0">
                <a:pos x="connsiteX2491" y="connsiteY2491"/>
              </a:cxn>
              <a:cxn ang="0">
                <a:pos x="connsiteX2492" y="connsiteY2492"/>
              </a:cxn>
              <a:cxn ang="0">
                <a:pos x="connsiteX2493" y="connsiteY2493"/>
              </a:cxn>
              <a:cxn ang="0">
                <a:pos x="connsiteX2494" y="connsiteY2494"/>
              </a:cxn>
              <a:cxn ang="0">
                <a:pos x="connsiteX2495" y="connsiteY2495"/>
              </a:cxn>
              <a:cxn ang="0">
                <a:pos x="connsiteX2496" y="connsiteY2496"/>
              </a:cxn>
              <a:cxn ang="0">
                <a:pos x="connsiteX2497" y="connsiteY2497"/>
              </a:cxn>
              <a:cxn ang="0">
                <a:pos x="connsiteX2498" y="connsiteY2498"/>
              </a:cxn>
              <a:cxn ang="0">
                <a:pos x="connsiteX2499" y="connsiteY2499"/>
              </a:cxn>
              <a:cxn ang="0">
                <a:pos x="connsiteX2500" y="connsiteY2500"/>
              </a:cxn>
              <a:cxn ang="0">
                <a:pos x="connsiteX2501" y="connsiteY2501"/>
              </a:cxn>
              <a:cxn ang="0">
                <a:pos x="connsiteX2502" y="connsiteY2502"/>
              </a:cxn>
              <a:cxn ang="0">
                <a:pos x="connsiteX2503" y="connsiteY2503"/>
              </a:cxn>
              <a:cxn ang="0">
                <a:pos x="connsiteX2504" y="connsiteY2504"/>
              </a:cxn>
              <a:cxn ang="0">
                <a:pos x="connsiteX2505" y="connsiteY2505"/>
              </a:cxn>
              <a:cxn ang="0">
                <a:pos x="connsiteX2506" y="connsiteY2506"/>
              </a:cxn>
              <a:cxn ang="0">
                <a:pos x="connsiteX2507" y="connsiteY2507"/>
              </a:cxn>
              <a:cxn ang="0">
                <a:pos x="connsiteX2508" y="connsiteY2508"/>
              </a:cxn>
              <a:cxn ang="0">
                <a:pos x="connsiteX2509" y="connsiteY2509"/>
              </a:cxn>
              <a:cxn ang="0">
                <a:pos x="connsiteX2510" y="connsiteY2510"/>
              </a:cxn>
              <a:cxn ang="0">
                <a:pos x="connsiteX2511" y="connsiteY2511"/>
              </a:cxn>
              <a:cxn ang="0">
                <a:pos x="connsiteX2512" y="connsiteY2512"/>
              </a:cxn>
              <a:cxn ang="0">
                <a:pos x="connsiteX2513" y="connsiteY2513"/>
              </a:cxn>
              <a:cxn ang="0">
                <a:pos x="connsiteX2514" y="connsiteY2514"/>
              </a:cxn>
              <a:cxn ang="0">
                <a:pos x="connsiteX2515" y="connsiteY2515"/>
              </a:cxn>
              <a:cxn ang="0">
                <a:pos x="connsiteX2516" y="connsiteY2516"/>
              </a:cxn>
              <a:cxn ang="0">
                <a:pos x="connsiteX2517" y="connsiteY2517"/>
              </a:cxn>
              <a:cxn ang="0">
                <a:pos x="connsiteX2518" y="connsiteY2518"/>
              </a:cxn>
              <a:cxn ang="0">
                <a:pos x="connsiteX2519" y="connsiteY2519"/>
              </a:cxn>
              <a:cxn ang="0">
                <a:pos x="connsiteX2520" y="connsiteY2520"/>
              </a:cxn>
              <a:cxn ang="0">
                <a:pos x="connsiteX2521" y="connsiteY2521"/>
              </a:cxn>
              <a:cxn ang="0">
                <a:pos x="connsiteX2522" y="connsiteY2522"/>
              </a:cxn>
              <a:cxn ang="0">
                <a:pos x="connsiteX2523" y="connsiteY2523"/>
              </a:cxn>
              <a:cxn ang="0">
                <a:pos x="connsiteX2524" y="connsiteY2524"/>
              </a:cxn>
              <a:cxn ang="0">
                <a:pos x="connsiteX2525" y="connsiteY2525"/>
              </a:cxn>
              <a:cxn ang="0">
                <a:pos x="connsiteX2526" y="connsiteY2526"/>
              </a:cxn>
              <a:cxn ang="0">
                <a:pos x="connsiteX2527" y="connsiteY2527"/>
              </a:cxn>
              <a:cxn ang="0">
                <a:pos x="connsiteX2528" y="connsiteY2528"/>
              </a:cxn>
              <a:cxn ang="0">
                <a:pos x="connsiteX2529" y="connsiteY2529"/>
              </a:cxn>
              <a:cxn ang="0">
                <a:pos x="connsiteX2530" y="connsiteY2530"/>
              </a:cxn>
              <a:cxn ang="0">
                <a:pos x="connsiteX2531" y="connsiteY2531"/>
              </a:cxn>
              <a:cxn ang="0">
                <a:pos x="connsiteX2532" y="connsiteY2532"/>
              </a:cxn>
              <a:cxn ang="0">
                <a:pos x="connsiteX2533" y="connsiteY2533"/>
              </a:cxn>
              <a:cxn ang="0">
                <a:pos x="connsiteX2534" y="connsiteY2534"/>
              </a:cxn>
              <a:cxn ang="0">
                <a:pos x="connsiteX2535" y="connsiteY2535"/>
              </a:cxn>
              <a:cxn ang="0">
                <a:pos x="connsiteX2536" y="connsiteY2536"/>
              </a:cxn>
              <a:cxn ang="0">
                <a:pos x="connsiteX2537" y="connsiteY2537"/>
              </a:cxn>
              <a:cxn ang="0">
                <a:pos x="connsiteX2538" y="connsiteY2538"/>
              </a:cxn>
              <a:cxn ang="0">
                <a:pos x="connsiteX2539" y="connsiteY2539"/>
              </a:cxn>
              <a:cxn ang="0">
                <a:pos x="connsiteX2540" y="connsiteY2540"/>
              </a:cxn>
              <a:cxn ang="0">
                <a:pos x="connsiteX2541" y="connsiteY2541"/>
              </a:cxn>
              <a:cxn ang="0">
                <a:pos x="connsiteX2542" y="connsiteY2542"/>
              </a:cxn>
              <a:cxn ang="0">
                <a:pos x="connsiteX2543" y="connsiteY2543"/>
              </a:cxn>
              <a:cxn ang="0">
                <a:pos x="connsiteX2544" y="connsiteY2544"/>
              </a:cxn>
              <a:cxn ang="0">
                <a:pos x="connsiteX2545" y="connsiteY2545"/>
              </a:cxn>
              <a:cxn ang="0">
                <a:pos x="connsiteX2546" y="connsiteY2546"/>
              </a:cxn>
              <a:cxn ang="0">
                <a:pos x="connsiteX2547" y="connsiteY2547"/>
              </a:cxn>
              <a:cxn ang="0">
                <a:pos x="connsiteX2548" y="connsiteY2548"/>
              </a:cxn>
              <a:cxn ang="0">
                <a:pos x="connsiteX2549" y="connsiteY2549"/>
              </a:cxn>
              <a:cxn ang="0">
                <a:pos x="connsiteX2550" y="connsiteY2550"/>
              </a:cxn>
              <a:cxn ang="0">
                <a:pos x="connsiteX2551" y="connsiteY2551"/>
              </a:cxn>
              <a:cxn ang="0">
                <a:pos x="connsiteX2552" y="connsiteY2552"/>
              </a:cxn>
              <a:cxn ang="0">
                <a:pos x="connsiteX2553" y="connsiteY2553"/>
              </a:cxn>
              <a:cxn ang="0">
                <a:pos x="connsiteX2554" y="connsiteY2554"/>
              </a:cxn>
              <a:cxn ang="0">
                <a:pos x="connsiteX2555" y="connsiteY2555"/>
              </a:cxn>
              <a:cxn ang="0">
                <a:pos x="connsiteX2556" y="connsiteY2556"/>
              </a:cxn>
              <a:cxn ang="0">
                <a:pos x="connsiteX2557" y="connsiteY2557"/>
              </a:cxn>
              <a:cxn ang="0">
                <a:pos x="connsiteX2558" y="connsiteY2558"/>
              </a:cxn>
              <a:cxn ang="0">
                <a:pos x="connsiteX2559" y="connsiteY2559"/>
              </a:cxn>
              <a:cxn ang="0">
                <a:pos x="connsiteX2560" y="connsiteY2560"/>
              </a:cxn>
              <a:cxn ang="0">
                <a:pos x="connsiteX2561" y="connsiteY2561"/>
              </a:cxn>
              <a:cxn ang="0">
                <a:pos x="connsiteX2562" y="connsiteY2562"/>
              </a:cxn>
              <a:cxn ang="0">
                <a:pos x="connsiteX2563" y="connsiteY2563"/>
              </a:cxn>
              <a:cxn ang="0">
                <a:pos x="connsiteX2564" y="connsiteY2564"/>
              </a:cxn>
              <a:cxn ang="0">
                <a:pos x="connsiteX2565" y="connsiteY2565"/>
              </a:cxn>
              <a:cxn ang="0">
                <a:pos x="connsiteX2566" y="connsiteY2566"/>
              </a:cxn>
              <a:cxn ang="0">
                <a:pos x="connsiteX2567" y="connsiteY2567"/>
              </a:cxn>
              <a:cxn ang="0">
                <a:pos x="connsiteX2568" y="connsiteY2568"/>
              </a:cxn>
              <a:cxn ang="0">
                <a:pos x="connsiteX2569" y="connsiteY2569"/>
              </a:cxn>
              <a:cxn ang="0">
                <a:pos x="connsiteX2570" y="connsiteY2570"/>
              </a:cxn>
              <a:cxn ang="0">
                <a:pos x="connsiteX2571" y="connsiteY2571"/>
              </a:cxn>
              <a:cxn ang="0">
                <a:pos x="connsiteX2572" y="connsiteY2572"/>
              </a:cxn>
              <a:cxn ang="0">
                <a:pos x="connsiteX2573" y="connsiteY2573"/>
              </a:cxn>
              <a:cxn ang="0">
                <a:pos x="connsiteX2574" y="connsiteY2574"/>
              </a:cxn>
              <a:cxn ang="0">
                <a:pos x="connsiteX2575" y="connsiteY2575"/>
              </a:cxn>
              <a:cxn ang="0">
                <a:pos x="connsiteX2576" y="connsiteY2576"/>
              </a:cxn>
              <a:cxn ang="0">
                <a:pos x="connsiteX2577" y="connsiteY2577"/>
              </a:cxn>
              <a:cxn ang="0">
                <a:pos x="connsiteX2578" y="connsiteY2578"/>
              </a:cxn>
              <a:cxn ang="0">
                <a:pos x="connsiteX2579" y="connsiteY2579"/>
              </a:cxn>
              <a:cxn ang="0">
                <a:pos x="connsiteX2580" y="connsiteY2580"/>
              </a:cxn>
              <a:cxn ang="0">
                <a:pos x="connsiteX2581" y="connsiteY2581"/>
              </a:cxn>
              <a:cxn ang="0">
                <a:pos x="connsiteX2582" y="connsiteY2582"/>
              </a:cxn>
              <a:cxn ang="0">
                <a:pos x="connsiteX2583" y="connsiteY2583"/>
              </a:cxn>
              <a:cxn ang="0">
                <a:pos x="connsiteX2584" y="connsiteY2584"/>
              </a:cxn>
              <a:cxn ang="0">
                <a:pos x="connsiteX2585" y="connsiteY2585"/>
              </a:cxn>
              <a:cxn ang="0">
                <a:pos x="connsiteX2586" y="connsiteY2586"/>
              </a:cxn>
              <a:cxn ang="0">
                <a:pos x="connsiteX2587" y="connsiteY2587"/>
              </a:cxn>
              <a:cxn ang="0">
                <a:pos x="connsiteX2588" y="connsiteY2588"/>
              </a:cxn>
              <a:cxn ang="0">
                <a:pos x="connsiteX2589" y="connsiteY2589"/>
              </a:cxn>
              <a:cxn ang="0">
                <a:pos x="connsiteX2590" y="connsiteY2590"/>
              </a:cxn>
              <a:cxn ang="0">
                <a:pos x="connsiteX2591" y="connsiteY2591"/>
              </a:cxn>
              <a:cxn ang="0">
                <a:pos x="connsiteX2592" y="connsiteY2592"/>
              </a:cxn>
              <a:cxn ang="0">
                <a:pos x="connsiteX2593" y="connsiteY2593"/>
              </a:cxn>
              <a:cxn ang="0">
                <a:pos x="connsiteX2594" y="connsiteY2594"/>
              </a:cxn>
              <a:cxn ang="0">
                <a:pos x="connsiteX2595" y="connsiteY2595"/>
              </a:cxn>
              <a:cxn ang="0">
                <a:pos x="connsiteX2596" y="connsiteY2596"/>
              </a:cxn>
              <a:cxn ang="0">
                <a:pos x="connsiteX2597" y="connsiteY2597"/>
              </a:cxn>
              <a:cxn ang="0">
                <a:pos x="connsiteX2598" y="connsiteY2598"/>
              </a:cxn>
              <a:cxn ang="0">
                <a:pos x="connsiteX2599" y="connsiteY2599"/>
              </a:cxn>
              <a:cxn ang="0">
                <a:pos x="connsiteX2600" y="connsiteY2600"/>
              </a:cxn>
              <a:cxn ang="0">
                <a:pos x="connsiteX2601" y="connsiteY2601"/>
              </a:cxn>
              <a:cxn ang="0">
                <a:pos x="connsiteX2602" y="connsiteY2602"/>
              </a:cxn>
              <a:cxn ang="0">
                <a:pos x="connsiteX2603" y="connsiteY2603"/>
              </a:cxn>
              <a:cxn ang="0">
                <a:pos x="connsiteX2604" y="connsiteY2604"/>
              </a:cxn>
              <a:cxn ang="0">
                <a:pos x="connsiteX2605" y="connsiteY2605"/>
              </a:cxn>
              <a:cxn ang="0">
                <a:pos x="connsiteX2606" y="connsiteY2606"/>
              </a:cxn>
              <a:cxn ang="0">
                <a:pos x="connsiteX2607" y="connsiteY2607"/>
              </a:cxn>
              <a:cxn ang="0">
                <a:pos x="connsiteX2608" y="connsiteY2608"/>
              </a:cxn>
              <a:cxn ang="0">
                <a:pos x="connsiteX2609" y="connsiteY2609"/>
              </a:cxn>
              <a:cxn ang="0">
                <a:pos x="connsiteX2610" y="connsiteY2610"/>
              </a:cxn>
              <a:cxn ang="0">
                <a:pos x="connsiteX2611" y="connsiteY2611"/>
              </a:cxn>
              <a:cxn ang="0">
                <a:pos x="connsiteX2612" y="connsiteY2612"/>
              </a:cxn>
              <a:cxn ang="0">
                <a:pos x="connsiteX2613" y="connsiteY2613"/>
              </a:cxn>
              <a:cxn ang="0">
                <a:pos x="connsiteX2614" y="connsiteY2614"/>
              </a:cxn>
              <a:cxn ang="0">
                <a:pos x="connsiteX2615" y="connsiteY2615"/>
              </a:cxn>
              <a:cxn ang="0">
                <a:pos x="connsiteX2616" y="connsiteY2616"/>
              </a:cxn>
              <a:cxn ang="0">
                <a:pos x="connsiteX2617" y="connsiteY2617"/>
              </a:cxn>
              <a:cxn ang="0">
                <a:pos x="connsiteX2618" y="connsiteY2618"/>
              </a:cxn>
              <a:cxn ang="0">
                <a:pos x="connsiteX2619" y="connsiteY2619"/>
              </a:cxn>
              <a:cxn ang="0">
                <a:pos x="connsiteX2620" y="connsiteY2620"/>
              </a:cxn>
              <a:cxn ang="0">
                <a:pos x="connsiteX2621" y="connsiteY2621"/>
              </a:cxn>
              <a:cxn ang="0">
                <a:pos x="connsiteX2622" y="connsiteY2622"/>
              </a:cxn>
              <a:cxn ang="0">
                <a:pos x="connsiteX2623" y="connsiteY2623"/>
              </a:cxn>
              <a:cxn ang="0">
                <a:pos x="connsiteX2624" y="connsiteY2624"/>
              </a:cxn>
              <a:cxn ang="0">
                <a:pos x="connsiteX2625" y="connsiteY2625"/>
              </a:cxn>
              <a:cxn ang="0">
                <a:pos x="connsiteX2626" y="connsiteY2626"/>
              </a:cxn>
              <a:cxn ang="0">
                <a:pos x="connsiteX2627" y="connsiteY2627"/>
              </a:cxn>
              <a:cxn ang="0">
                <a:pos x="connsiteX2628" y="connsiteY2628"/>
              </a:cxn>
              <a:cxn ang="0">
                <a:pos x="connsiteX2629" y="connsiteY2629"/>
              </a:cxn>
              <a:cxn ang="0">
                <a:pos x="connsiteX2630" y="connsiteY2630"/>
              </a:cxn>
              <a:cxn ang="0">
                <a:pos x="connsiteX2631" y="connsiteY2631"/>
              </a:cxn>
              <a:cxn ang="0">
                <a:pos x="connsiteX2632" y="connsiteY2632"/>
              </a:cxn>
              <a:cxn ang="0">
                <a:pos x="connsiteX2633" y="connsiteY2633"/>
              </a:cxn>
              <a:cxn ang="0">
                <a:pos x="connsiteX2634" y="connsiteY2634"/>
              </a:cxn>
              <a:cxn ang="0">
                <a:pos x="connsiteX2635" y="connsiteY2635"/>
              </a:cxn>
              <a:cxn ang="0">
                <a:pos x="connsiteX2636" y="connsiteY2636"/>
              </a:cxn>
              <a:cxn ang="0">
                <a:pos x="connsiteX2637" y="connsiteY2637"/>
              </a:cxn>
              <a:cxn ang="0">
                <a:pos x="connsiteX2638" y="connsiteY2638"/>
              </a:cxn>
              <a:cxn ang="0">
                <a:pos x="connsiteX2639" y="connsiteY2639"/>
              </a:cxn>
              <a:cxn ang="0">
                <a:pos x="connsiteX2640" y="connsiteY2640"/>
              </a:cxn>
              <a:cxn ang="0">
                <a:pos x="connsiteX2641" y="connsiteY2641"/>
              </a:cxn>
              <a:cxn ang="0">
                <a:pos x="connsiteX2642" y="connsiteY2642"/>
              </a:cxn>
              <a:cxn ang="0">
                <a:pos x="connsiteX2643" y="connsiteY2643"/>
              </a:cxn>
              <a:cxn ang="0">
                <a:pos x="connsiteX2644" y="connsiteY2644"/>
              </a:cxn>
              <a:cxn ang="0">
                <a:pos x="connsiteX2645" y="connsiteY2645"/>
              </a:cxn>
              <a:cxn ang="0">
                <a:pos x="connsiteX2646" y="connsiteY2646"/>
              </a:cxn>
              <a:cxn ang="0">
                <a:pos x="connsiteX2647" y="connsiteY2647"/>
              </a:cxn>
              <a:cxn ang="0">
                <a:pos x="connsiteX2648" y="connsiteY2648"/>
              </a:cxn>
              <a:cxn ang="0">
                <a:pos x="connsiteX2649" y="connsiteY2649"/>
              </a:cxn>
              <a:cxn ang="0">
                <a:pos x="connsiteX2650" y="connsiteY2650"/>
              </a:cxn>
              <a:cxn ang="0">
                <a:pos x="connsiteX2651" y="connsiteY2651"/>
              </a:cxn>
              <a:cxn ang="0">
                <a:pos x="connsiteX2652" y="connsiteY2652"/>
              </a:cxn>
              <a:cxn ang="0">
                <a:pos x="connsiteX2653" y="connsiteY2653"/>
              </a:cxn>
              <a:cxn ang="0">
                <a:pos x="connsiteX2654" y="connsiteY2654"/>
              </a:cxn>
              <a:cxn ang="0">
                <a:pos x="connsiteX2655" y="connsiteY2655"/>
              </a:cxn>
              <a:cxn ang="0">
                <a:pos x="connsiteX2656" y="connsiteY2656"/>
              </a:cxn>
              <a:cxn ang="0">
                <a:pos x="connsiteX2657" y="connsiteY2657"/>
              </a:cxn>
              <a:cxn ang="0">
                <a:pos x="connsiteX2658" y="connsiteY2658"/>
              </a:cxn>
              <a:cxn ang="0">
                <a:pos x="connsiteX2659" y="connsiteY2659"/>
              </a:cxn>
              <a:cxn ang="0">
                <a:pos x="connsiteX2660" y="connsiteY2660"/>
              </a:cxn>
              <a:cxn ang="0">
                <a:pos x="connsiteX2661" y="connsiteY2661"/>
              </a:cxn>
              <a:cxn ang="0">
                <a:pos x="connsiteX2662" y="connsiteY2662"/>
              </a:cxn>
              <a:cxn ang="0">
                <a:pos x="connsiteX2663" y="connsiteY2663"/>
              </a:cxn>
              <a:cxn ang="0">
                <a:pos x="connsiteX2664" y="connsiteY2664"/>
              </a:cxn>
              <a:cxn ang="0">
                <a:pos x="connsiteX2665" y="connsiteY2665"/>
              </a:cxn>
              <a:cxn ang="0">
                <a:pos x="connsiteX2666" y="connsiteY2666"/>
              </a:cxn>
              <a:cxn ang="0">
                <a:pos x="connsiteX2667" y="connsiteY2667"/>
              </a:cxn>
              <a:cxn ang="0">
                <a:pos x="connsiteX2668" y="connsiteY2668"/>
              </a:cxn>
              <a:cxn ang="0">
                <a:pos x="connsiteX2669" y="connsiteY2669"/>
              </a:cxn>
              <a:cxn ang="0">
                <a:pos x="connsiteX2670" y="connsiteY2670"/>
              </a:cxn>
              <a:cxn ang="0">
                <a:pos x="connsiteX2671" y="connsiteY2671"/>
              </a:cxn>
              <a:cxn ang="0">
                <a:pos x="connsiteX2672" y="connsiteY2672"/>
              </a:cxn>
              <a:cxn ang="0">
                <a:pos x="connsiteX2673" y="connsiteY2673"/>
              </a:cxn>
              <a:cxn ang="0">
                <a:pos x="connsiteX2674" y="connsiteY2674"/>
              </a:cxn>
              <a:cxn ang="0">
                <a:pos x="connsiteX2675" y="connsiteY2675"/>
              </a:cxn>
              <a:cxn ang="0">
                <a:pos x="connsiteX2676" y="connsiteY2676"/>
              </a:cxn>
              <a:cxn ang="0">
                <a:pos x="connsiteX2677" y="connsiteY2677"/>
              </a:cxn>
              <a:cxn ang="0">
                <a:pos x="connsiteX2678" y="connsiteY2678"/>
              </a:cxn>
              <a:cxn ang="0">
                <a:pos x="connsiteX2679" y="connsiteY2679"/>
              </a:cxn>
              <a:cxn ang="0">
                <a:pos x="connsiteX2680" y="connsiteY2680"/>
              </a:cxn>
              <a:cxn ang="0">
                <a:pos x="connsiteX2681" y="connsiteY2681"/>
              </a:cxn>
              <a:cxn ang="0">
                <a:pos x="connsiteX2682" y="connsiteY2682"/>
              </a:cxn>
              <a:cxn ang="0">
                <a:pos x="connsiteX2683" y="connsiteY2683"/>
              </a:cxn>
              <a:cxn ang="0">
                <a:pos x="connsiteX2684" y="connsiteY2684"/>
              </a:cxn>
              <a:cxn ang="0">
                <a:pos x="connsiteX2685" y="connsiteY2685"/>
              </a:cxn>
              <a:cxn ang="0">
                <a:pos x="connsiteX2686" y="connsiteY2686"/>
              </a:cxn>
              <a:cxn ang="0">
                <a:pos x="connsiteX2687" y="connsiteY2687"/>
              </a:cxn>
              <a:cxn ang="0">
                <a:pos x="connsiteX2688" y="connsiteY2688"/>
              </a:cxn>
              <a:cxn ang="0">
                <a:pos x="connsiteX2689" y="connsiteY2689"/>
              </a:cxn>
              <a:cxn ang="0">
                <a:pos x="connsiteX2690" y="connsiteY2690"/>
              </a:cxn>
              <a:cxn ang="0">
                <a:pos x="connsiteX2691" y="connsiteY2691"/>
              </a:cxn>
              <a:cxn ang="0">
                <a:pos x="connsiteX2692" y="connsiteY2692"/>
              </a:cxn>
              <a:cxn ang="0">
                <a:pos x="connsiteX2693" y="connsiteY2693"/>
              </a:cxn>
              <a:cxn ang="0">
                <a:pos x="connsiteX2694" y="connsiteY2694"/>
              </a:cxn>
              <a:cxn ang="0">
                <a:pos x="connsiteX2695" y="connsiteY2695"/>
              </a:cxn>
              <a:cxn ang="0">
                <a:pos x="connsiteX2696" y="connsiteY2696"/>
              </a:cxn>
              <a:cxn ang="0">
                <a:pos x="connsiteX2697" y="connsiteY2697"/>
              </a:cxn>
              <a:cxn ang="0">
                <a:pos x="connsiteX2698" y="connsiteY2698"/>
              </a:cxn>
              <a:cxn ang="0">
                <a:pos x="connsiteX2699" y="connsiteY2699"/>
              </a:cxn>
              <a:cxn ang="0">
                <a:pos x="connsiteX2700" y="connsiteY2700"/>
              </a:cxn>
              <a:cxn ang="0">
                <a:pos x="connsiteX2701" y="connsiteY2701"/>
              </a:cxn>
              <a:cxn ang="0">
                <a:pos x="connsiteX2702" y="connsiteY2702"/>
              </a:cxn>
              <a:cxn ang="0">
                <a:pos x="connsiteX2703" y="connsiteY2703"/>
              </a:cxn>
              <a:cxn ang="0">
                <a:pos x="connsiteX2704" y="connsiteY2704"/>
              </a:cxn>
              <a:cxn ang="0">
                <a:pos x="connsiteX2705" y="connsiteY2705"/>
              </a:cxn>
              <a:cxn ang="0">
                <a:pos x="connsiteX2706" y="connsiteY2706"/>
              </a:cxn>
              <a:cxn ang="0">
                <a:pos x="connsiteX2707" y="connsiteY2707"/>
              </a:cxn>
              <a:cxn ang="0">
                <a:pos x="connsiteX2708" y="connsiteY2708"/>
              </a:cxn>
              <a:cxn ang="0">
                <a:pos x="connsiteX2709" y="connsiteY2709"/>
              </a:cxn>
              <a:cxn ang="0">
                <a:pos x="connsiteX2710" y="connsiteY2710"/>
              </a:cxn>
              <a:cxn ang="0">
                <a:pos x="connsiteX2711" y="connsiteY2711"/>
              </a:cxn>
              <a:cxn ang="0">
                <a:pos x="connsiteX2712" y="connsiteY2712"/>
              </a:cxn>
              <a:cxn ang="0">
                <a:pos x="connsiteX2713" y="connsiteY2713"/>
              </a:cxn>
              <a:cxn ang="0">
                <a:pos x="connsiteX2714" y="connsiteY2714"/>
              </a:cxn>
              <a:cxn ang="0">
                <a:pos x="connsiteX2715" y="connsiteY2715"/>
              </a:cxn>
              <a:cxn ang="0">
                <a:pos x="connsiteX2716" y="connsiteY2716"/>
              </a:cxn>
              <a:cxn ang="0">
                <a:pos x="connsiteX2717" y="connsiteY2717"/>
              </a:cxn>
              <a:cxn ang="0">
                <a:pos x="connsiteX2718" y="connsiteY2718"/>
              </a:cxn>
              <a:cxn ang="0">
                <a:pos x="connsiteX2719" y="connsiteY2719"/>
              </a:cxn>
              <a:cxn ang="0">
                <a:pos x="connsiteX2720" y="connsiteY2720"/>
              </a:cxn>
              <a:cxn ang="0">
                <a:pos x="connsiteX2721" y="connsiteY2721"/>
              </a:cxn>
              <a:cxn ang="0">
                <a:pos x="connsiteX2722" y="connsiteY2722"/>
              </a:cxn>
              <a:cxn ang="0">
                <a:pos x="connsiteX2723" y="connsiteY2723"/>
              </a:cxn>
              <a:cxn ang="0">
                <a:pos x="connsiteX2724" y="connsiteY2724"/>
              </a:cxn>
              <a:cxn ang="0">
                <a:pos x="connsiteX2725" y="connsiteY2725"/>
              </a:cxn>
              <a:cxn ang="0">
                <a:pos x="connsiteX2726" y="connsiteY2726"/>
              </a:cxn>
              <a:cxn ang="0">
                <a:pos x="connsiteX2727" y="connsiteY2727"/>
              </a:cxn>
              <a:cxn ang="0">
                <a:pos x="connsiteX2728" y="connsiteY2728"/>
              </a:cxn>
              <a:cxn ang="0">
                <a:pos x="connsiteX2729" y="connsiteY2729"/>
              </a:cxn>
              <a:cxn ang="0">
                <a:pos x="connsiteX2730" y="connsiteY2730"/>
              </a:cxn>
              <a:cxn ang="0">
                <a:pos x="connsiteX2731" y="connsiteY2731"/>
              </a:cxn>
              <a:cxn ang="0">
                <a:pos x="connsiteX2732" y="connsiteY2732"/>
              </a:cxn>
              <a:cxn ang="0">
                <a:pos x="connsiteX2733" y="connsiteY2733"/>
              </a:cxn>
              <a:cxn ang="0">
                <a:pos x="connsiteX2734" y="connsiteY2734"/>
              </a:cxn>
              <a:cxn ang="0">
                <a:pos x="connsiteX2735" y="connsiteY2735"/>
              </a:cxn>
              <a:cxn ang="0">
                <a:pos x="connsiteX2736" y="connsiteY2736"/>
              </a:cxn>
              <a:cxn ang="0">
                <a:pos x="connsiteX2737" y="connsiteY2737"/>
              </a:cxn>
              <a:cxn ang="0">
                <a:pos x="connsiteX2738" y="connsiteY2738"/>
              </a:cxn>
              <a:cxn ang="0">
                <a:pos x="connsiteX2739" y="connsiteY2739"/>
              </a:cxn>
              <a:cxn ang="0">
                <a:pos x="connsiteX2740" y="connsiteY2740"/>
              </a:cxn>
              <a:cxn ang="0">
                <a:pos x="connsiteX2741" y="connsiteY2741"/>
              </a:cxn>
              <a:cxn ang="0">
                <a:pos x="connsiteX2742" y="connsiteY2742"/>
              </a:cxn>
              <a:cxn ang="0">
                <a:pos x="connsiteX2743" y="connsiteY2743"/>
              </a:cxn>
              <a:cxn ang="0">
                <a:pos x="connsiteX2744" y="connsiteY2744"/>
              </a:cxn>
              <a:cxn ang="0">
                <a:pos x="connsiteX2745" y="connsiteY2745"/>
              </a:cxn>
              <a:cxn ang="0">
                <a:pos x="connsiteX2746" y="connsiteY2746"/>
              </a:cxn>
              <a:cxn ang="0">
                <a:pos x="connsiteX2747" y="connsiteY2747"/>
              </a:cxn>
              <a:cxn ang="0">
                <a:pos x="connsiteX2748" y="connsiteY2748"/>
              </a:cxn>
              <a:cxn ang="0">
                <a:pos x="connsiteX2749" y="connsiteY2749"/>
              </a:cxn>
              <a:cxn ang="0">
                <a:pos x="connsiteX2750" y="connsiteY2750"/>
              </a:cxn>
              <a:cxn ang="0">
                <a:pos x="connsiteX2751" y="connsiteY2751"/>
              </a:cxn>
              <a:cxn ang="0">
                <a:pos x="connsiteX2752" y="connsiteY2752"/>
              </a:cxn>
              <a:cxn ang="0">
                <a:pos x="connsiteX2753" y="connsiteY2753"/>
              </a:cxn>
              <a:cxn ang="0">
                <a:pos x="connsiteX2754" y="connsiteY2754"/>
              </a:cxn>
              <a:cxn ang="0">
                <a:pos x="connsiteX2755" y="connsiteY2755"/>
              </a:cxn>
              <a:cxn ang="0">
                <a:pos x="connsiteX2756" y="connsiteY2756"/>
              </a:cxn>
              <a:cxn ang="0">
                <a:pos x="connsiteX2757" y="connsiteY2757"/>
              </a:cxn>
              <a:cxn ang="0">
                <a:pos x="connsiteX2758" y="connsiteY2758"/>
              </a:cxn>
              <a:cxn ang="0">
                <a:pos x="connsiteX2759" y="connsiteY2759"/>
              </a:cxn>
              <a:cxn ang="0">
                <a:pos x="connsiteX2760" y="connsiteY2760"/>
              </a:cxn>
              <a:cxn ang="0">
                <a:pos x="connsiteX2761" y="connsiteY2761"/>
              </a:cxn>
              <a:cxn ang="0">
                <a:pos x="connsiteX2762" y="connsiteY2762"/>
              </a:cxn>
              <a:cxn ang="0">
                <a:pos x="connsiteX2763" y="connsiteY2763"/>
              </a:cxn>
              <a:cxn ang="0">
                <a:pos x="connsiteX2764" y="connsiteY2764"/>
              </a:cxn>
              <a:cxn ang="0">
                <a:pos x="connsiteX2765" y="connsiteY2765"/>
              </a:cxn>
              <a:cxn ang="0">
                <a:pos x="connsiteX2766" y="connsiteY2766"/>
              </a:cxn>
              <a:cxn ang="0">
                <a:pos x="connsiteX2767" y="connsiteY2767"/>
              </a:cxn>
              <a:cxn ang="0">
                <a:pos x="connsiteX2768" y="connsiteY2768"/>
              </a:cxn>
              <a:cxn ang="0">
                <a:pos x="connsiteX2769" y="connsiteY2769"/>
              </a:cxn>
              <a:cxn ang="0">
                <a:pos x="connsiteX2770" y="connsiteY2770"/>
              </a:cxn>
              <a:cxn ang="0">
                <a:pos x="connsiteX2771" y="connsiteY2771"/>
              </a:cxn>
              <a:cxn ang="0">
                <a:pos x="connsiteX2772" y="connsiteY2772"/>
              </a:cxn>
              <a:cxn ang="0">
                <a:pos x="connsiteX2773" y="connsiteY2773"/>
              </a:cxn>
              <a:cxn ang="0">
                <a:pos x="connsiteX2774" y="connsiteY2774"/>
              </a:cxn>
              <a:cxn ang="0">
                <a:pos x="connsiteX2775" y="connsiteY2775"/>
              </a:cxn>
              <a:cxn ang="0">
                <a:pos x="connsiteX2776" y="connsiteY2776"/>
              </a:cxn>
              <a:cxn ang="0">
                <a:pos x="connsiteX2777" y="connsiteY2777"/>
              </a:cxn>
              <a:cxn ang="0">
                <a:pos x="connsiteX2778" y="connsiteY2778"/>
              </a:cxn>
              <a:cxn ang="0">
                <a:pos x="connsiteX2779" y="connsiteY2779"/>
              </a:cxn>
              <a:cxn ang="0">
                <a:pos x="connsiteX2780" y="connsiteY2780"/>
              </a:cxn>
              <a:cxn ang="0">
                <a:pos x="connsiteX2781" y="connsiteY2781"/>
              </a:cxn>
              <a:cxn ang="0">
                <a:pos x="connsiteX2782" y="connsiteY2782"/>
              </a:cxn>
              <a:cxn ang="0">
                <a:pos x="connsiteX2783" y="connsiteY2783"/>
              </a:cxn>
              <a:cxn ang="0">
                <a:pos x="connsiteX2784" y="connsiteY2784"/>
              </a:cxn>
              <a:cxn ang="0">
                <a:pos x="connsiteX2785" y="connsiteY2785"/>
              </a:cxn>
              <a:cxn ang="0">
                <a:pos x="connsiteX2786" y="connsiteY2786"/>
              </a:cxn>
              <a:cxn ang="0">
                <a:pos x="connsiteX2787" y="connsiteY2787"/>
              </a:cxn>
              <a:cxn ang="0">
                <a:pos x="connsiteX2788" y="connsiteY2788"/>
              </a:cxn>
              <a:cxn ang="0">
                <a:pos x="connsiteX2789" y="connsiteY2789"/>
              </a:cxn>
              <a:cxn ang="0">
                <a:pos x="connsiteX2790" y="connsiteY2790"/>
              </a:cxn>
              <a:cxn ang="0">
                <a:pos x="connsiteX2791" y="connsiteY2791"/>
              </a:cxn>
              <a:cxn ang="0">
                <a:pos x="connsiteX2792" y="connsiteY2792"/>
              </a:cxn>
              <a:cxn ang="0">
                <a:pos x="connsiteX2793" y="connsiteY2793"/>
              </a:cxn>
              <a:cxn ang="0">
                <a:pos x="connsiteX2794" y="connsiteY2794"/>
              </a:cxn>
              <a:cxn ang="0">
                <a:pos x="connsiteX2795" y="connsiteY2795"/>
              </a:cxn>
              <a:cxn ang="0">
                <a:pos x="connsiteX2796" y="connsiteY2796"/>
              </a:cxn>
              <a:cxn ang="0">
                <a:pos x="connsiteX2797" y="connsiteY2797"/>
              </a:cxn>
              <a:cxn ang="0">
                <a:pos x="connsiteX2798" y="connsiteY2798"/>
              </a:cxn>
              <a:cxn ang="0">
                <a:pos x="connsiteX2799" y="connsiteY2799"/>
              </a:cxn>
              <a:cxn ang="0">
                <a:pos x="connsiteX2800" y="connsiteY2800"/>
              </a:cxn>
              <a:cxn ang="0">
                <a:pos x="connsiteX2801" y="connsiteY2801"/>
              </a:cxn>
              <a:cxn ang="0">
                <a:pos x="connsiteX2802" y="connsiteY2802"/>
              </a:cxn>
              <a:cxn ang="0">
                <a:pos x="connsiteX2803" y="connsiteY2803"/>
              </a:cxn>
              <a:cxn ang="0">
                <a:pos x="connsiteX2804" y="connsiteY2804"/>
              </a:cxn>
              <a:cxn ang="0">
                <a:pos x="connsiteX2805" y="connsiteY2805"/>
              </a:cxn>
              <a:cxn ang="0">
                <a:pos x="connsiteX2806" y="connsiteY2806"/>
              </a:cxn>
              <a:cxn ang="0">
                <a:pos x="connsiteX2807" y="connsiteY2807"/>
              </a:cxn>
              <a:cxn ang="0">
                <a:pos x="connsiteX2808" y="connsiteY2808"/>
              </a:cxn>
              <a:cxn ang="0">
                <a:pos x="connsiteX2809" y="connsiteY2809"/>
              </a:cxn>
              <a:cxn ang="0">
                <a:pos x="connsiteX2810" y="connsiteY2810"/>
              </a:cxn>
              <a:cxn ang="0">
                <a:pos x="connsiteX2811" y="connsiteY2811"/>
              </a:cxn>
              <a:cxn ang="0">
                <a:pos x="connsiteX2812" y="connsiteY2812"/>
              </a:cxn>
              <a:cxn ang="0">
                <a:pos x="connsiteX2813" y="connsiteY2813"/>
              </a:cxn>
              <a:cxn ang="0">
                <a:pos x="connsiteX2814" y="connsiteY2814"/>
              </a:cxn>
              <a:cxn ang="0">
                <a:pos x="connsiteX2815" y="connsiteY2815"/>
              </a:cxn>
              <a:cxn ang="0">
                <a:pos x="connsiteX2816" y="connsiteY2816"/>
              </a:cxn>
              <a:cxn ang="0">
                <a:pos x="connsiteX2817" y="connsiteY2817"/>
              </a:cxn>
              <a:cxn ang="0">
                <a:pos x="connsiteX2818" y="connsiteY2818"/>
              </a:cxn>
              <a:cxn ang="0">
                <a:pos x="connsiteX2819" y="connsiteY2819"/>
              </a:cxn>
              <a:cxn ang="0">
                <a:pos x="connsiteX2820" y="connsiteY2820"/>
              </a:cxn>
              <a:cxn ang="0">
                <a:pos x="connsiteX2821" y="connsiteY2821"/>
              </a:cxn>
              <a:cxn ang="0">
                <a:pos x="connsiteX2822" y="connsiteY2822"/>
              </a:cxn>
              <a:cxn ang="0">
                <a:pos x="connsiteX2823" y="connsiteY2823"/>
              </a:cxn>
              <a:cxn ang="0">
                <a:pos x="connsiteX2824" y="connsiteY2824"/>
              </a:cxn>
              <a:cxn ang="0">
                <a:pos x="connsiteX2825" y="connsiteY2825"/>
              </a:cxn>
              <a:cxn ang="0">
                <a:pos x="connsiteX2826" y="connsiteY2826"/>
              </a:cxn>
              <a:cxn ang="0">
                <a:pos x="connsiteX2827" y="connsiteY2827"/>
              </a:cxn>
              <a:cxn ang="0">
                <a:pos x="connsiteX2828" y="connsiteY2828"/>
              </a:cxn>
              <a:cxn ang="0">
                <a:pos x="connsiteX2829" y="connsiteY2829"/>
              </a:cxn>
              <a:cxn ang="0">
                <a:pos x="connsiteX2830" y="connsiteY2830"/>
              </a:cxn>
              <a:cxn ang="0">
                <a:pos x="connsiteX2831" y="connsiteY2831"/>
              </a:cxn>
              <a:cxn ang="0">
                <a:pos x="connsiteX2832" y="connsiteY2832"/>
              </a:cxn>
              <a:cxn ang="0">
                <a:pos x="connsiteX2833" y="connsiteY2833"/>
              </a:cxn>
              <a:cxn ang="0">
                <a:pos x="connsiteX2834" y="connsiteY2834"/>
              </a:cxn>
              <a:cxn ang="0">
                <a:pos x="connsiteX2835" y="connsiteY2835"/>
              </a:cxn>
              <a:cxn ang="0">
                <a:pos x="connsiteX2836" y="connsiteY2836"/>
              </a:cxn>
              <a:cxn ang="0">
                <a:pos x="connsiteX2837" y="connsiteY2837"/>
              </a:cxn>
              <a:cxn ang="0">
                <a:pos x="connsiteX2838" y="connsiteY2838"/>
              </a:cxn>
              <a:cxn ang="0">
                <a:pos x="connsiteX2839" y="connsiteY2839"/>
              </a:cxn>
              <a:cxn ang="0">
                <a:pos x="connsiteX2840" y="connsiteY2840"/>
              </a:cxn>
              <a:cxn ang="0">
                <a:pos x="connsiteX2841" y="connsiteY2841"/>
              </a:cxn>
              <a:cxn ang="0">
                <a:pos x="connsiteX2842" y="connsiteY2842"/>
              </a:cxn>
              <a:cxn ang="0">
                <a:pos x="connsiteX2843" y="connsiteY2843"/>
              </a:cxn>
              <a:cxn ang="0">
                <a:pos x="connsiteX2844" y="connsiteY2844"/>
              </a:cxn>
              <a:cxn ang="0">
                <a:pos x="connsiteX2845" y="connsiteY2845"/>
              </a:cxn>
              <a:cxn ang="0">
                <a:pos x="connsiteX2846" y="connsiteY2846"/>
              </a:cxn>
              <a:cxn ang="0">
                <a:pos x="connsiteX2847" y="connsiteY2847"/>
              </a:cxn>
              <a:cxn ang="0">
                <a:pos x="connsiteX2848" y="connsiteY2848"/>
              </a:cxn>
              <a:cxn ang="0">
                <a:pos x="connsiteX2849" y="connsiteY2849"/>
              </a:cxn>
              <a:cxn ang="0">
                <a:pos x="connsiteX2850" y="connsiteY2850"/>
              </a:cxn>
              <a:cxn ang="0">
                <a:pos x="connsiteX2851" y="connsiteY2851"/>
              </a:cxn>
              <a:cxn ang="0">
                <a:pos x="connsiteX2852" y="connsiteY2852"/>
              </a:cxn>
              <a:cxn ang="0">
                <a:pos x="connsiteX2853" y="connsiteY2853"/>
              </a:cxn>
              <a:cxn ang="0">
                <a:pos x="connsiteX2854" y="connsiteY2854"/>
              </a:cxn>
              <a:cxn ang="0">
                <a:pos x="connsiteX2855" y="connsiteY2855"/>
              </a:cxn>
              <a:cxn ang="0">
                <a:pos x="connsiteX2856" y="connsiteY2856"/>
              </a:cxn>
              <a:cxn ang="0">
                <a:pos x="connsiteX2857" y="connsiteY2857"/>
              </a:cxn>
              <a:cxn ang="0">
                <a:pos x="connsiteX2858" y="connsiteY2858"/>
              </a:cxn>
              <a:cxn ang="0">
                <a:pos x="connsiteX2859" y="connsiteY2859"/>
              </a:cxn>
              <a:cxn ang="0">
                <a:pos x="connsiteX2860" y="connsiteY2860"/>
              </a:cxn>
              <a:cxn ang="0">
                <a:pos x="connsiteX2861" y="connsiteY2861"/>
              </a:cxn>
              <a:cxn ang="0">
                <a:pos x="connsiteX2862" y="connsiteY2862"/>
              </a:cxn>
              <a:cxn ang="0">
                <a:pos x="connsiteX2863" y="connsiteY2863"/>
              </a:cxn>
              <a:cxn ang="0">
                <a:pos x="connsiteX2864" y="connsiteY2864"/>
              </a:cxn>
              <a:cxn ang="0">
                <a:pos x="connsiteX2865" y="connsiteY2865"/>
              </a:cxn>
              <a:cxn ang="0">
                <a:pos x="connsiteX2866" y="connsiteY2866"/>
              </a:cxn>
              <a:cxn ang="0">
                <a:pos x="connsiteX2867" y="connsiteY2867"/>
              </a:cxn>
              <a:cxn ang="0">
                <a:pos x="connsiteX2868" y="connsiteY2868"/>
              </a:cxn>
              <a:cxn ang="0">
                <a:pos x="connsiteX2869" y="connsiteY2869"/>
              </a:cxn>
              <a:cxn ang="0">
                <a:pos x="connsiteX2870" y="connsiteY2870"/>
              </a:cxn>
              <a:cxn ang="0">
                <a:pos x="connsiteX2871" y="connsiteY2871"/>
              </a:cxn>
              <a:cxn ang="0">
                <a:pos x="connsiteX2872" y="connsiteY2872"/>
              </a:cxn>
              <a:cxn ang="0">
                <a:pos x="connsiteX2873" y="connsiteY2873"/>
              </a:cxn>
              <a:cxn ang="0">
                <a:pos x="connsiteX2874" y="connsiteY2874"/>
              </a:cxn>
              <a:cxn ang="0">
                <a:pos x="connsiteX2875" y="connsiteY2875"/>
              </a:cxn>
              <a:cxn ang="0">
                <a:pos x="connsiteX2876" y="connsiteY2876"/>
              </a:cxn>
              <a:cxn ang="0">
                <a:pos x="connsiteX2877" y="connsiteY2877"/>
              </a:cxn>
              <a:cxn ang="0">
                <a:pos x="connsiteX2878" y="connsiteY2878"/>
              </a:cxn>
              <a:cxn ang="0">
                <a:pos x="connsiteX2879" y="connsiteY2879"/>
              </a:cxn>
              <a:cxn ang="0">
                <a:pos x="connsiteX2880" y="connsiteY2880"/>
              </a:cxn>
              <a:cxn ang="0">
                <a:pos x="connsiteX2881" y="connsiteY2881"/>
              </a:cxn>
              <a:cxn ang="0">
                <a:pos x="connsiteX2882" y="connsiteY2882"/>
              </a:cxn>
              <a:cxn ang="0">
                <a:pos x="connsiteX2883" y="connsiteY2883"/>
              </a:cxn>
              <a:cxn ang="0">
                <a:pos x="connsiteX2884" y="connsiteY2884"/>
              </a:cxn>
              <a:cxn ang="0">
                <a:pos x="connsiteX2885" y="connsiteY2885"/>
              </a:cxn>
              <a:cxn ang="0">
                <a:pos x="connsiteX2886" y="connsiteY2886"/>
              </a:cxn>
              <a:cxn ang="0">
                <a:pos x="connsiteX2887" y="connsiteY2887"/>
              </a:cxn>
              <a:cxn ang="0">
                <a:pos x="connsiteX2888" y="connsiteY2888"/>
              </a:cxn>
              <a:cxn ang="0">
                <a:pos x="connsiteX2889" y="connsiteY2889"/>
              </a:cxn>
              <a:cxn ang="0">
                <a:pos x="connsiteX2890" y="connsiteY2890"/>
              </a:cxn>
              <a:cxn ang="0">
                <a:pos x="connsiteX2891" y="connsiteY2891"/>
              </a:cxn>
              <a:cxn ang="0">
                <a:pos x="connsiteX2892" y="connsiteY2892"/>
              </a:cxn>
              <a:cxn ang="0">
                <a:pos x="connsiteX2893" y="connsiteY2893"/>
              </a:cxn>
              <a:cxn ang="0">
                <a:pos x="connsiteX2894" y="connsiteY2894"/>
              </a:cxn>
              <a:cxn ang="0">
                <a:pos x="connsiteX2895" y="connsiteY2895"/>
              </a:cxn>
              <a:cxn ang="0">
                <a:pos x="connsiteX2896" y="connsiteY2896"/>
              </a:cxn>
              <a:cxn ang="0">
                <a:pos x="connsiteX2897" y="connsiteY2897"/>
              </a:cxn>
              <a:cxn ang="0">
                <a:pos x="connsiteX2898" y="connsiteY2898"/>
              </a:cxn>
              <a:cxn ang="0">
                <a:pos x="connsiteX2899" y="connsiteY2899"/>
              </a:cxn>
              <a:cxn ang="0">
                <a:pos x="connsiteX2900" y="connsiteY2900"/>
              </a:cxn>
              <a:cxn ang="0">
                <a:pos x="connsiteX2901" y="connsiteY2901"/>
              </a:cxn>
              <a:cxn ang="0">
                <a:pos x="connsiteX2902" y="connsiteY2902"/>
              </a:cxn>
              <a:cxn ang="0">
                <a:pos x="connsiteX2903" y="connsiteY2903"/>
              </a:cxn>
              <a:cxn ang="0">
                <a:pos x="connsiteX2904" y="connsiteY2904"/>
              </a:cxn>
              <a:cxn ang="0">
                <a:pos x="connsiteX2905" y="connsiteY2905"/>
              </a:cxn>
              <a:cxn ang="0">
                <a:pos x="connsiteX2906" y="connsiteY2906"/>
              </a:cxn>
              <a:cxn ang="0">
                <a:pos x="connsiteX2907" y="connsiteY2907"/>
              </a:cxn>
              <a:cxn ang="0">
                <a:pos x="connsiteX2908" y="connsiteY2908"/>
              </a:cxn>
              <a:cxn ang="0">
                <a:pos x="connsiteX2909" y="connsiteY2909"/>
              </a:cxn>
              <a:cxn ang="0">
                <a:pos x="connsiteX2910" y="connsiteY2910"/>
              </a:cxn>
              <a:cxn ang="0">
                <a:pos x="connsiteX2911" y="connsiteY2911"/>
              </a:cxn>
              <a:cxn ang="0">
                <a:pos x="connsiteX2912" y="connsiteY2912"/>
              </a:cxn>
              <a:cxn ang="0">
                <a:pos x="connsiteX2913" y="connsiteY2913"/>
              </a:cxn>
              <a:cxn ang="0">
                <a:pos x="connsiteX2914" y="connsiteY2914"/>
              </a:cxn>
              <a:cxn ang="0">
                <a:pos x="connsiteX2915" y="connsiteY2915"/>
              </a:cxn>
              <a:cxn ang="0">
                <a:pos x="connsiteX2916" y="connsiteY2916"/>
              </a:cxn>
              <a:cxn ang="0">
                <a:pos x="connsiteX2917" y="connsiteY2917"/>
              </a:cxn>
              <a:cxn ang="0">
                <a:pos x="connsiteX2918" y="connsiteY2918"/>
              </a:cxn>
              <a:cxn ang="0">
                <a:pos x="connsiteX2919" y="connsiteY2919"/>
              </a:cxn>
              <a:cxn ang="0">
                <a:pos x="connsiteX2920" y="connsiteY2920"/>
              </a:cxn>
              <a:cxn ang="0">
                <a:pos x="connsiteX2921" y="connsiteY2921"/>
              </a:cxn>
              <a:cxn ang="0">
                <a:pos x="connsiteX2922" y="connsiteY2922"/>
              </a:cxn>
              <a:cxn ang="0">
                <a:pos x="connsiteX2923" y="connsiteY2923"/>
              </a:cxn>
              <a:cxn ang="0">
                <a:pos x="connsiteX2924" y="connsiteY2924"/>
              </a:cxn>
              <a:cxn ang="0">
                <a:pos x="connsiteX2925" y="connsiteY2925"/>
              </a:cxn>
              <a:cxn ang="0">
                <a:pos x="connsiteX2926" y="connsiteY2926"/>
              </a:cxn>
              <a:cxn ang="0">
                <a:pos x="connsiteX2927" y="connsiteY2927"/>
              </a:cxn>
              <a:cxn ang="0">
                <a:pos x="connsiteX2928" y="connsiteY2928"/>
              </a:cxn>
              <a:cxn ang="0">
                <a:pos x="connsiteX2929" y="connsiteY2929"/>
              </a:cxn>
              <a:cxn ang="0">
                <a:pos x="connsiteX2930" y="connsiteY2930"/>
              </a:cxn>
              <a:cxn ang="0">
                <a:pos x="connsiteX2931" y="connsiteY2931"/>
              </a:cxn>
              <a:cxn ang="0">
                <a:pos x="connsiteX2932" y="connsiteY2932"/>
              </a:cxn>
              <a:cxn ang="0">
                <a:pos x="connsiteX2933" y="connsiteY2933"/>
              </a:cxn>
              <a:cxn ang="0">
                <a:pos x="connsiteX2934" y="connsiteY2934"/>
              </a:cxn>
              <a:cxn ang="0">
                <a:pos x="connsiteX2935" y="connsiteY2935"/>
              </a:cxn>
              <a:cxn ang="0">
                <a:pos x="connsiteX2936" y="connsiteY2936"/>
              </a:cxn>
              <a:cxn ang="0">
                <a:pos x="connsiteX2937" y="connsiteY2937"/>
              </a:cxn>
              <a:cxn ang="0">
                <a:pos x="connsiteX2938" y="connsiteY2938"/>
              </a:cxn>
              <a:cxn ang="0">
                <a:pos x="connsiteX2939" y="connsiteY2939"/>
              </a:cxn>
              <a:cxn ang="0">
                <a:pos x="connsiteX2940" y="connsiteY2940"/>
              </a:cxn>
              <a:cxn ang="0">
                <a:pos x="connsiteX2941" y="connsiteY2941"/>
              </a:cxn>
              <a:cxn ang="0">
                <a:pos x="connsiteX2942" y="connsiteY2942"/>
              </a:cxn>
              <a:cxn ang="0">
                <a:pos x="connsiteX2943" y="connsiteY2943"/>
              </a:cxn>
              <a:cxn ang="0">
                <a:pos x="connsiteX2944" y="connsiteY2944"/>
              </a:cxn>
              <a:cxn ang="0">
                <a:pos x="connsiteX2945" y="connsiteY2945"/>
              </a:cxn>
              <a:cxn ang="0">
                <a:pos x="connsiteX2946" y="connsiteY2946"/>
              </a:cxn>
              <a:cxn ang="0">
                <a:pos x="connsiteX2947" y="connsiteY2947"/>
              </a:cxn>
              <a:cxn ang="0">
                <a:pos x="connsiteX2948" y="connsiteY2948"/>
              </a:cxn>
              <a:cxn ang="0">
                <a:pos x="connsiteX2949" y="connsiteY2949"/>
              </a:cxn>
              <a:cxn ang="0">
                <a:pos x="connsiteX2950" y="connsiteY2950"/>
              </a:cxn>
              <a:cxn ang="0">
                <a:pos x="connsiteX2951" y="connsiteY2951"/>
              </a:cxn>
              <a:cxn ang="0">
                <a:pos x="connsiteX2952" y="connsiteY2952"/>
              </a:cxn>
              <a:cxn ang="0">
                <a:pos x="connsiteX2953" y="connsiteY2953"/>
              </a:cxn>
              <a:cxn ang="0">
                <a:pos x="connsiteX2954" y="connsiteY2954"/>
              </a:cxn>
              <a:cxn ang="0">
                <a:pos x="connsiteX2955" y="connsiteY2955"/>
              </a:cxn>
              <a:cxn ang="0">
                <a:pos x="connsiteX2956" y="connsiteY2956"/>
              </a:cxn>
              <a:cxn ang="0">
                <a:pos x="connsiteX2957" y="connsiteY2957"/>
              </a:cxn>
              <a:cxn ang="0">
                <a:pos x="connsiteX2958" y="connsiteY2958"/>
              </a:cxn>
              <a:cxn ang="0">
                <a:pos x="connsiteX2959" y="connsiteY2959"/>
              </a:cxn>
              <a:cxn ang="0">
                <a:pos x="connsiteX2960" y="connsiteY2960"/>
              </a:cxn>
              <a:cxn ang="0">
                <a:pos x="connsiteX2961" y="connsiteY2961"/>
              </a:cxn>
              <a:cxn ang="0">
                <a:pos x="connsiteX2962" y="connsiteY2962"/>
              </a:cxn>
              <a:cxn ang="0">
                <a:pos x="connsiteX2963" y="connsiteY2963"/>
              </a:cxn>
              <a:cxn ang="0">
                <a:pos x="connsiteX2964" y="connsiteY2964"/>
              </a:cxn>
              <a:cxn ang="0">
                <a:pos x="connsiteX2965" y="connsiteY2965"/>
              </a:cxn>
              <a:cxn ang="0">
                <a:pos x="connsiteX2966" y="connsiteY2966"/>
              </a:cxn>
              <a:cxn ang="0">
                <a:pos x="connsiteX2967" y="connsiteY2967"/>
              </a:cxn>
              <a:cxn ang="0">
                <a:pos x="connsiteX2968" y="connsiteY2968"/>
              </a:cxn>
              <a:cxn ang="0">
                <a:pos x="connsiteX2969" y="connsiteY2969"/>
              </a:cxn>
              <a:cxn ang="0">
                <a:pos x="connsiteX2970" y="connsiteY2970"/>
              </a:cxn>
              <a:cxn ang="0">
                <a:pos x="connsiteX2971" y="connsiteY2971"/>
              </a:cxn>
              <a:cxn ang="0">
                <a:pos x="connsiteX2972" y="connsiteY2972"/>
              </a:cxn>
              <a:cxn ang="0">
                <a:pos x="connsiteX2973" y="connsiteY2973"/>
              </a:cxn>
              <a:cxn ang="0">
                <a:pos x="connsiteX2974" y="connsiteY2974"/>
              </a:cxn>
              <a:cxn ang="0">
                <a:pos x="connsiteX2975" y="connsiteY2975"/>
              </a:cxn>
              <a:cxn ang="0">
                <a:pos x="connsiteX2976" y="connsiteY2976"/>
              </a:cxn>
              <a:cxn ang="0">
                <a:pos x="connsiteX2977" y="connsiteY2977"/>
              </a:cxn>
              <a:cxn ang="0">
                <a:pos x="connsiteX2978" y="connsiteY2978"/>
              </a:cxn>
              <a:cxn ang="0">
                <a:pos x="connsiteX2979" y="connsiteY2979"/>
              </a:cxn>
              <a:cxn ang="0">
                <a:pos x="connsiteX2980" y="connsiteY2980"/>
              </a:cxn>
              <a:cxn ang="0">
                <a:pos x="connsiteX2981" y="connsiteY2981"/>
              </a:cxn>
              <a:cxn ang="0">
                <a:pos x="connsiteX2982" y="connsiteY2982"/>
              </a:cxn>
              <a:cxn ang="0">
                <a:pos x="connsiteX2983" y="connsiteY2983"/>
              </a:cxn>
              <a:cxn ang="0">
                <a:pos x="connsiteX2984" y="connsiteY2984"/>
              </a:cxn>
              <a:cxn ang="0">
                <a:pos x="connsiteX2985" y="connsiteY2985"/>
              </a:cxn>
              <a:cxn ang="0">
                <a:pos x="connsiteX2986" y="connsiteY2986"/>
              </a:cxn>
              <a:cxn ang="0">
                <a:pos x="connsiteX2987" y="connsiteY2987"/>
              </a:cxn>
              <a:cxn ang="0">
                <a:pos x="connsiteX2988" y="connsiteY2988"/>
              </a:cxn>
              <a:cxn ang="0">
                <a:pos x="connsiteX2989" y="connsiteY2989"/>
              </a:cxn>
              <a:cxn ang="0">
                <a:pos x="connsiteX2990" y="connsiteY2990"/>
              </a:cxn>
              <a:cxn ang="0">
                <a:pos x="connsiteX2991" y="connsiteY2991"/>
              </a:cxn>
              <a:cxn ang="0">
                <a:pos x="connsiteX2992" y="connsiteY2992"/>
              </a:cxn>
              <a:cxn ang="0">
                <a:pos x="connsiteX2993" y="connsiteY2993"/>
              </a:cxn>
              <a:cxn ang="0">
                <a:pos x="connsiteX2994" y="connsiteY2994"/>
              </a:cxn>
              <a:cxn ang="0">
                <a:pos x="connsiteX2995" y="connsiteY2995"/>
              </a:cxn>
              <a:cxn ang="0">
                <a:pos x="connsiteX2996" y="connsiteY2996"/>
              </a:cxn>
              <a:cxn ang="0">
                <a:pos x="connsiteX2997" y="connsiteY2997"/>
              </a:cxn>
              <a:cxn ang="0">
                <a:pos x="connsiteX2998" y="connsiteY2998"/>
              </a:cxn>
              <a:cxn ang="0">
                <a:pos x="connsiteX2999" y="connsiteY2999"/>
              </a:cxn>
              <a:cxn ang="0">
                <a:pos x="connsiteX3000" y="connsiteY3000"/>
              </a:cxn>
              <a:cxn ang="0">
                <a:pos x="connsiteX3001" y="connsiteY3001"/>
              </a:cxn>
              <a:cxn ang="0">
                <a:pos x="connsiteX3002" y="connsiteY3002"/>
              </a:cxn>
              <a:cxn ang="0">
                <a:pos x="connsiteX3003" y="connsiteY3003"/>
              </a:cxn>
              <a:cxn ang="0">
                <a:pos x="connsiteX3004" y="connsiteY3004"/>
              </a:cxn>
              <a:cxn ang="0">
                <a:pos x="connsiteX3005" y="connsiteY3005"/>
              </a:cxn>
              <a:cxn ang="0">
                <a:pos x="connsiteX3006" y="connsiteY3006"/>
              </a:cxn>
              <a:cxn ang="0">
                <a:pos x="connsiteX3007" y="connsiteY3007"/>
              </a:cxn>
              <a:cxn ang="0">
                <a:pos x="connsiteX3008" y="connsiteY3008"/>
              </a:cxn>
              <a:cxn ang="0">
                <a:pos x="connsiteX3009" y="connsiteY3009"/>
              </a:cxn>
              <a:cxn ang="0">
                <a:pos x="connsiteX3010" y="connsiteY3010"/>
              </a:cxn>
              <a:cxn ang="0">
                <a:pos x="connsiteX3011" y="connsiteY3011"/>
              </a:cxn>
              <a:cxn ang="0">
                <a:pos x="connsiteX3012" y="connsiteY3012"/>
              </a:cxn>
              <a:cxn ang="0">
                <a:pos x="connsiteX3013" y="connsiteY3013"/>
              </a:cxn>
              <a:cxn ang="0">
                <a:pos x="connsiteX3014" y="connsiteY3014"/>
              </a:cxn>
              <a:cxn ang="0">
                <a:pos x="connsiteX3015" y="connsiteY3015"/>
              </a:cxn>
              <a:cxn ang="0">
                <a:pos x="connsiteX3016" y="connsiteY3016"/>
              </a:cxn>
              <a:cxn ang="0">
                <a:pos x="connsiteX3017" y="connsiteY3017"/>
              </a:cxn>
              <a:cxn ang="0">
                <a:pos x="connsiteX3018" y="connsiteY3018"/>
              </a:cxn>
              <a:cxn ang="0">
                <a:pos x="connsiteX3019" y="connsiteY3019"/>
              </a:cxn>
              <a:cxn ang="0">
                <a:pos x="connsiteX3020" y="connsiteY3020"/>
              </a:cxn>
              <a:cxn ang="0">
                <a:pos x="connsiteX3021" y="connsiteY3021"/>
              </a:cxn>
              <a:cxn ang="0">
                <a:pos x="connsiteX3022" y="connsiteY3022"/>
              </a:cxn>
              <a:cxn ang="0">
                <a:pos x="connsiteX3023" y="connsiteY3023"/>
              </a:cxn>
              <a:cxn ang="0">
                <a:pos x="connsiteX3024" y="connsiteY3024"/>
              </a:cxn>
              <a:cxn ang="0">
                <a:pos x="connsiteX3025" y="connsiteY3025"/>
              </a:cxn>
              <a:cxn ang="0">
                <a:pos x="connsiteX3026" y="connsiteY3026"/>
              </a:cxn>
              <a:cxn ang="0">
                <a:pos x="connsiteX3027" y="connsiteY3027"/>
              </a:cxn>
              <a:cxn ang="0">
                <a:pos x="connsiteX3028" y="connsiteY3028"/>
              </a:cxn>
              <a:cxn ang="0">
                <a:pos x="connsiteX3029" y="connsiteY3029"/>
              </a:cxn>
              <a:cxn ang="0">
                <a:pos x="connsiteX3030" y="connsiteY3030"/>
              </a:cxn>
              <a:cxn ang="0">
                <a:pos x="connsiteX3031" y="connsiteY3031"/>
              </a:cxn>
              <a:cxn ang="0">
                <a:pos x="connsiteX3032" y="connsiteY3032"/>
              </a:cxn>
              <a:cxn ang="0">
                <a:pos x="connsiteX3033" y="connsiteY3033"/>
              </a:cxn>
              <a:cxn ang="0">
                <a:pos x="connsiteX3034" y="connsiteY3034"/>
              </a:cxn>
              <a:cxn ang="0">
                <a:pos x="connsiteX3035" y="connsiteY3035"/>
              </a:cxn>
              <a:cxn ang="0">
                <a:pos x="connsiteX3036" y="connsiteY3036"/>
              </a:cxn>
              <a:cxn ang="0">
                <a:pos x="connsiteX3037" y="connsiteY3037"/>
              </a:cxn>
              <a:cxn ang="0">
                <a:pos x="connsiteX3038" y="connsiteY3038"/>
              </a:cxn>
              <a:cxn ang="0">
                <a:pos x="connsiteX3039" y="connsiteY3039"/>
              </a:cxn>
              <a:cxn ang="0">
                <a:pos x="connsiteX3040" y="connsiteY3040"/>
              </a:cxn>
              <a:cxn ang="0">
                <a:pos x="connsiteX3041" y="connsiteY3041"/>
              </a:cxn>
              <a:cxn ang="0">
                <a:pos x="connsiteX3042" y="connsiteY3042"/>
              </a:cxn>
              <a:cxn ang="0">
                <a:pos x="connsiteX3043" y="connsiteY3043"/>
              </a:cxn>
              <a:cxn ang="0">
                <a:pos x="connsiteX3044" y="connsiteY3044"/>
              </a:cxn>
              <a:cxn ang="0">
                <a:pos x="connsiteX3045" y="connsiteY3045"/>
              </a:cxn>
              <a:cxn ang="0">
                <a:pos x="connsiteX3046" y="connsiteY3046"/>
              </a:cxn>
              <a:cxn ang="0">
                <a:pos x="connsiteX3047" y="connsiteY3047"/>
              </a:cxn>
              <a:cxn ang="0">
                <a:pos x="connsiteX3048" y="connsiteY3048"/>
              </a:cxn>
              <a:cxn ang="0">
                <a:pos x="connsiteX3049" y="connsiteY3049"/>
              </a:cxn>
              <a:cxn ang="0">
                <a:pos x="connsiteX3050" y="connsiteY3050"/>
              </a:cxn>
              <a:cxn ang="0">
                <a:pos x="connsiteX3051" y="connsiteY3051"/>
              </a:cxn>
              <a:cxn ang="0">
                <a:pos x="connsiteX3052" y="connsiteY3052"/>
              </a:cxn>
              <a:cxn ang="0">
                <a:pos x="connsiteX3053" y="connsiteY3053"/>
              </a:cxn>
              <a:cxn ang="0">
                <a:pos x="connsiteX3054" y="connsiteY3054"/>
              </a:cxn>
              <a:cxn ang="0">
                <a:pos x="connsiteX3055" y="connsiteY3055"/>
              </a:cxn>
              <a:cxn ang="0">
                <a:pos x="connsiteX3056" y="connsiteY3056"/>
              </a:cxn>
              <a:cxn ang="0">
                <a:pos x="connsiteX3057" y="connsiteY3057"/>
              </a:cxn>
              <a:cxn ang="0">
                <a:pos x="connsiteX3058" y="connsiteY3058"/>
              </a:cxn>
              <a:cxn ang="0">
                <a:pos x="connsiteX3059" y="connsiteY3059"/>
              </a:cxn>
              <a:cxn ang="0">
                <a:pos x="connsiteX3060" y="connsiteY3060"/>
              </a:cxn>
              <a:cxn ang="0">
                <a:pos x="connsiteX3061" y="connsiteY3061"/>
              </a:cxn>
              <a:cxn ang="0">
                <a:pos x="connsiteX3062" y="connsiteY3062"/>
              </a:cxn>
              <a:cxn ang="0">
                <a:pos x="connsiteX3063" y="connsiteY3063"/>
              </a:cxn>
              <a:cxn ang="0">
                <a:pos x="connsiteX3064" y="connsiteY3064"/>
              </a:cxn>
              <a:cxn ang="0">
                <a:pos x="connsiteX3065" y="connsiteY3065"/>
              </a:cxn>
              <a:cxn ang="0">
                <a:pos x="connsiteX3066" y="connsiteY3066"/>
              </a:cxn>
              <a:cxn ang="0">
                <a:pos x="connsiteX3067" y="connsiteY3067"/>
              </a:cxn>
              <a:cxn ang="0">
                <a:pos x="connsiteX3068" y="connsiteY3068"/>
              </a:cxn>
              <a:cxn ang="0">
                <a:pos x="connsiteX3069" y="connsiteY3069"/>
              </a:cxn>
              <a:cxn ang="0">
                <a:pos x="connsiteX3070" y="connsiteY3070"/>
              </a:cxn>
              <a:cxn ang="0">
                <a:pos x="connsiteX3071" y="connsiteY3071"/>
              </a:cxn>
              <a:cxn ang="0">
                <a:pos x="connsiteX3072" y="connsiteY3072"/>
              </a:cxn>
              <a:cxn ang="0">
                <a:pos x="connsiteX3073" y="connsiteY3073"/>
              </a:cxn>
              <a:cxn ang="0">
                <a:pos x="connsiteX3074" y="connsiteY3074"/>
              </a:cxn>
              <a:cxn ang="0">
                <a:pos x="connsiteX3075" y="connsiteY3075"/>
              </a:cxn>
              <a:cxn ang="0">
                <a:pos x="connsiteX3076" y="connsiteY3076"/>
              </a:cxn>
              <a:cxn ang="0">
                <a:pos x="connsiteX3077" y="connsiteY3077"/>
              </a:cxn>
              <a:cxn ang="0">
                <a:pos x="connsiteX3078" y="connsiteY3078"/>
              </a:cxn>
              <a:cxn ang="0">
                <a:pos x="connsiteX3079" y="connsiteY3079"/>
              </a:cxn>
              <a:cxn ang="0">
                <a:pos x="connsiteX3080" y="connsiteY3080"/>
              </a:cxn>
              <a:cxn ang="0">
                <a:pos x="connsiteX3081" y="connsiteY3081"/>
              </a:cxn>
              <a:cxn ang="0">
                <a:pos x="connsiteX3082" y="connsiteY3082"/>
              </a:cxn>
              <a:cxn ang="0">
                <a:pos x="connsiteX3083" y="connsiteY3083"/>
              </a:cxn>
              <a:cxn ang="0">
                <a:pos x="connsiteX3084" y="connsiteY3084"/>
              </a:cxn>
              <a:cxn ang="0">
                <a:pos x="connsiteX3085" y="connsiteY3085"/>
              </a:cxn>
              <a:cxn ang="0">
                <a:pos x="connsiteX3086" y="connsiteY3086"/>
              </a:cxn>
              <a:cxn ang="0">
                <a:pos x="connsiteX3087" y="connsiteY3087"/>
              </a:cxn>
              <a:cxn ang="0">
                <a:pos x="connsiteX3088" y="connsiteY3088"/>
              </a:cxn>
              <a:cxn ang="0">
                <a:pos x="connsiteX3089" y="connsiteY3089"/>
              </a:cxn>
              <a:cxn ang="0">
                <a:pos x="connsiteX3090" y="connsiteY3090"/>
              </a:cxn>
              <a:cxn ang="0">
                <a:pos x="connsiteX3091" y="connsiteY3091"/>
              </a:cxn>
              <a:cxn ang="0">
                <a:pos x="connsiteX3092" y="connsiteY3092"/>
              </a:cxn>
              <a:cxn ang="0">
                <a:pos x="connsiteX3093" y="connsiteY3093"/>
              </a:cxn>
              <a:cxn ang="0">
                <a:pos x="connsiteX3094" y="connsiteY3094"/>
              </a:cxn>
              <a:cxn ang="0">
                <a:pos x="connsiteX3095" y="connsiteY3095"/>
              </a:cxn>
              <a:cxn ang="0">
                <a:pos x="connsiteX3096" y="connsiteY3096"/>
              </a:cxn>
              <a:cxn ang="0">
                <a:pos x="connsiteX3097" y="connsiteY3097"/>
              </a:cxn>
              <a:cxn ang="0">
                <a:pos x="connsiteX3098" y="connsiteY3098"/>
              </a:cxn>
              <a:cxn ang="0">
                <a:pos x="connsiteX3099" y="connsiteY3099"/>
              </a:cxn>
              <a:cxn ang="0">
                <a:pos x="connsiteX3100" y="connsiteY3100"/>
              </a:cxn>
              <a:cxn ang="0">
                <a:pos x="connsiteX3101" y="connsiteY3101"/>
              </a:cxn>
              <a:cxn ang="0">
                <a:pos x="connsiteX3102" y="connsiteY3102"/>
              </a:cxn>
              <a:cxn ang="0">
                <a:pos x="connsiteX3103" y="connsiteY3103"/>
              </a:cxn>
              <a:cxn ang="0">
                <a:pos x="connsiteX3104" y="connsiteY3104"/>
              </a:cxn>
              <a:cxn ang="0">
                <a:pos x="connsiteX3105" y="connsiteY3105"/>
              </a:cxn>
              <a:cxn ang="0">
                <a:pos x="connsiteX3106" y="connsiteY3106"/>
              </a:cxn>
              <a:cxn ang="0">
                <a:pos x="connsiteX3107" y="connsiteY3107"/>
              </a:cxn>
              <a:cxn ang="0">
                <a:pos x="connsiteX3108" y="connsiteY3108"/>
              </a:cxn>
              <a:cxn ang="0">
                <a:pos x="connsiteX3109" y="connsiteY3109"/>
              </a:cxn>
              <a:cxn ang="0">
                <a:pos x="connsiteX3110" y="connsiteY3110"/>
              </a:cxn>
              <a:cxn ang="0">
                <a:pos x="connsiteX3111" y="connsiteY3111"/>
              </a:cxn>
              <a:cxn ang="0">
                <a:pos x="connsiteX3112" y="connsiteY3112"/>
              </a:cxn>
              <a:cxn ang="0">
                <a:pos x="connsiteX3113" y="connsiteY3113"/>
              </a:cxn>
              <a:cxn ang="0">
                <a:pos x="connsiteX3114" y="connsiteY3114"/>
              </a:cxn>
              <a:cxn ang="0">
                <a:pos x="connsiteX3115" y="connsiteY3115"/>
              </a:cxn>
              <a:cxn ang="0">
                <a:pos x="connsiteX3116" y="connsiteY3116"/>
              </a:cxn>
              <a:cxn ang="0">
                <a:pos x="connsiteX3117" y="connsiteY3117"/>
              </a:cxn>
              <a:cxn ang="0">
                <a:pos x="connsiteX3118" y="connsiteY3118"/>
              </a:cxn>
              <a:cxn ang="0">
                <a:pos x="connsiteX3119" y="connsiteY3119"/>
              </a:cxn>
              <a:cxn ang="0">
                <a:pos x="connsiteX3120" y="connsiteY3120"/>
              </a:cxn>
              <a:cxn ang="0">
                <a:pos x="connsiteX3121" y="connsiteY3121"/>
              </a:cxn>
              <a:cxn ang="0">
                <a:pos x="connsiteX3122" y="connsiteY3122"/>
              </a:cxn>
              <a:cxn ang="0">
                <a:pos x="connsiteX3123" y="connsiteY3123"/>
              </a:cxn>
              <a:cxn ang="0">
                <a:pos x="connsiteX3124" y="connsiteY3124"/>
              </a:cxn>
              <a:cxn ang="0">
                <a:pos x="connsiteX3125" y="connsiteY3125"/>
              </a:cxn>
              <a:cxn ang="0">
                <a:pos x="connsiteX3126" y="connsiteY3126"/>
              </a:cxn>
              <a:cxn ang="0">
                <a:pos x="connsiteX3127" y="connsiteY3127"/>
              </a:cxn>
              <a:cxn ang="0">
                <a:pos x="connsiteX3128" y="connsiteY3128"/>
              </a:cxn>
              <a:cxn ang="0">
                <a:pos x="connsiteX3129" y="connsiteY3129"/>
              </a:cxn>
              <a:cxn ang="0">
                <a:pos x="connsiteX3130" y="connsiteY3130"/>
              </a:cxn>
              <a:cxn ang="0">
                <a:pos x="connsiteX3131" y="connsiteY3131"/>
              </a:cxn>
              <a:cxn ang="0">
                <a:pos x="connsiteX3132" y="connsiteY3132"/>
              </a:cxn>
              <a:cxn ang="0">
                <a:pos x="connsiteX3133" y="connsiteY3133"/>
              </a:cxn>
              <a:cxn ang="0">
                <a:pos x="connsiteX3134" y="connsiteY3134"/>
              </a:cxn>
              <a:cxn ang="0">
                <a:pos x="connsiteX3135" y="connsiteY3135"/>
              </a:cxn>
              <a:cxn ang="0">
                <a:pos x="connsiteX3136" y="connsiteY3136"/>
              </a:cxn>
              <a:cxn ang="0">
                <a:pos x="connsiteX3137" y="connsiteY3137"/>
              </a:cxn>
              <a:cxn ang="0">
                <a:pos x="connsiteX3138" y="connsiteY3138"/>
              </a:cxn>
              <a:cxn ang="0">
                <a:pos x="connsiteX3139" y="connsiteY3139"/>
              </a:cxn>
              <a:cxn ang="0">
                <a:pos x="connsiteX3140" y="connsiteY3140"/>
              </a:cxn>
              <a:cxn ang="0">
                <a:pos x="connsiteX3141" y="connsiteY3141"/>
              </a:cxn>
              <a:cxn ang="0">
                <a:pos x="connsiteX3142" y="connsiteY3142"/>
              </a:cxn>
              <a:cxn ang="0">
                <a:pos x="connsiteX3143" y="connsiteY3143"/>
              </a:cxn>
              <a:cxn ang="0">
                <a:pos x="connsiteX3144" y="connsiteY3144"/>
              </a:cxn>
              <a:cxn ang="0">
                <a:pos x="connsiteX3145" y="connsiteY3145"/>
              </a:cxn>
              <a:cxn ang="0">
                <a:pos x="connsiteX3146" y="connsiteY3146"/>
              </a:cxn>
              <a:cxn ang="0">
                <a:pos x="connsiteX3147" y="connsiteY3147"/>
              </a:cxn>
              <a:cxn ang="0">
                <a:pos x="connsiteX3148" y="connsiteY3148"/>
              </a:cxn>
              <a:cxn ang="0">
                <a:pos x="connsiteX3149" y="connsiteY3149"/>
              </a:cxn>
              <a:cxn ang="0">
                <a:pos x="connsiteX3150" y="connsiteY3150"/>
              </a:cxn>
              <a:cxn ang="0">
                <a:pos x="connsiteX3151" y="connsiteY3151"/>
              </a:cxn>
              <a:cxn ang="0">
                <a:pos x="connsiteX3152" y="connsiteY3152"/>
              </a:cxn>
              <a:cxn ang="0">
                <a:pos x="connsiteX3153" y="connsiteY3153"/>
              </a:cxn>
              <a:cxn ang="0">
                <a:pos x="connsiteX3154" y="connsiteY3154"/>
              </a:cxn>
              <a:cxn ang="0">
                <a:pos x="connsiteX3155" y="connsiteY3155"/>
              </a:cxn>
              <a:cxn ang="0">
                <a:pos x="connsiteX3156" y="connsiteY3156"/>
              </a:cxn>
              <a:cxn ang="0">
                <a:pos x="connsiteX3157" y="connsiteY3157"/>
              </a:cxn>
              <a:cxn ang="0">
                <a:pos x="connsiteX3158" y="connsiteY3158"/>
              </a:cxn>
              <a:cxn ang="0">
                <a:pos x="connsiteX3159" y="connsiteY3159"/>
              </a:cxn>
              <a:cxn ang="0">
                <a:pos x="connsiteX3160" y="connsiteY3160"/>
              </a:cxn>
              <a:cxn ang="0">
                <a:pos x="connsiteX3161" y="connsiteY3161"/>
              </a:cxn>
              <a:cxn ang="0">
                <a:pos x="connsiteX3162" y="connsiteY3162"/>
              </a:cxn>
              <a:cxn ang="0">
                <a:pos x="connsiteX3163" y="connsiteY3163"/>
              </a:cxn>
              <a:cxn ang="0">
                <a:pos x="connsiteX3164" y="connsiteY3164"/>
              </a:cxn>
              <a:cxn ang="0">
                <a:pos x="connsiteX3165" y="connsiteY3165"/>
              </a:cxn>
              <a:cxn ang="0">
                <a:pos x="connsiteX3166" y="connsiteY3166"/>
              </a:cxn>
              <a:cxn ang="0">
                <a:pos x="connsiteX3167" y="connsiteY3167"/>
              </a:cxn>
              <a:cxn ang="0">
                <a:pos x="connsiteX3168" y="connsiteY3168"/>
              </a:cxn>
              <a:cxn ang="0">
                <a:pos x="connsiteX3169" y="connsiteY3169"/>
              </a:cxn>
              <a:cxn ang="0">
                <a:pos x="connsiteX3170" y="connsiteY3170"/>
              </a:cxn>
              <a:cxn ang="0">
                <a:pos x="connsiteX3171" y="connsiteY3171"/>
              </a:cxn>
              <a:cxn ang="0">
                <a:pos x="connsiteX3172" y="connsiteY3172"/>
              </a:cxn>
              <a:cxn ang="0">
                <a:pos x="connsiteX3173" y="connsiteY3173"/>
              </a:cxn>
              <a:cxn ang="0">
                <a:pos x="connsiteX3174" y="connsiteY3174"/>
              </a:cxn>
              <a:cxn ang="0">
                <a:pos x="connsiteX3175" y="connsiteY3175"/>
              </a:cxn>
              <a:cxn ang="0">
                <a:pos x="connsiteX3176" y="connsiteY3176"/>
              </a:cxn>
              <a:cxn ang="0">
                <a:pos x="connsiteX3177" y="connsiteY3177"/>
              </a:cxn>
              <a:cxn ang="0">
                <a:pos x="connsiteX3178" y="connsiteY3178"/>
              </a:cxn>
              <a:cxn ang="0">
                <a:pos x="connsiteX3179" y="connsiteY3179"/>
              </a:cxn>
              <a:cxn ang="0">
                <a:pos x="connsiteX3180" y="connsiteY3180"/>
              </a:cxn>
              <a:cxn ang="0">
                <a:pos x="connsiteX3181" y="connsiteY3181"/>
              </a:cxn>
              <a:cxn ang="0">
                <a:pos x="connsiteX3182" y="connsiteY3182"/>
              </a:cxn>
              <a:cxn ang="0">
                <a:pos x="connsiteX3183" y="connsiteY3183"/>
              </a:cxn>
              <a:cxn ang="0">
                <a:pos x="connsiteX3184" y="connsiteY3184"/>
              </a:cxn>
              <a:cxn ang="0">
                <a:pos x="connsiteX3185" y="connsiteY3185"/>
              </a:cxn>
              <a:cxn ang="0">
                <a:pos x="connsiteX3186" y="connsiteY3186"/>
              </a:cxn>
              <a:cxn ang="0">
                <a:pos x="connsiteX3187" y="connsiteY3187"/>
              </a:cxn>
              <a:cxn ang="0">
                <a:pos x="connsiteX3188" y="connsiteY3188"/>
              </a:cxn>
              <a:cxn ang="0">
                <a:pos x="connsiteX3189" y="connsiteY3189"/>
              </a:cxn>
              <a:cxn ang="0">
                <a:pos x="connsiteX3190" y="connsiteY3190"/>
              </a:cxn>
              <a:cxn ang="0">
                <a:pos x="connsiteX3191" y="connsiteY3191"/>
              </a:cxn>
              <a:cxn ang="0">
                <a:pos x="connsiteX3192" y="connsiteY3192"/>
              </a:cxn>
              <a:cxn ang="0">
                <a:pos x="connsiteX3193" y="connsiteY3193"/>
              </a:cxn>
              <a:cxn ang="0">
                <a:pos x="connsiteX3194" y="connsiteY3194"/>
              </a:cxn>
              <a:cxn ang="0">
                <a:pos x="connsiteX3195" y="connsiteY3195"/>
              </a:cxn>
              <a:cxn ang="0">
                <a:pos x="connsiteX3196" y="connsiteY3196"/>
              </a:cxn>
              <a:cxn ang="0">
                <a:pos x="connsiteX3197" y="connsiteY3197"/>
              </a:cxn>
              <a:cxn ang="0">
                <a:pos x="connsiteX3198" y="connsiteY3198"/>
              </a:cxn>
              <a:cxn ang="0">
                <a:pos x="connsiteX3199" y="connsiteY3199"/>
              </a:cxn>
              <a:cxn ang="0">
                <a:pos x="connsiteX3200" y="connsiteY3200"/>
              </a:cxn>
              <a:cxn ang="0">
                <a:pos x="connsiteX3201" y="connsiteY3201"/>
              </a:cxn>
              <a:cxn ang="0">
                <a:pos x="connsiteX3202" y="connsiteY3202"/>
              </a:cxn>
              <a:cxn ang="0">
                <a:pos x="connsiteX3203" y="connsiteY3203"/>
              </a:cxn>
              <a:cxn ang="0">
                <a:pos x="connsiteX3204" y="connsiteY3204"/>
              </a:cxn>
              <a:cxn ang="0">
                <a:pos x="connsiteX3205" y="connsiteY3205"/>
              </a:cxn>
              <a:cxn ang="0">
                <a:pos x="connsiteX3206" y="connsiteY3206"/>
              </a:cxn>
              <a:cxn ang="0">
                <a:pos x="connsiteX3207" y="connsiteY3207"/>
              </a:cxn>
              <a:cxn ang="0">
                <a:pos x="connsiteX3208" y="connsiteY3208"/>
              </a:cxn>
              <a:cxn ang="0">
                <a:pos x="connsiteX3209" y="connsiteY3209"/>
              </a:cxn>
              <a:cxn ang="0">
                <a:pos x="connsiteX3210" y="connsiteY3210"/>
              </a:cxn>
              <a:cxn ang="0">
                <a:pos x="connsiteX3211" y="connsiteY3211"/>
              </a:cxn>
              <a:cxn ang="0">
                <a:pos x="connsiteX3212" y="connsiteY3212"/>
              </a:cxn>
              <a:cxn ang="0">
                <a:pos x="connsiteX3213" y="connsiteY3213"/>
              </a:cxn>
              <a:cxn ang="0">
                <a:pos x="connsiteX3214" y="connsiteY3214"/>
              </a:cxn>
              <a:cxn ang="0">
                <a:pos x="connsiteX3215" y="connsiteY3215"/>
              </a:cxn>
              <a:cxn ang="0">
                <a:pos x="connsiteX3216" y="connsiteY3216"/>
              </a:cxn>
              <a:cxn ang="0">
                <a:pos x="connsiteX3217" y="connsiteY3217"/>
              </a:cxn>
              <a:cxn ang="0">
                <a:pos x="connsiteX3218" y="connsiteY3218"/>
              </a:cxn>
              <a:cxn ang="0">
                <a:pos x="connsiteX3219" y="connsiteY3219"/>
              </a:cxn>
              <a:cxn ang="0">
                <a:pos x="connsiteX3220" y="connsiteY3220"/>
              </a:cxn>
              <a:cxn ang="0">
                <a:pos x="connsiteX3221" y="connsiteY3221"/>
              </a:cxn>
              <a:cxn ang="0">
                <a:pos x="connsiteX3222" y="connsiteY3222"/>
              </a:cxn>
              <a:cxn ang="0">
                <a:pos x="connsiteX3223" y="connsiteY3223"/>
              </a:cxn>
              <a:cxn ang="0">
                <a:pos x="connsiteX3224" y="connsiteY3224"/>
              </a:cxn>
              <a:cxn ang="0">
                <a:pos x="connsiteX3225" y="connsiteY3225"/>
              </a:cxn>
              <a:cxn ang="0">
                <a:pos x="connsiteX3226" y="connsiteY3226"/>
              </a:cxn>
              <a:cxn ang="0">
                <a:pos x="connsiteX3227" y="connsiteY3227"/>
              </a:cxn>
              <a:cxn ang="0">
                <a:pos x="connsiteX3228" y="connsiteY3228"/>
              </a:cxn>
              <a:cxn ang="0">
                <a:pos x="connsiteX3229" y="connsiteY3229"/>
              </a:cxn>
              <a:cxn ang="0">
                <a:pos x="connsiteX3230" y="connsiteY3230"/>
              </a:cxn>
              <a:cxn ang="0">
                <a:pos x="connsiteX3231" y="connsiteY3231"/>
              </a:cxn>
              <a:cxn ang="0">
                <a:pos x="connsiteX3232" y="connsiteY3232"/>
              </a:cxn>
              <a:cxn ang="0">
                <a:pos x="connsiteX3233" y="connsiteY3233"/>
              </a:cxn>
              <a:cxn ang="0">
                <a:pos x="connsiteX3234" y="connsiteY3234"/>
              </a:cxn>
              <a:cxn ang="0">
                <a:pos x="connsiteX3235" y="connsiteY3235"/>
              </a:cxn>
              <a:cxn ang="0">
                <a:pos x="connsiteX3236" y="connsiteY3236"/>
              </a:cxn>
              <a:cxn ang="0">
                <a:pos x="connsiteX3237" y="connsiteY3237"/>
              </a:cxn>
              <a:cxn ang="0">
                <a:pos x="connsiteX3238" y="connsiteY3238"/>
              </a:cxn>
              <a:cxn ang="0">
                <a:pos x="connsiteX3239" y="connsiteY3239"/>
              </a:cxn>
              <a:cxn ang="0">
                <a:pos x="connsiteX3240" y="connsiteY3240"/>
              </a:cxn>
              <a:cxn ang="0">
                <a:pos x="connsiteX3241" y="connsiteY3241"/>
              </a:cxn>
              <a:cxn ang="0">
                <a:pos x="connsiteX3242" y="connsiteY3242"/>
              </a:cxn>
              <a:cxn ang="0">
                <a:pos x="connsiteX3243" y="connsiteY3243"/>
              </a:cxn>
              <a:cxn ang="0">
                <a:pos x="connsiteX3244" y="connsiteY3244"/>
              </a:cxn>
              <a:cxn ang="0">
                <a:pos x="connsiteX3245" y="connsiteY3245"/>
              </a:cxn>
              <a:cxn ang="0">
                <a:pos x="connsiteX3246" y="connsiteY3246"/>
              </a:cxn>
              <a:cxn ang="0">
                <a:pos x="connsiteX3247" y="connsiteY3247"/>
              </a:cxn>
              <a:cxn ang="0">
                <a:pos x="connsiteX3248" y="connsiteY3248"/>
              </a:cxn>
              <a:cxn ang="0">
                <a:pos x="connsiteX3249" y="connsiteY3249"/>
              </a:cxn>
              <a:cxn ang="0">
                <a:pos x="connsiteX3250" y="connsiteY3250"/>
              </a:cxn>
              <a:cxn ang="0">
                <a:pos x="connsiteX3251" y="connsiteY3251"/>
              </a:cxn>
              <a:cxn ang="0">
                <a:pos x="connsiteX3252" y="connsiteY3252"/>
              </a:cxn>
              <a:cxn ang="0">
                <a:pos x="connsiteX3253" y="connsiteY3253"/>
              </a:cxn>
              <a:cxn ang="0">
                <a:pos x="connsiteX3254" y="connsiteY3254"/>
              </a:cxn>
              <a:cxn ang="0">
                <a:pos x="connsiteX3255" y="connsiteY3255"/>
              </a:cxn>
              <a:cxn ang="0">
                <a:pos x="connsiteX3256" y="connsiteY3256"/>
              </a:cxn>
              <a:cxn ang="0">
                <a:pos x="connsiteX3257" y="connsiteY3257"/>
              </a:cxn>
              <a:cxn ang="0">
                <a:pos x="connsiteX3258" y="connsiteY3258"/>
              </a:cxn>
              <a:cxn ang="0">
                <a:pos x="connsiteX3259" y="connsiteY3259"/>
              </a:cxn>
              <a:cxn ang="0">
                <a:pos x="connsiteX3260" y="connsiteY3260"/>
              </a:cxn>
              <a:cxn ang="0">
                <a:pos x="connsiteX3261" y="connsiteY3261"/>
              </a:cxn>
              <a:cxn ang="0">
                <a:pos x="connsiteX3262" y="connsiteY3262"/>
              </a:cxn>
              <a:cxn ang="0">
                <a:pos x="connsiteX3263" y="connsiteY3263"/>
              </a:cxn>
              <a:cxn ang="0">
                <a:pos x="connsiteX3264" y="connsiteY3264"/>
              </a:cxn>
              <a:cxn ang="0">
                <a:pos x="connsiteX3265" y="connsiteY3265"/>
              </a:cxn>
              <a:cxn ang="0">
                <a:pos x="connsiteX3266" y="connsiteY3266"/>
              </a:cxn>
              <a:cxn ang="0">
                <a:pos x="connsiteX3267" y="connsiteY3267"/>
              </a:cxn>
              <a:cxn ang="0">
                <a:pos x="connsiteX3268" y="connsiteY3268"/>
              </a:cxn>
              <a:cxn ang="0">
                <a:pos x="connsiteX3269" y="connsiteY3269"/>
              </a:cxn>
              <a:cxn ang="0">
                <a:pos x="connsiteX3270" y="connsiteY3270"/>
              </a:cxn>
              <a:cxn ang="0">
                <a:pos x="connsiteX3271" y="connsiteY3271"/>
              </a:cxn>
              <a:cxn ang="0">
                <a:pos x="connsiteX3272" y="connsiteY3272"/>
              </a:cxn>
              <a:cxn ang="0">
                <a:pos x="connsiteX3273" y="connsiteY3273"/>
              </a:cxn>
              <a:cxn ang="0">
                <a:pos x="connsiteX3274" y="connsiteY3274"/>
              </a:cxn>
              <a:cxn ang="0">
                <a:pos x="connsiteX3275" y="connsiteY3275"/>
              </a:cxn>
              <a:cxn ang="0">
                <a:pos x="connsiteX3276" y="connsiteY3276"/>
              </a:cxn>
              <a:cxn ang="0">
                <a:pos x="connsiteX3277" y="connsiteY3277"/>
              </a:cxn>
              <a:cxn ang="0">
                <a:pos x="connsiteX3278" y="connsiteY3278"/>
              </a:cxn>
              <a:cxn ang="0">
                <a:pos x="connsiteX3279" y="connsiteY3279"/>
              </a:cxn>
              <a:cxn ang="0">
                <a:pos x="connsiteX3280" y="connsiteY3280"/>
              </a:cxn>
              <a:cxn ang="0">
                <a:pos x="connsiteX3281" y="connsiteY3281"/>
              </a:cxn>
              <a:cxn ang="0">
                <a:pos x="connsiteX3282" y="connsiteY3282"/>
              </a:cxn>
              <a:cxn ang="0">
                <a:pos x="connsiteX3283" y="connsiteY3283"/>
              </a:cxn>
              <a:cxn ang="0">
                <a:pos x="connsiteX3284" y="connsiteY3284"/>
              </a:cxn>
              <a:cxn ang="0">
                <a:pos x="connsiteX3285" y="connsiteY3285"/>
              </a:cxn>
              <a:cxn ang="0">
                <a:pos x="connsiteX3286" y="connsiteY3286"/>
              </a:cxn>
              <a:cxn ang="0">
                <a:pos x="connsiteX3287" y="connsiteY3287"/>
              </a:cxn>
              <a:cxn ang="0">
                <a:pos x="connsiteX3288" y="connsiteY3288"/>
              </a:cxn>
              <a:cxn ang="0">
                <a:pos x="connsiteX3289" y="connsiteY3289"/>
              </a:cxn>
              <a:cxn ang="0">
                <a:pos x="connsiteX3290" y="connsiteY3290"/>
              </a:cxn>
              <a:cxn ang="0">
                <a:pos x="connsiteX3291" y="connsiteY3291"/>
              </a:cxn>
              <a:cxn ang="0">
                <a:pos x="connsiteX3292" y="connsiteY3292"/>
              </a:cxn>
              <a:cxn ang="0">
                <a:pos x="connsiteX3293" y="connsiteY3293"/>
              </a:cxn>
              <a:cxn ang="0">
                <a:pos x="connsiteX3294" y="connsiteY3294"/>
              </a:cxn>
              <a:cxn ang="0">
                <a:pos x="connsiteX3295" y="connsiteY3295"/>
              </a:cxn>
              <a:cxn ang="0">
                <a:pos x="connsiteX3296" y="connsiteY3296"/>
              </a:cxn>
              <a:cxn ang="0">
                <a:pos x="connsiteX3297" y="connsiteY3297"/>
              </a:cxn>
              <a:cxn ang="0">
                <a:pos x="connsiteX3298" y="connsiteY3298"/>
              </a:cxn>
              <a:cxn ang="0">
                <a:pos x="connsiteX3299" y="connsiteY3299"/>
              </a:cxn>
              <a:cxn ang="0">
                <a:pos x="connsiteX3300" y="connsiteY3300"/>
              </a:cxn>
              <a:cxn ang="0">
                <a:pos x="connsiteX3301" y="connsiteY3301"/>
              </a:cxn>
              <a:cxn ang="0">
                <a:pos x="connsiteX3302" y="connsiteY3302"/>
              </a:cxn>
              <a:cxn ang="0">
                <a:pos x="connsiteX3303" y="connsiteY3303"/>
              </a:cxn>
              <a:cxn ang="0">
                <a:pos x="connsiteX3304" y="connsiteY3304"/>
              </a:cxn>
              <a:cxn ang="0">
                <a:pos x="connsiteX3305" y="connsiteY3305"/>
              </a:cxn>
              <a:cxn ang="0">
                <a:pos x="connsiteX3306" y="connsiteY3306"/>
              </a:cxn>
              <a:cxn ang="0">
                <a:pos x="connsiteX3307" y="connsiteY3307"/>
              </a:cxn>
              <a:cxn ang="0">
                <a:pos x="connsiteX3308" y="connsiteY3308"/>
              </a:cxn>
              <a:cxn ang="0">
                <a:pos x="connsiteX3309" y="connsiteY3309"/>
              </a:cxn>
            </a:cxnLst>
            <a:rect l="l" t="t" r="r" b="b"/>
            <a:pathLst>
              <a:path w="9922465" h="1934496">
                <a:moveTo>
                  <a:pt x="8407318" y="1824114"/>
                </a:moveTo>
                <a:cubicBezTo>
                  <a:pt x="8437800" y="1824114"/>
                  <a:pt x="8462510" y="1848824"/>
                  <a:pt x="8462510" y="1879305"/>
                </a:cubicBezTo>
                <a:cubicBezTo>
                  <a:pt x="8462510" y="1909786"/>
                  <a:pt x="8437800" y="1934496"/>
                  <a:pt x="8407318" y="1934496"/>
                </a:cubicBezTo>
                <a:cubicBezTo>
                  <a:pt x="8376836" y="1934496"/>
                  <a:pt x="8352126" y="1909786"/>
                  <a:pt x="8352126" y="1879305"/>
                </a:cubicBezTo>
                <a:cubicBezTo>
                  <a:pt x="8352126" y="1848824"/>
                  <a:pt x="8376836" y="1824114"/>
                  <a:pt x="8407318" y="1824114"/>
                </a:cubicBezTo>
                <a:close/>
                <a:moveTo>
                  <a:pt x="8273682" y="1824114"/>
                </a:moveTo>
                <a:cubicBezTo>
                  <a:pt x="8304164" y="1824114"/>
                  <a:pt x="8328874" y="1848824"/>
                  <a:pt x="8328874" y="1879305"/>
                </a:cubicBezTo>
                <a:cubicBezTo>
                  <a:pt x="8328874" y="1909786"/>
                  <a:pt x="8304164" y="1934496"/>
                  <a:pt x="8273682" y="1934496"/>
                </a:cubicBezTo>
                <a:cubicBezTo>
                  <a:pt x="8243200" y="1934496"/>
                  <a:pt x="8218490" y="1909786"/>
                  <a:pt x="8218490" y="1879305"/>
                </a:cubicBezTo>
                <a:cubicBezTo>
                  <a:pt x="8218490" y="1848824"/>
                  <a:pt x="8243200" y="1824114"/>
                  <a:pt x="8273682" y="1824114"/>
                </a:cubicBezTo>
                <a:close/>
                <a:moveTo>
                  <a:pt x="8143386" y="1824114"/>
                </a:moveTo>
                <a:cubicBezTo>
                  <a:pt x="8173868" y="1824114"/>
                  <a:pt x="8198578" y="1848824"/>
                  <a:pt x="8198578" y="1879305"/>
                </a:cubicBezTo>
                <a:cubicBezTo>
                  <a:pt x="8198578" y="1909786"/>
                  <a:pt x="8173868" y="1934496"/>
                  <a:pt x="8143386" y="1934496"/>
                </a:cubicBezTo>
                <a:cubicBezTo>
                  <a:pt x="8112904" y="1934496"/>
                  <a:pt x="8088194" y="1909786"/>
                  <a:pt x="8088194" y="1879305"/>
                </a:cubicBezTo>
                <a:cubicBezTo>
                  <a:pt x="8088194" y="1848824"/>
                  <a:pt x="8112904" y="1824114"/>
                  <a:pt x="8143386" y="1824114"/>
                </a:cubicBezTo>
                <a:close/>
                <a:moveTo>
                  <a:pt x="8009752" y="1824114"/>
                </a:moveTo>
                <a:cubicBezTo>
                  <a:pt x="8040234" y="1824114"/>
                  <a:pt x="8064944" y="1848824"/>
                  <a:pt x="8064944" y="1879305"/>
                </a:cubicBezTo>
                <a:cubicBezTo>
                  <a:pt x="8064944" y="1909786"/>
                  <a:pt x="8040234" y="1934496"/>
                  <a:pt x="8009752" y="1934496"/>
                </a:cubicBezTo>
                <a:cubicBezTo>
                  <a:pt x="7979270" y="1934496"/>
                  <a:pt x="7954560" y="1909786"/>
                  <a:pt x="7954560" y="1879305"/>
                </a:cubicBezTo>
                <a:cubicBezTo>
                  <a:pt x="7954560" y="1848824"/>
                  <a:pt x="7979270" y="1824114"/>
                  <a:pt x="8009752" y="1824114"/>
                </a:cubicBezTo>
                <a:close/>
                <a:moveTo>
                  <a:pt x="7876117" y="1824114"/>
                </a:moveTo>
                <a:cubicBezTo>
                  <a:pt x="7906599" y="1824114"/>
                  <a:pt x="7931309" y="1848824"/>
                  <a:pt x="7931309" y="1879305"/>
                </a:cubicBezTo>
                <a:cubicBezTo>
                  <a:pt x="7931309" y="1909786"/>
                  <a:pt x="7906599" y="1934496"/>
                  <a:pt x="7876117" y="1934496"/>
                </a:cubicBezTo>
                <a:cubicBezTo>
                  <a:pt x="7845635" y="1934496"/>
                  <a:pt x="7820925" y="1909786"/>
                  <a:pt x="7820925" y="1879305"/>
                </a:cubicBezTo>
                <a:cubicBezTo>
                  <a:pt x="7820925" y="1848824"/>
                  <a:pt x="7845635" y="1824114"/>
                  <a:pt x="7876117" y="1824114"/>
                </a:cubicBezTo>
                <a:close/>
                <a:moveTo>
                  <a:pt x="7745824" y="1824114"/>
                </a:moveTo>
                <a:cubicBezTo>
                  <a:pt x="7776306" y="1824114"/>
                  <a:pt x="7801016" y="1848824"/>
                  <a:pt x="7801016" y="1879305"/>
                </a:cubicBezTo>
                <a:cubicBezTo>
                  <a:pt x="7801016" y="1909786"/>
                  <a:pt x="7776306" y="1934496"/>
                  <a:pt x="7745824" y="1934496"/>
                </a:cubicBezTo>
                <a:cubicBezTo>
                  <a:pt x="7715342" y="1934496"/>
                  <a:pt x="7690632" y="1909786"/>
                  <a:pt x="7690632" y="1879305"/>
                </a:cubicBezTo>
                <a:cubicBezTo>
                  <a:pt x="7690632" y="1848824"/>
                  <a:pt x="7715342" y="1824114"/>
                  <a:pt x="7745824" y="1824114"/>
                </a:cubicBezTo>
                <a:close/>
                <a:moveTo>
                  <a:pt x="7608849" y="1824114"/>
                </a:moveTo>
                <a:cubicBezTo>
                  <a:pt x="7639331" y="1824114"/>
                  <a:pt x="7664041" y="1848824"/>
                  <a:pt x="7664041" y="1879305"/>
                </a:cubicBezTo>
                <a:cubicBezTo>
                  <a:pt x="7664041" y="1909786"/>
                  <a:pt x="7639331" y="1934496"/>
                  <a:pt x="7608849" y="1934496"/>
                </a:cubicBezTo>
                <a:cubicBezTo>
                  <a:pt x="7578367" y="1934496"/>
                  <a:pt x="7553657" y="1909786"/>
                  <a:pt x="7553657" y="1879305"/>
                </a:cubicBezTo>
                <a:cubicBezTo>
                  <a:pt x="7553657" y="1848824"/>
                  <a:pt x="7578367" y="1824114"/>
                  <a:pt x="7608849" y="1824114"/>
                </a:cubicBezTo>
                <a:close/>
                <a:moveTo>
                  <a:pt x="7481895" y="1824114"/>
                </a:moveTo>
                <a:cubicBezTo>
                  <a:pt x="7512377" y="1824114"/>
                  <a:pt x="7537087" y="1848824"/>
                  <a:pt x="7537087" y="1879305"/>
                </a:cubicBezTo>
                <a:cubicBezTo>
                  <a:pt x="7537087" y="1909786"/>
                  <a:pt x="7512377" y="1934496"/>
                  <a:pt x="7481895" y="1934496"/>
                </a:cubicBezTo>
                <a:cubicBezTo>
                  <a:pt x="7451413" y="1934496"/>
                  <a:pt x="7426703" y="1909786"/>
                  <a:pt x="7426703" y="1879305"/>
                </a:cubicBezTo>
                <a:cubicBezTo>
                  <a:pt x="7426703" y="1848824"/>
                  <a:pt x="7451413" y="1824114"/>
                  <a:pt x="7481895" y="1824114"/>
                </a:cubicBezTo>
                <a:close/>
                <a:moveTo>
                  <a:pt x="7341579" y="1824114"/>
                </a:moveTo>
                <a:cubicBezTo>
                  <a:pt x="7372061" y="1824114"/>
                  <a:pt x="7396771" y="1848824"/>
                  <a:pt x="7396771" y="1879305"/>
                </a:cubicBezTo>
                <a:cubicBezTo>
                  <a:pt x="7396771" y="1909786"/>
                  <a:pt x="7372061" y="1934496"/>
                  <a:pt x="7341579" y="1934496"/>
                </a:cubicBezTo>
                <a:cubicBezTo>
                  <a:pt x="7311097" y="1934496"/>
                  <a:pt x="7286387" y="1909786"/>
                  <a:pt x="7286387" y="1879305"/>
                </a:cubicBezTo>
                <a:cubicBezTo>
                  <a:pt x="7286387" y="1848824"/>
                  <a:pt x="7311097" y="1824114"/>
                  <a:pt x="7341579" y="1824114"/>
                </a:cubicBezTo>
                <a:close/>
                <a:moveTo>
                  <a:pt x="7211286" y="1824114"/>
                </a:moveTo>
                <a:cubicBezTo>
                  <a:pt x="7241768" y="1824114"/>
                  <a:pt x="7266478" y="1848824"/>
                  <a:pt x="7266478" y="1879305"/>
                </a:cubicBezTo>
                <a:cubicBezTo>
                  <a:pt x="7266478" y="1909786"/>
                  <a:pt x="7241768" y="1934496"/>
                  <a:pt x="7211286" y="1934496"/>
                </a:cubicBezTo>
                <a:cubicBezTo>
                  <a:pt x="7180804" y="1934496"/>
                  <a:pt x="7156094" y="1909786"/>
                  <a:pt x="7156094" y="1879305"/>
                </a:cubicBezTo>
                <a:cubicBezTo>
                  <a:pt x="7156094" y="1848824"/>
                  <a:pt x="7180804" y="1824114"/>
                  <a:pt x="7211286" y="1824114"/>
                </a:cubicBezTo>
                <a:close/>
                <a:moveTo>
                  <a:pt x="7080993" y="1824114"/>
                </a:moveTo>
                <a:cubicBezTo>
                  <a:pt x="7111475" y="1824114"/>
                  <a:pt x="7136185" y="1848824"/>
                  <a:pt x="7136185" y="1879305"/>
                </a:cubicBezTo>
                <a:cubicBezTo>
                  <a:pt x="7136185" y="1909786"/>
                  <a:pt x="7111475" y="1934496"/>
                  <a:pt x="7080993" y="1934496"/>
                </a:cubicBezTo>
                <a:cubicBezTo>
                  <a:pt x="7050511" y="1934496"/>
                  <a:pt x="7025801" y="1909786"/>
                  <a:pt x="7025801" y="1879305"/>
                </a:cubicBezTo>
                <a:cubicBezTo>
                  <a:pt x="7025801" y="1848824"/>
                  <a:pt x="7050511" y="1824114"/>
                  <a:pt x="7080993" y="1824114"/>
                </a:cubicBezTo>
                <a:close/>
                <a:moveTo>
                  <a:pt x="6947357" y="1824114"/>
                </a:moveTo>
                <a:cubicBezTo>
                  <a:pt x="6977839" y="1824114"/>
                  <a:pt x="7002549" y="1848824"/>
                  <a:pt x="7002549" y="1879305"/>
                </a:cubicBezTo>
                <a:cubicBezTo>
                  <a:pt x="7002549" y="1909786"/>
                  <a:pt x="6977839" y="1934496"/>
                  <a:pt x="6947357" y="1934496"/>
                </a:cubicBezTo>
                <a:cubicBezTo>
                  <a:pt x="6916875" y="1934496"/>
                  <a:pt x="6892165" y="1909786"/>
                  <a:pt x="6892165" y="1879305"/>
                </a:cubicBezTo>
                <a:cubicBezTo>
                  <a:pt x="6892165" y="1848824"/>
                  <a:pt x="6916875" y="1824114"/>
                  <a:pt x="6947357" y="1824114"/>
                </a:cubicBezTo>
                <a:close/>
                <a:moveTo>
                  <a:pt x="6817063" y="1824114"/>
                </a:moveTo>
                <a:cubicBezTo>
                  <a:pt x="6847545" y="1824114"/>
                  <a:pt x="6872255" y="1848824"/>
                  <a:pt x="6872255" y="1879305"/>
                </a:cubicBezTo>
                <a:cubicBezTo>
                  <a:pt x="6872255" y="1909786"/>
                  <a:pt x="6847545" y="1934496"/>
                  <a:pt x="6817063" y="1934496"/>
                </a:cubicBezTo>
                <a:cubicBezTo>
                  <a:pt x="6786581" y="1934496"/>
                  <a:pt x="6761871" y="1909786"/>
                  <a:pt x="6761871" y="1879305"/>
                </a:cubicBezTo>
                <a:cubicBezTo>
                  <a:pt x="6761871" y="1848824"/>
                  <a:pt x="6786581" y="1824114"/>
                  <a:pt x="6817063" y="1824114"/>
                </a:cubicBezTo>
                <a:close/>
                <a:moveTo>
                  <a:pt x="6683431" y="1824114"/>
                </a:moveTo>
                <a:cubicBezTo>
                  <a:pt x="6713913" y="1824114"/>
                  <a:pt x="6738623" y="1848824"/>
                  <a:pt x="6738623" y="1879305"/>
                </a:cubicBezTo>
                <a:cubicBezTo>
                  <a:pt x="6738623" y="1909786"/>
                  <a:pt x="6713913" y="1934496"/>
                  <a:pt x="6683431" y="1934496"/>
                </a:cubicBezTo>
                <a:cubicBezTo>
                  <a:pt x="6652949" y="1934496"/>
                  <a:pt x="6628239" y="1909786"/>
                  <a:pt x="6628239" y="1879305"/>
                </a:cubicBezTo>
                <a:cubicBezTo>
                  <a:pt x="6628239" y="1848824"/>
                  <a:pt x="6652949" y="1824114"/>
                  <a:pt x="6683431" y="1824114"/>
                </a:cubicBezTo>
                <a:close/>
                <a:moveTo>
                  <a:pt x="6553137" y="1824114"/>
                </a:moveTo>
                <a:cubicBezTo>
                  <a:pt x="6583619" y="1824114"/>
                  <a:pt x="6608329" y="1848824"/>
                  <a:pt x="6608329" y="1879305"/>
                </a:cubicBezTo>
                <a:cubicBezTo>
                  <a:pt x="6608329" y="1909786"/>
                  <a:pt x="6583619" y="1934496"/>
                  <a:pt x="6553137" y="1934496"/>
                </a:cubicBezTo>
                <a:cubicBezTo>
                  <a:pt x="6522655" y="1934496"/>
                  <a:pt x="6497945" y="1909786"/>
                  <a:pt x="6497945" y="1879305"/>
                </a:cubicBezTo>
                <a:cubicBezTo>
                  <a:pt x="6497945" y="1848824"/>
                  <a:pt x="6522655" y="1824114"/>
                  <a:pt x="6553137" y="1824114"/>
                </a:cubicBezTo>
                <a:close/>
                <a:moveTo>
                  <a:pt x="6289207" y="1824114"/>
                </a:moveTo>
                <a:cubicBezTo>
                  <a:pt x="6319689" y="1824114"/>
                  <a:pt x="6344399" y="1848824"/>
                  <a:pt x="6344399" y="1879305"/>
                </a:cubicBezTo>
                <a:cubicBezTo>
                  <a:pt x="6344399" y="1909786"/>
                  <a:pt x="6319689" y="1934496"/>
                  <a:pt x="6289207" y="1934496"/>
                </a:cubicBezTo>
                <a:cubicBezTo>
                  <a:pt x="6258725" y="1934496"/>
                  <a:pt x="6234015" y="1909786"/>
                  <a:pt x="6234015" y="1879305"/>
                </a:cubicBezTo>
                <a:cubicBezTo>
                  <a:pt x="6234015" y="1848824"/>
                  <a:pt x="6258725" y="1824114"/>
                  <a:pt x="6289207" y="1824114"/>
                </a:cubicBezTo>
                <a:close/>
                <a:moveTo>
                  <a:pt x="6155572" y="1824114"/>
                </a:moveTo>
                <a:cubicBezTo>
                  <a:pt x="6186054" y="1824114"/>
                  <a:pt x="6210764" y="1848824"/>
                  <a:pt x="6210764" y="1879305"/>
                </a:cubicBezTo>
                <a:cubicBezTo>
                  <a:pt x="6210764" y="1909786"/>
                  <a:pt x="6186054" y="1934496"/>
                  <a:pt x="6155572" y="1934496"/>
                </a:cubicBezTo>
                <a:cubicBezTo>
                  <a:pt x="6125090" y="1934496"/>
                  <a:pt x="6100380" y="1909786"/>
                  <a:pt x="6100380" y="1879305"/>
                </a:cubicBezTo>
                <a:cubicBezTo>
                  <a:pt x="6100380" y="1848824"/>
                  <a:pt x="6125090" y="1824114"/>
                  <a:pt x="6155572" y="1824114"/>
                </a:cubicBezTo>
                <a:close/>
                <a:moveTo>
                  <a:pt x="6021938" y="1824114"/>
                </a:moveTo>
                <a:cubicBezTo>
                  <a:pt x="6052420" y="1824114"/>
                  <a:pt x="6077130" y="1848824"/>
                  <a:pt x="6077130" y="1879305"/>
                </a:cubicBezTo>
                <a:cubicBezTo>
                  <a:pt x="6077130" y="1909786"/>
                  <a:pt x="6052420" y="1934496"/>
                  <a:pt x="6021938" y="1934496"/>
                </a:cubicBezTo>
                <a:cubicBezTo>
                  <a:pt x="5991456" y="1934496"/>
                  <a:pt x="5966746" y="1909786"/>
                  <a:pt x="5966746" y="1879305"/>
                </a:cubicBezTo>
                <a:cubicBezTo>
                  <a:pt x="5966746" y="1848824"/>
                  <a:pt x="5991456" y="1824114"/>
                  <a:pt x="6021938" y="1824114"/>
                </a:cubicBezTo>
                <a:close/>
                <a:moveTo>
                  <a:pt x="5884964" y="1824114"/>
                </a:moveTo>
                <a:cubicBezTo>
                  <a:pt x="5915446" y="1824114"/>
                  <a:pt x="5940156" y="1848824"/>
                  <a:pt x="5940156" y="1879305"/>
                </a:cubicBezTo>
                <a:cubicBezTo>
                  <a:pt x="5940156" y="1909786"/>
                  <a:pt x="5915446" y="1934496"/>
                  <a:pt x="5884964" y="1934496"/>
                </a:cubicBezTo>
                <a:cubicBezTo>
                  <a:pt x="5854482" y="1934496"/>
                  <a:pt x="5829772" y="1909786"/>
                  <a:pt x="5829772" y="1879305"/>
                </a:cubicBezTo>
                <a:cubicBezTo>
                  <a:pt x="5829772" y="1848824"/>
                  <a:pt x="5854482" y="1824114"/>
                  <a:pt x="5884964" y="1824114"/>
                </a:cubicBezTo>
                <a:close/>
                <a:moveTo>
                  <a:pt x="5754670" y="1824114"/>
                </a:moveTo>
                <a:cubicBezTo>
                  <a:pt x="5785152" y="1824114"/>
                  <a:pt x="5809862" y="1848824"/>
                  <a:pt x="5809862" y="1879305"/>
                </a:cubicBezTo>
                <a:cubicBezTo>
                  <a:pt x="5809862" y="1909786"/>
                  <a:pt x="5785152" y="1934496"/>
                  <a:pt x="5754670" y="1934496"/>
                </a:cubicBezTo>
                <a:cubicBezTo>
                  <a:pt x="5724188" y="1934496"/>
                  <a:pt x="5699478" y="1909786"/>
                  <a:pt x="5699478" y="1879305"/>
                </a:cubicBezTo>
                <a:cubicBezTo>
                  <a:pt x="5699478" y="1848824"/>
                  <a:pt x="5724188" y="1824114"/>
                  <a:pt x="5754670" y="1824114"/>
                </a:cubicBezTo>
                <a:close/>
                <a:moveTo>
                  <a:pt x="5487399" y="1824114"/>
                </a:moveTo>
                <a:cubicBezTo>
                  <a:pt x="5517881" y="1824114"/>
                  <a:pt x="5542591" y="1848824"/>
                  <a:pt x="5542591" y="1879305"/>
                </a:cubicBezTo>
                <a:cubicBezTo>
                  <a:pt x="5542591" y="1909786"/>
                  <a:pt x="5517881" y="1934496"/>
                  <a:pt x="5487399" y="1934496"/>
                </a:cubicBezTo>
                <a:cubicBezTo>
                  <a:pt x="5456917" y="1934496"/>
                  <a:pt x="5432207" y="1909786"/>
                  <a:pt x="5432207" y="1879305"/>
                </a:cubicBezTo>
                <a:cubicBezTo>
                  <a:pt x="5432207" y="1848824"/>
                  <a:pt x="5456917" y="1824114"/>
                  <a:pt x="5487399" y="1824114"/>
                </a:cubicBezTo>
                <a:close/>
                <a:moveTo>
                  <a:pt x="5357105" y="1824114"/>
                </a:moveTo>
                <a:cubicBezTo>
                  <a:pt x="5387587" y="1824114"/>
                  <a:pt x="5412297" y="1848824"/>
                  <a:pt x="5412297" y="1879305"/>
                </a:cubicBezTo>
                <a:cubicBezTo>
                  <a:pt x="5412297" y="1909786"/>
                  <a:pt x="5387587" y="1934496"/>
                  <a:pt x="5357105" y="1934496"/>
                </a:cubicBezTo>
                <a:cubicBezTo>
                  <a:pt x="5326623" y="1934496"/>
                  <a:pt x="5301913" y="1909786"/>
                  <a:pt x="5301913" y="1879305"/>
                </a:cubicBezTo>
                <a:cubicBezTo>
                  <a:pt x="5301913" y="1848824"/>
                  <a:pt x="5326623" y="1824114"/>
                  <a:pt x="5357105" y="1824114"/>
                </a:cubicBezTo>
                <a:close/>
                <a:moveTo>
                  <a:pt x="5223473" y="1824114"/>
                </a:moveTo>
                <a:cubicBezTo>
                  <a:pt x="5253955" y="1824114"/>
                  <a:pt x="5278665" y="1848824"/>
                  <a:pt x="5278665" y="1879305"/>
                </a:cubicBezTo>
                <a:cubicBezTo>
                  <a:pt x="5278665" y="1909786"/>
                  <a:pt x="5253955" y="1934496"/>
                  <a:pt x="5223473" y="1934496"/>
                </a:cubicBezTo>
                <a:cubicBezTo>
                  <a:pt x="5192991" y="1934496"/>
                  <a:pt x="5168281" y="1909786"/>
                  <a:pt x="5168281" y="1879305"/>
                </a:cubicBezTo>
                <a:cubicBezTo>
                  <a:pt x="5168281" y="1848824"/>
                  <a:pt x="5192991" y="1824114"/>
                  <a:pt x="5223473" y="1824114"/>
                </a:cubicBezTo>
                <a:close/>
                <a:moveTo>
                  <a:pt x="5093178" y="1824114"/>
                </a:moveTo>
                <a:cubicBezTo>
                  <a:pt x="5123660" y="1824114"/>
                  <a:pt x="5148370" y="1848824"/>
                  <a:pt x="5148370" y="1879305"/>
                </a:cubicBezTo>
                <a:cubicBezTo>
                  <a:pt x="5148370" y="1909786"/>
                  <a:pt x="5123660" y="1934496"/>
                  <a:pt x="5093178" y="1934496"/>
                </a:cubicBezTo>
                <a:cubicBezTo>
                  <a:pt x="5062696" y="1934496"/>
                  <a:pt x="5037986" y="1909786"/>
                  <a:pt x="5037986" y="1879305"/>
                </a:cubicBezTo>
                <a:cubicBezTo>
                  <a:pt x="5037986" y="1848824"/>
                  <a:pt x="5062696" y="1824114"/>
                  <a:pt x="5093178" y="1824114"/>
                </a:cubicBezTo>
                <a:close/>
                <a:moveTo>
                  <a:pt x="4959543" y="1824114"/>
                </a:moveTo>
                <a:cubicBezTo>
                  <a:pt x="4990025" y="1824114"/>
                  <a:pt x="5014735" y="1848824"/>
                  <a:pt x="5014735" y="1879305"/>
                </a:cubicBezTo>
                <a:cubicBezTo>
                  <a:pt x="5014735" y="1909786"/>
                  <a:pt x="4990025" y="1934496"/>
                  <a:pt x="4959543" y="1934496"/>
                </a:cubicBezTo>
                <a:cubicBezTo>
                  <a:pt x="4929061" y="1934496"/>
                  <a:pt x="4904351" y="1909786"/>
                  <a:pt x="4904351" y="1879305"/>
                </a:cubicBezTo>
                <a:cubicBezTo>
                  <a:pt x="4904351" y="1848824"/>
                  <a:pt x="4929061" y="1824114"/>
                  <a:pt x="4959543" y="1824114"/>
                </a:cubicBezTo>
                <a:close/>
                <a:moveTo>
                  <a:pt x="4829250" y="1824114"/>
                </a:moveTo>
                <a:cubicBezTo>
                  <a:pt x="4859732" y="1824114"/>
                  <a:pt x="4884442" y="1848824"/>
                  <a:pt x="4884442" y="1879305"/>
                </a:cubicBezTo>
                <a:cubicBezTo>
                  <a:pt x="4884442" y="1909786"/>
                  <a:pt x="4859732" y="1934496"/>
                  <a:pt x="4829250" y="1934496"/>
                </a:cubicBezTo>
                <a:cubicBezTo>
                  <a:pt x="4798768" y="1934496"/>
                  <a:pt x="4774058" y="1909786"/>
                  <a:pt x="4774058" y="1879305"/>
                </a:cubicBezTo>
                <a:cubicBezTo>
                  <a:pt x="4774058" y="1848824"/>
                  <a:pt x="4798768" y="1824114"/>
                  <a:pt x="4829250" y="1824114"/>
                </a:cubicBezTo>
                <a:close/>
                <a:moveTo>
                  <a:pt x="4695613" y="1824114"/>
                </a:moveTo>
                <a:cubicBezTo>
                  <a:pt x="4726095" y="1824114"/>
                  <a:pt x="4750805" y="1848824"/>
                  <a:pt x="4750805" y="1879305"/>
                </a:cubicBezTo>
                <a:cubicBezTo>
                  <a:pt x="4750805" y="1909786"/>
                  <a:pt x="4726095" y="1934496"/>
                  <a:pt x="4695613" y="1934496"/>
                </a:cubicBezTo>
                <a:cubicBezTo>
                  <a:pt x="4665131" y="1934496"/>
                  <a:pt x="4640421" y="1909786"/>
                  <a:pt x="4640421" y="1879305"/>
                </a:cubicBezTo>
                <a:cubicBezTo>
                  <a:pt x="4640421" y="1848824"/>
                  <a:pt x="4665131" y="1824114"/>
                  <a:pt x="4695613" y="1824114"/>
                </a:cubicBezTo>
                <a:close/>
                <a:moveTo>
                  <a:pt x="2834762" y="1824114"/>
                </a:moveTo>
                <a:cubicBezTo>
                  <a:pt x="2865244" y="1824114"/>
                  <a:pt x="2889954" y="1848824"/>
                  <a:pt x="2889954" y="1879305"/>
                </a:cubicBezTo>
                <a:cubicBezTo>
                  <a:pt x="2889954" y="1909786"/>
                  <a:pt x="2865244" y="1934496"/>
                  <a:pt x="2834762" y="1934496"/>
                </a:cubicBezTo>
                <a:cubicBezTo>
                  <a:pt x="2804280" y="1934496"/>
                  <a:pt x="2779570" y="1909786"/>
                  <a:pt x="2779570" y="1879305"/>
                </a:cubicBezTo>
                <a:cubicBezTo>
                  <a:pt x="2779570" y="1848824"/>
                  <a:pt x="2804280" y="1824114"/>
                  <a:pt x="2834762" y="1824114"/>
                </a:cubicBezTo>
                <a:close/>
                <a:moveTo>
                  <a:pt x="2707807" y="1824114"/>
                </a:moveTo>
                <a:cubicBezTo>
                  <a:pt x="2738289" y="1824114"/>
                  <a:pt x="2762999" y="1848824"/>
                  <a:pt x="2762999" y="1879305"/>
                </a:cubicBezTo>
                <a:cubicBezTo>
                  <a:pt x="2762999" y="1909786"/>
                  <a:pt x="2738289" y="1934496"/>
                  <a:pt x="2707807" y="1934496"/>
                </a:cubicBezTo>
                <a:cubicBezTo>
                  <a:pt x="2677325" y="1934496"/>
                  <a:pt x="2652615" y="1909786"/>
                  <a:pt x="2652615" y="1879305"/>
                </a:cubicBezTo>
                <a:cubicBezTo>
                  <a:pt x="2652615" y="1848824"/>
                  <a:pt x="2677325" y="1824114"/>
                  <a:pt x="2707807" y="1824114"/>
                </a:cubicBezTo>
                <a:close/>
                <a:moveTo>
                  <a:pt x="2570834" y="1824114"/>
                </a:moveTo>
                <a:cubicBezTo>
                  <a:pt x="2601315" y="1824114"/>
                  <a:pt x="2626025" y="1848824"/>
                  <a:pt x="2626025" y="1879305"/>
                </a:cubicBezTo>
                <a:cubicBezTo>
                  <a:pt x="2626025" y="1909786"/>
                  <a:pt x="2601315" y="1934496"/>
                  <a:pt x="2570834" y="1934496"/>
                </a:cubicBezTo>
                <a:cubicBezTo>
                  <a:pt x="2540351" y="1934496"/>
                  <a:pt x="2515641" y="1909786"/>
                  <a:pt x="2515641" y="1879305"/>
                </a:cubicBezTo>
                <a:cubicBezTo>
                  <a:pt x="2515641" y="1848824"/>
                  <a:pt x="2540351" y="1824114"/>
                  <a:pt x="2570834" y="1824114"/>
                </a:cubicBezTo>
                <a:close/>
                <a:moveTo>
                  <a:pt x="2437196" y="1824114"/>
                </a:moveTo>
                <a:cubicBezTo>
                  <a:pt x="2467679" y="1824114"/>
                  <a:pt x="2492389" y="1848824"/>
                  <a:pt x="2492389" y="1879305"/>
                </a:cubicBezTo>
                <a:cubicBezTo>
                  <a:pt x="2492389" y="1909786"/>
                  <a:pt x="2467679" y="1934496"/>
                  <a:pt x="2437196" y="1934496"/>
                </a:cubicBezTo>
                <a:cubicBezTo>
                  <a:pt x="2406715" y="1934496"/>
                  <a:pt x="2382005" y="1909786"/>
                  <a:pt x="2382005" y="1879305"/>
                </a:cubicBezTo>
                <a:cubicBezTo>
                  <a:pt x="2382005" y="1848824"/>
                  <a:pt x="2406715" y="1824114"/>
                  <a:pt x="2437196" y="1824114"/>
                </a:cubicBezTo>
                <a:close/>
                <a:moveTo>
                  <a:pt x="2303564" y="1824114"/>
                </a:moveTo>
                <a:cubicBezTo>
                  <a:pt x="2334046" y="1824114"/>
                  <a:pt x="2358756" y="1848824"/>
                  <a:pt x="2358756" y="1879305"/>
                </a:cubicBezTo>
                <a:cubicBezTo>
                  <a:pt x="2358756" y="1909786"/>
                  <a:pt x="2334046" y="1934496"/>
                  <a:pt x="2303564" y="1934496"/>
                </a:cubicBezTo>
                <a:cubicBezTo>
                  <a:pt x="2273082" y="1934496"/>
                  <a:pt x="2248372" y="1909786"/>
                  <a:pt x="2248372" y="1879305"/>
                </a:cubicBezTo>
                <a:cubicBezTo>
                  <a:pt x="2248372" y="1848824"/>
                  <a:pt x="2273082" y="1824114"/>
                  <a:pt x="2303564" y="1824114"/>
                </a:cubicBezTo>
                <a:close/>
                <a:moveTo>
                  <a:pt x="2173271" y="1824114"/>
                </a:moveTo>
                <a:cubicBezTo>
                  <a:pt x="2203753" y="1824114"/>
                  <a:pt x="2228463" y="1848824"/>
                  <a:pt x="2228463" y="1879305"/>
                </a:cubicBezTo>
                <a:cubicBezTo>
                  <a:pt x="2228463" y="1909786"/>
                  <a:pt x="2203753" y="1934496"/>
                  <a:pt x="2173271" y="1934496"/>
                </a:cubicBezTo>
                <a:cubicBezTo>
                  <a:pt x="2142789" y="1934496"/>
                  <a:pt x="2118079" y="1909786"/>
                  <a:pt x="2118079" y="1879305"/>
                </a:cubicBezTo>
                <a:cubicBezTo>
                  <a:pt x="2118079" y="1848824"/>
                  <a:pt x="2142789" y="1824114"/>
                  <a:pt x="2173271" y="1824114"/>
                </a:cubicBezTo>
                <a:close/>
                <a:moveTo>
                  <a:pt x="2039637" y="1824114"/>
                </a:moveTo>
                <a:cubicBezTo>
                  <a:pt x="2070119" y="1824114"/>
                  <a:pt x="2094830" y="1848824"/>
                  <a:pt x="2094830" y="1879305"/>
                </a:cubicBezTo>
                <a:cubicBezTo>
                  <a:pt x="2094830" y="1909786"/>
                  <a:pt x="2070119" y="1934496"/>
                  <a:pt x="2039637" y="1934496"/>
                </a:cubicBezTo>
                <a:cubicBezTo>
                  <a:pt x="2009155" y="1934496"/>
                  <a:pt x="1984445" y="1909786"/>
                  <a:pt x="1984445" y="1879305"/>
                </a:cubicBezTo>
                <a:cubicBezTo>
                  <a:pt x="1984445" y="1848824"/>
                  <a:pt x="2009155" y="1824114"/>
                  <a:pt x="2039637" y="1824114"/>
                </a:cubicBezTo>
                <a:close/>
                <a:moveTo>
                  <a:pt x="1909341" y="1824114"/>
                </a:moveTo>
                <a:cubicBezTo>
                  <a:pt x="1939823" y="1824114"/>
                  <a:pt x="1964533" y="1848824"/>
                  <a:pt x="1964533" y="1879305"/>
                </a:cubicBezTo>
                <a:cubicBezTo>
                  <a:pt x="1964533" y="1909786"/>
                  <a:pt x="1939823" y="1934496"/>
                  <a:pt x="1909341" y="1934496"/>
                </a:cubicBezTo>
                <a:cubicBezTo>
                  <a:pt x="1878859" y="1934496"/>
                  <a:pt x="1854149" y="1909786"/>
                  <a:pt x="1854149" y="1879305"/>
                </a:cubicBezTo>
                <a:cubicBezTo>
                  <a:pt x="1854149" y="1848824"/>
                  <a:pt x="1878859" y="1824114"/>
                  <a:pt x="1909341" y="1824114"/>
                </a:cubicBezTo>
                <a:close/>
                <a:moveTo>
                  <a:pt x="1779049" y="1824114"/>
                </a:moveTo>
                <a:cubicBezTo>
                  <a:pt x="1809531" y="1824114"/>
                  <a:pt x="1834241" y="1848824"/>
                  <a:pt x="1834241" y="1879305"/>
                </a:cubicBezTo>
                <a:cubicBezTo>
                  <a:pt x="1834241" y="1909786"/>
                  <a:pt x="1809531" y="1934496"/>
                  <a:pt x="1779049" y="1934496"/>
                </a:cubicBezTo>
                <a:cubicBezTo>
                  <a:pt x="1748566" y="1934496"/>
                  <a:pt x="1723856" y="1909786"/>
                  <a:pt x="1723856" y="1879305"/>
                </a:cubicBezTo>
                <a:cubicBezTo>
                  <a:pt x="1723856" y="1848824"/>
                  <a:pt x="1748566" y="1824114"/>
                  <a:pt x="1779049" y="1824114"/>
                </a:cubicBezTo>
                <a:close/>
                <a:moveTo>
                  <a:pt x="1645413" y="1824114"/>
                </a:moveTo>
                <a:cubicBezTo>
                  <a:pt x="1675895" y="1824114"/>
                  <a:pt x="1700604" y="1848824"/>
                  <a:pt x="1700604" y="1879305"/>
                </a:cubicBezTo>
                <a:cubicBezTo>
                  <a:pt x="1700604" y="1909786"/>
                  <a:pt x="1675895" y="1934496"/>
                  <a:pt x="1645413" y="1934496"/>
                </a:cubicBezTo>
                <a:cubicBezTo>
                  <a:pt x="1614930" y="1934496"/>
                  <a:pt x="1590220" y="1909786"/>
                  <a:pt x="1590220" y="1879305"/>
                </a:cubicBezTo>
                <a:cubicBezTo>
                  <a:pt x="1590220" y="1848824"/>
                  <a:pt x="1614930" y="1824114"/>
                  <a:pt x="1645413" y="1824114"/>
                </a:cubicBezTo>
                <a:close/>
                <a:moveTo>
                  <a:pt x="1515120" y="1824114"/>
                </a:moveTo>
                <a:cubicBezTo>
                  <a:pt x="1545602" y="1824114"/>
                  <a:pt x="1570311" y="1848824"/>
                  <a:pt x="1570311" y="1879305"/>
                </a:cubicBezTo>
                <a:cubicBezTo>
                  <a:pt x="1570311" y="1909786"/>
                  <a:pt x="1545602" y="1934496"/>
                  <a:pt x="1515120" y="1934496"/>
                </a:cubicBezTo>
                <a:cubicBezTo>
                  <a:pt x="1484638" y="1934496"/>
                  <a:pt x="1459927" y="1909786"/>
                  <a:pt x="1459927" y="1879305"/>
                </a:cubicBezTo>
                <a:cubicBezTo>
                  <a:pt x="1459927" y="1848824"/>
                  <a:pt x="1484638" y="1824114"/>
                  <a:pt x="1515120" y="1824114"/>
                </a:cubicBezTo>
                <a:close/>
                <a:moveTo>
                  <a:pt x="1381486" y="1824114"/>
                </a:moveTo>
                <a:cubicBezTo>
                  <a:pt x="1411968" y="1824114"/>
                  <a:pt x="1436678" y="1848824"/>
                  <a:pt x="1436678" y="1879305"/>
                </a:cubicBezTo>
                <a:cubicBezTo>
                  <a:pt x="1436678" y="1909786"/>
                  <a:pt x="1411968" y="1934496"/>
                  <a:pt x="1381486" y="1934496"/>
                </a:cubicBezTo>
                <a:cubicBezTo>
                  <a:pt x="1351005" y="1934496"/>
                  <a:pt x="1326294" y="1909786"/>
                  <a:pt x="1326294" y="1879305"/>
                </a:cubicBezTo>
                <a:cubicBezTo>
                  <a:pt x="1326294" y="1848824"/>
                  <a:pt x="1351005" y="1824114"/>
                  <a:pt x="1381486" y="1824114"/>
                </a:cubicBezTo>
                <a:close/>
                <a:moveTo>
                  <a:pt x="1251193" y="1824114"/>
                </a:moveTo>
                <a:cubicBezTo>
                  <a:pt x="1281674" y="1824114"/>
                  <a:pt x="1306386" y="1848824"/>
                  <a:pt x="1306386" y="1879305"/>
                </a:cubicBezTo>
                <a:cubicBezTo>
                  <a:pt x="1306386" y="1909786"/>
                  <a:pt x="1281674" y="1934496"/>
                  <a:pt x="1251193" y="1934496"/>
                </a:cubicBezTo>
                <a:cubicBezTo>
                  <a:pt x="1220711" y="1934496"/>
                  <a:pt x="1196001" y="1909786"/>
                  <a:pt x="1196001" y="1879305"/>
                </a:cubicBezTo>
                <a:cubicBezTo>
                  <a:pt x="1196001" y="1848824"/>
                  <a:pt x="1220711" y="1824114"/>
                  <a:pt x="1251193" y="1824114"/>
                </a:cubicBezTo>
                <a:close/>
                <a:moveTo>
                  <a:pt x="4565336" y="1824106"/>
                </a:moveTo>
                <a:cubicBezTo>
                  <a:pt x="4595818" y="1824106"/>
                  <a:pt x="4620528" y="1848816"/>
                  <a:pt x="4620528" y="1879297"/>
                </a:cubicBezTo>
                <a:cubicBezTo>
                  <a:pt x="4620528" y="1909778"/>
                  <a:pt x="4595818" y="1934488"/>
                  <a:pt x="4565336" y="1934488"/>
                </a:cubicBezTo>
                <a:cubicBezTo>
                  <a:pt x="4534854" y="1934488"/>
                  <a:pt x="4510144" y="1909778"/>
                  <a:pt x="4510144" y="1879297"/>
                </a:cubicBezTo>
                <a:cubicBezTo>
                  <a:pt x="4510144" y="1848816"/>
                  <a:pt x="4534854" y="1824106"/>
                  <a:pt x="4565336" y="1824106"/>
                </a:cubicBezTo>
                <a:close/>
                <a:moveTo>
                  <a:pt x="4431689" y="1824098"/>
                </a:moveTo>
                <a:cubicBezTo>
                  <a:pt x="4462171" y="1824098"/>
                  <a:pt x="4486881" y="1848808"/>
                  <a:pt x="4486881" y="1879289"/>
                </a:cubicBezTo>
                <a:cubicBezTo>
                  <a:pt x="4486881" y="1909770"/>
                  <a:pt x="4462171" y="1934480"/>
                  <a:pt x="4431689" y="1934480"/>
                </a:cubicBezTo>
                <a:cubicBezTo>
                  <a:pt x="4401207" y="1934480"/>
                  <a:pt x="4376497" y="1909770"/>
                  <a:pt x="4376497" y="1879289"/>
                </a:cubicBezTo>
                <a:cubicBezTo>
                  <a:pt x="4376497" y="1848808"/>
                  <a:pt x="4401207" y="1824098"/>
                  <a:pt x="4431689" y="1824098"/>
                </a:cubicBezTo>
                <a:close/>
                <a:moveTo>
                  <a:pt x="8801537" y="1707182"/>
                </a:moveTo>
                <a:cubicBezTo>
                  <a:pt x="8832019" y="1707182"/>
                  <a:pt x="8856729" y="1731892"/>
                  <a:pt x="8856729" y="1762373"/>
                </a:cubicBezTo>
                <a:cubicBezTo>
                  <a:pt x="8856729" y="1792854"/>
                  <a:pt x="8832019" y="1817564"/>
                  <a:pt x="8801537" y="1817564"/>
                </a:cubicBezTo>
                <a:cubicBezTo>
                  <a:pt x="8771055" y="1817564"/>
                  <a:pt x="8746345" y="1792854"/>
                  <a:pt x="8746345" y="1762373"/>
                </a:cubicBezTo>
                <a:cubicBezTo>
                  <a:pt x="8746345" y="1731892"/>
                  <a:pt x="8771055" y="1707182"/>
                  <a:pt x="8801537" y="1707182"/>
                </a:cubicBezTo>
                <a:close/>
                <a:moveTo>
                  <a:pt x="8671243" y="1707182"/>
                </a:moveTo>
                <a:cubicBezTo>
                  <a:pt x="8701725" y="1707182"/>
                  <a:pt x="8726435" y="1731892"/>
                  <a:pt x="8726435" y="1762373"/>
                </a:cubicBezTo>
                <a:cubicBezTo>
                  <a:pt x="8726435" y="1792854"/>
                  <a:pt x="8701725" y="1817564"/>
                  <a:pt x="8671243" y="1817564"/>
                </a:cubicBezTo>
                <a:cubicBezTo>
                  <a:pt x="8640761" y="1817564"/>
                  <a:pt x="8616051" y="1792854"/>
                  <a:pt x="8616051" y="1762373"/>
                </a:cubicBezTo>
                <a:cubicBezTo>
                  <a:pt x="8616051" y="1731892"/>
                  <a:pt x="8640761" y="1707182"/>
                  <a:pt x="8671243" y="1707182"/>
                </a:cubicBezTo>
                <a:close/>
                <a:moveTo>
                  <a:pt x="8537609" y="1707182"/>
                </a:moveTo>
                <a:cubicBezTo>
                  <a:pt x="8568091" y="1707182"/>
                  <a:pt x="8592801" y="1731892"/>
                  <a:pt x="8592801" y="1762373"/>
                </a:cubicBezTo>
                <a:cubicBezTo>
                  <a:pt x="8592801" y="1792854"/>
                  <a:pt x="8568091" y="1817564"/>
                  <a:pt x="8537609" y="1817564"/>
                </a:cubicBezTo>
                <a:cubicBezTo>
                  <a:pt x="8507127" y="1817564"/>
                  <a:pt x="8482417" y="1792854"/>
                  <a:pt x="8482417" y="1762373"/>
                </a:cubicBezTo>
                <a:cubicBezTo>
                  <a:pt x="8482417" y="1731892"/>
                  <a:pt x="8507127" y="1707182"/>
                  <a:pt x="8537609" y="1707182"/>
                </a:cubicBezTo>
                <a:close/>
                <a:moveTo>
                  <a:pt x="8407318" y="1707182"/>
                </a:moveTo>
                <a:cubicBezTo>
                  <a:pt x="8437800" y="1707182"/>
                  <a:pt x="8462510" y="1731892"/>
                  <a:pt x="8462510" y="1762373"/>
                </a:cubicBezTo>
                <a:cubicBezTo>
                  <a:pt x="8462510" y="1792854"/>
                  <a:pt x="8437800" y="1817564"/>
                  <a:pt x="8407318" y="1817564"/>
                </a:cubicBezTo>
                <a:cubicBezTo>
                  <a:pt x="8376836" y="1817564"/>
                  <a:pt x="8352126" y="1792854"/>
                  <a:pt x="8352126" y="1762373"/>
                </a:cubicBezTo>
                <a:cubicBezTo>
                  <a:pt x="8352126" y="1731892"/>
                  <a:pt x="8376836" y="1707182"/>
                  <a:pt x="8407318" y="1707182"/>
                </a:cubicBezTo>
                <a:close/>
                <a:moveTo>
                  <a:pt x="8273682" y="1707182"/>
                </a:moveTo>
                <a:cubicBezTo>
                  <a:pt x="8304164" y="1707182"/>
                  <a:pt x="8328874" y="1731892"/>
                  <a:pt x="8328874" y="1762373"/>
                </a:cubicBezTo>
                <a:cubicBezTo>
                  <a:pt x="8328874" y="1792854"/>
                  <a:pt x="8304164" y="1817564"/>
                  <a:pt x="8273682" y="1817564"/>
                </a:cubicBezTo>
                <a:cubicBezTo>
                  <a:pt x="8243200" y="1817564"/>
                  <a:pt x="8218490" y="1792854"/>
                  <a:pt x="8218490" y="1762373"/>
                </a:cubicBezTo>
                <a:cubicBezTo>
                  <a:pt x="8218490" y="1731892"/>
                  <a:pt x="8243200" y="1707182"/>
                  <a:pt x="8273682" y="1707182"/>
                </a:cubicBezTo>
                <a:close/>
                <a:moveTo>
                  <a:pt x="8143386" y="1707182"/>
                </a:moveTo>
                <a:cubicBezTo>
                  <a:pt x="8173868" y="1707182"/>
                  <a:pt x="8198578" y="1731892"/>
                  <a:pt x="8198578" y="1762373"/>
                </a:cubicBezTo>
                <a:cubicBezTo>
                  <a:pt x="8198578" y="1792854"/>
                  <a:pt x="8173868" y="1817564"/>
                  <a:pt x="8143386" y="1817564"/>
                </a:cubicBezTo>
                <a:cubicBezTo>
                  <a:pt x="8112904" y="1817564"/>
                  <a:pt x="8088194" y="1792854"/>
                  <a:pt x="8088194" y="1762373"/>
                </a:cubicBezTo>
                <a:cubicBezTo>
                  <a:pt x="8088194" y="1731892"/>
                  <a:pt x="8112904" y="1707182"/>
                  <a:pt x="8143386" y="1707182"/>
                </a:cubicBezTo>
                <a:close/>
                <a:moveTo>
                  <a:pt x="8009752" y="1707182"/>
                </a:moveTo>
                <a:cubicBezTo>
                  <a:pt x="8040234" y="1707182"/>
                  <a:pt x="8064944" y="1731892"/>
                  <a:pt x="8064944" y="1762373"/>
                </a:cubicBezTo>
                <a:cubicBezTo>
                  <a:pt x="8064944" y="1792854"/>
                  <a:pt x="8040234" y="1817564"/>
                  <a:pt x="8009752" y="1817564"/>
                </a:cubicBezTo>
                <a:cubicBezTo>
                  <a:pt x="7979270" y="1817564"/>
                  <a:pt x="7954560" y="1792854"/>
                  <a:pt x="7954560" y="1762373"/>
                </a:cubicBezTo>
                <a:cubicBezTo>
                  <a:pt x="7954560" y="1731892"/>
                  <a:pt x="7979270" y="1707182"/>
                  <a:pt x="8009752" y="1707182"/>
                </a:cubicBezTo>
                <a:close/>
                <a:moveTo>
                  <a:pt x="7876117" y="1707182"/>
                </a:moveTo>
                <a:cubicBezTo>
                  <a:pt x="7906599" y="1707182"/>
                  <a:pt x="7931309" y="1731892"/>
                  <a:pt x="7931309" y="1762373"/>
                </a:cubicBezTo>
                <a:cubicBezTo>
                  <a:pt x="7931309" y="1792854"/>
                  <a:pt x="7906599" y="1817564"/>
                  <a:pt x="7876117" y="1817564"/>
                </a:cubicBezTo>
                <a:cubicBezTo>
                  <a:pt x="7845635" y="1817564"/>
                  <a:pt x="7820925" y="1792854"/>
                  <a:pt x="7820925" y="1762373"/>
                </a:cubicBezTo>
                <a:cubicBezTo>
                  <a:pt x="7820925" y="1731892"/>
                  <a:pt x="7845635" y="1707182"/>
                  <a:pt x="7876117" y="1707182"/>
                </a:cubicBezTo>
                <a:close/>
                <a:moveTo>
                  <a:pt x="7745824" y="1707182"/>
                </a:moveTo>
                <a:cubicBezTo>
                  <a:pt x="7776306" y="1707182"/>
                  <a:pt x="7801016" y="1731892"/>
                  <a:pt x="7801016" y="1762373"/>
                </a:cubicBezTo>
                <a:cubicBezTo>
                  <a:pt x="7801016" y="1792854"/>
                  <a:pt x="7776306" y="1817564"/>
                  <a:pt x="7745824" y="1817564"/>
                </a:cubicBezTo>
                <a:cubicBezTo>
                  <a:pt x="7715342" y="1817564"/>
                  <a:pt x="7690632" y="1792854"/>
                  <a:pt x="7690632" y="1762373"/>
                </a:cubicBezTo>
                <a:cubicBezTo>
                  <a:pt x="7690632" y="1731892"/>
                  <a:pt x="7715342" y="1707182"/>
                  <a:pt x="7745824" y="1707182"/>
                </a:cubicBezTo>
                <a:close/>
                <a:moveTo>
                  <a:pt x="7608849" y="1707182"/>
                </a:moveTo>
                <a:cubicBezTo>
                  <a:pt x="7639331" y="1707182"/>
                  <a:pt x="7664041" y="1731892"/>
                  <a:pt x="7664041" y="1762373"/>
                </a:cubicBezTo>
                <a:cubicBezTo>
                  <a:pt x="7664041" y="1792854"/>
                  <a:pt x="7639331" y="1817564"/>
                  <a:pt x="7608849" y="1817564"/>
                </a:cubicBezTo>
                <a:cubicBezTo>
                  <a:pt x="7578367" y="1817564"/>
                  <a:pt x="7553657" y="1792854"/>
                  <a:pt x="7553657" y="1762373"/>
                </a:cubicBezTo>
                <a:cubicBezTo>
                  <a:pt x="7553657" y="1731892"/>
                  <a:pt x="7578367" y="1707182"/>
                  <a:pt x="7608849" y="1707182"/>
                </a:cubicBezTo>
                <a:close/>
                <a:moveTo>
                  <a:pt x="7481895" y="1707182"/>
                </a:moveTo>
                <a:cubicBezTo>
                  <a:pt x="7512377" y="1707182"/>
                  <a:pt x="7537087" y="1731892"/>
                  <a:pt x="7537087" y="1762373"/>
                </a:cubicBezTo>
                <a:cubicBezTo>
                  <a:pt x="7537087" y="1792854"/>
                  <a:pt x="7512377" y="1817564"/>
                  <a:pt x="7481895" y="1817564"/>
                </a:cubicBezTo>
                <a:cubicBezTo>
                  <a:pt x="7451413" y="1817564"/>
                  <a:pt x="7426703" y="1792854"/>
                  <a:pt x="7426703" y="1762373"/>
                </a:cubicBezTo>
                <a:cubicBezTo>
                  <a:pt x="7426703" y="1731892"/>
                  <a:pt x="7451413" y="1707182"/>
                  <a:pt x="7481895" y="1707182"/>
                </a:cubicBezTo>
                <a:close/>
                <a:moveTo>
                  <a:pt x="7341579" y="1707182"/>
                </a:moveTo>
                <a:cubicBezTo>
                  <a:pt x="7372061" y="1707182"/>
                  <a:pt x="7396771" y="1731892"/>
                  <a:pt x="7396771" y="1762373"/>
                </a:cubicBezTo>
                <a:cubicBezTo>
                  <a:pt x="7396771" y="1792854"/>
                  <a:pt x="7372061" y="1817564"/>
                  <a:pt x="7341579" y="1817564"/>
                </a:cubicBezTo>
                <a:cubicBezTo>
                  <a:pt x="7311097" y="1817564"/>
                  <a:pt x="7286387" y="1792854"/>
                  <a:pt x="7286387" y="1762373"/>
                </a:cubicBezTo>
                <a:cubicBezTo>
                  <a:pt x="7286387" y="1731892"/>
                  <a:pt x="7311097" y="1707182"/>
                  <a:pt x="7341579" y="1707182"/>
                </a:cubicBezTo>
                <a:close/>
                <a:moveTo>
                  <a:pt x="7211286" y="1707182"/>
                </a:moveTo>
                <a:cubicBezTo>
                  <a:pt x="7241768" y="1707182"/>
                  <a:pt x="7266478" y="1731892"/>
                  <a:pt x="7266478" y="1762373"/>
                </a:cubicBezTo>
                <a:cubicBezTo>
                  <a:pt x="7266478" y="1792854"/>
                  <a:pt x="7241768" y="1817564"/>
                  <a:pt x="7211286" y="1817564"/>
                </a:cubicBezTo>
                <a:cubicBezTo>
                  <a:pt x="7180804" y="1817564"/>
                  <a:pt x="7156094" y="1792854"/>
                  <a:pt x="7156094" y="1762373"/>
                </a:cubicBezTo>
                <a:cubicBezTo>
                  <a:pt x="7156094" y="1731892"/>
                  <a:pt x="7180804" y="1707182"/>
                  <a:pt x="7211286" y="1707182"/>
                </a:cubicBezTo>
                <a:close/>
                <a:moveTo>
                  <a:pt x="7080993" y="1707182"/>
                </a:moveTo>
                <a:cubicBezTo>
                  <a:pt x="7111475" y="1707182"/>
                  <a:pt x="7136185" y="1731892"/>
                  <a:pt x="7136185" y="1762373"/>
                </a:cubicBezTo>
                <a:cubicBezTo>
                  <a:pt x="7136185" y="1792854"/>
                  <a:pt x="7111475" y="1817564"/>
                  <a:pt x="7080993" y="1817564"/>
                </a:cubicBezTo>
                <a:cubicBezTo>
                  <a:pt x="7050511" y="1817564"/>
                  <a:pt x="7025801" y="1792854"/>
                  <a:pt x="7025801" y="1762373"/>
                </a:cubicBezTo>
                <a:cubicBezTo>
                  <a:pt x="7025801" y="1731892"/>
                  <a:pt x="7050511" y="1707182"/>
                  <a:pt x="7080993" y="1707182"/>
                </a:cubicBezTo>
                <a:close/>
                <a:moveTo>
                  <a:pt x="6947357" y="1707182"/>
                </a:moveTo>
                <a:cubicBezTo>
                  <a:pt x="6977839" y="1707182"/>
                  <a:pt x="7002549" y="1731892"/>
                  <a:pt x="7002549" y="1762373"/>
                </a:cubicBezTo>
                <a:cubicBezTo>
                  <a:pt x="7002549" y="1792854"/>
                  <a:pt x="6977839" y="1817564"/>
                  <a:pt x="6947357" y="1817564"/>
                </a:cubicBezTo>
                <a:cubicBezTo>
                  <a:pt x="6916875" y="1817564"/>
                  <a:pt x="6892165" y="1792854"/>
                  <a:pt x="6892165" y="1762373"/>
                </a:cubicBezTo>
                <a:cubicBezTo>
                  <a:pt x="6892165" y="1731892"/>
                  <a:pt x="6916875" y="1707182"/>
                  <a:pt x="6947357" y="1707182"/>
                </a:cubicBezTo>
                <a:close/>
                <a:moveTo>
                  <a:pt x="6817063" y="1707182"/>
                </a:moveTo>
                <a:cubicBezTo>
                  <a:pt x="6847545" y="1707182"/>
                  <a:pt x="6872255" y="1731892"/>
                  <a:pt x="6872255" y="1762373"/>
                </a:cubicBezTo>
                <a:cubicBezTo>
                  <a:pt x="6872255" y="1792854"/>
                  <a:pt x="6847545" y="1817564"/>
                  <a:pt x="6817063" y="1817564"/>
                </a:cubicBezTo>
                <a:cubicBezTo>
                  <a:pt x="6786581" y="1817564"/>
                  <a:pt x="6761871" y="1792854"/>
                  <a:pt x="6761871" y="1762373"/>
                </a:cubicBezTo>
                <a:cubicBezTo>
                  <a:pt x="6761871" y="1731892"/>
                  <a:pt x="6786581" y="1707182"/>
                  <a:pt x="6817063" y="1707182"/>
                </a:cubicBezTo>
                <a:close/>
                <a:moveTo>
                  <a:pt x="6683431" y="1707182"/>
                </a:moveTo>
                <a:cubicBezTo>
                  <a:pt x="6713913" y="1707182"/>
                  <a:pt x="6738623" y="1731892"/>
                  <a:pt x="6738623" y="1762373"/>
                </a:cubicBezTo>
                <a:cubicBezTo>
                  <a:pt x="6738623" y="1792854"/>
                  <a:pt x="6713913" y="1817564"/>
                  <a:pt x="6683431" y="1817564"/>
                </a:cubicBezTo>
                <a:cubicBezTo>
                  <a:pt x="6652949" y="1817564"/>
                  <a:pt x="6628239" y="1792854"/>
                  <a:pt x="6628239" y="1762373"/>
                </a:cubicBezTo>
                <a:cubicBezTo>
                  <a:pt x="6628239" y="1731892"/>
                  <a:pt x="6652949" y="1707182"/>
                  <a:pt x="6683431" y="1707182"/>
                </a:cubicBezTo>
                <a:close/>
                <a:moveTo>
                  <a:pt x="6553137" y="1707182"/>
                </a:moveTo>
                <a:cubicBezTo>
                  <a:pt x="6583619" y="1707182"/>
                  <a:pt x="6608329" y="1731892"/>
                  <a:pt x="6608329" y="1762373"/>
                </a:cubicBezTo>
                <a:cubicBezTo>
                  <a:pt x="6608329" y="1792854"/>
                  <a:pt x="6583619" y="1817564"/>
                  <a:pt x="6553137" y="1817564"/>
                </a:cubicBezTo>
                <a:cubicBezTo>
                  <a:pt x="6522655" y="1817564"/>
                  <a:pt x="6497945" y="1792854"/>
                  <a:pt x="6497945" y="1762373"/>
                </a:cubicBezTo>
                <a:cubicBezTo>
                  <a:pt x="6497945" y="1731892"/>
                  <a:pt x="6522655" y="1707182"/>
                  <a:pt x="6553137" y="1707182"/>
                </a:cubicBezTo>
                <a:close/>
                <a:moveTo>
                  <a:pt x="6419502" y="1707182"/>
                </a:moveTo>
                <a:cubicBezTo>
                  <a:pt x="6449984" y="1707182"/>
                  <a:pt x="6474694" y="1731892"/>
                  <a:pt x="6474694" y="1762373"/>
                </a:cubicBezTo>
                <a:cubicBezTo>
                  <a:pt x="6474694" y="1792854"/>
                  <a:pt x="6449984" y="1817564"/>
                  <a:pt x="6419502" y="1817564"/>
                </a:cubicBezTo>
                <a:cubicBezTo>
                  <a:pt x="6389020" y="1817564"/>
                  <a:pt x="6364310" y="1792854"/>
                  <a:pt x="6364310" y="1762373"/>
                </a:cubicBezTo>
                <a:cubicBezTo>
                  <a:pt x="6364310" y="1731892"/>
                  <a:pt x="6389020" y="1707182"/>
                  <a:pt x="6419502" y="1707182"/>
                </a:cubicBezTo>
                <a:close/>
                <a:moveTo>
                  <a:pt x="6289207" y="1707182"/>
                </a:moveTo>
                <a:cubicBezTo>
                  <a:pt x="6319689" y="1707182"/>
                  <a:pt x="6344399" y="1731892"/>
                  <a:pt x="6344399" y="1762373"/>
                </a:cubicBezTo>
                <a:cubicBezTo>
                  <a:pt x="6344399" y="1792854"/>
                  <a:pt x="6319689" y="1817564"/>
                  <a:pt x="6289207" y="1817564"/>
                </a:cubicBezTo>
                <a:cubicBezTo>
                  <a:pt x="6258725" y="1817564"/>
                  <a:pt x="6234015" y="1792854"/>
                  <a:pt x="6234015" y="1762373"/>
                </a:cubicBezTo>
                <a:cubicBezTo>
                  <a:pt x="6234015" y="1731892"/>
                  <a:pt x="6258725" y="1707182"/>
                  <a:pt x="6289207" y="1707182"/>
                </a:cubicBezTo>
                <a:close/>
                <a:moveTo>
                  <a:pt x="6155572" y="1707182"/>
                </a:moveTo>
                <a:cubicBezTo>
                  <a:pt x="6186054" y="1707182"/>
                  <a:pt x="6210764" y="1731892"/>
                  <a:pt x="6210764" y="1762373"/>
                </a:cubicBezTo>
                <a:cubicBezTo>
                  <a:pt x="6210764" y="1792854"/>
                  <a:pt x="6186054" y="1817564"/>
                  <a:pt x="6155572" y="1817564"/>
                </a:cubicBezTo>
                <a:cubicBezTo>
                  <a:pt x="6125090" y="1817564"/>
                  <a:pt x="6100380" y="1792854"/>
                  <a:pt x="6100380" y="1762373"/>
                </a:cubicBezTo>
                <a:cubicBezTo>
                  <a:pt x="6100380" y="1731892"/>
                  <a:pt x="6125090" y="1707182"/>
                  <a:pt x="6155572" y="1707182"/>
                </a:cubicBezTo>
                <a:close/>
                <a:moveTo>
                  <a:pt x="6021938" y="1707182"/>
                </a:moveTo>
                <a:cubicBezTo>
                  <a:pt x="6052420" y="1707182"/>
                  <a:pt x="6077130" y="1731892"/>
                  <a:pt x="6077130" y="1762373"/>
                </a:cubicBezTo>
                <a:cubicBezTo>
                  <a:pt x="6077130" y="1792854"/>
                  <a:pt x="6052420" y="1817564"/>
                  <a:pt x="6021938" y="1817564"/>
                </a:cubicBezTo>
                <a:cubicBezTo>
                  <a:pt x="5991456" y="1817564"/>
                  <a:pt x="5966746" y="1792854"/>
                  <a:pt x="5966746" y="1762373"/>
                </a:cubicBezTo>
                <a:cubicBezTo>
                  <a:pt x="5966746" y="1731892"/>
                  <a:pt x="5991456" y="1707182"/>
                  <a:pt x="6021938" y="1707182"/>
                </a:cubicBezTo>
                <a:close/>
                <a:moveTo>
                  <a:pt x="5884964" y="1707182"/>
                </a:moveTo>
                <a:cubicBezTo>
                  <a:pt x="5915446" y="1707182"/>
                  <a:pt x="5940156" y="1731892"/>
                  <a:pt x="5940156" y="1762373"/>
                </a:cubicBezTo>
                <a:cubicBezTo>
                  <a:pt x="5940156" y="1792854"/>
                  <a:pt x="5915446" y="1817564"/>
                  <a:pt x="5884964" y="1817564"/>
                </a:cubicBezTo>
                <a:cubicBezTo>
                  <a:pt x="5854482" y="1817564"/>
                  <a:pt x="5829772" y="1792854"/>
                  <a:pt x="5829772" y="1762373"/>
                </a:cubicBezTo>
                <a:cubicBezTo>
                  <a:pt x="5829772" y="1731892"/>
                  <a:pt x="5854482" y="1707182"/>
                  <a:pt x="5884964" y="1707182"/>
                </a:cubicBezTo>
                <a:close/>
                <a:moveTo>
                  <a:pt x="5754670" y="1707182"/>
                </a:moveTo>
                <a:cubicBezTo>
                  <a:pt x="5785152" y="1707182"/>
                  <a:pt x="5809862" y="1731892"/>
                  <a:pt x="5809862" y="1762373"/>
                </a:cubicBezTo>
                <a:cubicBezTo>
                  <a:pt x="5809862" y="1792854"/>
                  <a:pt x="5785152" y="1817564"/>
                  <a:pt x="5754670" y="1817564"/>
                </a:cubicBezTo>
                <a:cubicBezTo>
                  <a:pt x="5724188" y="1817564"/>
                  <a:pt x="5699478" y="1792854"/>
                  <a:pt x="5699478" y="1762373"/>
                </a:cubicBezTo>
                <a:cubicBezTo>
                  <a:pt x="5699478" y="1731892"/>
                  <a:pt x="5724188" y="1707182"/>
                  <a:pt x="5754670" y="1707182"/>
                </a:cubicBezTo>
                <a:close/>
                <a:moveTo>
                  <a:pt x="5621035" y="1707182"/>
                </a:moveTo>
                <a:cubicBezTo>
                  <a:pt x="5651517" y="1707182"/>
                  <a:pt x="5676227" y="1731892"/>
                  <a:pt x="5676227" y="1762373"/>
                </a:cubicBezTo>
                <a:cubicBezTo>
                  <a:pt x="5676227" y="1792854"/>
                  <a:pt x="5651517" y="1817564"/>
                  <a:pt x="5621035" y="1817564"/>
                </a:cubicBezTo>
                <a:cubicBezTo>
                  <a:pt x="5590553" y="1817564"/>
                  <a:pt x="5565843" y="1792854"/>
                  <a:pt x="5565843" y="1762373"/>
                </a:cubicBezTo>
                <a:cubicBezTo>
                  <a:pt x="5565843" y="1731892"/>
                  <a:pt x="5590553" y="1707182"/>
                  <a:pt x="5621035" y="1707182"/>
                </a:cubicBezTo>
                <a:close/>
                <a:moveTo>
                  <a:pt x="5487399" y="1707182"/>
                </a:moveTo>
                <a:cubicBezTo>
                  <a:pt x="5517881" y="1707182"/>
                  <a:pt x="5542591" y="1731892"/>
                  <a:pt x="5542591" y="1762373"/>
                </a:cubicBezTo>
                <a:cubicBezTo>
                  <a:pt x="5542591" y="1792854"/>
                  <a:pt x="5517881" y="1817564"/>
                  <a:pt x="5487399" y="1817564"/>
                </a:cubicBezTo>
                <a:cubicBezTo>
                  <a:pt x="5456917" y="1817564"/>
                  <a:pt x="5432207" y="1792854"/>
                  <a:pt x="5432207" y="1762373"/>
                </a:cubicBezTo>
                <a:cubicBezTo>
                  <a:pt x="5432207" y="1731892"/>
                  <a:pt x="5456917" y="1707182"/>
                  <a:pt x="5487399" y="1707182"/>
                </a:cubicBezTo>
                <a:close/>
                <a:moveTo>
                  <a:pt x="5357105" y="1707182"/>
                </a:moveTo>
                <a:cubicBezTo>
                  <a:pt x="5387587" y="1707182"/>
                  <a:pt x="5412297" y="1731892"/>
                  <a:pt x="5412297" y="1762373"/>
                </a:cubicBezTo>
                <a:cubicBezTo>
                  <a:pt x="5412297" y="1792854"/>
                  <a:pt x="5387587" y="1817564"/>
                  <a:pt x="5357105" y="1817564"/>
                </a:cubicBezTo>
                <a:cubicBezTo>
                  <a:pt x="5326623" y="1817564"/>
                  <a:pt x="5301913" y="1792854"/>
                  <a:pt x="5301913" y="1762373"/>
                </a:cubicBezTo>
                <a:cubicBezTo>
                  <a:pt x="5301913" y="1731892"/>
                  <a:pt x="5326623" y="1707182"/>
                  <a:pt x="5357105" y="1707182"/>
                </a:cubicBezTo>
                <a:close/>
                <a:moveTo>
                  <a:pt x="5223473" y="1707182"/>
                </a:moveTo>
                <a:cubicBezTo>
                  <a:pt x="5253955" y="1707182"/>
                  <a:pt x="5278665" y="1731892"/>
                  <a:pt x="5278665" y="1762373"/>
                </a:cubicBezTo>
                <a:cubicBezTo>
                  <a:pt x="5278665" y="1792854"/>
                  <a:pt x="5253955" y="1817564"/>
                  <a:pt x="5223473" y="1817564"/>
                </a:cubicBezTo>
                <a:cubicBezTo>
                  <a:pt x="5192991" y="1817564"/>
                  <a:pt x="5168281" y="1792854"/>
                  <a:pt x="5168281" y="1762373"/>
                </a:cubicBezTo>
                <a:cubicBezTo>
                  <a:pt x="5168281" y="1731892"/>
                  <a:pt x="5192991" y="1707182"/>
                  <a:pt x="5223473" y="1707182"/>
                </a:cubicBezTo>
                <a:close/>
                <a:moveTo>
                  <a:pt x="5093178" y="1707182"/>
                </a:moveTo>
                <a:cubicBezTo>
                  <a:pt x="5123660" y="1707182"/>
                  <a:pt x="5148370" y="1731892"/>
                  <a:pt x="5148370" y="1762373"/>
                </a:cubicBezTo>
                <a:cubicBezTo>
                  <a:pt x="5148370" y="1792854"/>
                  <a:pt x="5123660" y="1817564"/>
                  <a:pt x="5093178" y="1817564"/>
                </a:cubicBezTo>
                <a:cubicBezTo>
                  <a:pt x="5062696" y="1817564"/>
                  <a:pt x="5037986" y="1792854"/>
                  <a:pt x="5037986" y="1762373"/>
                </a:cubicBezTo>
                <a:cubicBezTo>
                  <a:pt x="5037986" y="1731892"/>
                  <a:pt x="5062696" y="1707182"/>
                  <a:pt x="5093178" y="1707182"/>
                </a:cubicBezTo>
                <a:close/>
                <a:moveTo>
                  <a:pt x="4959543" y="1707182"/>
                </a:moveTo>
                <a:cubicBezTo>
                  <a:pt x="4990025" y="1707182"/>
                  <a:pt x="5014735" y="1731892"/>
                  <a:pt x="5014735" y="1762373"/>
                </a:cubicBezTo>
                <a:cubicBezTo>
                  <a:pt x="5014735" y="1792854"/>
                  <a:pt x="4990025" y="1817564"/>
                  <a:pt x="4959543" y="1817564"/>
                </a:cubicBezTo>
                <a:cubicBezTo>
                  <a:pt x="4929061" y="1817564"/>
                  <a:pt x="4904351" y="1792854"/>
                  <a:pt x="4904351" y="1762373"/>
                </a:cubicBezTo>
                <a:cubicBezTo>
                  <a:pt x="4904351" y="1731892"/>
                  <a:pt x="4929061" y="1707182"/>
                  <a:pt x="4959543" y="1707182"/>
                </a:cubicBezTo>
                <a:close/>
                <a:moveTo>
                  <a:pt x="4829251" y="1707182"/>
                </a:moveTo>
                <a:cubicBezTo>
                  <a:pt x="4859733" y="1707182"/>
                  <a:pt x="4884443" y="1731892"/>
                  <a:pt x="4884443" y="1762373"/>
                </a:cubicBezTo>
                <a:cubicBezTo>
                  <a:pt x="4884443" y="1792854"/>
                  <a:pt x="4859733" y="1817564"/>
                  <a:pt x="4829251" y="1817564"/>
                </a:cubicBezTo>
                <a:cubicBezTo>
                  <a:pt x="4798769" y="1817564"/>
                  <a:pt x="4774059" y="1792854"/>
                  <a:pt x="4774059" y="1762373"/>
                </a:cubicBezTo>
                <a:cubicBezTo>
                  <a:pt x="4774059" y="1731892"/>
                  <a:pt x="4798769" y="1707182"/>
                  <a:pt x="4829251" y="1707182"/>
                </a:cubicBezTo>
                <a:close/>
                <a:moveTo>
                  <a:pt x="4695613" y="1707182"/>
                </a:moveTo>
                <a:cubicBezTo>
                  <a:pt x="4726095" y="1707182"/>
                  <a:pt x="4750805" y="1731892"/>
                  <a:pt x="4750805" y="1762373"/>
                </a:cubicBezTo>
                <a:cubicBezTo>
                  <a:pt x="4750805" y="1792854"/>
                  <a:pt x="4726095" y="1817564"/>
                  <a:pt x="4695613" y="1817564"/>
                </a:cubicBezTo>
                <a:cubicBezTo>
                  <a:pt x="4665131" y="1817564"/>
                  <a:pt x="4640421" y="1792854"/>
                  <a:pt x="4640421" y="1762373"/>
                </a:cubicBezTo>
                <a:cubicBezTo>
                  <a:pt x="4640421" y="1731892"/>
                  <a:pt x="4665131" y="1707182"/>
                  <a:pt x="4695613" y="1707182"/>
                </a:cubicBezTo>
                <a:close/>
                <a:moveTo>
                  <a:pt x="3098681" y="1707182"/>
                </a:moveTo>
                <a:cubicBezTo>
                  <a:pt x="3129163" y="1707182"/>
                  <a:pt x="3153873" y="1731892"/>
                  <a:pt x="3153873" y="1762373"/>
                </a:cubicBezTo>
                <a:cubicBezTo>
                  <a:pt x="3153873" y="1792854"/>
                  <a:pt x="3129163" y="1817564"/>
                  <a:pt x="3098681" y="1817564"/>
                </a:cubicBezTo>
                <a:cubicBezTo>
                  <a:pt x="3068199" y="1817564"/>
                  <a:pt x="3043489" y="1792854"/>
                  <a:pt x="3043489" y="1762373"/>
                </a:cubicBezTo>
                <a:cubicBezTo>
                  <a:pt x="3043489" y="1731892"/>
                  <a:pt x="3068199" y="1707182"/>
                  <a:pt x="3098681" y="1707182"/>
                </a:cubicBezTo>
                <a:close/>
                <a:moveTo>
                  <a:pt x="2971729" y="1707182"/>
                </a:moveTo>
                <a:cubicBezTo>
                  <a:pt x="3002211" y="1707182"/>
                  <a:pt x="3026921" y="1731892"/>
                  <a:pt x="3026921" y="1762373"/>
                </a:cubicBezTo>
                <a:cubicBezTo>
                  <a:pt x="3026921" y="1792854"/>
                  <a:pt x="3002211" y="1817564"/>
                  <a:pt x="2971729" y="1817564"/>
                </a:cubicBezTo>
                <a:cubicBezTo>
                  <a:pt x="2941247" y="1817564"/>
                  <a:pt x="2916537" y="1792854"/>
                  <a:pt x="2916537" y="1762373"/>
                </a:cubicBezTo>
                <a:cubicBezTo>
                  <a:pt x="2916537" y="1731892"/>
                  <a:pt x="2941247" y="1707182"/>
                  <a:pt x="2971729" y="1707182"/>
                </a:cubicBezTo>
                <a:close/>
                <a:moveTo>
                  <a:pt x="2834772" y="1707182"/>
                </a:moveTo>
                <a:cubicBezTo>
                  <a:pt x="2865254" y="1707182"/>
                  <a:pt x="2889964" y="1731892"/>
                  <a:pt x="2889964" y="1762373"/>
                </a:cubicBezTo>
                <a:cubicBezTo>
                  <a:pt x="2889964" y="1792854"/>
                  <a:pt x="2865254" y="1817564"/>
                  <a:pt x="2834772" y="1817564"/>
                </a:cubicBezTo>
                <a:cubicBezTo>
                  <a:pt x="2804290" y="1817564"/>
                  <a:pt x="2779580" y="1792854"/>
                  <a:pt x="2779580" y="1762373"/>
                </a:cubicBezTo>
                <a:cubicBezTo>
                  <a:pt x="2779580" y="1731892"/>
                  <a:pt x="2804290" y="1707182"/>
                  <a:pt x="2834772" y="1707182"/>
                </a:cubicBezTo>
                <a:close/>
                <a:moveTo>
                  <a:pt x="2707817" y="1707182"/>
                </a:moveTo>
                <a:cubicBezTo>
                  <a:pt x="2738299" y="1707182"/>
                  <a:pt x="2763009" y="1731892"/>
                  <a:pt x="2763009" y="1762373"/>
                </a:cubicBezTo>
                <a:cubicBezTo>
                  <a:pt x="2763009" y="1792854"/>
                  <a:pt x="2738299" y="1817564"/>
                  <a:pt x="2707817" y="1817564"/>
                </a:cubicBezTo>
                <a:cubicBezTo>
                  <a:pt x="2677336" y="1817564"/>
                  <a:pt x="2652625" y="1792854"/>
                  <a:pt x="2652625" y="1762373"/>
                </a:cubicBezTo>
                <a:cubicBezTo>
                  <a:pt x="2652625" y="1731892"/>
                  <a:pt x="2677336" y="1707182"/>
                  <a:pt x="2707817" y="1707182"/>
                </a:cubicBezTo>
                <a:close/>
                <a:moveTo>
                  <a:pt x="2570843" y="1707182"/>
                </a:moveTo>
                <a:cubicBezTo>
                  <a:pt x="2601326" y="1707182"/>
                  <a:pt x="2626036" y="1731892"/>
                  <a:pt x="2626036" y="1762373"/>
                </a:cubicBezTo>
                <a:cubicBezTo>
                  <a:pt x="2626036" y="1792854"/>
                  <a:pt x="2601326" y="1817564"/>
                  <a:pt x="2570843" y="1817564"/>
                </a:cubicBezTo>
                <a:cubicBezTo>
                  <a:pt x="2540362" y="1817564"/>
                  <a:pt x="2515651" y="1792854"/>
                  <a:pt x="2515651" y="1762373"/>
                </a:cubicBezTo>
                <a:cubicBezTo>
                  <a:pt x="2515651" y="1731892"/>
                  <a:pt x="2540362" y="1707182"/>
                  <a:pt x="2570843" y="1707182"/>
                </a:cubicBezTo>
                <a:close/>
                <a:moveTo>
                  <a:pt x="2437207" y="1707182"/>
                </a:moveTo>
                <a:cubicBezTo>
                  <a:pt x="2467689" y="1707182"/>
                  <a:pt x="2492398" y="1731892"/>
                  <a:pt x="2492398" y="1762373"/>
                </a:cubicBezTo>
                <a:cubicBezTo>
                  <a:pt x="2492398" y="1792854"/>
                  <a:pt x="2467689" y="1817564"/>
                  <a:pt x="2437207" y="1817564"/>
                </a:cubicBezTo>
                <a:cubicBezTo>
                  <a:pt x="2406725" y="1817564"/>
                  <a:pt x="2382015" y="1792854"/>
                  <a:pt x="2382015" y="1762373"/>
                </a:cubicBezTo>
                <a:cubicBezTo>
                  <a:pt x="2382015" y="1731892"/>
                  <a:pt x="2406725" y="1707182"/>
                  <a:pt x="2437207" y="1707182"/>
                </a:cubicBezTo>
                <a:close/>
                <a:moveTo>
                  <a:pt x="2303575" y="1707182"/>
                </a:moveTo>
                <a:cubicBezTo>
                  <a:pt x="2334057" y="1707182"/>
                  <a:pt x="2358767" y="1731892"/>
                  <a:pt x="2358767" y="1762373"/>
                </a:cubicBezTo>
                <a:cubicBezTo>
                  <a:pt x="2358767" y="1792854"/>
                  <a:pt x="2334057" y="1817564"/>
                  <a:pt x="2303575" y="1817564"/>
                </a:cubicBezTo>
                <a:cubicBezTo>
                  <a:pt x="2273093" y="1817564"/>
                  <a:pt x="2248383" y="1792854"/>
                  <a:pt x="2248383" y="1762373"/>
                </a:cubicBezTo>
                <a:cubicBezTo>
                  <a:pt x="2248383" y="1731892"/>
                  <a:pt x="2273093" y="1707182"/>
                  <a:pt x="2303575" y="1707182"/>
                </a:cubicBezTo>
                <a:close/>
                <a:moveTo>
                  <a:pt x="2173282" y="1707182"/>
                </a:moveTo>
                <a:cubicBezTo>
                  <a:pt x="2203764" y="1707182"/>
                  <a:pt x="2228474" y="1731892"/>
                  <a:pt x="2228474" y="1762373"/>
                </a:cubicBezTo>
                <a:cubicBezTo>
                  <a:pt x="2228474" y="1792854"/>
                  <a:pt x="2203764" y="1817564"/>
                  <a:pt x="2173282" y="1817564"/>
                </a:cubicBezTo>
                <a:cubicBezTo>
                  <a:pt x="2142800" y="1817564"/>
                  <a:pt x="2118090" y="1792854"/>
                  <a:pt x="2118090" y="1762373"/>
                </a:cubicBezTo>
                <a:cubicBezTo>
                  <a:pt x="2118090" y="1731892"/>
                  <a:pt x="2142800" y="1707182"/>
                  <a:pt x="2173282" y="1707182"/>
                </a:cubicBezTo>
                <a:close/>
                <a:moveTo>
                  <a:pt x="2039648" y="1707182"/>
                </a:moveTo>
                <a:cubicBezTo>
                  <a:pt x="2070129" y="1707182"/>
                  <a:pt x="2094840" y="1731892"/>
                  <a:pt x="2094840" y="1762373"/>
                </a:cubicBezTo>
                <a:cubicBezTo>
                  <a:pt x="2094840" y="1792854"/>
                  <a:pt x="2070129" y="1817564"/>
                  <a:pt x="2039648" y="1817564"/>
                </a:cubicBezTo>
                <a:cubicBezTo>
                  <a:pt x="2009165" y="1817564"/>
                  <a:pt x="1984455" y="1792854"/>
                  <a:pt x="1984455" y="1762373"/>
                </a:cubicBezTo>
                <a:cubicBezTo>
                  <a:pt x="1984455" y="1731892"/>
                  <a:pt x="2009165" y="1707182"/>
                  <a:pt x="2039648" y="1707182"/>
                </a:cubicBezTo>
                <a:close/>
                <a:moveTo>
                  <a:pt x="1909353" y="1707182"/>
                </a:moveTo>
                <a:cubicBezTo>
                  <a:pt x="1939835" y="1707182"/>
                  <a:pt x="1964545" y="1731892"/>
                  <a:pt x="1964545" y="1762373"/>
                </a:cubicBezTo>
                <a:cubicBezTo>
                  <a:pt x="1964545" y="1792854"/>
                  <a:pt x="1939835" y="1817564"/>
                  <a:pt x="1909353" y="1817564"/>
                </a:cubicBezTo>
                <a:cubicBezTo>
                  <a:pt x="1878870" y="1817564"/>
                  <a:pt x="1854161" y="1792854"/>
                  <a:pt x="1854161" y="1762373"/>
                </a:cubicBezTo>
                <a:cubicBezTo>
                  <a:pt x="1854161" y="1731892"/>
                  <a:pt x="1878870" y="1707182"/>
                  <a:pt x="1909353" y="1707182"/>
                </a:cubicBezTo>
                <a:close/>
                <a:moveTo>
                  <a:pt x="1779058" y="1707182"/>
                </a:moveTo>
                <a:cubicBezTo>
                  <a:pt x="1809540" y="1707182"/>
                  <a:pt x="1834251" y="1731892"/>
                  <a:pt x="1834251" y="1762373"/>
                </a:cubicBezTo>
                <a:cubicBezTo>
                  <a:pt x="1834251" y="1792854"/>
                  <a:pt x="1809540" y="1817564"/>
                  <a:pt x="1779058" y="1817564"/>
                </a:cubicBezTo>
                <a:cubicBezTo>
                  <a:pt x="1748577" y="1817564"/>
                  <a:pt x="1723867" y="1792854"/>
                  <a:pt x="1723867" y="1762373"/>
                </a:cubicBezTo>
                <a:cubicBezTo>
                  <a:pt x="1723867" y="1731892"/>
                  <a:pt x="1748577" y="1707182"/>
                  <a:pt x="1779058" y="1707182"/>
                </a:cubicBezTo>
                <a:close/>
                <a:moveTo>
                  <a:pt x="1645422" y="1707182"/>
                </a:moveTo>
                <a:cubicBezTo>
                  <a:pt x="1675906" y="1707182"/>
                  <a:pt x="1700617" y="1731892"/>
                  <a:pt x="1700617" y="1762373"/>
                </a:cubicBezTo>
                <a:cubicBezTo>
                  <a:pt x="1700617" y="1792854"/>
                  <a:pt x="1675906" y="1817564"/>
                  <a:pt x="1645422" y="1817564"/>
                </a:cubicBezTo>
                <a:cubicBezTo>
                  <a:pt x="1614940" y="1817564"/>
                  <a:pt x="1590230" y="1792854"/>
                  <a:pt x="1590230" y="1762373"/>
                </a:cubicBezTo>
                <a:cubicBezTo>
                  <a:pt x="1590230" y="1731892"/>
                  <a:pt x="1614940" y="1707182"/>
                  <a:pt x="1645422" y="1707182"/>
                </a:cubicBezTo>
                <a:close/>
                <a:moveTo>
                  <a:pt x="1515130" y="1707182"/>
                </a:moveTo>
                <a:cubicBezTo>
                  <a:pt x="1545612" y="1707182"/>
                  <a:pt x="1570322" y="1731892"/>
                  <a:pt x="1570322" y="1762373"/>
                </a:cubicBezTo>
                <a:cubicBezTo>
                  <a:pt x="1570322" y="1792854"/>
                  <a:pt x="1545612" y="1817564"/>
                  <a:pt x="1515130" y="1817564"/>
                </a:cubicBezTo>
                <a:cubicBezTo>
                  <a:pt x="1484648" y="1817564"/>
                  <a:pt x="1459938" y="1792854"/>
                  <a:pt x="1459938" y="1762373"/>
                </a:cubicBezTo>
                <a:cubicBezTo>
                  <a:pt x="1459938" y="1731892"/>
                  <a:pt x="1484648" y="1707182"/>
                  <a:pt x="1515130" y="1707182"/>
                </a:cubicBezTo>
                <a:close/>
                <a:moveTo>
                  <a:pt x="1381494" y="1707182"/>
                </a:moveTo>
                <a:cubicBezTo>
                  <a:pt x="1411978" y="1707182"/>
                  <a:pt x="1436688" y="1731892"/>
                  <a:pt x="1436688" y="1762373"/>
                </a:cubicBezTo>
                <a:cubicBezTo>
                  <a:pt x="1436688" y="1792854"/>
                  <a:pt x="1411978" y="1817564"/>
                  <a:pt x="1381494" y="1817564"/>
                </a:cubicBezTo>
                <a:cubicBezTo>
                  <a:pt x="1351014" y="1817564"/>
                  <a:pt x="1326303" y="1792854"/>
                  <a:pt x="1326303" y="1762373"/>
                </a:cubicBezTo>
                <a:cubicBezTo>
                  <a:pt x="1326303" y="1731892"/>
                  <a:pt x="1351014" y="1707182"/>
                  <a:pt x="1381494" y="1707182"/>
                </a:cubicBezTo>
                <a:close/>
                <a:moveTo>
                  <a:pt x="1251201" y="1707182"/>
                </a:moveTo>
                <a:cubicBezTo>
                  <a:pt x="1281685" y="1707182"/>
                  <a:pt x="1306393" y="1731892"/>
                  <a:pt x="1306393" y="1762373"/>
                </a:cubicBezTo>
                <a:cubicBezTo>
                  <a:pt x="1306393" y="1792854"/>
                  <a:pt x="1281685" y="1817564"/>
                  <a:pt x="1251201" y="1817564"/>
                </a:cubicBezTo>
                <a:cubicBezTo>
                  <a:pt x="1220721" y="1817564"/>
                  <a:pt x="1196010" y="1792854"/>
                  <a:pt x="1196010" y="1762373"/>
                </a:cubicBezTo>
                <a:cubicBezTo>
                  <a:pt x="1196010" y="1731892"/>
                  <a:pt x="1220721" y="1707182"/>
                  <a:pt x="1251201" y="1707182"/>
                </a:cubicBezTo>
                <a:close/>
                <a:moveTo>
                  <a:pt x="1909361" y="1580232"/>
                </a:moveTo>
                <a:cubicBezTo>
                  <a:pt x="1939843" y="1580232"/>
                  <a:pt x="1964554" y="1604942"/>
                  <a:pt x="1964554" y="1635423"/>
                </a:cubicBezTo>
                <a:cubicBezTo>
                  <a:pt x="1964554" y="1665904"/>
                  <a:pt x="1939843" y="1690614"/>
                  <a:pt x="1909361" y="1690614"/>
                </a:cubicBezTo>
                <a:cubicBezTo>
                  <a:pt x="1878879" y="1690614"/>
                  <a:pt x="1854168" y="1665904"/>
                  <a:pt x="1854168" y="1635423"/>
                </a:cubicBezTo>
                <a:cubicBezTo>
                  <a:pt x="1854168" y="1604942"/>
                  <a:pt x="1878879" y="1580232"/>
                  <a:pt x="1909361" y="1580232"/>
                </a:cubicBezTo>
                <a:close/>
                <a:moveTo>
                  <a:pt x="1779065" y="1580232"/>
                </a:moveTo>
                <a:cubicBezTo>
                  <a:pt x="1809547" y="1580232"/>
                  <a:pt x="1834257" y="1604942"/>
                  <a:pt x="1834257" y="1635423"/>
                </a:cubicBezTo>
                <a:cubicBezTo>
                  <a:pt x="1834257" y="1665904"/>
                  <a:pt x="1809547" y="1690614"/>
                  <a:pt x="1779065" y="1690614"/>
                </a:cubicBezTo>
                <a:cubicBezTo>
                  <a:pt x="1748583" y="1690614"/>
                  <a:pt x="1723872" y="1665904"/>
                  <a:pt x="1723872" y="1635423"/>
                </a:cubicBezTo>
                <a:cubicBezTo>
                  <a:pt x="1723872" y="1604942"/>
                  <a:pt x="1748583" y="1580232"/>
                  <a:pt x="1779065" y="1580232"/>
                </a:cubicBezTo>
                <a:close/>
                <a:moveTo>
                  <a:pt x="1645431" y="1580232"/>
                </a:moveTo>
                <a:cubicBezTo>
                  <a:pt x="1675914" y="1580232"/>
                  <a:pt x="1700623" y="1604942"/>
                  <a:pt x="1700623" y="1635423"/>
                </a:cubicBezTo>
                <a:cubicBezTo>
                  <a:pt x="1700623" y="1665904"/>
                  <a:pt x="1675914" y="1690614"/>
                  <a:pt x="1645431" y="1690614"/>
                </a:cubicBezTo>
                <a:cubicBezTo>
                  <a:pt x="1614950" y="1690614"/>
                  <a:pt x="1590238" y="1665904"/>
                  <a:pt x="1590238" y="1635423"/>
                </a:cubicBezTo>
                <a:cubicBezTo>
                  <a:pt x="1590238" y="1604942"/>
                  <a:pt x="1614950" y="1580232"/>
                  <a:pt x="1645431" y="1580232"/>
                </a:cubicBezTo>
                <a:close/>
                <a:moveTo>
                  <a:pt x="1515140" y="1580232"/>
                </a:moveTo>
                <a:cubicBezTo>
                  <a:pt x="1545619" y="1580232"/>
                  <a:pt x="1570329" y="1604942"/>
                  <a:pt x="1570329" y="1635423"/>
                </a:cubicBezTo>
                <a:cubicBezTo>
                  <a:pt x="1570329" y="1665904"/>
                  <a:pt x="1545619" y="1690614"/>
                  <a:pt x="1515140" y="1690614"/>
                </a:cubicBezTo>
                <a:cubicBezTo>
                  <a:pt x="1484656" y="1690614"/>
                  <a:pt x="1459945" y="1665904"/>
                  <a:pt x="1459945" y="1635423"/>
                </a:cubicBezTo>
                <a:cubicBezTo>
                  <a:pt x="1459945" y="1604942"/>
                  <a:pt x="1484656" y="1580232"/>
                  <a:pt x="1515140" y="1580232"/>
                </a:cubicBezTo>
                <a:close/>
                <a:moveTo>
                  <a:pt x="1381504" y="1580232"/>
                </a:moveTo>
                <a:cubicBezTo>
                  <a:pt x="1411984" y="1580232"/>
                  <a:pt x="1436697" y="1604942"/>
                  <a:pt x="1436697" y="1635423"/>
                </a:cubicBezTo>
                <a:cubicBezTo>
                  <a:pt x="1436697" y="1665904"/>
                  <a:pt x="1411984" y="1690614"/>
                  <a:pt x="1381504" y="1690614"/>
                </a:cubicBezTo>
                <a:cubicBezTo>
                  <a:pt x="1351022" y="1690614"/>
                  <a:pt x="1326312" y="1665904"/>
                  <a:pt x="1326312" y="1635423"/>
                </a:cubicBezTo>
                <a:cubicBezTo>
                  <a:pt x="1326312" y="1604942"/>
                  <a:pt x="1351022" y="1580232"/>
                  <a:pt x="1381504" y="1580232"/>
                </a:cubicBezTo>
                <a:close/>
                <a:moveTo>
                  <a:pt x="1251210" y="1580232"/>
                </a:moveTo>
                <a:cubicBezTo>
                  <a:pt x="1281690" y="1580232"/>
                  <a:pt x="1306401" y="1604942"/>
                  <a:pt x="1306401" y="1635423"/>
                </a:cubicBezTo>
                <a:cubicBezTo>
                  <a:pt x="1306401" y="1665904"/>
                  <a:pt x="1281690" y="1690614"/>
                  <a:pt x="1251210" y="1690614"/>
                </a:cubicBezTo>
                <a:cubicBezTo>
                  <a:pt x="1220727" y="1690614"/>
                  <a:pt x="1196016" y="1665904"/>
                  <a:pt x="1196016" y="1635423"/>
                </a:cubicBezTo>
                <a:cubicBezTo>
                  <a:pt x="1196016" y="1604942"/>
                  <a:pt x="1220727" y="1580232"/>
                  <a:pt x="1251210" y="1580232"/>
                </a:cubicBezTo>
                <a:close/>
                <a:moveTo>
                  <a:pt x="9068806" y="1580228"/>
                </a:moveTo>
                <a:cubicBezTo>
                  <a:pt x="9099288" y="1580228"/>
                  <a:pt x="9123998" y="1604938"/>
                  <a:pt x="9123998" y="1635419"/>
                </a:cubicBezTo>
                <a:cubicBezTo>
                  <a:pt x="9123998" y="1665900"/>
                  <a:pt x="9099288" y="1690610"/>
                  <a:pt x="9068806" y="1690610"/>
                </a:cubicBezTo>
                <a:cubicBezTo>
                  <a:pt x="9038324" y="1690610"/>
                  <a:pt x="9013614" y="1665900"/>
                  <a:pt x="9013614" y="1635419"/>
                </a:cubicBezTo>
                <a:cubicBezTo>
                  <a:pt x="9013614" y="1604938"/>
                  <a:pt x="9038324" y="1580228"/>
                  <a:pt x="9068806" y="1580228"/>
                </a:cubicBezTo>
                <a:close/>
                <a:moveTo>
                  <a:pt x="8671243" y="1580228"/>
                </a:moveTo>
                <a:cubicBezTo>
                  <a:pt x="8701725" y="1580228"/>
                  <a:pt x="8726435" y="1604938"/>
                  <a:pt x="8726435" y="1635419"/>
                </a:cubicBezTo>
                <a:cubicBezTo>
                  <a:pt x="8726435" y="1665900"/>
                  <a:pt x="8701725" y="1690610"/>
                  <a:pt x="8671243" y="1690610"/>
                </a:cubicBezTo>
                <a:cubicBezTo>
                  <a:pt x="8640761" y="1690610"/>
                  <a:pt x="8616051" y="1665900"/>
                  <a:pt x="8616051" y="1635419"/>
                </a:cubicBezTo>
                <a:cubicBezTo>
                  <a:pt x="8616051" y="1604938"/>
                  <a:pt x="8640761" y="1580228"/>
                  <a:pt x="8671243" y="1580228"/>
                </a:cubicBezTo>
                <a:close/>
                <a:moveTo>
                  <a:pt x="8537609" y="1580228"/>
                </a:moveTo>
                <a:cubicBezTo>
                  <a:pt x="8568091" y="1580228"/>
                  <a:pt x="8592801" y="1604938"/>
                  <a:pt x="8592801" y="1635419"/>
                </a:cubicBezTo>
                <a:cubicBezTo>
                  <a:pt x="8592801" y="1665900"/>
                  <a:pt x="8568091" y="1690610"/>
                  <a:pt x="8537609" y="1690610"/>
                </a:cubicBezTo>
                <a:cubicBezTo>
                  <a:pt x="8507127" y="1690610"/>
                  <a:pt x="8482417" y="1665900"/>
                  <a:pt x="8482417" y="1635419"/>
                </a:cubicBezTo>
                <a:cubicBezTo>
                  <a:pt x="8482417" y="1604938"/>
                  <a:pt x="8507127" y="1580228"/>
                  <a:pt x="8537609" y="1580228"/>
                </a:cubicBezTo>
                <a:close/>
                <a:moveTo>
                  <a:pt x="8407318" y="1580228"/>
                </a:moveTo>
                <a:cubicBezTo>
                  <a:pt x="8437800" y="1580228"/>
                  <a:pt x="8462510" y="1604938"/>
                  <a:pt x="8462510" y="1635419"/>
                </a:cubicBezTo>
                <a:cubicBezTo>
                  <a:pt x="8462510" y="1665900"/>
                  <a:pt x="8437800" y="1690610"/>
                  <a:pt x="8407318" y="1690610"/>
                </a:cubicBezTo>
                <a:cubicBezTo>
                  <a:pt x="8376836" y="1690610"/>
                  <a:pt x="8352126" y="1665900"/>
                  <a:pt x="8352126" y="1635419"/>
                </a:cubicBezTo>
                <a:cubicBezTo>
                  <a:pt x="8352126" y="1604938"/>
                  <a:pt x="8376836" y="1580228"/>
                  <a:pt x="8407318" y="1580228"/>
                </a:cubicBezTo>
                <a:close/>
                <a:moveTo>
                  <a:pt x="8273682" y="1580228"/>
                </a:moveTo>
                <a:cubicBezTo>
                  <a:pt x="8304164" y="1580228"/>
                  <a:pt x="8328874" y="1604938"/>
                  <a:pt x="8328874" y="1635419"/>
                </a:cubicBezTo>
                <a:cubicBezTo>
                  <a:pt x="8328874" y="1665900"/>
                  <a:pt x="8304164" y="1690610"/>
                  <a:pt x="8273682" y="1690610"/>
                </a:cubicBezTo>
                <a:cubicBezTo>
                  <a:pt x="8243200" y="1690610"/>
                  <a:pt x="8218490" y="1665900"/>
                  <a:pt x="8218490" y="1635419"/>
                </a:cubicBezTo>
                <a:cubicBezTo>
                  <a:pt x="8218490" y="1604938"/>
                  <a:pt x="8243200" y="1580228"/>
                  <a:pt x="8273682" y="1580228"/>
                </a:cubicBezTo>
                <a:close/>
                <a:moveTo>
                  <a:pt x="8143386" y="1580228"/>
                </a:moveTo>
                <a:cubicBezTo>
                  <a:pt x="8173868" y="1580228"/>
                  <a:pt x="8198578" y="1604938"/>
                  <a:pt x="8198578" y="1635419"/>
                </a:cubicBezTo>
                <a:cubicBezTo>
                  <a:pt x="8198578" y="1665900"/>
                  <a:pt x="8173868" y="1690610"/>
                  <a:pt x="8143386" y="1690610"/>
                </a:cubicBezTo>
                <a:cubicBezTo>
                  <a:pt x="8112904" y="1690610"/>
                  <a:pt x="8088194" y="1665900"/>
                  <a:pt x="8088194" y="1635419"/>
                </a:cubicBezTo>
                <a:cubicBezTo>
                  <a:pt x="8088194" y="1604938"/>
                  <a:pt x="8112904" y="1580228"/>
                  <a:pt x="8143386" y="1580228"/>
                </a:cubicBezTo>
                <a:close/>
                <a:moveTo>
                  <a:pt x="8009752" y="1580228"/>
                </a:moveTo>
                <a:cubicBezTo>
                  <a:pt x="8040234" y="1580228"/>
                  <a:pt x="8064944" y="1604938"/>
                  <a:pt x="8064944" y="1635419"/>
                </a:cubicBezTo>
                <a:cubicBezTo>
                  <a:pt x="8064944" y="1665900"/>
                  <a:pt x="8040234" y="1690610"/>
                  <a:pt x="8009752" y="1690610"/>
                </a:cubicBezTo>
                <a:cubicBezTo>
                  <a:pt x="7979270" y="1690610"/>
                  <a:pt x="7954560" y="1665900"/>
                  <a:pt x="7954560" y="1635419"/>
                </a:cubicBezTo>
                <a:cubicBezTo>
                  <a:pt x="7954560" y="1604938"/>
                  <a:pt x="7979270" y="1580228"/>
                  <a:pt x="8009752" y="1580228"/>
                </a:cubicBezTo>
                <a:close/>
                <a:moveTo>
                  <a:pt x="7876117" y="1580228"/>
                </a:moveTo>
                <a:cubicBezTo>
                  <a:pt x="7906599" y="1580228"/>
                  <a:pt x="7931309" y="1604938"/>
                  <a:pt x="7931309" y="1635419"/>
                </a:cubicBezTo>
                <a:cubicBezTo>
                  <a:pt x="7931309" y="1665900"/>
                  <a:pt x="7906599" y="1690610"/>
                  <a:pt x="7876117" y="1690610"/>
                </a:cubicBezTo>
                <a:cubicBezTo>
                  <a:pt x="7845635" y="1690610"/>
                  <a:pt x="7820925" y="1665900"/>
                  <a:pt x="7820925" y="1635419"/>
                </a:cubicBezTo>
                <a:cubicBezTo>
                  <a:pt x="7820925" y="1604938"/>
                  <a:pt x="7845635" y="1580228"/>
                  <a:pt x="7876117" y="1580228"/>
                </a:cubicBezTo>
                <a:close/>
                <a:moveTo>
                  <a:pt x="7745824" y="1580228"/>
                </a:moveTo>
                <a:cubicBezTo>
                  <a:pt x="7776306" y="1580228"/>
                  <a:pt x="7801016" y="1604938"/>
                  <a:pt x="7801016" y="1635419"/>
                </a:cubicBezTo>
                <a:cubicBezTo>
                  <a:pt x="7801016" y="1665900"/>
                  <a:pt x="7776306" y="1690610"/>
                  <a:pt x="7745824" y="1690610"/>
                </a:cubicBezTo>
                <a:cubicBezTo>
                  <a:pt x="7715342" y="1690610"/>
                  <a:pt x="7690632" y="1665900"/>
                  <a:pt x="7690632" y="1635419"/>
                </a:cubicBezTo>
                <a:cubicBezTo>
                  <a:pt x="7690632" y="1604938"/>
                  <a:pt x="7715342" y="1580228"/>
                  <a:pt x="7745824" y="1580228"/>
                </a:cubicBezTo>
                <a:close/>
                <a:moveTo>
                  <a:pt x="7608849" y="1580228"/>
                </a:moveTo>
                <a:cubicBezTo>
                  <a:pt x="7639331" y="1580228"/>
                  <a:pt x="7664041" y="1604938"/>
                  <a:pt x="7664041" y="1635419"/>
                </a:cubicBezTo>
                <a:cubicBezTo>
                  <a:pt x="7664041" y="1665900"/>
                  <a:pt x="7639331" y="1690610"/>
                  <a:pt x="7608849" y="1690610"/>
                </a:cubicBezTo>
                <a:cubicBezTo>
                  <a:pt x="7578367" y="1690610"/>
                  <a:pt x="7553657" y="1665900"/>
                  <a:pt x="7553657" y="1635419"/>
                </a:cubicBezTo>
                <a:cubicBezTo>
                  <a:pt x="7553657" y="1604938"/>
                  <a:pt x="7578367" y="1580228"/>
                  <a:pt x="7608849" y="1580228"/>
                </a:cubicBezTo>
                <a:close/>
                <a:moveTo>
                  <a:pt x="7481895" y="1580228"/>
                </a:moveTo>
                <a:cubicBezTo>
                  <a:pt x="7512377" y="1580228"/>
                  <a:pt x="7537087" y="1604938"/>
                  <a:pt x="7537087" y="1635419"/>
                </a:cubicBezTo>
                <a:cubicBezTo>
                  <a:pt x="7537087" y="1665900"/>
                  <a:pt x="7512377" y="1690610"/>
                  <a:pt x="7481895" y="1690610"/>
                </a:cubicBezTo>
                <a:cubicBezTo>
                  <a:pt x="7451413" y="1690610"/>
                  <a:pt x="7426703" y="1665900"/>
                  <a:pt x="7426703" y="1635419"/>
                </a:cubicBezTo>
                <a:cubicBezTo>
                  <a:pt x="7426703" y="1604938"/>
                  <a:pt x="7451413" y="1580228"/>
                  <a:pt x="7481895" y="1580228"/>
                </a:cubicBezTo>
                <a:close/>
                <a:moveTo>
                  <a:pt x="7341579" y="1580228"/>
                </a:moveTo>
                <a:cubicBezTo>
                  <a:pt x="7372061" y="1580228"/>
                  <a:pt x="7396771" y="1604938"/>
                  <a:pt x="7396771" y="1635419"/>
                </a:cubicBezTo>
                <a:cubicBezTo>
                  <a:pt x="7396771" y="1665900"/>
                  <a:pt x="7372061" y="1690610"/>
                  <a:pt x="7341579" y="1690610"/>
                </a:cubicBezTo>
                <a:cubicBezTo>
                  <a:pt x="7311097" y="1690610"/>
                  <a:pt x="7286387" y="1665900"/>
                  <a:pt x="7286387" y="1635419"/>
                </a:cubicBezTo>
                <a:cubicBezTo>
                  <a:pt x="7286387" y="1604938"/>
                  <a:pt x="7311097" y="1580228"/>
                  <a:pt x="7341579" y="1580228"/>
                </a:cubicBezTo>
                <a:close/>
                <a:moveTo>
                  <a:pt x="7211286" y="1580228"/>
                </a:moveTo>
                <a:cubicBezTo>
                  <a:pt x="7241768" y="1580228"/>
                  <a:pt x="7266478" y="1604938"/>
                  <a:pt x="7266478" y="1635419"/>
                </a:cubicBezTo>
                <a:cubicBezTo>
                  <a:pt x="7266478" y="1665900"/>
                  <a:pt x="7241768" y="1690610"/>
                  <a:pt x="7211286" y="1690610"/>
                </a:cubicBezTo>
                <a:cubicBezTo>
                  <a:pt x="7180804" y="1690610"/>
                  <a:pt x="7156094" y="1665900"/>
                  <a:pt x="7156094" y="1635419"/>
                </a:cubicBezTo>
                <a:cubicBezTo>
                  <a:pt x="7156094" y="1604938"/>
                  <a:pt x="7180804" y="1580228"/>
                  <a:pt x="7211286" y="1580228"/>
                </a:cubicBezTo>
                <a:close/>
                <a:moveTo>
                  <a:pt x="7080993" y="1580228"/>
                </a:moveTo>
                <a:cubicBezTo>
                  <a:pt x="7111475" y="1580228"/>
                  <a:pt x="7136185" y="1604938"/>
                  <a:pt x="7136185" y="1635419"/>
                </a:cubicBezTo>
                <a:cubicBezTo>
                  <a:pt x="7136185" y="1665900"/>
                  <a:pt x="7111475" y="1690610"/>
                  <a:pt x="7080993" y="1690610"/>
                </a:cubicBezTo>
                <a:cubicBezTo>
                  <a:pt x="7050511" y="1690610"/>
                  <a:pt x="7025801" y="1665900"/>
                  <a:pt x="7025801" y="1635419"/>
                </a:cubicBezTo>
                <a:cubicBezTo>
                  <a:pt x="7025801" y="1604938"/>
                  <a:pt x="7050511" y="1580228"/>
                  <a:pt x="7080993" y="1580228"/>
                </a:cubicBezTo>
                <a:close/>
                <a:moveTo>
                  <a:pt x="6947357" y="1580228"/>
                </a:moveTo>
                <a:cubicBezTo>
                  <a:pt x="6977839" y="1580228"/>
                  <a:pt x="7002549" y="1604938"/>
                  <a:pt x="7002549" y="1635419"/>
                </a:cubicBezTo>
                <a:cubicBezTo>
                  <a:pt x="7002549" y="1665900"/>
                  <a:pt x="6977839" y="1690610"/>
                  <a:pt x="6947357" y="1690610"/>
                </a:cubicBezTo>
                <a:cubicBezTo>
                  <a:pt x="6916875" y="1690610"/>
                  <a:pt x="6892165" y="1665900"/>
                  <a:pt x="6892165" y="1635419"/>
                </a:cubicBezTo>
                <a:cubicBezTo>
                  <a:pt x="6892165" y="1604938"/>
                  <a:pt x="6916875" y="1580228"/>
                  <a:pt x="6947357" y="1580228"/>
                </a:cubicBezTo>
                <a:close/>
                <a:moveTo>
                  <a:pt x="6817063" y="1580228"/>
                </a:moveTo>
                <a:cubicBezTo>
                  <a:pt x="6847545" y="1580228"/>
                  <a:pt x="6872255" y="1604938"/>
                  <a:pt x="6872255" y="1635419"/>
                </a:cubicBezTo>
                <a:cubicBezTo>
                  <a:pt x="6872255" y="1665900"/>
                  <a:pt x="6847545" y="1690610"/>
                  <a:pt x="6817063" y="1690610"/>
                </a:cubicBezTo>
                <a:cubicBezTo>
                  <a:pt x="6786581" y="1690610"/>
                  <a:pt x="6761871" y="1665900"/>
                  <a:pt x="6761871" y="1635419"/>
                </a:cubicBezTo>
                <a:cubicBezTo>
                  <a:pt x="6761871" y="1604938"/>
                  <a:pt x="6786581" y="1580228"/>
                  <a:pt x="6817063" y="1580228"/>
                </a:cubicBezTo>
                <a:close/>
                <a:moveTo>
                  <a:pt x="6683431" y="1580228"/>
                </a:moveTo>
                <a:cubicBezTo>
                  <a:pt x="6713913" y="1580228"/>
                  <a:pt x="6738623" y="1604938"/>
                  <a:pt x="6738623" y="1635419"/>
                </a:cubicBezTo>
                <a:cubicBezTo>
                  <a:pt x="6738623" y="1665900"/>
                  <a:pt x="6713913" y="1690610"/>
                  <a:pt x="6683431" y="1690610"/>
                </a:cubicBezTo>
                <a:cubicBezTo>
                  <a:pt x="6652949" y="1690610"/>
                  <a:pt x="6628239" y="1665900"/>
                  <a:pt x="6628239" y="1635419"/>
                </a:cubicBezTo>
                <a:cubicBezTo>
                  <a:pt x="6628239" y="1604938"/>
                  <a:pt x="6652949" y="1580228"/>
                  <a:pt x="6683431" y="1580228"/>
                </a:cubicBezTo>
                <a:close/>
                <a:moveTo>
                  <a:pt x="6553137" y="1580228"/>
                </a:moveTo>
                <a:cubicBezTo>
                  <a:pt x="6583619" y="1580228"/>
                  <a:pt x="6608329" y="1604938"/>
                  <a:pt x="6608329" y="1635419"/>
                </a:cubicBezTo>
                <a:cubicBezTo>
                  <a:pt x="6608329" y="1665900"/>
                  <a:pt x="6583619" y="1690610"/>
                  <a:pt x="6553137" y="1690610"/>
                </a:cubicBezTo>
                <a:cubicBezTo>
                  <a:pt x="6522655" y="1690610"/>
                  <a:pt x="6497945" y="1665900"/>
                  <a:pt x="6497945" y="1635419"/>
                </a:cubicBezTo>
                <a:cubicBezTo>
                  <a:pt x="6497945" y="1604938"/>
                  <a:pt x="6522655" y="1580228"/>
                  <a:pt x="6553137" y="1580228"/>
                </a:cubicBezTo>
                <a:close/>
                <a:moveTo>
                  <a:pt x="6419502" y="1580228"/>
                </a:moveTo>
                <a:cubicBezTo>
                  <a:pt x="6449984" y="1580228"/>
                  <a:pt x="6474694" y="1604938"/>
                  <a:pt x="6474694" y="1635419"/>
                </a:cubicBezTo>
                <a:cubicBezTo>
                  <a:pt x="6474694" y="1665900"/>
                  <a:pt x="6449984" y="1690610"/>
                  <a:pt x="6419502" y="1690610"/>
                </a:cubicBezTo>
                <a:cubicBezTo>
                  <a:pt x="6389020" y="1690610"/>
                  <a:pt x="6364310" y="1665900"/>
                  <a:pt x="6364310" y="1635419"/>
                </a:cubicBezTo>
                <a:cubicBezTo>
                  <a:pt x="6364310" y="1604938"/>
                  <a:pt x="6389020" y="1580228"/>
                  <a:pt x="6419502" y="1580228"/>
                </a:cubicBezTo>
                <a:close/>
                <a:moveTo>
                  <a:pt x="6289208" y="1580228"/>
                </a:moveTo>
                <a:cubicBezTo>
                  <a:pt x="6319690" y="1580228"/>
                  <a:pt x="6344400" y="1604938"/>
                  <a:pt x="6344400" y="1635419"/>
                </a:cubicBezTo>
                <a:cubicBezTo>
                  <a:pt x="6344400" y="1665900"/>
                  <a:pt x="6319690" y="1690610"/>
                  <a:pt x="6289208" y="1690610"/>
                </a:cubicBezTo>
                <a:cubicBezTo>
                  <a:pt x="6258726" y="1690610"/>
                  <a:pt x="6234016" y="1665900"/>
                  <a:pt x="6234016" y="1635419"/>
                </a:cubicBezTo>
                <a:cubicBezTo>
                  <a:pt x="6234016" y="1604938"/>
                  <a:pt x="6258726" y="1580228"/>
                  <a:pt x="6289208" y="1580228"/>
                </a:cubicBezTo>
                <a:close/>
                <a:moveTo>
                  <a:pt x="6155572" y="1580228"/>
                </a:moveTo>
                <a:cubicBezTo>
                  <a:pt x="6186054" y="1580228"/>
                  <a:pt x="6210764" y="1604938"/>
                  <a:pt x="6210764" y="1635419"/>
                </a:cubicBezTo>
                <a:cubicBezTo>
                  <a:pt x="6210764" y="1665900"/>
                  <a:pt x="6186054" y="1690610"/>
                  <a:pt x="6155572" y="1690610"/>
                </a:cubicBezTo>
                <a:cubicBezTo>
                  <a:pt x="6125090" y="1690610"/>
                  <a:pt x="6100380" y="1665900"/>
                  <a:pt x="6100380" y="1635419"/>
                </a:cubicBezTo>
                <a:cubicBezTo>
                  <a:pt x="6100380" y="1604938"/>
                  <a:pt x="6125090" y="1580228"/>
                  <a:pt x="6155572" y="1580228"/>
                </a:cubicBezTo>
                <a:close/>
                <a:moveTo>
                  <a:pt x="6021938" y="1580228"/>
                </a:moveTo>
                <a:cubicBezTo>
                  <a:pt x="6052420" y="1580228"/>
                  <a:pt x="6077130" y="1604938"/>
                  <a:pt x="6077130" y="1635419"/>
                </a:cubicBezTo>
                <a:cubicBezTo>
                  <a:pt x="6077130" y="1665900"/>
                  <a:pt x="6052420" y="1690610"/>
                  <a:pt x="6021938" y="1690610"/>
                </a:cubicBezTo>
                <a:cubicBezTo>
                  <a:pt x="5991456" y="1690610"/>
                  <a:pt x="5966746" y="1665900"/>
                  <a:pt x="5966746" y="1635419"/>
                </a:cubicBezTo>
                <a:cubicBezTo>
                  <a:pt x="5966746" y="1604938"/>
                  <a:pt x="5991456" y="1580228"/>
                  <a:pt x="6021938" y="1580228"/>
                </a:cubicBezTo>
                <a:close/>
                <a:moveTo>
                  <a:pt x="5884964" y="1580228"/>
                </a:moveTo>
                <a:cubicBezTo>
                  <a:pt x="5915446" y="1580228"/>
                  <a:pt x="5940156" y="1604938"/>
                  <a:pt x="5940156" y="1635419"/>
                </a:cubicBezTo>
                <a:cubicBezTo>
                  <a:pt x="5940156" y="1665900"/>
                  <a:pt x="5915446" y="1690610"/>
                  <a:pt x="5884964" y="1690610"/>
                </a:cubicBezTo>
                <a:cubicBezTo>
                  <a:pt x="5854482" y="1690610"/>
                  <a:pt x="5829772" y="1665900"/>
                  <a:pt x="5829772" y="1635419"/>
                </a:cubicBezTo>
                <a:cubicBezTo>
                  <a:pt x="5829772" y="1604938"/>
                  <a:pt x="5854482" y="1580228"/>
                  <a:pt x="5884964" y="1580228"/>
                </a:cubicBezTo>
                <a:close/>
                <a:moveTo>
                  <a:pt x="5754670" y="1580228"/>
                </a:moveTo>
                <a:cubicBezTo>
                  <a:pt x="5785152" y="1580228"/>
                  <a:pt x="5809862" y="1604938"/>
                  <a:pt x="5809862" y="1635419"/>
                </a:cubicBezTo>
                <a:cubicBezTo>
                  <a:pt x="5809862" y="1665900"/>
                  <a:pt x="5785152" y="1690610"/>
                  <a:pt x="5754670" y="1690610"/>
                </a:cubicBezTo>
                <a:cubicBezTo>
                  <a:pt x="5724188" y="1690610"/>
                  <a:pt x="5699478" y="1665900"/>
                  <a:pt x="5699478" y="1635419"/>
                </a:cubicBezTo>
                <a:cubicBezTo>
                  <a:pt x="5699478" y="1604938"/>
                  <a:pt x="5724188" y="1580228"/>
                  <a:pt x="5754670" y="1580228"/>
                </a:cubicBezTo>
                <a:close/>
                <a:moveTo>
                  <a:pt x="5621035" y="1580228"/>
                </a:moveTo>
                <a:cubicBezTo>
                  <a:pt x="5651517" y="1580228"/>
                  <a:pt x="5676227" y="1604938"/>
                  <a:pt x="5676227" y="1635419"/>
                </a:cubicBezTo>
                <a:cubicBezTo>
                  <a:pt x="5676227" y="1665900"/>
                  <a:pt x="5651517" y="1690610"/>
                  <a:pt x="5621035" y="1690610"/>
                </a:cubicBezTo>
                <a:cubicBezTo>
                  <a:pt x="5590553" y="1690610"/>
                  <a:pt x="5565843" y="1665900"/>
                  <a:pt x="5565843" y="1635419"/>
                </a:cubicBezTo>
                <a:cubicBezTo>
                  <a:pt x="5565843" y="1604938"/>
                  <a:pt x="5590553" y="1580228"/>
                  <a:pt x="5621035" y="1580228"/>
                </a:cubicBezTo>
                <a:close/>
                <a:moveTo>
                  <a:pt x="5357105" y="1580228"/>
                </a:moveTo>
                <a:cubicBezTo>
                  <a:pt x="5387587" y="1580228"/>
                  <a:pt x="5412297" y="1604938"/>
                  <a:pt x="5412297" y="1635419"/>
                </a:cubicBezTo>
                <a:cubicBezTo>
                  <a:pt x="5412297" y="1665900"/>
                  <a:pt x="5387587" y="1690610"/>
                  <a:pt x="5357105" y="1690610"/>
                </a:cubicBezTo>
                <a:cubicBezTo>
                  <a:pt x="5326623" y="1690610"/>
                  <a:pt x="5301913" y="1665900"/>
                  <a:pt x="5301913" y="1635419"/>
                </a:cubicBezTo>
                <a:cubicBezTo>
                  <a:pt x="5301913" y="1604938"/>
                  <a:pt x="5326623" y="1580228"/>
                  <a:pt x="5357105" y="1580228"/>
                </a:cubicBezTo>
                <a:close/>
                <a:moveTo>
                  <a:pt x="5223473" y="1580228"/>
                </a:moveTo>
                <a:cubicBezTo>
                  <a:pt x="5253955" y="1580228"/>
                  <a:pt x="5278665" y="1604938"/>
                  <a:pt x="5278665" y="1635419"/>
                </a:cubicBezTo>
                <a:cubicBezTo>
                  <a:pt x="5278665" y="1665900"/>
                  <a:pt x="5253955" y="1690610"/>
                  <a:pt x="5223473" y="1690610"/>
                </a:cubicBezTo>
                <a:cubicBezTo>
                  <a:pt x="5192991" y="1690610"/>
                  <a:pt x="5168281" y="1665900"/>
                  <a:pt x="5168281" y="1635419"/>
                </a:cubicBezTo>
                <a:cubicBezTo>
                  <a:pt x="5168281" y="1604938"/>
                  <a:pt x="5192991" y="1580228"/>
                  <a:pt x="5223473" y="1580228"/>
                </a:cubicBezTo>
                <a:close/>
                <a:moveTo>
                  <a:pt x="5093178" y="1580228"/>
                </a:moveTo>
                <a:cubicBezTo>
                  <a:pt x="5123660" y="1580228"/>
                  <a:pt x="5148370" y="1604938"/>
                  <a:pt x="5148370" y="1635419"/>
                </a:cubicBezTo>
                <a:cubicBezTo>
                  <a:pt x="5148370" y="1665900"/>
                  <a:pt x="5123660" y="1690610"/>
                  <a:pt x="5093178" y="1690610"/>
                </a:cubicBezTo>
                <a:cubicBezTo>
                  <a:pt x="5062696" y="1690610"/>
                  <a:pt x="5037986" y="1665900"/>
                  <a:pt x="5037986" y="1635419"/>
                </a:cubicBezTo>
                <a:cubicBezTo>
                  <a:pt x="5037986" y="1604938"/>
                  <a:pt x="5062696" y="1580228"/>
                  <a:pt x="5093178" y="1580228"/>
                </a:cubicBezTo>
                <a:close/>
                <a:moveTo>
                  <a:pt x="4959543" y="1580228"/>
                </a:moveTo>
                <a:cubicBezTo>
                  <a:pt x="4990025" y="1580228"/>
                  <a:pt x="5014735" y="1604938"/>
                  <a:pt x="5014735" y="1635419"/>
                </a:cubicBezTo>
                <a:cubicBezTo>
                  <a:pt x="5014735" y="1665900"/>
                  <a:pt x="4990025" y="1690610"/>
                  <a:pt x="4959543" y="1690610"/>
                </a:cubicBezTo>
                <a:cubicBezTo>
                  <a:pt x="4929061" y="1690610"/>
                  <a:pt x="4904351" y="1665900"/>
                  <a:pt x="4904351" y="1635419"/>
                </a:cubicBezTo>
                <a:cubicBezTo>
                  <a:pt x="4904351" y="1604938"/>
                  <a:pt x="4929061" y="1580228"/>
                  <a:pt x="4959543" y="1580228"/>
                </a:cubicBezTo>
                <a:close/>
                <a:moveTo>
                  <a:pt x="4829251" y="1580228"/>
                </a:moveTo>
                <a:cubicBezTo>
                  <a:pt x="4859733" y="1580228"/>
                  <a:pt x="4884443" y="1604938"/>
                  <a:pt x="4884443" y="1635419"/>
                </a:cubicBezTo>
                <a:cubicBezTo>
                  <a:pt x="4884443" y="1665900"/>
                  <a:pt x="4859733" y="1690610"/>
                  <a:pt x="4829251" y="1690610"/>
                </a:cubicBezTo>
                <a:cubicBezTo>
                  <a:pt x="4798769" y="1690610"/>
                  <a:pt x="4774059" y="1665900"/>
                  <a:pt x="4774059" y="1635419"/>
                </a:cubicBezTo>
                <a:cubicBezTo>
                  <a:pt x="4774059" y="1604938"/>
                  <a:pt x="4798769" y="1580228"/>
                  <a:pt x="4829251" y="1580228"/>
                </a:cubicBezTo>
                <a:close/>
                <a:moveTo>
                  <a:pt x="4695613" y="1580228"/>
                </a:moveTo>
                <a:cubicBezTo>
                  <a:pt x="4726095" y="1580228"/>
                  <a:pt x="4750805" y="1604938"/>
                  <a:pt x="4750805" y="1635419"/>
                </a:cubicBezTo>
                <a:cubicBezTo>
                  <a:pt x="4750805" y="1665900"/>
                  <a:pt x="4726095" y="1690610"/>
                  <a:pt x="4695613" y="1690610"/>
                </a:cubicBezTo>
                <a:cubicBezTo>
                  <a:pt x="4665131" y="1690610"/>
                  <a:pt x="4640421" y="1665900"/>
                  <a:pt x="4640421" y="1635419"/>
                </a:cubicBezTo>
                <a:cubicBezTo>
                  <a:pt x="4640421" y="1604938"/>
                  <a:pt x="4665131" y="1580228"/>
                  <a:pt x="4695613" y="1580228"/>
                </a:cubicBezTo>
                <a:close/>
                <a:moveTo>
                  <a:pt x="4565322" y="1580228"/>
                </a:moveTo>
                <a:cubicBezTo>
                  <a:pt x="4595804" y="1580228"/>
                  <a:pt x="4620514" y="1604938"/>
                  <a:pt x="4620514" y="1635419"/>
                </a:cubicBezTo>
                <a:cubicBezTo>
                  <a:pt x="4620514" y="1665900"/>
                  <a:pt x="4595804" y="1690610"/>
                  <a:pt x="4565322" y="1690610"/>
                </a:cubicBezTo>
                <a:cubicBezTo>
                  <a:pt x="4534840" y="1690610"/>
                  <a:pt x="4510130" y="1665900"/>
                  <a:pt x="4510130" y="1635419"/>
                </a:cubicBezTo>
                <a:cubicBezTo>
                  <a:pt x="4510130" y="1604938"/>
                  <a:pt x="4534840" y="1580228"/>
                  <a:pt x="4565322" y="1580228"/>
                </a:cubicBezTo>
                <a:close/>
                <a:moveTo>
                  <a:pt x="3098681" y="1580228"/>
                </a:moveTo>
                <a:cubicBezTo>
                  <a:pt x="3129163" y="1580228"/>
                  <a:pt x="3153873" y="1604938"/>
                  <a:pt x="3153873" y="1635419"/>
                </a:cubicBezTo>
                <a:cubicBezTo>
                  <a:pt x="3153873" y="1665900"/>
                  <a:pt x="3129163" y="1690610"/>
                  <a:pt x="3098681" y="1690610"/>
                </a:cubicBezTo>
                <a:cubicBezTo>
                  <a:pt x="3068199" y="1690610"/>
                  <a:pt x="3043489" y="1665900"/>
                  <a:pt x="3043489" y="1635419"/>
                </a:cubicBezTo>
                <a:cubicBezTo>
                  <a:pt x="3043489" y="1604938"/>
                  <a:pt x="3068199" y="1580228"/>
                  <a:pt x="3098681" y="1580228"/>
                </a:cubicBezTo>
                <a:close/>
                <a:moveTo>
                  <a:pt x="2971729" y="1580228"/>
                </a:moveTo>
                <a:cubicBezTo>
                  <a:pt x="3002211" y="1580228"/>
                  <a:pt x="3026921" y="1604938"/>
                  <a:pt x="3026921" y="1635419"/>
                </a:cubicBezTo>
                <a:cubicBezTo>
                  <a:pt x="3026921" y="1665900"/>
                  <a:pt x="3002211" y="1690610"/>
                  <a:pt x="2971729" y="1690610"/>
                </a:cubicBezTo>
                <a:cubicBezTo>
                  <a:pt x="2941247" y="1690610"/>
                  <a:pt x="2916537" y="1665900"/>
                  <a:pt x="2916537" y="1635419"/>
                </a:cubicBezTo>
                <a:cubicBezTo>
                  <a:pt x="2916537" y="1604938"/>
                  <a:pt x="2941247" y="1580228"/>
                  <a:pt x="2971729" y="1580228"/>
                </a:cubicBezTo>
                <a:close/>
                <a:moveTo>
                  <a:pt x="2834783" y="1580228"/>
                </a:moveTo>
                <a:cubicBezTo>
                  <a:pt x="2865264" y="1580228"/>
                  <a:pt x="2889974" y="1604938"/>
                  <a:pt x="2889974" y="1635419"/>
                </a:cubicBezTo>
                <a:cubicBezTo>
                  <a:pt x="2889974" y="1665900"/>
                  <a:pt x="2865264" y="1690610"/>
                  <a:pt x="2834783" y="1690610"/>
                </a:cubicBezTo>
                <a:cubicBezTo>
                  <a:pt x="2804300" y="1690610"/>
                  <a:pt x="2779590" y="1665900"/>
                  <a:pt x="2779590" y="1635419"/>
                </a:cubicBezTo>
                <a:cubicBezTo>
                  <a:pt x="2779590" y="1604938"/>
                  <a:pt x="2804300" y="1580228"/>
                  <a:pt x="2834783" y="1580228"/>
                </a:cubicBezTo>
                <a:close/>
                <a:moveTo>
                  <a:pt x="2707828" y="1580228"/>
                </a:moveTo>
                <a:cubicBezTo>
                  <a:pt x="2738310" y="1580228"/>
                  <a:pt x="2763021" y="1604938"/>
                  <a:pt x="2763021" y="1635419"/>
                </a:cubicBezTo>
                <a:cubicBezTo>
                  <a:pt x="2763021" y="1665900"/>
                  <a:pt x="2738310" y="1690610"/>
                  <a:pt x="2707828" y="1690610"/>
                </a:cubicBezTo>
                <a:cubicBezTo>
                  <a:pt x="2677345" y="1690610"/>
                  <a:pt x="2652636" y="1665900"/>
                  <a:pt x="2652636" y="1635419"/>
                </a:cubicBezTo>
                <a:cubicBezTo>
                  <a:pt x="2652636" y="1604938"/>
                  <a:pt x="2677345" y="1580228"/>
                  <a:pt x="2707828" y="1580228"/>
                </a:cubicBezTo>
                <a:close/>
                <a:moveTo>
                  <a:pt x="2570854" y="1580228"/>
                </a:moveTo>
                <a:cubicBezTo>
                  <a:pt x="2601336" y="1580228"/>
                  <a:pt x="2626046" y="1604938"/>
                  <a:pt x="2626046" y="1635419"/>
                </a:cubicBezTo>
                <a:cubicBezTo>
                  <a:pt x="2626046" y="1665900"/>
                  <a:pt x="2601336" y="1690610"/>
                  <a:pt x="2570854" y="1690610"/>
                </a:cubicBezTo>
                <a:cubicBezTo>
                  <a:pt x="2540372" y="1690610"/>
                  <a:pt x="2515662" y="1665900"/>
                  <a:pt x="2515662" y="1635419"/>
                </a:cubicBezTo>
                <a:cubicBezTo>
                  <a:pt x="2515662" y="1604938"/>
                  <a:pt x="2540372" y="1580228"/>
                  <a:pt x="2570854" y="1580228"/>
                </a:cubicBezTo>
                <a:close/>
                <a:moveTo>
                  <a:pt x="2437218" y="1580228"/>
                </a:moveTo>
                <a:cubicBezTo>
                  <a:pt x="2467700" y="1580228"/>
                  <a:pt x="2492409" y="1604938"/>
                  <a:pt x="2492409" y="1635419"/>
                </a:cubicBezTo>
                <a:cubicBezTo>
                  <a:pt x="2492409" y="1665900"/>
                  <a:pt x="2467700" y="1690610"/>
                  <a:pt x="2437218" y="1690610"/>
                </a:cubicBezTo>
                <a:cubicBezTo>
                  <a:pt x="2406736" y="1690610"/>
                  <a:pt x="2382026" y="1665900"/>
                  <a:pt x="2382026" y="1635419"/>
                </a:cubicBezTo>
                <a:cubicBezTo>
                  <a:pt x="2382026" y="1604938"/>
                  <a:pt x="2406736" y="1580228"/>
                  <a:pt x="2437218" y="1580228"/>
                </a:cubicBezTo>
                <a:close/>
                <a:moveTo>
                  <a:pt x="2303586" y="1580228"/>
                </a:moveTo>
                <a:cubicBezTo>
                  <a:pt x="2334067" y="1580228"/>
                  <a:pt x="2358778" y="1604938"/>
                  <a:pt x="2358778" y="1635419"/>
                </a:cubicBezTo>
                <a:cubicBezTo>
                  <a:pt x="2358778" y="1665900"/>
                  <a:pt x="2334067" y="1690610"/>
                  <a:pt x="2303586" y="1690610"/>
                </a:cubicBezTo>
                <a:cubicBezTo>
                  <a:pt x="2273104" y="1690610"/>
                  <a:pt x="2248394" y="1665900"/>
                  <a:pt x="2248394" y="1635419"/>
                </a:cubicBezTo>
                <a:cubicBezTo>
                  <a:pt x="2248394" y="1604938"/>
                  <a:pt x="2273104" y="1580228"/>
                  <a:pt x="2303586" y="1580228"/>
                </a:cubicBezTo>
                <a:close/>
                <a:moveTo>
                  <a:pt x="2173293" y="1580228"/>
                </a:moveTo>
                <a:cubicBezTo>
                  <a:pt x="2203775" y="1580228"/>
                  <a:pt x="2228486" y="1604938"/>
                  <a:pt x="2228486" y="1635419"/>
                </a:cubicBezTo>
                <a:cubicBezTo>
                  <a:pt x="2228486" y="1665900"/>
                  <a:pt x="2203775" y="1690610"/>
                  <a:pt x="2173293" y="1690610"/>
                </a:cubicBezTo>
                <a:cubicBezTo>
                  <a:pt x="2142811" y="1690610"/>
                  <a:pt x="2118101" y="1665900"/>
                  <a:pt x="2118101" y="1635419"/>
                </a:cubicBezTo>
                <a:cubicBezTo>
                  <a:pt x="2118101" y="1604938"/>
                  <a:pt x="2142811" y="1580228"/>
                  <a:pt x="2173293" y="1580228"/>
                </a:cubicBezTo>
                <a:close/>
                <a:moveTo>
                  <a:pt x="2039658" y="1580228"/>
                </a:moveTo>
                <a:cubicBezTo>
                  <a:pt x="2070140" y="1580228"/>
                  <a:pt x="2094851" y="1604938"/>
                  <a:pt x="2094851" y="1635419"/>
                </a:cubicBezTo>
                <a:cubicBezTo>
                  <a:pt x="2094851" y="1665900"/>
                  <a:pt x="2070140" y="1690610"/>
                  <a:pt x="2039658" y="1690610"/>
                </a:cubicBezTo>
                <a:cubicBezTo>
                  <a:pt x="2009176" y="1690610"/>
                  <a:pt x="1984465" y="1665900"/>
                  <a:pt x="1984465" y="1635419"/>
                </a:cubicBezTo>
                <a:cubicBezTo>
                  <a:pt x="1984465" y="1604938"/>
                  <a:pt x="2009176" y="1580228"/>
                  <a:pt x="2039658" y="1580228"/>
                </a:cubicBezTo>
                <a:close/>
                <a:moveTo>
                  <a:pt x="9068807" y="1459958"/>
                </a:moveTo>
                <a:cubicBezTo>
                  <a:pt x="9099289" y="1459958"/>
                  <a:pt x="9123999" y="1484668"/>
                  <a:pt x="9123999" y="1515149"/>
                </a:cubicBezTo>
                <a:cubicBezTo>
                  <a:pt x="9123999" y="1545630"/>
                  <a:pt x="9099289" y="1570340"/>
                  <a:pt x="9068807" y="1570340"/>
                </a:cubicBezTo>
                <a:cubicBezTo>
                  <a:pt x="9038325" y="1570340"/>
                  <a:pt x="9013615" y="1545630"/>
                  <a:pt x="9013615" y="1515149"/>
                </a:cubicBezTo>
                <a:cubicBezTo>
                  <a:pt x="9013615" y="1484668"/>
                  <a:pt x="9038325" y="1459958"/>
                  <a:pt x="9068807" y="1459958"/>
                </a:cubicBezTo>
                <a:close/>
                <a:moveTo>
                  <a:pt x="8671244" y="1459958"/>
                </a:moveTo>
                <a:cubicBezTo>
                  <a:pt x="8701726" y="1459958"/>
                  <a:pt x="8726436" y="1484668"/>
                  <a:pt x="8726436" y="1515149"/>
                </a:cubicBezTo>
                <a:cubicBezTo>
                  <a:pt x="8726436" y="1545630"/>
                  <a:pt x="8701726" y="1570340"/>
                  <a:pt x="8671244" y="1570340"/>
                </a:cubicBezTo>
                <a:cubicBezTo>
                  <a:pt x="8640762" y="1570340"/>
                  <a:pt x="8616052" y="1545630"/>
                  <a:pt x="8616052" y="1515149"/>
                </a:cubicBezTo>
                <a:cubicBezTo>
                  <a:pt x="8616052" y="1484668"/>
                  <a:pt x="8640762" y="1459958"/>
                  <a:pt x="8671244" y="1459958"/>
                </a:cubicBezTo>
                <a:close/>
                <a:moveTo>
                  <a:pt x="8537612" y="1459958"/>
                </a:moveTo>
                <a:cubicBezTo>
                  <a:pt x="8568094" y="1459958"/>
                  <a:pt x="8592804" y="1484668"/>
                  <a:pt x="8592804" y="1515149"/>
                </a:cubicBezTo>
                <a:cubicBezTo>
                  <a:pt x="8592804" y="1545630"/>
                  <a:pt x="8568094" y="1570340"/>
                  <a:pt x="8537612" y="1570340"/>
                </a:cubicBezTo>
                <a:cubicBezTo>
                  <a:pt x="8507130" y="1570340"/>
                  <a:pt x="8482420" y="1545630"/>
                  <a:pt x="8482420" y="1515149"/>
                </a:cubicBezTo>
                <a:cubicBezTo>
                  <a:pt x="8482420" y="1484668"/>
                  <a:pt x="8507130" y="1459958"/>
                  <a:pt x="8537612" y="1459958"/>
                </a:cubicBezTo>
                <a:close/>
                <a:moveTo>
                  <a:pt x="8407316" y="1459958"/>
                </a:moveTo>
                <a:cubicBezTo>
                  <a:pt x="8437798" y="1459958"/>
                  <a:pt x="8462508" y="1484668"/>
                  <a:pt x="8462508" y="1515149"/>
                </a:cubicBezTo>
                <a:cubicBezTo>
                  <a:pt x="8462508" y="1545630"/>
                  <a:pt x="8437798" y="1570340"/>
                  <a:pt x="8407316" y="1570340"/>
                </a:cubicBezTo>
                <a:cubicBezTo>
                  <a:pt x="8376834" y="1570340"/>
                  <a:pt x="8352124" y="1545630"/>
                  <a:pt x="8352124" y="1515149"/>
                </a:cubicBezTo>
                <a:cubicBezTo>
                  <a:pt x="8352124" y="1484668"/>
                  <a:pt x="8376834" y="1459958"/>
                  <a:pt x="8407316" y="1459958"/>
                </a:cubicBezTo>
                <a:close/>
                <a:moveTo>
                  <a:pt x="8273682" y="1459958"/>
                </a:moveTo>
                <a:cubicBezTo>
                  <a:pt x="8304164" y="1459958"/>
                  <a:pt x="8328874" y="1484668"/>
                  <a:pt x="8328874" y="1515149"/>
                </a:cubicBezTo>
                <a:cubicBezTo>
                  <a:pt x="8328874" y="1545630"/>
                  <a:pt x="8304164" y="1570340"/>
                  <a:pt x="8273682" y="1570340"/>
                </a:cubicBezTo>
                <a:cubicBezTo>
                  <a:pt x="8243200" y="1570340"/>
                  <a:pt x="8218490" y="1545630"/>
                  <a:pt x="8218490" y="1515149"/>
                </a:cubicBezTo>
                <a:cubicBezTo>
                  <a:pt x="8218490" y="1484668"/>
                  <a:pt x="8243200" y="1459958"/>
                  <a:pt x="8273682" y="1459958"/>
                </a:cubicBezTo>
                <a:close/>
                <a:moveTo>
                  <a:pt x="8143388" y="1459958"/>
                </a:moveTo>
                <a:cubicBezTo>
                  <a:pt x="8173870" y="1459958"/>
                  <a:pt x="8198580" y="1484668"/>
                  <a:pt x="8198580" y="1515149"/>
                </a:cubicBezTo>
                <a:cubicBezTo>
                  <a:pt x="8198580" y="1545630"/>
                  <a:pt x="8173870" y="1570340"/>
                  <a:pt x="8143388" y="1570340"/>
                </a:cubicBezTo>
                <a:cubicBezTo>
                  <a:pt x="8112906" y="1570340"/>
                  <a:pt x="8088196" y="1545630"/>
                  <a:pt x="8088196" y="1515149"/>
                </a:cubicBezTo>
                <a:cubicBezTo>
                  <a:pt x="8088196" y="1484668"/>
                  <a:pt x="8112906" y="1459958"/>
                  <a:pt x="8143388" y="1459958"/>
                </a:cubicBezTo>
                <a:close/>
                <a:moveTo>
                  <a:pt x="8009753" y="1459958"/>
                </a:moveTo>
                <a:cubicBezTo>
                  <a:pt x="8040235" y="1459958"/>
                  <a:pt x="8064945" y="1484668"/>
                  <a:pt x="8064945" y="1515149"/>
                </a:cubicBezTo>
                <a:cubicBezTo>
                  <a:pt x="8064945" y="1545630"/>
                  <a:pt x="8040235" y="1570340"/>
                  <a:pt x="8009753" y="1570340"/>
                </a:cubicBezTo>
                <a:cubicBezTo>
                  <a:pt x="7979271" y="1570340"/>
                  <a:pt x="7954561" y="1545630"/>
                  <a:pt x="7954561" y="1515149"/>
                </a:cubicBezTo>
                <a:cubicBezTo>
                  <a:pt x="7954561" y="1484668"/>
                  <a:pt x="7979271" y="1459958"/>
                  <a:pt x="8009753" y="1459958"/>
                </a:cubicBezTo>
                <a:close/>
                <a:moveTo>
                  <a:pt x="7876118" y="1459958"/>
                </a:moveTo>
                <a:cubicBezTo>
                  <a:pt x="7906600" y="1459958"/>
                  <a:pt x="7931310" y="1484668"/>
                  <a:pt x="7931310" y="1515149"/>
                </a:cubicBezTo>
                <a:cubicBezTo>
                  <a:pt x="7931310" y="1545630"/>
                  <a:pt x="7906600" y="1570340"/>
                  <a:pt x="7876118" y="1570340"/>
                </a:cubicBezTo>
                <a:cubicBezTo>
                  <a:pt x="7845636" y="1570340"/>
                  <a:pt x="7820926" y="1545630"/>
                  <a:pt x="7820926" y="1515149"/>
                </a:cubicBezTo>
                <a:cubicBezTo>
                  <a:pt x="7820926" y="1484668"/>
                  <a:pt x="7845636" y="1459958"/>
                  <a:pt x="7876118" y="1459958"/>
                </a:cubicBezTo>
                <a:close/>
                <a:moveTo>
                  <a:pt x="7745823" y="1459958"/>
                </a:moveTo>
                <a:cubicBezTo>
                  <a:pt x="7776305" y="1459958"/>
                  <a:pt x="7801015" y="1484668"/>
                  <a:pt x="7801015" y="1515149"/>
                </a:cubicBezTo>
                <a:cubicBezTo>
                  <a:pt x="7801015" y="1545630"/>
                  <a:pt x="7776305" y="1570340"/>
                  <a:pt x="7745823" y="1570340"/>
                </a:cubicBezTo>
                <a:cubicBezTo>
                  <a:pt x="7715341" y="1570340"/>
                  <a:pt x="7690631" y="1545630"/>
                  <a:pt x="7690631" y="1515149"/>
                </a:cubicBezTo>
                <a:cubicBezTo>
                  <a:pt x="7690631" y="1484668"/>
                  <a:pt x="7715341" y="1459958"/>
                  <a:pt x="7745823" y="1459958"/>
                </a:cubicBezTo>
                <a:close/>
                <a:moveTo>
                  <a:pt x="7608849" y="1459958"/>
                </a:moveTo>
                <a:cubicBezTo>
                  <a:pt x="7639331" y="1459958"/>
                  <a:pt x="7664041" y="1484668"/>
                  <a:pt x="7664041" y="1515149"/>
                </a:cubicBezTo>
                <a:cubicBezTo>
                  <a:pt x="7664041" y="1545630"/>
                  <a:pt x="7639331" y="1570340"/>
                  <a:pt x="7608849" y="1570340"/>
                </a:cubicBezTo>
                <a:cubicBezTo>
                  <a:pt x="7578367" y="1570340"/>
                  <a:pt x="7553657" y="1545630"/>
                  <a:pt x="7553657" y="1515149"/>
                </a:cubicBezTo>
                <a:cubicBezTo>
                  <a:pt x="7553657" y="1484668"/>
                  <a:pt x="7578367" y="1459958"/>
                  <a:pt x="7608849" y="1459958"/>
                </a:cubicBezTo>
                <a:close/>
                <a:moveTo>
                  <a:pt x="7481897" y="1459958"/>
                </a:moveTo>
                <a:cubicBezTo>
                  <a:pt x="7512379" y="1459958"/>
                  <a:pt x="7537089" y="1484668"/>
                  <a:pt x="7537089" y="1515149"/>
                </a:cubicBezTo>
                <a:cubicBezTo>
                  <a:pt x="7537089" y="1545630"/>
                  <a:pt x="7512379" y="1570340"/>
                  <a:pt x="7481897" y="1570340"/>
                </a:cubicBezTo>
                <a:cubicBezTo>
                  <a:pt x="7451415" y="1570340"/>
                  <a:pt x="7426705" y="1545630"/>
                  <a:pt x="7426705" y="1515149"/>
                </a:cubicBezTo>
                <a:cubicBezTo>
                  <a:pt x="7426705" y="1484668"/>
                  <a:pt x="7451415" y="1459958"/>
                  <a:pt x="7481897" y="1459958"/>
                </a:cubicBezTo>
                <a:close/>
                <a:moveTo>
                  <a:pt x="7341579" y="1459958"/>
                </a:moveTo>
                <a:cubicBezTo>
                  <a:pt x="7372061" y="1459958"/>
                  <a:pt x="7396771" y="1484668"/>
                  <a:pt x="7396771" y="1515149"/>
                </a:cubicBezTo>
                <a:cubicBezTo>
                  <a:pt x="7396771" y="1545630"/>
                  <a:pt x="7372061" y="1570340"/>
                  <a:pt x="7341579" y="1570340"/>
                </a:cubicBezTo>
                <a:cubicBezTo>
                  <a:pt x="7311097" y="1570340"/>
                  <a:pt x="7286387" y="1545630"/>
                  <a:pt x="7286387" y="1515149"/>
                </a:cubicBezTo>
                <a:cubicBezTo>
                  <a:pt x="7286387" y="1484668"/>
                  <a:pt x="7311097" y="1459958"/>
                  <a:pt x="7341579" y="1459958"/>
                </a:cubicBezTo>
                <a:close/>
                <a:moveTo>
                  <a:pt x="7211286" y="1459958"/>
                </a:moveTo>
                <a:cubicBezTo>
                  <a:pt x="7241768" y="1459958"/>
                  <a:pt x="7266478" y="1484668"/>
                  <a:pt x="7266478" y="1515149"/>
                </a:cubicBezTo>
                <a:cubicBezTo>
                  <a:pt x="7266478" y="1545630"/>
                  <a:pt x="7241768" y="1570340"/>
                  <a:pt x="7211286" y="1570340"/>
                </a:cubicBezTo>
                <a:cubicBezTo>
                  <a:pt x="7180804" y="1570340"/>
                  <a:pt x="7156094" y="1545630"/>
                  <a:pt x="7156094" y="1515149"/>
                </a:cubicBezTo>
                <a:cubicBezTo>
                  <a:pt x="7156094" y="1484668"/>
                  <a:pt x="7180804" y="1459958"/>
                  <a:pt x="7211286" y="1459958"/>
                </a:cubicBezTo>
                <a:close/>
                <a:moveTo>
                  <a:pt x="7080993" y="1459958"/>
                </a:moveTo>
                <a:cubicBezTo>
                  <a:pt x="7111475" y="1459958"/>
                  <a:pt x="7136185" y="1484668"/>
                  <a:pt x="7136185" y="1515149"/>
                </a:cubicBezTo>
                <a:cubicBezTo>
                  <a:pt x="7136185" y="1545630"/>
                  <a:pt x="7111475" y="1570340"/>
                  <a:pt x="7080993" y="1570340"/>
                </a:cubicBezTo>
                <a:cubicBezTo>
                  <a:pt x="7050511" y="1570340"/>
                  <a:pt x="7025801" y="1545630"/>
                  <a:pt x="7025801" y="1515149"/>
                </a:cubicBezTo>
                <a:cubicBezTo>
                  <a:pt x="7025801" y="1484668"/>
                  <a:pt x="7050511" y="1459958"/>
                  <a:pt x="7080993" y="1459958"/>
                </a:cubicBezTo>
                <a:close/>
                <a:moveTo>
                  <a:pt x="6947357" y="1459958"/>
                </a:moveTo>
                <a:cubicBezTo>
                  <a:pt x="6977839" y="1459958"/>
                  <a:pt x="7002549" y="1484668"/>
                  <a:pt x="7002549" y="1515149"/>
                </a:cubicBezTo>
                <a:cubicBezTo>
                  <a:pt x="7002549" y="1545630"/>
                  <a:pt x="6977839" y="1570340"/>
                  <a:pt x="6947357" y="1570340"/>
                </a:cubicBezTo>
                <a:cubicBezTo>
                  <a:pt x="6916875" y="1570340"/>
                  <a:pt x="6892165" y="1545630"/>
                  <a:pt x="6892165" y="1515149"/>
                </a:cubicBezTo>
                <a:cubicBezTo>
                  <a:pt x="6892165" y="1484668"/>
                  <a:pt x="6916875" y="1459958"/>
                  <a:pt x="6947357" y="1459958"/>
                </a:cubicBezTo>
                <a:close/>
                <a:moveTo>
                  <a:pt x="6817064" y="1459958"/>
                </a:moveTo>
                <a:cubicBezTo>
                  <a:pt x="6847546" y="1459958"/>
                  <a:pt x="6872256" y="1484668"/>
                  <a:pt x="6872256" y="1515149"/>
                </a:cubicBezTo>
                <a:cubicBezTo>
                  <a:pt x="6872256" y="1545630"/>
                  <a:pt x="6847546" y="1570340"/>
                  <a:pt x="6817064" y="1570340"/>
                </a:cubicBezTo>
                <a:cubicBezTo>
                  <a:pt x="6786582" y="1570340"/>
                  <a:pt x="6761872" y="1545630"/>
                  <a:pt x="6761872" y="1515149"/>
                </a:cubicBezTo>
                <a:cubicBezTo>
                  <a:pt x="6761872" y="1484668"/>
                  <a:pt x="6786582" y="1459958"/>
                  <a:pt x="6817064" y="1459958"/>
                </a:cubicBezTo>
                <a:close/>
                <a:moveTo>
                  <a:pt x="6683431" y="1459958"/>
                </a:moveTo>
                <a:cubicBezTo>
                  <a:pt x="6713913" y="1459958"/>
                  <a:pt x="6738623" y="1484668"/>
                  <a:pt x="6738623" y="1515149"/>
                </a:cubicBezTo>
                <a:cubicBezTo>
                  <a:pt x="6738623" y="1545630"/>
                  <a:pt x="6713913" y="1570340"/>
                  <a:pt x="6683431" y="1570340"/>
                </a:cubicBezTo>
                <a:cubicBezTo>
                  <a:pt x="6652949" y="1570340"/>
                  <a:pt x="6628239" y="1545630"/>
                  <a:pt x="6628239" y="1515149"/>
                </a:cubicBezTo>
                <a:cubicBezTo>
                  <a:pt x="6628239" y="1484668"/>
                  <a:pt x="6652949" y="1459958"/>
                  <a:pt x="6683431" y="1459958"/>
                </a:cubicBezTo>
                <a:close/>
                <a:moveTo>
                  <a:pt x="6553137" y="1459958"/>
                </a:moveTo>
                <a:cubicBezTo>
                  <a:pt x="6583619" y="1459958"/>
                  <a:pt x="6608329" y="1484668"/>
                  <a:pt x="6608329" y="1515149"/>
                </a:cubicBezTo>
                <a:cubicBezTo>
                  <a:pt x="6608329" y="1545630"/>
                  <a:pt x="6583619" y="1570340"/>
                  <a:pt x="6553137" y="1570340"/>
                </a:cubicBezTo>
                <a:cubicBezTo>
                  <a:pt x="6522655" y="1570340"/>
                  <a:pt x="6497945" y="1545630"/>
                  <a:pt x="6497945" y="1515149"/>
                </a:cubicBezTo>
                <a:cubicBezTo>
                  <a:pt x="6497945" y="1484668"/>
                  <a:pt x="6522655" y="1459958"/>
                  <a:pt x="6553137" y="1459958"/>
                </a:cubicBezTo>
                <a:close/>
                <a:moveTo>
                  <a:pt x="6419502" y="1459958"/>
                </a:moveTo>
                <a:cubicBezTo>
                  <a:pt x="6449984" y="1459958"/>
                  <a:pt x="6474694" y="1484668"/>
                  <a:pt x="6474694" y="1515149"/>
                </a:cubicBezTo>
                <a:cubicBezTo>
                  <a:pt x="6474694" y="1545630"/>
                  <a:pt x="6449984" y="1570340"/>
                  <a:pt x="6419502" y="1570340"/>
                </a:cubicBezTo>
                <a:cubicBezTo>
                  <a:pt x="6389020" y="1570340"/>
                  <a:pt x="6364310" y="1545630"/>
                  <a:pt x="6364310" y="1515149"/>
                </a:cubicBezTo>
                <a:cubicBezTo>
                  <a:pt x="6364310" y="1484668"/>
                  <a:pt x="6389020" y="1459958"/>
                  <a:pt x="6419502" y="1459958"/>
                </a:cubicBezTo>
                <a:close/>
                <a:moveTo>
                  <a:pt x="6289207" y="1459958"/>
                </a:moveTo>
                <a:cubicBezTo>
                  <a:pt x="6319689" y="1459958"/>
                  <a:pt x="6344399" y="1484668"/>
                  <a:pt x="6344399" y="1515149"/>
                </a:cubicBezTo>
                <a:cubicBezTo>
                  <a:pt x="6344399" y="1545630"/>
                  <a:pt x="6319689" y="1570340"/>
                  <a:pt x="6289207" y="1570340"/>
                </a:cubicBezTo>
                <a:cubicBezTo>
                  <a:pt x="6258725" y="1570340"/>
                  <a:pt x="6234015" y="1545630"/>
                  <a:pt x="6234015" y="1515149"/>
                </a:cubicBezTo>
                <a:cubicBezTo>
                  <a:pt x="6234015" y="1484668"/>
                  <a:pt x="6258725" y="1459958"/>
                  <a:pt x="6289207" y="1459958"/>
                </a:cubicBezTo>
                <a:close/>
                <a:moveTo>
                  <a:pt x="6155573" y="1459958"/>
                </a:moveTo>
                <a:cubicBezTo>
                  <a:pt x="6186055" y="1459958"/>
                  <a:pt x="6210765" y="1484668"/>
                  <a:pt x="6210765" y="1515149"/>
                </a:cubicBezTo>
                <a:cubicBezTo>
                  <a:pt x="6210765" y="1545630"/>
                  <a:pt x="6186055" y="1570340"/>
                  <a:pt x="6155573" y="1570340"/>
                </a:cubicBezTo>
                <a:cubicBezTo>
                  <a:pt x="6125091" y="1570340"/>
                  <a:pt x="6100381" y="1545630"/>
                  <a:pt x="6100381" y="1515149"/>
                </a:cubicBezTo>
                <a:cubicBezTo>
                  <a:pt x="6100381" y="1484668"/>
                  <a:pt x="6125091" y="1459958"/>
                  <a:pt x="6155573" y="1459958"/>
                </a:cubicBezTo>
                <a:close/>
                <a:moveTo>
                  <a:pt x="6021939" y="1459958"/>
                </a:moveTo>
                <a:cubicBezTo>
                  <a:pt x="6052421" y="1459958"/>
                  <a:pt x="6077131" y="1484668"/>
                  <a:pt x="6077131" y="1515149"/>
                </a:cubicBezTo>
                <a:cubicBezTo>
                  <a:pt x="6077131" y="1545630"/>
                  <a:pt x="6052421" y="1570340"/>
                  <a:pt x="6021939" y="1570340"/>
                </a:cubicBezTo>
                <a:cubicBezTo>
                  <a:pt x="5991457" y="1570340"/>
                  <a:pt x="5966747" y="1545630"/>
                  <a:pt x="5966747" y="1515149"/>
                </a:cubicBezTo>
                <a:cubicBezTo>
                  <a:pt x="5966747" y="1484668"/>
                  <a:pt x="5991457" y="1459958"/>
                  <a:pt x="6021939" y="1459958"/>
                </a:cubicBezTo>
                <a:close/>
                <a:moveTo>
                  <a:pt x="5884964" y="1459958"/>
                </a:moveTo>
                <a:cubicBezTo>
                  <a:pt x="5915446" y="1459958"/>
                  <a:pt x="5940156" y="1484668"/>
                  <a:pt x="5940156" y="1515149"/>
                </a:cubicBezTo>
                <a:cubicBezTo>
                  <a:pt x="5940156" y="1545630"/>
                  <a:pt x="5915446" y="1570340"/>
                  <a:pt x="5884964" y="1570340"/>
                </a:cubicBezTo>
                <a:cubicBezTo>
                  <a:pt x="5854482" y="1570340"/>
                  <a:pt x="5829772" y="1545630"/>
                  <a:pt x="5829772" y="1515149"/>
                </a:cubicBezTo>
                <a:cubicBezTo>
                  <a:pt x="5829772" y="1484668"/>
                  <a:pt x="5854482" y="1459958"/>
                  <a:pt x="5884964" y="1459958"/>
                </a:cubicBezTo>
                <a:close/>
                <a:moveTo>
                  <a:pt x="5754668" y="1459958"/>
                </a:moveTo>
                <a:cubicBezTo>
                  <a:pt x="5785150" y="1459958"/>
                  <a:pt x="5809860" y="1484668"/>
                  <a:pt x="5809860" y="1515149"/>
                </a:cubicBezTo>
                <a:cubicBezTo>
                  <a:pt x="5809860" y="1545630"/>
                  <a:pt x="5785150" y="1570340"/>
                  <a:pt x="5754668" y="1570340"/>
                </a:cubicBezTo>
                <a:cubicBezTo>
                  <a:pt x="5724186" y="1570340"/>
                  <a:pt x="5699476" y="1545630"/>
                  <a:pt x="5699476" y="1515149"/>
                </a:cubicBezTo>
                <a:cubicBezTo>
                  <a:pt x="5699476" y="1484668"/>
                  <a:pt x="5724186" y="1459958"/>
                  <a:pt x="5754668" y="1459958"/>
                </a:cubicBezTo>
                <a:close/>
                <a:moveTo>
                  <a:pt x="5621034" y="1459958"/>
                </a:moveTo>
                <a:cubicBezTo>
                  <a:pt x="5651516" y="1459958"/>
                  <a:pt x="5676226" y="1484668"/>
                  <a:pt x="5676226" y="1515149"/>
                </a:cubicBezTo>
                <a:cubicBezTo>
                  <a:pt x="5676226" y="1545630"/>
                  <a:pt x="5651516" y="1570340"/>
                  <a:pt x="5621034" y="1570340"/>
                </a:cubicBezTo>
                <a:cubicBezTo>
                  <a:pt x="5590552" y="1570340"/>
                  <a:pt x="5565842" y="1545630"/>
                  <a:pt x="5565842" y="1515149"/>
                </a:cubicBezTo>
                <a:cubicBezTo>
                  <a:pt x="5565842" y="1484668"/>
                  <a:pt x="5590552" y="1459958"/>
                  <a:pt x="5621034" y="1459958"/>
                </a:cubicBezTo>
                <a:close/>
                <a:moveTo>
                  <a:pt x="5487399" y="1459958"/>
                </a:moveTo>
                <a:cubicBezTo>
                  <a:pt x="5517881" y="1459958"/>
                  <a:pt x="5542591" y="1484668"/>
                  <a:pt x="5542591" y="1515149"/>
                </a:cubicBezTo>
                <a:cubicBezTo>
                  <a:pt x="5542591" y="1545630"/>
                  <a:pt x="5517881" y="1570340"/>
                  <a:pt x="5487399" y="1570340"/>
                </a:cubicBezTo>
                <a:cubicBezTo>
                  <a:pt x="5456917" y="1570340"/>
                  <a:pt x="5432207" y="1545630"/>
                  <a:pt x="5432207" y="1515149"/>
                </a:cubicBezTo>
                <a:cubicBezTo>
                  <a:pt x="5432207" y="1484668"/>
                  <a:pt x="5456917" y="1459958"/>
                  <a:pt x="5487399" y="1459958"/>
                </a:cubicBezTo>
                <a:close/>
                <a:moveTo>
                  <a:pt x="5357106" y="1459958"/>
                </a:moveTo>
                <a:cubicBezTo>
                  <a:pt x="5387588" y="1459958"/>
                  <a:pt x="5412298" y="1484668"/>
                  <a:pt x="5412298" y="1515149"/>
                </a:cubicBezTo>
                <a:cubicBezTo>
                  <a:pt x="5412298" y="1545630"/>
                  <a:pt x="5387588" y="1570340"/>
                  <a:pt x="5357106" y="1570340"/>
                </a:cubicBezTo>
                <a:cubicBezTo>
                  <a:pt x="5326624" y="1570340"/>
                  <a:pt x="5301914" y="1545630"/>
                  <a:pt x="5301914" y="1515149"/>
                </a:cubicBezTo>
                <a:cubicBezTo>
                  <a:pt x="5301914" y="1484668"/>
                  <a:pt x="5326624" y="1459958"/>
                  <a:pt x="5357106" y="1459958"/>
                </a:cubicBezTo>
                <a:close/>
                <a:moveTo>
                  <a:pt x="5223473" y="1459958"/>
                </a:moveTo>
                <a:cubicBezTo>
                  <a:pt x="5253955" y="1459958"/>
                  <a:pt x="5278665" y="1484668"/>
                  <a:pt x="5278665" y="1515149"/>
                </a:cubicBezTo>
                <a:cubicBezTo>
                  <a:pt x="5278665" y="1545630"/>
                  <a:pt x="5253955" y="1570340"/>
                  <a:pt x="5223473" y="1570340"/>
                </a:cubicBezTo>
                <a:cubicBezTo>
                  <a:pt x="5192991" y="1570340"/>
                  <a:pt x="5168281" y="1545630"/>
                  <a:pt x="5168281" y="1515149"/>
                </a:cubicBezTo>
                <a:cubicBezTo>
                  <a:pt x="5168281" y="1484668"/>
                  <a:pt x="5192991" y="1459958"/>
                  <a:pt x="5223473" y="1459958"/>
                </a:cubicBezTo>
                <a:close/>
                <a:moveTo>
                  <a:pt x="5093178" y="1459958"/>
                </a:moveTo>
                <a:cubicBezTo>
                  <a:pt x="5123660" y="1459958"/>
                  <a:pt x="5148370" y="1484668"/>
                  <a:pt x="5148370" y="1515149"/>
                </a:cubicBezTo>
                <a:cubicBezTo>
                  <a:pt x="5148370" y="1545630"/>
                  <a:pt x="5123660" y="1570340"/>
                  <a:pt x="5093178" y="1570340"/>
                </a:cubicBezTo>
                <a:cubicBezTo>
                  <a:pt x="5062696" y="1570340"/>
                  <a:pt x="5037986" y="1545630"/>
                  <a:pt x="5037986" y="1515149"/>
                </a:cubicBezTo>
                <a:cubicBezTo>
                  <a:pt x="5037986" y="1484668"/>
                  <a:pt x="5062696" y="1459958"/>
                  <a:pt x="5093178" y="1459958"/>
                </a:cubicBezTo>
                <a:close/>
                <a:moveTo>
                  <a:pt x="4959542" y="1459958"/>
                </a:moveTo>
                <a:cubicBezTo>
                  <a:pt x="4990024" y="1459958"/>
                  <a:pt x="5014734" y="1484668"/>
                  <a:pt x="5014734" y="1515149"/>
                </a:cubicBezTo>
                <a:cubicBezTo>
                  <a:pt x="5014734" y="1545630"/>
                  <a:pt x="4990024" y="1570340"/>
                  <a:pt x="4959542" y="1570340"/>
                </a:cubicBezTo>
                <a:cubicBezTo>
                  <a:pt x="4929060" y="1570340"/>
                  <a:pt x="4904350" y="1545630"/>
                  <a:pt x="4904350" y="1515149"/>
                </a:cubicBezTo>
                <a:cubicBezTo>
                  <a:pt x="4904350" y="1484668"/>
                  <a:pt x="4929060" y="1459958"/>
                  <a:pt x="4959542" y="1459958"/>
                </a:cubicBezTo>
                <a:close/>
                <a:moveTo>
                  <a:pt x="4829250" y="1459958"/>
                </a:moveTo>
                <a:cubicBezTo>
                  <a:pt x="4859732" y="1459958"/>
                  <a:pt x="4884442" y="1484668"/>
                  <a:pt x="4884442" y="1515149"/>
                </a:cubicBezTo>
                <a:cubicBezTo>
                  <a:pt x="4884442" y="1545630"/>
                  <a:pt x="4859732" y="1570340"/>
                  <a:pt x="4829250" y="1570340"/>
                </a:cubicBezTo>
                <a:cubicBezTo>
                  <a:pt x="4798768" y="1570340"/>
                  <a:pt x="4774058" y="1545630"/>
                  <a:pt x="4774058" y="1515149"/>
                </a:cubicBezTo>
                <a:cubicBezTo>
                  <a:pt x="4774058" y="1484668"/>
                  <a:pt x="4798768" y="1459958"/>
                  <a:pt x="4829250" y="1459958"/>
                </a:cubicBezTo>
                <a:close/>
                <a:moveTo>
                  <a:pt x="4695614" y="1459958"/>
                </a:moveTo>
                <a:cubicBezTo>
                  <a:pt x="4726096" y="1459958"/>
                  <a:pt x="4750806" y="1484668"/>
                  <a:pt x="4750806" y="1515149"/>
                </a:cubicBezTo>
                <a:cubicBezTo>
                  <a:pt x="4750806" y="1545630"/>
                  <a:pt x="4726096" y="1570340"/>
                  <a:pt x="4695614" y="1570340"/>
                </a:cubicBezTo>
                <a:cubicBezTo>
                  <a:pt x="4665132" y="1570340"/>
                  <a:pt x="4640422" y="1545630"/>
                  <a:pt x="4640422" y="1515149"/>
                </a:cubicBezTo>
                <a:cubicBezTo>
                  <a:pt x="4640422" y="1484668"/>
                  <a:pt x="4665132" y="1459958"/>
                  <a:pt x="4695614" y="1459958"/>
                </a:cubicBezTo>
                <a:close/>
                <a:moveTo>
                  <a:pt x="4565322" y="1459958"/>
                </a:moveTo>
                <a:cubicBezTo>
                  <a:pt x="4595804" y="1459958"/>
                  <a:pt x="4620514" y="1484668"/>
                  <a:pt x="4620514" y="1515149"/>
                </a:cubicBezTo>
                <a:cubicBezTo>
                  <a:pt x="4620514" y="1545630"/>
                  <a:pt x="4595804" y="1570340"/>
                  <a:pt x="4565322" y="1570340"/>
                </a:cubicBezTo>
                <a:cubicBezTo>
                  <a:pt x="4534840" y="1570340"/>
                  <a:pt x="4510130" y="1545630"/>
                  <a:pt x="4510130" y="1515149"/>
                </a:cubicBezTo>
                <a:cubicBezTo>
                  <a:pt x="4510130" y="1484668"/>
                  <a:pt x="4534840" y="1459958"/>
                  <a:pt x="4565322" y="1459958"/>
                </a:cubicBezTo>
                <a:close/>
                <a:moveTo>
                  <a:pt x="4431687" y="1459958"/>
                </a:moveTo>
                <a:cubicBezTo>
                  <a:pt x="4462169" y="1459958"/>
                  <a:pt x="4486879" y="1484668"/>
                  <a:pt x="4486879" y="1515149"/>
                </a:cubicBezTo>
                <a:cubicBezTo>
                  <a:pt x="4486879" y="1545630"/>
                  <a:pt x="4462169" y="1570340"/>
                  <a:pt x="4431687" y="1570340"/>
                </a:cubicBezTo>
                <a:cubicBezTo>
                  <a:pt x="4401205" y="1570340"/>
                  <a:pt x="4376495" y="1545630"/>
                  <a:pt x="4376495" y="1515149"/>
                </a:cubicBezTo>
                <a:cubicBezTo>
                  <a:pt x="4376495" y="1484668"/>
                  <a:pt x="4401205" y="1459958"/>
                  <a:pt x="4431687" y="1459958"/>
                </a:cubicBezTo>
                <a:close/>
                <a:moveTo>
                  <a:pt x="3098681" y="1459958"/>
                </a:moveTo>
                <a:cubicBezTo>
                  <a:pt x="3129163" y="1459958"/>
                  <a:pt x="3153873" y="1484668"/>
                  <a:pt x="3153873" y="1515149"/>
                </a:cubicBezTo>
                <a:cubicBezTo>
                  <a:pt x="3153873" y="1545630"/>
                  <a:pt x="3129163" y="1570340"/>
                  <a:pt x="3098681" y="1570340"/>
                </a:cubicBezTo>
                <a:cubicBezTo>
                  <a:pt x="3068199" y="1570340"/>
                  <a:pt x="3043489" y="1545630"/>
                  <a:pt x="3043489" y="1515149"/>
                </a:cubicBezTo>
                <a:cubicBezTo>
                  <a:pt x="3043489" y="1484668"/>
                  <a:pt x="3068199" y="1459958"/>
                  <a:pt x="3098681" y="1459958"/>
                </a:cubicBezTo>
                <a:close/>
                <a:moveTo>
                  <a:pt x="2971729" y="1459958"/>
                </a:moveTo>
                <a:cubicBezTo>
                  <a:pt x="3002211" y="1459958"/>
                  <a:pt x="3026921" y="1484668"/>
                  <a:pt x="3026921" y="1515149"/>
                </a:cubicBezTo>
                <a:cubicBezTo>
                  <a:pt x="3026921" y="1545630"/>
                  <a:pt x="3002211" y="1570340"/>
                  <a:pt x="2971729" y="1570340"/>
                </a:cubicBezTo>
                <a:cubicBezTo>
                  <a:pt x="2941247" y="1570340"/>
                  <a:pt x="2916537" y="1545630"/>
                  <a:pt x="2916537" y="1515149"/>
                </a:cubicBezTo>
                <a:cubicBezTo>
                  <a:pt x="2916537" y="1484668"/>
                  <a:pt x="2941247" y="1459958"/>
                  <a:pt x="2971729" y="1459958"/>
                </a:cubicBezTo>
                <a:close/>
                <a:moveTo>
                  <a:pt x="2834792" y="1459958"/>
                </a:moveTo>
                <a:cubicBezTo>
                  <a:pt x="2865274" y="1459958"/>
                  <a:pt x="2889984" y="1484668"/>
                  <a:pt x="2889984" y="1515149"/>
                </a:cubicBezTo>
                <a:cubicBezTo>
                  <a:pt x="2889984" y="1545630"/>
                  <a:pt x="2865274" y="1570340"/>
                  <a:pt x="2834792" y="1570340"/>
                </a:cubicBezTo>
                <a:cubicBezTo>
                  <a:pt x="2804310" y="1570340"/>
                  <a:pt x="2779600" y="1545630"/>
                  <a:pt x="2779600" y="1515149"/>
                </a:cubicBezTo>
                <a:cubicBezTo>
                  <a:pt x="2779600" y="1484668"/>
                  <a:pt x="2804310" y="1459958"/>
                  <a:pt x="2834792" y="1459958"/>
                </a:cubicBezTo>
                <a:close/>
                <a:moveTo>
                  <a:pt x="2707839" y="1459958"/>
                </a:moveTo>
                <a:cubicBezTo>
                  <a:pt x="2738320" y="1459958"/>
                  <a:pt x="2763031" y="1484668"/>
                  <a:pt x="2763031" y="1515149"/>
                </a:cubicBezTo>
                <a:cubicBezTo>
                  <a:pt x="2763031" y="1545630"/>
                  <a:pt x="2738320" y="1570340"/>
                  <a:pt x="2707839" y="1570340"/>
                </a:cubicBezTo>
                <a:cubicBezTo>
                  <a:pt x="2677357" y="1570340"/>
                  <a:pt x="2652646" y="1545630"/>
                  <a:pt x="2652646" y="1515149"/>
                </a:cubicBezTo>
                <a:cubicBezTo>
                  <a:pt x="2652646" y="1484668"/>
                  <a:pt x="2677357" y="1459958"/>
                  <a:pt x="2707839" y="1459958"/>
                </a:cubicBezTo>
                <a:close/>
                <a:moveTo>
                  <a:pt x="2570864" y="1459958"/>
                </a:moveTo>
                <a:cubicBezTo>
                  <a:pt x="2601346" y="1459958"/>
                  <a:pt x="2626056" y="1484668"/>
                  <a:pt x="2626056" y="1515149"/>
                </a:cubicBezTo>
                <a:cubicBezTo>
                  <a:pt x="2626056" y="1545630"/>
                  <a:pt x="2601346" y="1570340"/>
                  <a:pt x="2570864" y="1570340"/>
                </a:cubicBezTo>
                <a:cubicBezTo>
                  <a:pt x="2540381" y="1570340"/>
                  <a:pt x="2515671" y="1545630"/>
                  <a:pt x="2515671" y="1515149"/>
                </a:cubicBezTo>
                <a:cubicBezTo>
                  <a:pt x="2515671" y="1484668"/>
                  <a:pt x="2540381" y="1459958"/>
                  <a:pt x="2570864" y="1459958"/>
                </a:cubicBezTo>
                <a:close/>
                <a:moveTo>
                  <a:pt x="2437228" y="1459958"/>
                </a:moveTo>
                <a:cubicBezTo>
                  <a:pt x="2467711" y="1459958"/>
                  <a:pt x="2492419" y="1484668"/>
                  <a:pt x="2492419" y="1515149"/>
                </a:cubicBezTo>
                <a:cubicBezTo>
                  <a:pt x="2492419" y="1545630"/>
                  <a:pt x="2467711" y="1570340"/>
                  <a:pt x="2437228" y="1570340"/>
                </a:cubicBezTo>
                <a:cubicBezTo>
                  <a:pt x="2406748" y="1570340"/>
                  <a:pt x="2382037" y="1545630"/>
                  <a:pt x="2382037" y="1515149"/>
                </a:cubicBezTo>
                <a:cubicBezTo>
                  <a:pt x="2382037" y="1484668"/>
                  <a:pt x="2406748" y="1459958"/>
                  <a:pt x="2437228" y="1459958"/>
                </a:cubicBezTo>
                <a:close/>
                <a:moveTo>
                  <a:pt x="2303596" y="1459958"/>
                </a:moveTo>
                <a:cubicBezTo>
                  <a:pt x="2334078" y="1459958"/>
                  <a:pt x="2358787" y="1484668"/>
                  <a:pt x="2358787" y="1515149"/>
                </a:cubicBezTo>
                <a:cubicBezTo>
                  <a:pt x="2358787" y="1545630"/>
                  <a:pt x="2334078" y="1570340"/>
                  <a:pt x="2303596" y="1570340"/>
                </a:cubicBezTo>
                <a:cubicBezTo>
                  <a:pt x="2273113" y="1570340"/>
                  <a:pt x="2248404" y="1545630"/>
                  <a:pt x="2248404" y="1515149"/>
                </a:cubicBezTo>
                <a:cubicBezTo>
                  <a:pt x="2248404" y="1484668"/>
                  <a:pt x="2273113" y="1459958"/>
                  <a:pt x="2303596" y="1459958"/>
                </a:cubicBezTo>
                <a:close/>
                <a:moveTo>
                  <a:pt x="2173305" y="1459958"/>
                </a:moveTo>
                <a:cubicBezTo>
                  <a:pt x="2203787" y="1459958"/>
                  <a:pt x="2228497" y="1484668"/>
                  <a:pt x="2228497" y="1515149"/>
                </a:cubicBezTo>
                <a:cubicBezTo>
                  <a:pt x="2228497" y="1545630"/>
                  <a:pt x="2203787" y="1570340"/>
                  <a:pt x="2173305" y="1570340"/>
                </a:cubicBezTo>
                <a:cubicBezTo>
                  <a:pt x="2142822" y="1570340"/>
                  <a:pt x="2118111" y="1545630"/>
                  <a:pt x="2118111" y="1515149"/>
                </a:cubicBezTo>
                <a:cubicBezTo>
                  <a:pt x="2118111" y="1484668"/>
                  <a:pt x="2142822" y="1459958"/>
                  <a:pt x="2173305" y="1459958"/>
                </a:cubicBezTo>
                <a:close/>
                <a:moveTo>
                  <a:pt x="2039668" y="1459958"/>
                </a:moveTo>
                <a:cubicBezTo>
                  <a:pt x="2070150" y="1459958"/>
                  <a:pt x="2094860" y="1484668"/>
                  <a:pt x="2094860" y="1515149"/>
                </a:cubicBezTo>
                <a:cubicBezTo>
                  <a:pt x="2094860" y="1545630"/>
                  <a:pt x="2070150" y="1570340"/>
                  <a:pt x="2039668" y="1570340"/>
                </a:cubicBezTo>
                <a:cubicBezTo>
                  <a:pt x="2009185" y="1570340"/>
                  <a:pt x="1984475" y="1545630"/>
                  <a:pt x="1984475" y="1515149"/>
                </a:cubicBezTo>
                <a:cubicBezTo>
                  <a:pt x="1984475" y="1484668"/>
                  <a:pt x="2009185" y="1459958"/>
                  <a:pt x="2039668" y="1459958"/>
                </a:cubicBezTo>
                <a:close/>
                <a:moveTo>
                  <a:pt x="1909371" y="1459958"/>
                </a:moveTo>
                <a:cubicBezTo>
                  <a:pt x="1939853" y="1459958"/>
                  <a:pt x="1964564" y="1484668"/>
                  <a:pt x="1964564" y="1515149"/>
                </a:cubicBezTo>
                <a:cubicBezTo>
                  <a:pt x="1964564" y="1545630"/>
                  <a:pt x="1939853" y="1570340"/>
                  <a:pt x="1909371" y="1570340"/>
                </a:cubicBezTo>
                <a:cubicBezTo>
                  <a:pt x="1878889" y="1570340"/>
                  <a:pt x="1854178" y="1545630"/>
                  <a:pt x="1854178" y="1515149"/>
                </a:cubicBezTo>
                <a:cubicBezTo>
                  <a:pt x="1854178" y="1484668"/>
                  <a:pt x="1878889" y="1459958"/>
                  <a:pt x="1909371" y="1459958"/>
                </a:cubicBezTo>
                <a:close/>
                <a:moveTo>
                  <a:pt x="1779076" y="1459958"/>
                </a:moveTo>
                <a:cubicBezTo>
                  <a:pt x="1809559" y="1459958"/>
                  <a:pt x="1834269" y="1484668"/>
                  <a:pt x="1834269" y="1515149"/>
                </a:cubicBezTo>
                <a:cubicBezTo>
                  <a:pt x="1834269" y="1545630"/>
                  <a:pt x="1809559" y="1570340"/>
                  <a:pt x="1779076" y="1570340"/>
                </a:cubicBezTo>
                <a:cubicBezTo>
                  <a:pt x="1748595" y="1570340"/>
                  <a:pt x="1723884" y="1545630"/>
                  <a:pt x="1723884" y="1515149"/>
                </a:cubicBezTo>
                <a:cubicBezTo>
                  <a:pt x="1723884" y="1484668"/>
                  <a:pt x="1748595" y="1459958"/>
                  <a:pt x="1779076" y="1459958"/>
                </a:cubicBezTo>
                <a:close/>
                <a:moveTo>
                  <a:pt x="1645440" y="1459958"/>
                </a:moveTo>
                <a:cubicBezTo>
                  <a:pt x="1675922" y="1459958"/>
                  <a:pt x="1700637" y="1484668"/>
                  <a:pt x="1700637" y="1515149"/>
                </a:cubicBezTo>
                <a:cubicBezTo>
                  <a:pt x="1700637" y="1545630"/>
                  <a:pt x="1675922" y="1570340"/>
                  <a:pt x="1645440" y="1570340"/>
                </a:cubicBezTo>
                <a:cubicBezTo>
                  <a:pt x="1614959" y="1570340"/>
                  <a:pt x="1590248" y="1545630"/>
                  <a:pt x="1590248" y="1515149"/>
                </a:cubicBezTo>
                <a:cubicBezTo>
                  <a:pt x="1590248" y="1484668"/>
                  <a:pt x="1614959" y="1459958"/>
                  <a:pt x="1645440" y="1459958"/>
                </a:cubicBezTo>
                <a:close/>
                <a:moveTo>
                  <a:pt x="1515149" y="1459958"/>
                </a:moveTo>
                <a:cubicBezTo>
                  <a:pt x="1545630" y="1459958"/>
                  <a:pt x="1570338" y="1484668"/>
                  <a:pt x="1570338" y="1515149"/>
                </a:cubicBezTo>
                <a:cubicBezTo>
                  <a:pt x="1570338" y="1545630"/>
                  <a:pt x="1545630" y="1570340"/>
                  <a:pt x="1515149" y="1570340"/>
                </a:cubicBezTo>
                <a:cubicBezTo>
                  <a:pt x="1484666" y="1570340"/>
                  <a:pt x="1459956" y="1545630"/>
                  <a:pt x="1459956" y="1515149"/>
                </a:cubicBezTo>
                <a:cubicBezTo>
                  <a:pt x="1459956" y="1484668"/>
                  <a:pt x="1484666" y="1459958"/>
                  <a:pt x="1515149" y="1459958"/>
                </a:cubicBezTo>
                <a:close/>
                <a:moveTo>
                  <a:pt x="1381511" y="1459958"/>
                </a:moveTo>
                <a:cubicBezTo>
                  <a:pt x="1411994" y="1459958"/>
                  <a:pt x="1436705" y="1484668"/>
                  <a:pt x="1436705" y="1515149"/>
                </a:cubicBezTo>
                <a:cubicBezTo>
                  <a:pt x="1436705" y="1545630"/>
                  <a:pt x="1411994" y="1570340"/>
                  <a:pt x="1381511" y="1570340"/>
                </a:cubicBezTo>
                <a:cubicBezTo>
                  <a:pt x="1351035" y="1570340"/>
                  <a:pt x="1326322" y="1545630"/>
                  <a:pt x="1326322" y="1515149"/>
                </a:cubicBezTo>
                <a:cubicBezTo>
                  <a:pt x="1326322" y="1484668"/>
                  <a:pt x="1351035" y="1459958"/>
                  <a:pt x="1381511" y="1459958"/>
                </a:cubicBezTo>
                <a:close/>
                <a:moveTo>
                  <a:pt x="1251220" y="1459958"/>
                </a:moveTo>
                <a:cubicBezTo>
                  <a:pt x="1281702" y="1459958"/>
                  <a:pt x="1306413" y="1484668"/>
                  <a:pt x="1306413" y="1515149"/>
                </a:cubicBezTo>
                <a:cubicBezTo>
                  <a:pt x="1306413" y="1545630"/>
                  <a:pt x="1281702" y="1570340"/>
                  <a:pt x="1251220" y="1570340"/>
                </a:cubicBezTo>
                <a:cubicBezTo>
                  <a:pt x="1220737" y="1570340"/>
                  <a:pt x="1196028" y="1545630"/>
                  <a:pt x="1196028" y="1515149"/>
                </a:cubicBezTo>
                <a:cubicBezTo>
                  <a:pt x="1196028" y="1484668"/>
                  <a:pt x="1220737" y="1459958"/>
                  <a:pt x="1251220" y="1459958"/>
                </a:cubicBezTo>
                <a:close/>
                <a:moveTo>
                  <a:pt x="1117583" y="1459958"/>
                </a:moveTo>
                <a:cubicBezTo>
                  <a:pt x="1148066" y="1459958"/>
                  <a:pt x="1172776" y="1484668"/>
                  <a:pt x="1172776" y="1515149"/>
                </a:cubicBezTo>
                <a:cubicBezTo>
                  <a:pt x="1172776" y="1545630"/>
                  <a:pt x="1148066" y="1570340"/>
                  <a:pt x="1117583" y="1570340"/>
                </a:cubicBezTo>
                <a:cubicBezTo>
                  <a:pt x="1087101" y="1570340"/>
                  <a:pt x="1062390" y="1545630"/>
                  <a:pt x="1062390" y="1515149"/>
                </a:cubicBezTo>
                <a:cubicBezTo>
                  <a:pt x="1062390" y="1484668"/>
                  <a:pt x="1087101" y="1459958"/>
                  <a:pt x="1117583" y="1459958"/>
                </a:cubicBezTo>
                <a:close/>
                <a:moveTo>
                  <a:pt x="980607" y="1459958"/>
                </a:moveTo>
                <a:cubicBezTo>
                  <a:pt x="1011090" y="1459958"/>
                  <a:pt x="1035800" y="1484668"/>
                  <a:pt x="1035800" y="1515149"/>
                </a:cubicBezTo>
                <a:cubicBezTo>
                  <a:pt x="1035800" y="1545630"/>
                  <a:pt x="1011090" y="1570340"/>
                  <a:pt x="980607" y="1570340"/>
                </a:cubicBezTo>
                <a:cubicBezTo>
                  <a:pt x="950125" y="1570340"/>
                  <a:pt x="925415" y="1545630"/>
                  <a:pt x="925415" y="1515149"/>
                </a:cubicBezTo>
                <a:cubicBezTo>
                  <a:pt x="925415" y="1484668"/>
                  <a:pt x="950125" y="1459958"/>
                  <a:pt x="980607" y="1459958"/>
                </a:cubicBezTo>
                <a:close/>
                <a:moveTo>
                  <a:pt x="7608849" y="1336350"/>
                </a:moveTo>
                <a:cubicBezTo>
                  <a:pt x="7639331" y="1336350"/>
                  <a:pt x="7664041" y="1361060"/>
                  <a:pt x="7664041" y="1391541"/>
                </a:cubicBezTo>
                <a:cubicBezTo>
                  <a:pt x="7664041" y="1422022"/>
                  <a:pt x="7639331" y="1446732"/>
                  <a:pt x="7608849" y="1446732"/>
                </a:cubicBezTo>
                <a:cubicBezTo>
                  <a:pt x="7578367" y="1446732"/>
                  <a:pt x="7553657" y="1422022"/>
                  <a:pt x="7553657" y="1391541"/>
                </a:cubicBezTo>
                <a:cubicBezTo>
                  <a:pt x="7553657" y="1361060"/>
                  <a:pt x="7578367" y="1336350"/>
                  <a:pt x="7608849" y="1336350"/>
                </a:cubicBezTo>
                <a:close/>
                <a:moveTo>
                  <a:pt x="7481897" y="1336350"/>
                </a:moveTo>
                <a:cubicBezTo>
                  <a:pt x="7512379" y="1336350"/>
                  <a:pt x="7537089" y="1361060"/>
                  <a:pt x="7537089" y="1391541"/>
                </a:cubicBezTo>
                <a:cubicBezTo>
                  <a:pt x="7537089" y="1422022"/>
                  <a:pt x="7512379" y="1446732"/>
                  <a:pt x="7481897" y="1446732"/>
                </a:cubicBezTo>
                <a:cubicBezTo>
                  <a:pt x="7451415" y="1446732"/>
                  <a:pt x="7426705" y="1422022"/>
                  <a:pt x="7426705" y="1391541"/>
                </a:cubicBezTo>
                <a:cubicBezTo>
                  <a:pt x="7426705" y="1361060"/>
                  <a:pt x="7451415" y="1336350"/>
                  <a:pt x="7481897" y="1336350"/>
                </a:cubicBezTo>
                <a:close/>
                <a:moveTo>
                  <a:pt x="7341579" y="1336350"/>
                </a:moveTo>
                <a:cubicBezTo>
                  <a:pt x="7372061" y="1336350"/>
                  <a:pt x="7396771" y="1361060"/>
                  <a:pt x="7396771" y="1391541"/>
                </a:cubicBezTo>
                <a:cubicBezTo>
                  <a:pt x="7396771" y="1422022"/>
                  <a:pt x="7372061" y="1446732"/>
                  <a:pt x="7341579" y="1446732"/>
                </a:cubicBezTo>
                <a:cubicBezTo>
                  <a:pt x="7311097" y="1446732"/>
                  <a:pt x="7286387" y="1422022"/>
                  <a:pt x="7286387" y="1391541"/>
                </a:cubicBezTo>
                <a:cubicBezTo>
                  <a:pt x="7286387" y="1361060"/>
                  <a:pt x="7311097" y="1336350"/>
                  <a:pt x="7341579" y="1336350"/>
                </a:cubicBezTo>
                <a:close/>
                <a:moveTo>
                  <a:pt x="7211286" y="1336350"/>
                </a:moveTo>
                <a:cubicBezTo>
                  <a:pt x="7241768" y="1336350"/>
                  <a:pt x="7266478" y="1361060"/>
                  <a:pt x="7266478" y="1391541"/>
                </a:cubicBezTo>
                <a:cubicBezTo>
                  <a:pt x="7266478" y="1422022"/>
                  <a:pt x="7241768" y="1446732"/>
                  <a:pt x="7211286" y="1446732"/>
                </a:cubicBezTo>
                <a:cubicBezTo>
                  <a:pt x="7180804" y="1446732"/>
                  <a:pt x="7156094" y="1422022"/>
                  <a:pt x="7156094" y="1391541"/>
                </a:cubicBezTo>
                <a:cubicBezTo>
                  <a:pt x="7156094" y="1361060"/>
                  <a:pt x="7180804" y="1336350"/>
                  <a:pt x="7211286" y="1336350"/>
                </a:cubicBezTo>
                <a:close/>
                <a:moveTo>
                  <a:pt x="7080993" y="1336350"/>
                </a:moveTo>
                <a:cubicBezTo>
                  <a:pt x="7111475" y="1336350"/>
                  <a:pt x="7136185" y="1361060"/>
                  <a:pt x="7136185" y="1391541"/>
                </a:cubicBezTo>
                <a:cubicBezTo>
                  <a:pt x="7136185" y="1422022"/>
                  <a:pt x="7111475" y="1446732"/>
                  <a:pt x="7080993" y="1446732"/>
                </a:cubicBezTo>
                <a:cubicBezTo>
                  <a:pt x="7050511" y="1446732"/>
                  <a:pt x="7025801" y="1422022"/>
                  <a:pt x="7025801" y="1391541"/>
                </a:cubicBezTo>
                <a:cubicBezTo>
                  <a:pt x="7025801" y="1361060"/>
                  <a:pt x="7050511" y="1336350"/>
                  <a:pt x="7080993" y="1336350"/>
                </a:cubicBezTo>
                <a:close/>
                <a:moveTo>
                  <a:pt x="6947357" y="1336350"/>
                </a:moveTo>
                <a:cubicBezTo>
                  <a:pt x="6977839" y="1336350"/>
                  <a:pt x="7002549" y="1361060"/>
                  <a:pt x="7002549" y="1391541"/>
                </a:cubicBezTo>
                <a:cubicBezTo>
                  <a:pt x="7002549" y="1422022"/>
                  <a:pt x="6977839" y="1446732"/>
                  <a:pt x="6947357" y="1446732"/>
                </a:cubicBezTo>
                <a:cubicBezTo>
                  <a:pt x="6916875" y="1446732"/>
                  <a:pt x="6892165" y="1422022"/>
                  <a:pt x="6892165" y="1391541"/>
                </a:cubicBezTo>
                <a:cubicBezTo>
                  <a:pt x="6892165" y="1361060"/>
                  <a:pt x="6916875" y="1336350"/>
                  <a:pt x="6947357" y="1336350"/>
                </a:cubicBezTo>
                <a:close/>
                <a:moveTo>
                  <a:pt x="6817064" y="1336350"/>
                </a:moveTo>
                <a:cubicBezTo>
                  <a:pt x="6847546" y="1336350"/>
                  <a:pt x="6872256" y="1361060"/>
                  <a:pt x="6872256" y="1391541"/>
                </a:cubicBezTo>
                <a:cubicBezTo>
                  <a:pt x="6872256" y="1422022"/>
                  <a:pt x="6847546" y="1446732"/>
                  <a:pt x="6817064" y="1446732"/>
                </a:cubicBezTo>
                <a:cubicBezTo>
                  <a:pt x="6786582" y="1446732"/>
                  <a:pt x="6761872" y="1422022"/>
                  <a:pt x="6761872" y="1391541"/>
                </a:cubicBezTo>
                <a:cubicBezTo>
                  <a:pt x="6761872" y="1361060"/>
                  <a:pt x="6786582" y="1336350"/>
                  <a:pt x="6817064" y="1336350"/>
                </a:cubicBezTo>
                <a:close/>
                <a:moveTo>
                  <a:pt x="6683431" y="1336350"/>
                </a:moveTo>
                <a:cubicBezTo>
                  <a:pt x="6713913" y="1336350"/>
                  <a:pt x="6738623" y="1361060"/>
                  <a:pt x="6738623" y="1391541"/>
                </a:cubicBezTo>
                <a:cubicBezTo>
                  <a:pt x="6738623" y="1422022"/>
                  <a:pt x="6713913" y="1446732"/>
                  <a:pt x="6683431" y="1446732"/>
                </a:cubicBezTo>
                <a:cubicBezTo>
                  <a:pt x="6652949" y="1446732"/>
                  <a:pt x="6628239" y="1422022"/>
                  <a:pt x="6628239" y="1391541"/>
                </a:cubicBezTo>
                <a:cubicBezTo>
                  <a:pt x="6628239" y="1361060"/>
                  <a:pt x="6652949" y="1336350"/>
                  <a:pt x="6683431" y="1336350"/>
                </a:cubicBezTo>
                <a:close/>
                <a:moveTo>
                  <a:pt x="6553137" y="1336350"/>
                </a:moveTo>
                <a:cubicBezTo>
                  <a:pt x="6583619" y="1336350"/>
                  <a:pt x="6608329" y="1361060"/>
                  <a:pt x="6608329" y="1391541"/>
                </a:cubicBezTo>
                <a:cubicBezTo>
                  <a:pt x="6608329" y="1422022"/>
                  <a:pt x="6583619" y="1446732"/>
                  <a:pt x="6553137" y="1446732"/>
                </a:cubicBezTo>
                <a:cubicBezTo>
                  <a:pt x="6522655" y="1446732"/>
                  <a:pt x="6497945" y="1422022"/>
                  <a:pt x="6497945" y="1391541"/>
                </a:cubicBezTo>
                <a:cubicBezTo>
                  <a:pt x="6497945" y="1361060"/>
                  <a:pt x="6522655" y="1336350"/>
                  <a:pt x="6553137" y="1336350"/>
                </a:cubicBezTo>
                <a:close/>
                <a:moveTo>
                  <a:pt x="6419502" y="1336350"/>
                </a:moveTo>
                <a:cubicBezTo>
                  <a:pt x="6449984" y="1336350"/>
                  <a:pt x="6474694" y="1361060"/>
                  <a:pt x="6474694" y="1391541"/>
                </a:cubicBezTo>
                <a:cubicBezTo>
                  <a:pt x="6474694" y="1422022"/>
                  <a:pt x="6449984" y="1446732"/>
                  <a:pt x="6419502" y="1446732"/>
                </a:cubicBezTo>
                <a:cubicBezTo>
                  <a:pt x="6389020" y="1446732"/>
                  <a:pt x="6364310" y="1422022"/>
                  <a:pt x="6364310" y="1391541"/>
                </a:cubicBezTo>
                <a:cubicBezTo>
                  <a:pt x="6364310" y="1361060"/>
                  <a:pt x="6389020" y="1336350"/>
                  <a:pt x="6419502" y="1336350"/>
                </a:cubicBezTo>
                <a:close/>
                <a:moveTo>
                  <a:pt x="6289207" y="1336350"/>
                </a:moveTo>
                <a:cubicBezTo>
                  <a:pt x="6319689" y="1336350"/>
                  <a:pt x="6344399" y="1361060"/>
                  <a:pt x="6344399" y="1391541"/>
                </a:cubicBezTo>
                <a:cubicBezTo>
                  <a:pt x="6344399" y="1422022"/>
                  <a:pt x="6319689" y="1446732"/>
                  <a:pt x="6289207" y="1446732"/>
                </a:cubicBezTo>
                <a:cubicBezTo>
                  <a:pt x="6258725" y="1446732"/>
                  <a:pt x="6234015" y="1422022"/>
                  <a:pt x="6234015" y="1391541"/>
                </a:cubicBezTo>
                <a:cubicBezTo>
                  <a:pt x="6234015" y="1361060"/>
                  <a:pt x="6258725" y="1336350"/>
                  <a:pt x="6289207" y="1336350"/>
                </a:cubicBezTo>
                <a:close/>
                <a:moveTo>
                  <a:pt x="6155573" y="1336350"/>
                </a:moveTo>
                <a:cubicBezTo>
                  <a:pt x="6186055" y="1336350"/>
                  <a:pt x="6210765" y="1361060"/>
                  <a:pt x="6210765" y="1391541"/>
                </a:cubicBezTo>
                <a:cubicBezTo>
                  <a:pt x="6210765" y="1422022"/>
                  <a:pt x="6186055" y="1446732"/>
                  <a:pt x="6155573" y="1446732"/>
                </a:cubicBezTo>
                <a:cubicBezTo>
                  <a:pt x="6125091" y="1446732"/>
                  <a:pt x="6100381" y="1422022"/>
                  <a:pt x="6100381" y="1391541"/>
                </a:cubicBezTo>
                <a:cubicBezTo>
                  <a:pt x="6100381" y="1361060"/>
                  <a:pt x="6125091" y="1336350"/>
                  <a:pt x="6155573" y="1336350"/>
                </a:cubicBezTo>
                <a:close/>
                <a:moveTo>
                  <a:pt x="6021939" y="1336350"/>
                </a:moveTo>
                <a:cubicBezTo>
                  <a:pt x="6052421" y="1336350"/>
                  <a:pt x="6077131" y="1361060"/>
                  <a:pt x="6077131" y="1391541"/>
                </a:cubicBezTo>
                <a:cubicBezTo>
                  <a:pt x="6077131" y="1422022"/>
                  <a:pt x="6052421" y="1446732"/>
                  <a:pt x="6021939" y="1446732"/>
                </a:cubicBezTo>
                <a:cubicBezTo>
                  <a:pt x="5991457" y="1446732"/>
                  <a:pt x="5966747" y="1422022"/>
                  <a:pt x="5966747" y="1391541"/>
                </a:cubicBezTo>
                <a:cubicBezTo>
                  <a:pt x="5966747" y="1361060"/>
                  <a:pt x="5991457" y="1336350"/>
                  <a:pt x="6021939" y="1336350"/>
                </a:cubicBezTo>
                <a:close/>
                <a:moveTo>
                  <a:pt x="5884964" y="1336350"/>
                </a:moveTo>
                <a:cubicBezTo>
                  <a:pt x="5915446" y="1336350"/>
                  <a:pt x="5940156" y="1361060"/>
                  <a:pt x="5940156" y="1391541"/>
                </a:cubicBezTo>
                <a:cubicBezTo>
                  <a:pt x="5940156" y="1422022"/>
                  <a:pt x="5915446" y="1446732"/>
                  <a:pt x="5884964" y="1446732"/>
                </a:cubicBezTo>
                <a:cubicBezTo>
                  <a:pt x="5854482" y="1446732"/>
                  <a:pt x="5829772" y="1422022"/>
                  <a:pt x="5829772" y="1391541"/>
                </a:cubicBezTo>
                <a:cubicBezTo>
                  <a:pt x="5829772" y="1361060"/>
                  <a:pt x="5854482" y="1336350"/>
                  <a:pt x="5884964" y="1336350"/>
                </a:cubicBezTo>
                <a:close/>
                <a:moveTo>
                  <a:pt x="5754668" y="1336350"/>
                </a:moveTo>
                <a:cubicBezTo>
                  <a:pt x="5785150" y="1336350"/>
                  <a:pt x="5809860" y="1361060"/>
                  <a:pt x="5809860" y="1391541"/>
                </a:cubicBezTo>
                <a:cubicBezTo>
                  <a:pt x="5809860" y="1422022"/>
                  <a:pt x="5785150" y="1446732"/>
                  <a:pt x="5754668" y="1446732"/>
                </a:cubicBezTo>
                <a:cubicBezTo>
                  <a:pt x="5724186" y="1446732"/>
                  <a:pt x="5699476" y="1422022"/>
                  <a:pt x="5699476" y="1391541"/>
                </a:cubicBezTo>
                <a:cubicBezTo>
                  <a:pt x="5699476" y="1361060"/>
                  <a:pt x="5724186" y="1336350"/>
                  <a:pt x="5754668" y="1336350"/>
                </a:cubicBezTo>
                <a:close/>
                <a:moveTo>
                  <a:pt x="5621035" y="1336350"/>
                </a:moveTo>
                <a:cubicBezTo>
                  <a:pt x="5651517" y="1336350"/>
                  <a:pt x="5676227" y="1361060"/>
                  <a:pt x="5676227" y="1391541"/>
                </a:cubicBezTo>
                <a:cubicBezTo>
                  <a:pt x="5676227" y="1422022"/>
                  <a:pt x="5651517" y="1446732"/>
                  <a:pt x="5621035" y="1446732"/>
                </a:cubicBezTo>
                <a:cubicBezTo>
                  <a:pt x="5590553" y="1446732"/>
                  <a:pt x="5565843" y="1422022"/>
                  <a:pt x="5565843" y="1391541"/>
                </a:cubicBezTo>
                <a:cubicBezTo>
                  <a:pt x="5565843" y="1361060"/>
                  <a:pt x="5590553" y="1336350"/>
                  <a:pt x="5621035" y="1336350"/>
                </a:cubicBezTo>
                <a:close/>
                <a:moveTo>
                  <a:pt x="5487399" y="1336350"/>
                </a:moveTo>
                <a:cubicBezTo>
                  <a:pt x="5517881" y="1336350"/>
                  <a:pt x="5542591" y="1361060"/>
                  <a:pt x="5542591" y="1391541"/>
                </a:cubicBezTo>
                <a:cubicBezTo>
                  <a:pt x="5542591" y="1422022"/>
                  <a:pt x="5517881" y="1446732"/>
                  <a:pt x="5487399" y="1446732"/>
                </a:cubicBezTo>
                <a:cubicBezTo>
                  <a:pt x="5456917" y="1446732"/>
                  <a:pt x="5432207" y="1422022"/>
                  <a:pt x="5432207" y="1391541"/>
                </a:cubicBezTo>
                <a:cubicBezTo>
                  <a:pt x="5432207" y="1361060"/>
                  <a:pt x="5456917" y="1336350"/>
                  <a:pt x="5487399" y="1336350"/>
                </a:cubicBezTo>
                <a:close/>
                <a:moveTo>
                  <a:pt x="5357106" y="1336350"/>
                </a:moveTo>
                <a:cubicBezTo>
                  <a:pt x="5387588" y="1336350"/>
                  <a:pt x="5412298" y="1361060"/>
                  <a:pt x="5412298" y="1391541"/>
                </a:cubicBezTo>
                <a:cubicBezTo>
                  <a:pt x="5412298" y="1422022"/>
                  <a:pt x="5387588" y="1446732"/>
                  <a:pt x="5357106" y="1446732"/>
                </a:cubicBezTo>
                <a:cubicBezTo>
                  <a:pt x="5326624" y="1446732"/>
                  <a:pt x="5301914" y="1422022"/>
                  <a:pt x="5301914" y="1391541"/>
                </a:cubicBezTo>
                <a:cubicBezTo>
                  <a:pt x="5301914" y="1361060"/>
                  <a:pt x="5326624" y="1336350"/>
                  <a:pt x="5357106" y="1336350"/>
                </a:cubicBezTo>
                <a:close/>
                <a:moveTo>
                  <a:pt x="4959543" y="1336350"/>
                </a:moveTo>
                <a:cubicBezTo>
                  <a:pt x="4990025" y="1336350"/>
                  <a:pt x="5014735" y="1361060"/>
                  <a:pt x="5014735" y="1391541"/>
                </a:cubicBezTo>
                <a:cubicBezTo>
                  <a:pt x="5014735" y="1422022"/>
                  <a:pt x="4990025" y="1446732"/>
                  <a:pt x="4959543" y="1446732"/>
                </a:cubicBezTo>
                <a:cubicBezTo>
                  <a:pt x="4929061" y="1446732"/>
                  <a:pt x="4904351" y="1422022"/>
                  <a:pt x="4904351" y="1391541"/>
                </a:cubicBezTo>
                <a:cubicBezTo>
                  <a:pt x="4904351" y="1361060"/>
                  <a:pt x="4929061" y="1336350"/>
                  <a:pt x="4959543" y="1336350"/>
                </a:cubicBezTo>
                <a:close/>
                <a:moveTo>
                  <a:pt x="4565322" y="1336350"/>
                </a:moveTo>
                <a:cubicBezTo>
                  <a:pt x="4595804" y="1336350"/>
                  <a:pt x="4620514" y="1361060"/>
                  <a:pt x="4620514" y="1391541"/>
                </a:cubicBezTo>
                <a:cubicBezTo>
                  <a:pt x="4620514" y="1422022"/>
                  <a:pt x="4595804" y="1446732"/>
                  <a:pt x="4565322" y="1446732"/>
                </a:cubicBezTo>
                <a:cubicBezTo>
                  <a:pt x="4534840" y="1446732"/>
                  <a:pt x="4510130" y="1422022"/>
                  <a:pt x="4510130" y="1391541"/>
                </a:cubicBezTo>
                <a:cubicBezTo>
                  <a:pt x="4510130" y="1361060"/>
                  <a:pt x="4534840" y="1336350"/>
                  <a:pt x="4565322" y="1336350"/>
                </a:cubicBezTo>
                <a:close/>
                <a:moveTo>
                  <a:pt x="2971729" y="1336350"/>
                </a:moveTo>
                <a:cubicBezTo>
                  <a:pt x="3002211" y="1336350"/>
                  <a:pt x="3026921" y="1361060"/>
                  <a:pt x="3026921" y="1391541"/>
                </a:cubicBezTo>
                <a:cubicBezTo>
                  <a:pt x="3026921" y="1422022"/>
                  <a:pt x="3002211" y="1446732"/>
                  <a:pt x="2971729" y="1446732"/>
                </a:cubicBezTo>
                <a:cubicBezTo>
                  <a:pt x="2941247" y="1446732"/>
                  <a:pt x="2916537" y="1422022"/>
                  <a:pt x="2916537" y="1391541"/>
                </a:cubicBezTo>
                <a:cubicBezTo>
                  <a:pt x="2916537" y="1361060"/>
                  <a:pt x="2941247" y="1336350"/>
                  <a:pt x="2971729" y="1336350"/>
                </a:cubicBezTo>
                <a:close/>
                <a:moveTo>
                  <a:pt x="2834801" y="1336350"/>
                </a:moveTo>
                <a:cubicBezTo>
                  <a:pt x="2865283" y="1336350"/>
                  <a:pt x="2889994" y="1361060"/>
                  <a:pt x="2889994" y="1391541"/>
                </a:cubicBezTo>
                <a:cubicBezTo>
                  <a:pt x="2889994" y="1422022"/>
                  <a:pt x="2865283" y="1446732"/>
                  <a:pt x="2834801" y="1446732"/>
                </a:cubicBezTo>
                <a:cubicBezTo>
                  <a:pt x="2804320" y="1446732"/>
                  <a:pt x="2779610" y="1422022"/>
                  <a:pt x="2779610" y="1391541"/>
                </a:cubicBezTo>
                <a:cubicBezTo>
                  <a:pt x="2779610" y="1361060"/>
                  <a:pt x="2804320" y="1336350"/>
                  <a:pt x="2834801" y="1336350"/>
                </a:cubicBezTo>
                <a:close/>
                <a:moveTo>
                  <a:pt x="2707848" y="1336350"/>
                </a:moveTo>
                <a:cubicBezTo>
                  <a:pt x="2738330" y="1336350"/>
                  <a:pt x="2763042" y="1361060"/>
                  <a:pt x="2763042" y="1391541"/>
                </a:cubicBezTo>
                <a:cubicBezTo>
                  <a:pt x="2763042" y="1422022"/>
                  <a:pt x="2738330" y="1446732"/>
                  <a:pt x="2707848" y="1446732"/>
                </a:cubicBezTo>
                <a:cubicBezTo>
                  <a:pt x="2677367" y="1446732"/>
                  <a:pt x="2652656" y="1422022"/>
                  <a:pt x="2652656" y="1391541"/>
                </a:cubicBezTo>
                <a:cubicBezTo>
                  <a:pt x="2652656" y="1361060"/>
                  <a:pt x="2677367" y="1336350"/>
                  <a:pt x="2707848" y="1336350"/>
                </a:cubicBezTo>
                <a:close/>
                <a:moveTo>
                  <a:pt x="2570875" y="1336350"/>
                </a:moveTo>
                <a:cubicBezTo>
                  <a:pt x="2601357" y="1336350"/>
                  <a:pt x="2626067" y="1361060"/>
                  <a:pt x="2626067" y="1391541"/>
                </a:cubicBezTo>
                <a:cubicBezTo>
                  <a:pt x="2626067" y="1422022"/>
                  <a:pt x="2601357" y="1446732"/>
                  <a:pt x="2570875" y="1446732"/>
                </a:cubicBezTo>
                <a:cubicBezTo>
                  <a:pt x="2540392" y="1446732"/>
                  <a:pt x="2515683" y="1422022"/>
                  <a:pt x="2515683" y="1391541"/>
                </a:cubicBezTo>
                <a:cubicBezTo>
                  <a:pt x="2515683" y="1361060"/>
                  <a:pt x="2540392" y="1336350"/>
                  <a:pt x="2570875" y="1336350"/>
                </a:cubicBezTo>
                <a:close/>
                <a:moveTo>
                  <a:pt x="2173314" y="1336350"/>
                </a:moveTo>
                <a:cubicBezTo>
                  <a:pt x="2203797" y="1336350"/>
                  <a:pt x="2228507" y="1361060"/>
                  <a:pt x="2228507" y="1391541"/>
                </a:cubicBezTo>
                <a:cubicBezTo>
                  <a:pt x="2228507" y="1422022"/>
                  <a:pt x="2203797" y="1446732"/>
                  <a:pt x="2173314" y="1446732"/>
                </a:cubicBezTo>
                <a:cubicBezTo>
                  <a:pt x="2142832" y="1446732"/>
                  <a:pt x="2118122" y="1422022"/>
                  <a:pt x="2118122" y="1391541"/>
                </a:cubicBezTo>
                <a:cubicBezTo>
                  <a:pt x="2118122" y="1361060"/>
                  <a:pt x="2142832" y="1336350"/>
                  <a:pt x="2173314" y="1336350"/>
                </a:cubicBezTo>
                <a:close/>
                <a:moveTo>
                  <a:pt x="2039678" y="1336350"/>
                </a:moveTo>
                <a:cubicBezTo>
                  <a:pt x="2070160" y="1336350"/>
                  <a:pt x="2094870" y="1361060"/>
                  <a:pt x="2094870" y="1391541"/>
                </a:cubicBezTo>
                <a:cubicBezTo>
                  <a:pt x="2094870" y="1422022"/>
                  <a:pt x="2070160" y="1446732"/>
                  <a:pt x="2039678" y="1446732"/>
                </a:cubicBezTo>
                <a:cubicBezTo>
                  <a:pt x="2009195" y="1446732"/>
                  <a:pt x="1984484" y="1422022"/>
                  <a:pt x="1984484" y="1391541"/>
                </a:cubicBezTo>
                <a:cubicBezTo>
                  <a:pt x="1984484" y="1361060"/>
                  <a:pt x="2009195" y="1336350"/>
                  <a:pt x="2039678" y="1336350"/>
                </a:cubicBezTo>
                <a:close/>
                <a:moveTo>
                  <a:pt x="1909381" y="1336350"/>
                </a:moveTo>
                <a:cubicBezTo>
                  <a:pt x="1939864" y="1336350"/>
                  <a:pt x="1964575" y="1361060"/>
                  <a:pt x="1964575" y="1391541"/>
                </a:cubicBezTo>
                <a:cubicBezTo>
                  <a:pt x="1964575" y="1422022"/>
                  <a:pt x="1939864" y="1446732"/>
                  <a:pt x="1909381" y="1446732"/>
                </a:cubicBezTo>
                <a:cubicBezTo>
                  <a:pt x="1878899" y="1446732"/>
                  <a:pt x="1854188" y="1422022"/>
                  <a:pt x="1854188" y="1391541"/>
                </a:cubicBezTo>
                <a:cubicBezTo>
                  <a:pt x="1854188" y="1361060"/>
                  <a:pt x="1878899" y="1336350"/>
                  <a:pt x="1909381" y="1336350"/>
                </a:cubicBezTo>
                <a:close/>
                <a:moveTo>
                  <a:pt x="1779086" y="1336350"/>
                </a:moveTo>
                <a:cubicBezTo>
                  <a:pt x="1809568" y="1336350"/>
                  <a:pt x="1834278" y="1361060"/>
                  <a:pt x="1834278" y="1391541"/>
                </a:cubicBezTo>
                <a:cubicBezTo>
                  <a:pt x="1834278" y="1422022"/>
                  <a:pt x="1809568" y="1446732"/>
                  <a:pt x="1779086" y="1446732"/>
                </a:cubicBezTo>
                <a:cubicBezTo>
                  <a:pt x="1748603" y="1446732"/>
                  <a:pt x="1723892" y="1422022"/>
                  <a:pt x="1723892" y="1391541"/>
                </a:cubicBezTo>
                <a:cubicBezTo>
                  <a:pt x="1723892" y="1361060"/>
                  <a:pt x="1748603" y="1336350"/>
                  <a:pt x="1779086" y="1336350"/>
                </a:cubicBezTo>
                <a:close/>
                <a:moveTo>
                  <a:pt x="1645448" y="1336350"/>
                </a:moveTo>
                <a:cubicBezTo>
                  <a:pt x="1675933" y="1336350"/>
                  <a:pt x="1700644" y="1361060"/>
                  <a:pt x="1700644" y="1391541"/>
                </a:cubicBezTo>
                <a:cubicBezTo>
                  <a:pt x="1700644" y="1422022"/>
                  <a:pt x="1675933" y="1446732"/>
                  <a:pt x="1645448" y="1446732"/>
                </a:cubicBezTo>
                <a:cubicBezTo>
                  <a:pt x="1614967" y="1446732"/>
                  <a:pt x="1590256" y="1422022"/>
                  <a:pt x="1590256" y="1391541"/>
                </a:cubicBezTo>
                <a:cubicBezTo>
                  <a:pt x="1590256" y="1361060"/>
                  <a:pt x="1614967" y="1336350"/>
                  <a:pt x="1645448" y="1336350"/>
                </a:cubicBezTo>
                <a:close/>
                <a:moveTo>
                  <a:pt x="1515160" y="1336350"/>
                </a:moveTo>
                <a:cubicBezTo>
                  <a:pt x="1545636" y="1336350"/>
                  <a:pt x="1570346" y="1361060"/>
                  <a:pt x="1570346" y="1391541"/>
                </a:cubicBezTo>
                <a:cubicBezTo>
                  <a:pt x="1570346" y="1422022"/>
                  <a:pt x="1545636" y="1446732"/>
                  <a:pt x="1515160" y="1446732"/>
                </a:cubicBezTo>
                <a:cubicBezTo>
                  <a:pt x="1484676" y="1446732"/>
                  <a:pt x="1459963" y="1422022"/>
                  <a:pt x="1459963" y="1391541"/>
                </a:cubicBezTo>
                <a:cubicBezTo>
                  <a:pt x="1459963" y="1361060"/>
                  <a:pt x="1484676" y="1336350"/>
                  <a:pt x="1515160" y="1336350"/>
                </a:cubicBezTo>
                <a:close/>
                <a:moveTo>
                  <a:pt x="1381522" y="1336350"/>
                </a:moveTo>
                <a:cubicBezTo>
                  <a:pt x="1412004" y="1336350"/>
                  <a:pt x="1436714" y="1361060"/>
                  <a:pt x="1436714" y="1391541"/>
                </a:cubicBezTo>
                <a:cubicBezTo>
                  <a:pt x="1436714" y="1422022"/>
                  <a:pt x="1412004" y="1446732"/>
                  <a:pt x="1381522" y="1446732"/>
                </a:cubicBezTo>
                <a:cubicBezTo>
                  <a:pt x="1351043" y="1446732"/>
                  <a:pt x="1326330" y="1422022"/>
                  <a:pt x="1326330" y="1391541"/>
                </a:cubicBezTo>
                <a:cubicBezTo>
                  <a:pt x="1326330" y="1361060"/>
                  <a:pt x="1351043" y="1336350"/>
                  <a:pt x="1381522" y="1336350"/>
                </a:cubicBezTo>
                <a:close/>
                <a:moveTo>
                  <a:pt x="1251229" y="1336350"/>
                </a:moveTo>
                <a:cubicBezTo>
                  <a:pt x="1281711" y="1336350"/>
                  <a:pt x="1306421" y="1361060"/>
                  <a:pt x="1306421" y="1391541"/>
                </a:cubicBezTo>
                <a:cubicBezTo>
                  <a:pt x="1306421" y="1422022"/>
                  <a:pt x="1281711" y="1446732"/>
                  <a:pt x="1251229" y="1446732"/>
                </a:cubicBezTo>
                <a:cubicBezTo>
                  <a:pt x="1220747" y="1446732"/>
                  <a:pt x="1196037" y="1422022"/>
                  <a:pt x="1196037" y="1391541"/>
                </a:cubicBezTo>
                <a:cubicBezTo>
                  <a:pt x="1196037" y="1361060"/>
                  <a:pt x="1220747" y="1336350"/>
                  <a:pt x="1251229" y="1336350"/>
                </a:cubicBezTo>
                <a:close/>
                <a:moveTo>
                  <a:pt x="1117592" y="1336350"/>
                </a:moveTo>
                <a:cubicBezTo>
                  <a:pt x="1148075" y="1336350"/>
                  <a:pt x="1172785" y="1361060"/>
                  <a:pt x="1172785" y="1391541"/>
                </a:cubicBezTo>
                <a:cubicBezTo>
                  <a:pt x="1172785" y="1422022"/>
                  <a:pt x="1148075" y="1446732"/>
                  <a:pt x="1117592" y="1446732"/>
                </a:cubicBezTo>
                <a:cubicBezTo>
                  <a:pt x="1087110" y="1446732"/>
                  <a:pt x="1062400" y="1422022"/>
                  <a:pt x="1062400" y="1391541"/>
                </a:cubicBezTo>
                <a:cubicBezTo>
                  <a:pt x="1062400" y="1361060"/>
                  <a:pt x="1087110" y="1336350"/>
                  <a:pt x="1117592" y="1336350"/>
                </a:cubicBezTo>
                <a:close/>
                <a:moveTo>
                  <a:pt x="980615" y="1336350"/>
                </a:moveTo>
                <a:cubicBezTo>
                  <a:pt x="1011098" y="1336350"/>
                  <a:pt x="1035808" y="1361060"/>
                  <a:pt x="1035808" y="1391541"/>
                </a:cubicBezTo>
                <a:cubicBezTo>
                  <a:pt x="1035808" y="1422022"/>
                  <a:pt x="1011098" y="1446732"/>
                  <a:pt x="980615" y="1446732"/>
                </a:cubicBezTo>
                <a:cubicBezTo>
                  <a:pt x="950133" y="1446732"/>
                  <a:pt x="925422" y="1422022"/>
                  <a:pt x="925422" y="1391541"/>
                </a:cubicBezTo>
                <a:cubicBezTo>
                  <a:pt x="925422" y="1361060"/>
                  <a:pt x="950133" y="1336350"/>
                  <a:pt x="980615" y="1336350"/>
                </a:cubicBezTo>
                <a:close/>
                <a:moveTo>
                  <a:pt x="9199101" y="1336348"/>
                </a:moveTo>
                <a:cubicBezTo>
                  <a:pt x="9229583" y="1336348"/>
                  <a:pt x="9254293" y="1361058"/>
                  <a:pt x="9254293" y="1391539"/>
                </a:cubicBezTo>
                <a:cubicBezTo>
                  <a:pt x="9254293" y="1422020"/>
                  <a:pt x="9229583" y="1446730"/>
                  <a:pt x="9199101" y="1446730"/>
                </a:cubicBezTo>
                <a:cubicBezTo>
                  <a:pt x="9168619" y="1446730"/>
                  <a:pt x="9143909" y="1422020"/>
                  <a:pt x="9143909" y="1391539"/>
                </a:cubicBezTo>
                <a:cubicBezTo>
                  <a:pt x="9143909" y="1361058"/>
                  <a:pt x="9168619" y="1336348"/>
                  <a:pt x="9199101" y="1336348"/>
                </a:cubicBezTo>
                <a:close/>
                <a:moveTo>
                  <a:pt x="9068807" y="1336348"/>
                </a:moveTo>
                <a:cubicBezTo>
                  <a:pt x="9099289" y="1336348"/>
                  <a:pt x="9123999" y="1361058"/>
                  <a:pt x="9123999" y="1391539"/>
                </a:cubicBezTo>
                <a:cubicBezTo>
                  <a:pt x="9123999" y="1422020"/>
                  <a:pt x="9099289" y="1446730"/>
                  <a:pt x="9068807" y="1446730"/>
                </a:cubicBezTo>
                <a:cubicBezTo>
                  <a:pt x="9038325" y="1446730"/>
                  <a:pt x="9013615" y="1422020"/>
                  <a:pt x="9013615" y="1391539"/>
                </a:cubicBezTo>
                <a:cubicBezTo>
                  <a:pt x="9013615" y="1361058"/>
                  <a:pt x="9038325" y="1336348"/>
                  <a:pt x="9068807" y="1336348"/>
                </a:cubicBezTo>
                <a:close/>
                <a:moveTo>
                  <a:pt x="8407316" y="1336348"/>
                </a:moveTo>
                <a:cubicBezTo>
                  <a:pt x="8437798" y="1336348"/>
                  <a:pt x="8462508" y="1361058"/>
                  <a:pt x="8462508" y="1391539"/>
                </a:cubicBezTo>
                <a:cubicBezTo>
                  <a:pt x="8462508" y="1422020"/>
                  <a:pt x="8437798" y="1446730"/>
                  <a:pt x="8407316" y="1446730"/>
                </a:cubicBezTo>
                <a:cubicBezTo>
                  <a:pt x="8376834" y="1446730"/>
                  <a:pt x="8352124" y="1422020"/>
                  <a:pt x="8352124" y="1391539"/>
                </a:cubicBezTo>
                <a:cubicBezTo>
                  <a:pt x="8352124" y="1361058"/>
                  <a:pt x="8376834" y="1336348"/>
                  <a:pt x="8407316" y="1336348"/>
                </a:cubicBezTo>
                <a:close/>
                <a:moveTo>
                  <a:pt x="8273682" y="1336348"/>
                </a:moveTo>
                <a:cubicBezTo>
                  <a:pt x="8304164" y="1336348"/>
                  <a:pt x="8328874" y="1361058"/>
                  <a:pt x="8328874" y="1391539"/>
                </a:cubicBezTo>
                <a:cubicBezTo>
                  <a:pt x="8328874" y="1422020"/>
                  <a:pt x="8304164" y="1446730"/>
                  <a:pt x="8273682" y="1446730"/>
                </a:cubicBezTo>
                <a:cubicBezTo>
                  <a:pt x="8243200" y="1446730"/>
                  <a:pt x="8218490" y="1422020"/>
                  <a:pt x="8218490" y="1391539"/>
                </a:cubicBezTo>
                <a:cubicBezTo>
                  <a:pt x="8218490" y="1361058"/>
                  <a:pt x="8243200" y="1336348"/>
                  <a:pt x="8273682" y="1336348"/>
                </a:cubicBezTo>
                <a:close/>
                <a:moveTo>
                  <a:pt x="8143388" y="1336348"/>
                </a:moveTo>
                <a:cubicBezTo>
                  <a:pt x="8173870" y="1336348"/>
                  <a:pt x="8198580" y="1361058"/>
                  <a:pt x="8198580" y="1391539"/>
                </a:cubicBezTo>
                <a:cubicBezTo>
                  <a:pt x="8198580" y="1422020"/>
                  <a:pt x="8173870" y="1446730"/>
                  <a:pt x="8143388" y="1446730"/>
                </a:cubicBezTo>
                <a:cubicBezTo>
                  <a:pt x="8112906" y="1446730"/>
                  <a:pt x="8088196" y="1422020"/>
                  <a:pt x="8088196" y="1391539"/>
                </a:cubicBezTo>
                <a:cubicBezTo>
                  <a:pt x="8088196" y="1361058"/>
                  <a:pt x="8112906" y="1336348"/>
                  <a:pt x="8143388" y="1336348"/>
                </a:cubicBezTo>
                <a:close/>
                <a:moveTo>
                  <a:pt x="8009753" y="1336348"/>
                </a:moveTo>
                <a:cubicBezTo>
                  <a:pt x="8040235" y="1336348"/>
                  <a:pt x="8064945" y="1361058"/>
                  <a:pt x="8064945" y="1391539"/>
                </a:cubicBezTo>
                <a:cubicBezTo>
                  <a:pt x="8064945" y="1422020"/>
                  <a:pt x="8040235" y="1446730"/>
                  <a:pt x="8009753" y="1446730"/>
                </a:cubicBezTo>
                <a:cubicBezTo>
                  <a:pt x="7979271" y="1446730"/>
                  <a:pt x="7954561" y="1422020"/>
                  <a:pt x="7954561" y="1391539"/>
                </a:cubicBezTo>
                <a:cubicBezTo>
                  <a:pt x="7954561" y="1361058"/>
                  <a:pt x="7979271" y="1336348"/>
                  <a:pt x="8009753" y="1336348"/>
                </a:cubicBezTo>
                <a:close/>
                <a:moveTo>
                  <a:pt x="7876118" y="1336348"/>
                </a:moveTo>
                <a:cubicBezTo>
                  <a:pt x="7906600" y="1336348"/>
                  <a:pt x="7931310" y="1361058"/>
                  <a:pt x="7931310" y="1391539"/>
                </a:cubicBezTo>
                <a:cubicBezTo>
                  <a:pt x="7931310" y="1422020"/>
                  <a:pt x="7906600" y="1446730"/>
                  <a:pt x="7876118" y="1446730"/>
                </a:cubicBezTo>
                <a:cubicBezTo>
                  <a:pt x="7845636" y="1446730"/>
                  <a:pt x="7820926" y="1422020"/>
                  <a:pt x="7820926" y="1391539"/>
                </a:cubicBezTo>
                <a:cubicBezTo>
                  <a:pt x="7820926" y="1361058"/>
                  <a:pt x="7845636" y="1336348"/>
                  <a:pt x="7876118" y="1336348"/>
                </a:cubicBezTo>
                <a:close/>
                <a:moveTo>
                  <a:pt x="7745823" y="1336348"/>
                </a:moveTo>
                <a:cubicBezTo>
                  <a:pt x="7776305" y="1336348"/>
                  <a:pt x="7801015" y="1361058"/>
                  <a:pt x="7801015" y="1391539"/>
                </a:cubicBezTo>
                <a:cubicBezTo>
                  <a:pt x="7801015" y="1422020"/>
                  <a:pt x="7776305" y="1446730"/>
                  <a:pt x="7745823" y="1446730"/>
                </a:cubicBezTo>
                <a:cubicBezTo>
                  <a:pt x="7715341" y="1446730"/>
                  <a:pt x="7690631" y="1422020"/>
                  <a:pt x="7690631" y="1391539"/>
                </a:cubicBezTo>
                <a:cubicBezTo>
                  <a:pt x="7690631" y="1361058"/>
                  <a:pt x="7715341" y="1336348"/>
                  <a:pt x="7745823" y="1336348"/>
                </a:cubicBezTo>
                <a:close/>
                <a:moveTo>
                  <a:pt x="185475" y="1336348"/>
                </a:moveTo>
                <a:cubicBezTo>
                  <a:pt x="215957" y="1336348"/>
                  <a:pt x="240666" y="1361058"/>
                  <a:pt x="240666" y="1391539"/>
                </a:cubicBezTo>
                <a:cubicBezTo>
                  <a:pt x="240666" y="1422020"/>
                  <a:pt x="215957" y="1446730"/>
                  <a:pt x="185475" y="1446730"/>
                </a:cubicBezTo>
                <a:cubicBezTo>
                  <a:pt x="154994" y="1446730"/>
                  <a:pt x="130283" y="1422020"/>
                  <a:pt x="130283" y="1391539"/>
                </a:cubicBezTo>
                <a:cubicBezTo>
                  <a:pt x="130283" y="1361058"/>
                  <a:pt x="154994" y="1336348"/>
                  <a:pt x="185475" y="1336348"/>
                </a:cubicBezTo>
                <a:close/>
                <a:moveTo>
                  <a:pt x="9199101" y="1219421"/>
                </a:moveTo>
                <a:cubicBezTo>
                  <a:pt x="9229583" y="1219421"/>
                  <a:pt x="9254293" y="1244131"/>
                  <a:pt x="9254293" y="1274612"/>
                </a:cubicBezTo>
                <a:cubicBezTo>
                  <a:pt x="9254293" y="1305093"/>
                  <a:pt x="9229583" y="1329803"/>
                  <a:pt x="9199101" y="1329803"/>
                </a:cubicBezTo>
                <a:cubicBezTo>
                  <a:pt x="9168619" y="1329803"/>
                  <a:pt x="9143909" y="1305093"/>
                  <a:pt x="9143909" y="1274612"/>
                </a:cubicBezTo>
                <a:cubicBezTo>
                  <a:pt x="9143909" y="1244131"/>
                  <a:pt x="9168619" y="1219421"/>
                  <a:pt x="9199101" y="1219421"/>
                </a:cubicBezTo>
                <a:close/>
                <a:moveTo>
                  <a:pt x="9068807" y="1219421"/>
                </a:moveTo>
                <a:cubicBezTo>
                  <a:pt x="9099289" y="1219421"/>
                  <a:pt x="9123999" y="1244131"/>
                  <a:pt x="9123999" y="1274612"/>
                </a:cubicBezTo>
                <a:cubicBezTo>
                  <a:pt x="9123999" y="1305093"/>
                  <a:pt x="9099289" y="1329803"/>
                  <a:pt x="9068807" y="1329803"/>
                </a:cubicBezTo>
                <a:cubicBezTo>
                  <a:pt x="9038325" y="1329803"/>
                  <a:pt x="9013615" y="1305093"/>
                  <a:pt x="9013615" y="1274612"/>
                </a:cubicBezTo>
                <a:cubicBezTo>
                  <a:pt x="9013615" y="1244131"/>
                  <a:pt x="9038325" y="1219421"/>
                  <a:pt x="9068807" y="1219421"/>
                </a:cubicBezTo>
                <a:close/>
                <a:moveTo>
                  <a:pt x="8537612" y="1219421"/>
                </a:moveTo>
                <a:cubicBezTo>
                  <a:pt x="8568094" y="1219421"/>
                  <a:pt x="8592804" y="1244131"/>
                  <a:pt x="8592804" y="1274612"/>
                </a:cubicBezTo>
                <a:cubicBezTo>
                  <a:pt x="8592804" y="1305093"/>
                  <a:pt x="8568094" y="1329803"/>
                  <a:pt x="8537612" y="1329803"/>
                </a:cubicBezTo>
                <a:cubicBezTo>
                  <a:pt x="8507130" y="1329803"/>
                  <a:pt x="8482420" y="1305093"/>
                  <a:pt x="8482420" y="1274612"/>
                </a:cubicBezTo>
                <a:cubicBezTo>
                  <a:pt x="8482420" y="1244131"/>
                  <a:pt x="8507130" y="1219421"/>
                  <a:pt x="8537612" y="1219421"/>
                </a:cubicBezTo>
                <a:close/>
                <a:moveTo>
                  <a:pt x="8407316" y="1219421"/>
                </a:moveTo>
                <a:cubicBezTo>
                  <a:pt x="8437798" y="1219421"/>
                  <a:pt x="8462508" y="1244131"/>
                  <a:pt x="8462508" y="1274612"/>
                </a:cubicBezTo>
                <a:cubicBezTo>
                  <a:pt x="8462508" y="1305093"/>
                  <a:pt x="8437798" y="1329803"/>
                  <a:pt x="8407316" y="1329803"/>
                </a:cubicBezTo>
                <a:cubicBezTo>
                  <a:pt x="8376834" y="1329803"/>
                  <a:pt x="8352124" y="1305093"/>
                  <a:pt x="8352124" y="1274612"/>
                </a:cubicBezTo>
                <a:cubicBezTo>
                  <a:pt x="8352124" y="1244131"/>
                  <a:pt x="8376834" y="1219421"/>
                  <a:pt x="8407316" y="1219421"/>
                </a:cubicBezTo>
                <a:close/>
                <a:moveTo>
                  <a:pt x="8273682" y="1219421"/>
                </a:moveTo>
                <a:cubicBezTo>
                  <a:pt x="8304164" y="1219421"/>
                  <a:pt x="8328874" y="1244131"/>
                  <a:pt x="8328874" y="1274612"/>
                </a:cubicBezTo>
                <a:cubicBezTo>
                  <a:pt x="8328874" y="1305093"/>
                  <a:pt x="8304164" y="1329803"/>
                  <a:pt x="8273682" y="1329803"/>
                </a:cubicBezTo>
                <a:cubicBezTo>
                  <a:pt x="8243200" y="1329803"/>
                  <a:pt x="8218490" y="1305093"/>
                  <a:pt x="8218490" y="1274612"/>
                </a:cubicBezTo>
                <a:cubicBezTo>
                  <a:pt x="8218490" y="1244131"/>
                  <a:pt x="8243200" y="1219421"/>
                  <a:pt x="8273682" y="1219421"/>
                </a:cubicBezTo>
                <a:close/>
                <a:moveTo>
                  <a:pt x="8143388" y="1219421"/>
                </a:moveTo>
                <a:cubicBezTo>
                  <a:pt x="8173870" y="1219421"/>
                  <a:pt x="8198580" y="1244131"/>
                  <a:pt x="8198580" y="1274612"/>
                </a:cubicBezTo>
                <a:cubicBezTo>
                  <a:pt x="8198580" y="1305093"/>
                  <a:pt x="8173870" y="1329803"/>
                  <a:pt x="8143388" y="1329803"/>
                </a:cubicBezTo>
                <a:cubicBezTo>
                  <a:pt x="8112906" y="1329803"/>
                  <a:pt x="8088196" y="1305093"/>
                  <a:pt x="8088196" y="1274612"/>
                </a:cubicBezTo>
                <a:cubicBezTo>
                  <a:pt x="8088196" y="1244131"/>
                  <a:pt x="8112906" y="1219421"/>
                  <a:pt x="8143388" y="1219421"/>
                </a:cubicBezTo>
                <a:close/>
                <a:moveTo>
                  <a:pt x="8009753" y="1219421"/>
                </a:moveTo>
                <a:cubicBezTo>
                  <a:pt x="8040235" y="1219421"/>
                  <a:pt x="8064945" y="1244131"/>
                  <a:pt x="8064945" y="1274612"/>
                </a:cubicBezTo>
                <a:cubicBezTo>
                  <a:pt x="8064945" y="1305093"/>
                  <a:pt x="8040235" y="1329803"/>
                  <a:pt x="8009753" y="1329803"/>
                </a:cubicBezTo>
                <a:cubicBezTo>
                  <a:pt x="7979271" y="1329803"/>
                  <a:pt x="7954561" y="1305093"/>
                  <a:pt x="7954561" y="1274612"/>
                </a:cubicBezTo>
                <a:cubicBezTo>
                  <a:pt x="7954561" y="1244131"/>
                  <a:pt x="7979271" y="1219421"/>
                  <a:pt x="8009753" y="1219421"/>
                </a:cubicBezTo>
                <a:close/>
                <a:moveTo>
                  <a:pt x="7876118" y="1219421"/>
                </a:moveTo>
                <a:cubicBezTo>
                  <a:pt x="7906600" y="1219421"/>
                  <a:pt x="7931310" y="1244131"/>
                  <a:pt x="7931310" y="1274612"/>
                </a:cubicBezTo>
                <a:cubicBezTo>
                  <a:pt x="7931310" y="1305093"/>
                  <a:pt x="7906600" y="1329803"/>
                  <a:pt x="7876118" y="1329803"/>
                </a:cubicBezTo>
                <a:cubicBezTo>
                  <a:pt x="7845636" y="1329803"/>
                  <a:pt x="7820926" y="1305093"/>
                  <a:pt x="7820926" y="1274612"/>
                </a:cubicBezTo>
                <a:cubicBezTo>
                  <a:pt x="7820926" y="1244131"/>
                  <a:pt x="7845636" y="1219421"/>
                  <a:pt x="7876118" y="1219421"/>
                </a:cubicBezTo>
                <a:close/>
                <a:moveTo>
                  <a:pt x="7745823" y="1219421"/>
                </a:moveTo>
                <a:cubicBezTo>
                  <a:pt x="7776305" y="1219421"/>
                  <a:pt x="7801015" y="1244131"/>
                  <a:pt x="7801015" y="1274612"/>
                </a:cubicBezTo>
                <a:cubicBezTo>
                  <a:pt x="7801015" y="1305093"/>
                  <a:pt x="7776305" y="1329803"/>
                  <a:pt x="7745823" y="1329803"/>
                </a:cubicBezTo>
                <a:cubicBezTo>
                  <a:pt x="7715341" y="1329803"/>
                  <a:pt x="7690631" y="1305093"/>
                  <a:pt x="7690631" y="1274612"/>
                </a:cubicBezTo>
                <a:cubicBezTo>
                  <a:pt x="7690631" y="1244131"/>
                  <a:pt x="7715341" y="1219421"/>
                  <a:pt x="7745823" y="1219421"/>
                </a:cubicBezTo>
                <a:close/>
                <a:moveTo>
                  <a:pt x="7608849" y="1219421"/>
                </a:moveTo>
                <a:cubicBezTo>
                  <a:pt x="7639331" y="1219421"/>
                  <a:pt x="7664041" y="1244131"/>
                  <a:pt x="7664041" y="1274612"/>
                </a:cubicBezTo>
                <a:cubicBezTo>
                  <a:pt x="7664041" y="1305093"/>
                  <a:pt x="7639331" y="1329803"/>
                  <a:pt x="7608849" y="1329803"/>
                </a:cubicBezTo>
                <a:cubicBezTo>
                  <a:pt x="7578367" y="1329803"/>
                  <a:pt x="7553657" y="1305093"/>
                  <a:pt x="7553657" y="1274612"/>
                </a:cubicBezTo>
                <a:cubicBezTo>
                  <a:pt x="7553657" y="1244131"/>
                  <a:pt x="7578367" y="1219421"/>
                  <a:pt x="7608849" y="1219421"/>
                </a:cubicBezTo>
                <a:close/>
                <a:moveTo>
                  <a:pt x="7481897" y="1219421"/>
                </a:moveTo>
                <a:cubicBezTo>
                  <a:pt x="7512379" y="1219421"/>
                  <a:pt x="7537089" y="1244131"/>
                  <a:pt x="7537089" y="1274612"/>
                </a:cubicBezTo>
                <a:cubicBezTo>
                  <a:pt x="7537089" y="1305093"/>
                  <a:pt x="7512379" y="1329803"/>
                  <a:pt x="7481897" y="1329803"/>
                </a:cubicBezTo>
                <a:cubicBezTo>
                  <a:pt x="7451415" y="1329803"/>
                  <a:pt x="7426705" y="1305093"/>
                  <a:pt x="7426705" y="1274612"/>
                </a:cubicBezTo>
                <a:cubicBezTo>
                  <a:pt x="7426705" y="1244131"/>
                  <a:pt x="7451415" y="1219421"/>
                  <a:pt x="7481897" y="1219421"/>
                </a:cubicBezTo>
                <a:close/>
                <a:moveTo>
                  <a:pt x="7341579" y="1219421"/>
                </a:moveTo>
                <a:cubicBezTo>
                  <a:pt x="7372061" y="1219421"/>
                  <a:pt x="7396771" y="1244131"/>
                  <a:pt x="7396771" y="1274612"/>
                </a:cubicBezTo>
                <a:cubicBezTo>
                  <a:pt x="7396771" y="1305093"/>
                  <a:pt x="7372061" y="1329803"/>
                  <a:pt x="7341579" y="1329803"/>
                </a:cubicBezTo>
                <a:cubicBezTo>
                  <a:pt x="7311097" y="1329803"/>
                  <a:pt x="7286387" y="1305093"/>
                  <a:pt x="7286387" y="1274612"/>
                </a:cubicBezTo>
                <a:cubicBezTo>
                  <a:pt x="7286387" y="1244131"/>
                  <a:pt x="7311097" y="1219421"/>
                  <a:pt x="7341579" y="1219421"/>
                </a:cubicBezTo>
                <a:close/>
                <a:moveTo>
                  <a:pt x="7211286" y="1219421"/>
                </a:moveTo>
                <a:cubicBezTo>
                  <a:pt x="7241768" y="1219421"/>
                  <a:pt x="7266478" y="1244131"/>
                  <a:pt x="7266478" y="1274612"/>
                </a:cubicBezTo>
                <a:cubicBezTo>
                  <a:pt x="7266478" y="1305093"/>
                  <a:pt x="7241768" y="1329803"/>
                  <a:pt x="7211286" y="1329803"/>
                </a:cubicBezTo>
                <a:cubicBezTo>
                  <a:pt x="7180804" y="1329803"/>
                  <a:pt x="7156094" y="1305093"/>
                  <a:pt x="7156094" y="1274612"/>
                </a:cubicBezTo>
                <a:cubicBezTo>
                  <a:pt x="7156094" y="1244131"/>
                  <a:pt x="7180804" y="1219421"/>
                  <a:pt x="7211286" y="1219421"/>
                </a:cubicBezTo>
                <a:close/>
                <a:moveTo>
                  <a:pt x="7080993" y="1219421"/>
                </a:moveTo>
                <a:cubicBezTo>
                  <a:pt x="7111475" y="1219421"/>
                  <a:pt x="7136185" y="1244131"/>
                  <a:pt x="7136185" y="1274612"/>
                </a:cubicBezTo>
                <a:cubicBezTo>
                  <a:pt x="7136185" y="1305093"/>
                  <a:pt x="7111475" y="1329803"/>
                  <a:pt x="7080993" y="1329803"/>
                </a:cubicBezTo>
                <a:cubicBezTo>
                  <a:pt x="7050511" y="1329803"/>
                  <a:pt x="7025801" y="1305093"/>
                  <a:pt x="7025801" y="1274612"/>
                </a:cubicBezTo>
                <a:cubicBezTo>
                  <a:pt x="7025801" y="1244131"/>
                  <a:pt x="7050511" y="1219421"/>
                  <a:pt x="7080993" y="1219421"/>
                </a:cubicBezTo>
                <a:close/>
                <a:moveTo>
                  <a:pt x="6947357" y="1219421"/>
                </a:moveTo>
                <a:cubicBezTo>
                  <a:pt x="6977839" y="1219421"/>
                  <a:pt x="7002549" y="1244131"/>
                  <a:pt x="7002549" y="1274612"/>
                </a:cubicBezTo>
                <a:cubicBezTo>
                  <a:pt x="7002549" y="1305093"/>
                  <a:pt x="6977839" y="1329803"/>
                  <a:pt x="6947357" y="1329803"/>
                </a:cubicBezTo>
                <a:cubicBezTo>
                  <a:pt x="6916875" y="1329803"/>
                  <a:pt x="6892165" y="1305093"/>
                  <a:pt x="6892165" y="1274612"/>
                </a:cubicBezTo>
                <a:cubicBezTo>
                  <a:pt x="6892165" y="1244131"/>
                  <a:pt x="6916875" y="1219421"/>
                  <a:pt x="6947357" y="1219421"/>
                </a:cubicBezTo>
                <a:close/>
                <a:moveTo>
                  <a:pt x="6817064" y="1219421"/>
                </a:moveTo>
                <a:cubicBezTo>
                  <a:pt x="6847546" y="1219421"/>
                  <a:pt x="6872256" y="1244131"/>
                  <a:pt x="6872256" y="1274612"/>
                </a:cubicBezTo>
                <a:cubicBezTo>
                  <a:pt x="6872256" y="1305093"/>
                  <a:pt x="6847546" y="1329803"/>
                  <a:pt x="6817064" y="1329803"/>
                </a:cubicBezTo>
                <a:cubicBezTo>
                  <a:pt x="6786582" y="1329803"/>
                  <a:pt x="6761872" y="1305093"/>
                  <a:pt x="6761872" y="1274612"/>
                </a:cubicBezTo>
                <a:cubicBezTo>
                  <a:pt x="6761872" y="1244131"/>
                  <a:pt x="6786582" y="1219421"/>
                  <a:pt x="6817064" y="1219421"/>
                </a:cubicBezTo>
                <a:close/>
                <a:moveTo>
                  <a:pt x="6683431" y="1219421"/>
                </a:moveTo>
                <a:cubicBezTo>
                  <a:pt x="6713913" y="1219421"/>
                  <a:pt x="6738623" y="1244131"/>
                  <a:pt x="6738623" y="1274612"/>
                </a:cubicBezTo>
                <a:cubicBezTo>
                  <a:pt x="6738623" y="1305093"/>
                  <a:pt x="6713913" y="1329803"/>
                  <a:pt x="6683431" y="1329803"/>
                </a:cubicBezTo>
                <a:cubicBezTo>
                  <a:pt x="6652949" y="1329803"/>
                  <a:pt x="6628239" y="1305093"/>
                  <a:pt x="6628239" y="1274612"/>
                </a:cubicBezTo>
                <a:cubicBezTo>
                  <a:pt x="6628239" y="1244131"/>
                  <a:pt x="6652949" y="1219421"/>
                  <a:pt x="6683431" y="1219421"/>
                </a:cubicBezTo>
                <a:close/>
                <a:moveTo>
                  <a:pt x="6553137" y="1219421"/>
                </a:moveTo>
                <a:cubicBezTo>
                  <a:pt x="6583619" y="1219421"/>
                  <a:pt x="6608329" y="1244131"/>
                  <a:pt x="6608329" y="1274612"/>
                </a:cubicBezTo>
                <a:cubicBezTo>
                  <a:pt x="6608329" y="1305093"/>
                  <a:pt x="6583619" y="1329803"/>
                  <a:pt x="6553137" y="1329803"/>
                </a:cubicBezTo>
                <a:cubicBezTo>
                  <a:pt x="6522655" y="1329803"/>
                  <a:pt x="6497945" y="1305093"/>
                  <a:pt x="6497945" y="1274612"/>
                </a:cubicBezTo>
                <a:cubicBezTo>
                  <a:pt x="6497945" y="1244131"/>
                  <a:pt x="6522655" y="1219421"/>
                  <a:pt x="6553137" y="1219421"/>
                </a:cubicBezTo>
                <a:close/>
                <a:moveTo>
                  <a:pt x="6419502" y="1219421"/>
                </a:moveTo>
                <a:cubicBezTo>
                  <a:pt x="6449984" y="1219421"/>
                  <a:pt x="6474694" y="1244131"/>
                  <a:pt x="6474694" y="1274612"/>
                </a:cubicBezTo>
                <a:cubicBezTo>
                  <a:pt x="6474694" y="1305093"/>
                  <a:pt x="6449984" y="1329803"/>
                  <a:pt x="6419502" y="1329803"/>
                </a:cubicBezTo>
                <a:cubicBezTo>
                  <a:pt x="6389020" y="1329803"/>
                  <a:pt x="6364310" y="1305093"/>
                  <a:pt x="6364310" y="1274612"/>
                </a:cubicBezTo>
                <a:cubicBezTo>
                  <a:pt x="6364310" y="1244131"/>
                  <a:pt x="6389020" y="1219421"/>
                  <a:pt x="6419502" y="1219421"/>
                </a:cubicBezTo>
                <a:close/>
                <a:moveTo>
                  <a:pt x="6289207" y="1219421"/>
                </a:moveTo>
                <a:cubicBezTo>
                  <a:pt x="6319689" y="1219421"/>
                  <a:pt x="6344399" y="1244131"/>
                  <a:pt x="6344399" y="1274612"/>
                </a:cubicBezTo>
                <a:cubicBezTo>
                  <a:pt x="6344399" y="1305093"/>
                  <a:pt x="6319689" y="1329803"/>
                  <a:pt x="6289207" y="1329803"/>
                </a:cubicBezTo>
                <a:cubicBezTo>
                  <a:pt x="6258725" y="1329803"/>
                  <a:pt x="6234015" y="1305093"/>
                  <a:pt x="6234015" y="1274612"/>
                </a:cubicBezTo>
                <a:cubicBezTo>
                  <a:pt x="6234015" y="1244131"/>
                  <a:pt x="6258725" y="1219421"/>
                  <a:pt x="6289207" y="1219421"/>
                </a:cubicBezTo>
                <a:close/>
                <a:moveTo>
                  <a:pt x="6155573" y="1219421"/>
                </a:moveTo>
                <a:cubicBezTo>
                  <a:pt x="6186055" y="1219421"/>
                  <a:pt x="6210765" y="1244131"/>
                  <a:pt x="6210765" y="1274612"/>
                </a:cubicBezTo>
                <a:cubicBezTo>
                  <a:pt x="6210765" y="1305093"/>
                  <a:pt x="6186055" y="1329803"/>
                  <a:pt x="6155573" y="1329803"/>
                </a:cubicBezTo>
                <a:cubicBezTo>
                  <a:pt x="6125091" y="1329803"/>
                  <a:pt x="6100381" y="1305093"/>
                  <a:pt x="6100381" y="1274612"/>
                </a:cubicBezTo>
                <a:cubicBezTo>
                  <a:pt x="6100381" y="1244131"/>
                  <a:pt x="6125091" y="1219421"/>
                  <a:pt x="6155573" y="1219421"/>
                </a:cubicBezTo>
                <a:close/>
                <a:moveTo>
                  <a:pt x="6021939" y="1219421"/>
                </a:moveTo>
                <a:cubicBezTo>
                  <a:pt x="6052421" y="1219421"/>
                  <a:pt x="6077131" y="1244131"/>
                  <a:pt x="6077131" y="1274612"/>
                </a:cubicBezTo>
                <a:cubicBezTo>
                  <a:pt x="6077131" y="1305093"/>
                  <a:pt x="6052421" y="1329803"/>
                  <a:pt x="6021939" y="1329803"/>
                </a:cubicBezTo>
                <a:cubicBezTo>
                  <a:pt x="5991457" y="1329803"/>
                  <a:pt x="5966747" y="1305093"/>
                  <a:pt x="5966747" y="1274612"/>
                </a:cubicBezTo>
                <a:cubicBezTo>
                  <a:pt x="5966747" y="1244131"/>
                  <a:pt x="5991457" y="1219421"/>
                  <a:pt x="6021939" y="1219421"/>
                </a:cubicBezTo>
                <a:close/>
                <a:moveTo>
                  <a:pt x="5884964" y="1219421"/>
                </a:moveTo>
                <a:cubicBezTo>
                  <a:pt x="5915446" y="1219421"/>
                  <a:pt x="5940156" y="1244131"/>
                  <a:pt x="5940156" y="1274612"/>
                </a:cubicBezTo>
                <a:cubicBezTo>
                  <a:pt x="5940156" y="1305093"/>
                  <a:pt x="5915446" y="1329803"/>
                  <a:pt x="5884964" y="1329803"/>
                </a:cubicBezTo>
                <a:cubicBezTo>
                  <a:pt x="5854482" y="1329803"/>
                  <a:pt x="5829772" y="1305093"/>
                  <a:pt x="5829772" y="1274612"/>
                </a:cubicBezTo>
                <a:cubicBezTo>
                  <a:pt x="5829772" y="1244131"/>
                  <a:pt x="5854482" y="1219421"/>
                  <a:pt x="5884964" y="1219421"/>
                </a:cubicBezTo>
                <a:close/>
                <a:moveTo>
                  <a:pt x="5754668" y="1219421"/>
                </a:moveTo>
                <a:cubicBezTo>
                  <a:pt x="5785150" y="1219421"/>
                  <a:pt x="5809860" y="1244131"/>
                  <a:pt x="5809860" y="1274612"/>
                </a:cubicBezTo>
                <a:cubicBezTo>
                  <a:pt x="5809860" y="1305093"/>
                  <a:pt x="5785150" y="1329803"/>
                  <a:pt x="5754668" y="1329803"/>
                </a:cubicBezTo>
                <a:cubicBezTo>
                  <a:pt x="5724186" y="1329803"/>
                  <a:pt x="5699476" y="1305093"/>
                  <a:pt x="5699476" y="1274612"/>
                </a:cubicBezTo>
                <a:cubicBezTo>
                  <a:pt x="5699476" y="1244131"/>
                  <a:pt x="5724186" y="1219421"/>
                  <a:pt x="5754668" y="1219421"/>
                </a:cubicBezTo>
                <a:close/>
                <a:moveTo>
                  <a:pt x="5621034" y="1219421"/>
                </a:moveTo>
                <a:cubicBezTo>
                  <a:pt x="5651516" y="1219421"/>
                  <a:pt x="5676226" y="1244131"/>
                  <a:pt x="5676226" y="1274612"/>
                </a:cubicBezTo>
                <a:cubicBezTo>
                  <a:pt x="5676226" y="1305093"/>
                  <a:pt x="5651516" y="1329803"/>
                  <a:pt x="5621034" y="1329803"/>
                </a:cubicBezTo>
                <a:cubicBezTo>
                  <a:pt x="5590552" y="1329803"/>
                  <a:pt x="5565842" y="1305093"/>
                  <a:pt x="5565842" y="1274612"/>
                </a:cubicBezTo>
                <a:cubicBezTo>
                  <a:pt x="5565842" y="1244131"/>
                  <a:pt x="5590552" y="1219421"/>
                  <a:pt x="5621034" y="1219421"/>
                </a:cubicBezTo>
                <a:close/>
                <a:moveTo>
                  <a:pt x="5487399" y="1219421"/>
                </a:moveTo>
                <a:cubicBezTo>
                  <a:pt x="5517881" y="1219421"/>
                  <a:pt x="5542591" y="1244131"/>
                  <a:pt x="5542591" y="1274612"/>
                </a:cubicBezTo>
                <a:cubicBezTo>
                  <a:pt x="5542591" y="1305093"/>
                  <a:pt x="5517881" y="1329803"/>
                  <a:pt x="5487399" y="1329803"/>
                </a:cubicBezTo>
                <a:cubicBezTo>
                  <a:pt x="5456917" y="1329803"/>
                  <a:pt x="5432207" y="1305093"/>
                  <a:pt x="5432207" y="1274612"/>
                </a:cubicBezTo>
                <a:cubicBezTo>
                  <a:pt x="5432207" y="1244131"/>
                  <a:pt x="5456917" y="1219421"/>
                  <a:pt x="5487399" y="1219421"/>
                </a:cubicBezTo>
                <a:close/>
                <a:moveTo>
                  <a:pt x="5357106" y="1219421"/>
                </a:moveTo>
                <a:cubicBezTo>
                  <a:pt x="5387588" y="1219421"/>
                  <a:pt x="5412298" y="1244131"/>
                  <a:pt x="5412298" y="1274612"/>
                </a:cubicBezTo>
                <a:cubicBezTo>
                  <a:pt x="5412298" y="1305093"/>
                  <a:pt x="5387588" y="1329803"/>
                  <a:pt x="5357106" y="1329803"/>
                </a:cubicBezTo>
                <a:cubicBezTo>
                  <a:pt x="5326624" y="1329803"/>
                  <a:pt x="5301914" y="1305093"/>
                  <a:pt x="5301914" y="1274612"/>
                </a:cubicBezTo>
                <a:cubicBezTo>
                  <a:pt x="5301914" y="1244131"/>
                  <a:pt x="5326624" y="1219421"/>
                  <a:pt x="5357106" y="1219421"/>
                </a:cubicBezTo>
                <a:close/>
                <a:moveTo>
                  <a:pt x="5093178" y="1219421"/>
                </a:moveTo>
                <a:cubicBezTo>
                  <a:pt x="5123660" y="1219421"/>
                  <a:pt x="5148370" y="1244131"/>
                  <a:pt x="5148370" y="1274612"/>
                </a:cubicBezTo>
                <a:cubicBezTo>
                  <a:pt x="5148370" y="1305093"/>
                  <a:pt x="5123660" y="1329803"/>
                  <a:pt x="5093178" y="1329803"/>
                </a:cubicBezTo>
                <a:cubicBezTo>
                  <a:pt x="5062696" y="1329803"/>
                  <a:pt x="5037986" y="1305093"/>
                  <a:pt x="5037986" y="1274612"/>
                </a:cubicBezTo>
                <a:cubicBezTo>
                  <a:pt x="5037986" y="1244131"/>
                  <a:pt x="5062696" y="1219421"/>
                  <a:pt x="5093178" y="1219421"/>
                </a:cubicBezTo>
                <a:close/>
                <a:moveTo>
                  <a:pt x="4959542" y="1219421"/>
                </a:moveTo>
                <a:cubicBezTo>
                  <a:pt x="4990024" y="1219421"/>
                  <a:pt x="5014734" y="1244131"/>
                  <a:pt x="5014734" y="1274612"/>
                </a:cubicBezTo>
                <a:cubicBezTo>
                  <a:pt x="5014734" y="1305093"/>
                  <a:pt x="4990024" y="1329803"/>
                  <a:pt x="4959542" y="1329803"/>
                </a:cubicBezTo>
                <a:cubicBezTo>
                  <a:pt x="4929060" y="1329803"/>
                  <a:pt x="4904350" y="1305093"/>
                  <a:pt x="4904350" y="1274612"/>
                </a:cubicBezTo>
                <a:cubicBezTo>
                  <a:pt x="4904350" y="1244131"/>
                  <a:pt x="4929060" y="1219421"/>
                  <a:pt x="4959542" y="1219421"/>
                </a:cubicBezTo>
                <a:close/>
                <a:moveTo>
                  <a:pt x="4829250" y="1219421"/>
                </a:moveTo>
                <a:cubicBezTo>
                  <a:pt x="4859732" y="1219421"/>
                  <a:pt x="4884442" y="1244131"/>
                  <a:pt x="4884442" y="1274612"/>
                </a:cubicBezTo>
                <a:cubicBezTo>
                  <a:pt x="4884442" y="1305093"/>
                  <a:pt x="4859732" y="1329803"/>
                  <a:pt x="4829250" y="1329803"/>
                </a:cubicBezTo>
                <a:cubicBezTo>
                  <a:pt x="4798768" y="1329803"/>
                  <a:pt x="4774058" y="1305093"/>
                  <a:pt x="4774058" y="1274612"/>
                </a:cubicBezTo>
                <a:cubicBezTo>
                  <a:pt x="4774058" y="1244131"/>
                  <a:pt x="4798768" y="1219421"/>
                  <a:pt x="4829250" y="1219421"/>
                </a:cubicBezTo>
                <a:close/>
                <a:moveTo>
                  <a:pt x="319111" y="1219421"/>
                </a:moveTo>
                <a:cubicBezTo>
                  <a:pt x="349594" y="1219421"/>
                  <a:pt x="374305" y="1244131"/>
                  <a:pt x="374305" y="1274612"/>
                </a:cubicBezTo>
                <a:cubicBezTo>
                  <a:pt x="374305" y="1305093"/>
                  <a:pt x="349594" y="1329803"/>
                  <a:pt x="319111" y="1329803"/>
                </a:cubicBezTo>
                <a:cubicBezTo>
                  <a:pt x="288629" y="1329803"/>
                  <a:pt x="263920" y="1305093"/>
                  <a:pt x="263920" y="1274612"/>
                </a:cubicBezTo>
                <a:cubicBezTo>
                  <a:pt x="263920" y="1244131"/>
                  <a:pt x="288629" y="1219421"/>
                  <a:pt x="319111" y="1219421"/>
                </a:cubicBezTo>
                <a:close/>
                <a:moveTo>
                  <a:pt x="185480" y="1219421"/>
                </a:moveTo>
                <a:cubicBezTo>
                  <a:pt x="215961" y="1219421"/>
                  <a:pt x="240671" y="1244131"/>
                  <a:pt x="240671" y="1274612"/>
                </a:cubicBezTo>
                <a:cubicBezTo>
                  <a:pt x="240671" y="1305093"/>
                  <a:pt x="215961" y="1329803"/>
                  <a:pt x="185480" y="1329803"/>
                </a:cubicBezTo>
                <a:cubicBezTo>
                  <a:pt x="154998" y="1329803"/>
                  <a:pt x="130288" y="1305093"/>
                  <a:pt x="130288" y="1274612"/>
                </a:cubicBezTo>
                <a:cubicBezTo>
                  <a:pt x="130288" y="1244131"/>
                  <a:pt x="154998" y="1219421"/>
                  <a:pt x="185480" y="1219421"/>
                </a:cubicBezTo>
                <a:close/>
                <a:moveTo>
                  <a:pt x="449407" y="1219419"/>
                </a:moveTo>
                <a:cubicBezTo>
                  <a:pt x="479889" y="1219419"/>
                  <a:pt x="504600" y="1244129"/>
                  <a:pt x="504600" y="1274610"/>
                </a:cubicBezTo>
                <a:cubicBezTo>
                  <a:pt x="504600" y="1305091"/>
                  <a:pt x="479889" y="1329801"/>
                  <a:pt x="449407" y="1329801"/>
                </a:cubicBezTo>
                <a:cubicBezTo>
                  <a:pt x="418924" y="1329801"/>
                  <a:pt x="394214" y="1305091"/>
                  <a:pt x="394214" y="1274610"/>
                </a:cubicBezTo>
                <a:cubicBezTo>
                  <a:pt x="394214" y="1244129"/>
                  <a:pt x="418924" y="1219419"/>
                  <a:pt x="449407" y="1219419"/>
                </a:cubicBezTo>
                <a:close/>
                <a:moveTo>
                  <a:pt x="4565322" y="1219417"/>
                </a:moveTo>
                <a:cubicBezTo>
                  <a:pt x="4595804" y="1219417"/>
                  <a:pt x="4620514" y="1244127"/>
                  <a:pt x="4620514" y="1274608"/>
                </a:cubicBezTo>
                <a:cubicBezTo>
                  <a:pt x="4620514" y="1305089"/>
                  <a:pt x="4595804" y="1329799"/>
                  <a:pt x="4565322" y="1329799"/>
                </a:cubicBezTo>
                <a:cubicBezTo>
                  <a:pt x="4534840" y="1329799"/>
                  <a:pt x="4510130" y="1305089"/>
                  <a:pt x="4510130" y="1274608"/>
                </a:cubicBezTo>
                <a:cubicBezTo>
                  <a:pt x="4510130" y="1244127"/>
                  <a:pt x="4534840" y="1219417"/>
                  <a:pt x="4565322" y="1219417"/>
                </a:cubicBezTo>
                <a:close/>
                <a:moveTo>
                  <a:pt x="2834811" y="1219417"/>
                </a:moveTo>
                <a:cubicBezTo>
                  <a:pt x="2865293" y="1219417"/>
                  <a:pt x="2890003" y="1244127"/>
                  <a:pt x="2890003" y="1274608"/>
                </a:cubicBezTo>
                <a:cubicBezTo>
                  <a:pt x="2890003" y="1305089"/>
                  <a:pt x="2865293" y="1329799"/>
                  <a:pt x="2834811" y="1329799"/>
                </a:cubicBezTo>
                <a:cubicBezTo>
                  <a:pt x="2804329" y="1329799"/>
                  <a:pt x="2779620" y="1305089"/>
                  <a:pt x="2779620" y="1274608"/>
                </a:cubicBezTo>
                <a:cubicBezTo>
                  <a:pt x="2779620" y="1244127"/>
                  <a:pt x="2804329" y="1219417"/>
                  <a:pt x="2834811" y="1219417"/>
                </a:cubicBezTo>
                <a:close/>
                <a:moveTo>
                  <a:pt x="2707858" y="1219417"/>
                </a:moveTo>
                <a:cubicBezTo>
                  <a:pt x="2738341" y="1219417"/>
                  <a:pt x="2763052" y="1244127"/>
                  <a:pt x="2763052" y="1274608"/>
                </a:cubicBezTo>
                <a:cubicBezTo>
                  <a:pt x="2763052" y="1305089"/>
                  <a:pt x="2738341" y="1329799"/>
                  <a:pt x="2707858" y="1329799"/>
                </a:cubicBezTo>
                <a:cubicBezTo>
                  <a:pt x="2677377" y="1329799"/>
                  <a:pt x="2652667" y="1305089"/>
                  <a:pt x="2652667" y="1274608"/>
                </a:cubicBezTo>
                <a:cubicBezTo>
                  <a:pt x="2652667" y="1244127"/>
                  <a:pt x="2677377" y="1219417"/>
                  <a:pt x="2707858" y="1219417"/>
                </a:cubicBezTo>
                <a:close/>
                <a:moveTo>
                  <a:pt x="2570885" y="1219417"/>
                </a:moveTo>
                <a:cubicBezTo>
                  <a:pt x="2601367" y="1219417"/>
                  <a:pt x="2626075" y="1244127"/>
                  <a:pt x="2626075" y="1274608"/>
                </a:cubicBezTo>
                <a:cubicBezTo>
                  <a:pt x="2626075" y="1305089"/>
                  <a:pt x="2601367" y="1329799"/>
                  <a:pt x="2570885" y="1329799"/>
                </a:cubicBezTo>
                <a:cubicBezTo>
                  <a:pt x="2540401" y="1329799"/>
                  <a:pt x="2515692" y="1305089"/>
                  <a:pt x="2515692" y="1274608"/>
                </a:cubicBezTo>
                <a:cubicBezTo>
                  <a:pt x="2515692" y="1244127"/>
                  <a:pt x="2540401" y="1219417"/>
                  <a:pt x="2570885" y="1219417"/>
                </a:cubicBezTo>
                <a:close/>
                <a:moveTo>
                  <a:pt x="2039686" y="1219417"/>
                </a:moveTo>
                <a:cubicBezTo>
                  <a:pt x="2070169" y="1219417"/>
                  <a:pt x="2094880" y="1244127"/>
                  <a:pt x="2094880" y="1274608"/>
                </a:cubicBezTo>
                <a:cubicBezTo>
                  <a:pt x="2094880" y="1305089"/>
                  <a:pt x="2070169" y="1329799"/>
                  <a:pt x="2039686" y="1329799"/>
                </a:cubicBezTo>
                <a:cubicBezTo>
                  <a:pt x="2009204" y="1329799"/>
                  <a:pt x="1984493" y="1305089"/>
                  <a:pt x="1984493" y="1274608"/>
                </a:cubicBezTo>
                <a:cubicBezTo>
                  <a:pt x="1984493" y="1244127"/>
                  <a:pt x="2009204" y="1219417"/>
                  <a:pt x="2039686" y="1219417"/>
                </a:cubicBezTo>
                <a:close/>
                <a:moveTo>
                  <a:pt x="1909390" y="1219417"/>
                </a:moveTo>
                <a:cubicBezTo>
                  <a:pt x="1939873" y="1219417"/>
                  <a:pt x="1964583" y="1244127"/>
                  <a:pt x="1964583" y="1274608"/>
                </a:cubicBezTo>
                <a:cubicBezTo>
                  <a:pt x="1964583" y="1305089"/>
                  <a:pt x="1939873" y="1329799"/>
                  <a:pt x="1909390" y="1329799"/>
                </a:cubicBezTo>
                <a:cubicBezTo>
                  <a:pt x="1878908" y="1329799"/>
                  <a:pt x="1854197" y="1305089"/>
                  <a:pt x="1854197" y="1274608"/>
                </a:cubicBezTo>
                <a:cubicBezTo>
                  <a:pt x="1854197" y="1244127"/>
                  <a:pt x="1878908" y="1219417"/>
                  <a:pt x="1909390" y="1219417"/>
                </a:cubicBezTo>
                <a:close/>
                <a:moveTo>
                  <a:pt x="1779095" y="1219417"/>
                </a:moveTo>
                <a:cubicBezTo>
                  <a:pt x="1809577" y="1219417"/>
                  <a:pt x="1834287" y="1244127"/>
                  <a:pt x="1834287" y="1274608"/>
                </a:cubicBezTo>
                <a:cubicBezTo>
                  <a:pt x="1834287" y="1305089"/>
                  <a:pt x="1809577" y="1329799"/>
                  <a:pt x="1779095" y="1329799"/>
                </a:cubicBezTo>
                <a:cubicBezTo>
                  <a:pt x="1748613" y="1329799"/>
                  <a:pt x="1723902" y="1305089"/>
                  <a:pt x="1723902" y="1274608"/>
                </a:cubicBezTo>
                <a:cubicBezTo>
                  <a:pt x="1723902" y="1244127"/>
                  <a:pt x="1748613" y="1219417"/>
                  <a:pt x="1779095" y="1219417"/>
                </a:cubicBezTo>
                <a:close/>
                <a:moveTo>
                  <a:pt x="1645457" y="1219417"/>
                </a:moveTo>
                <a:cubicBezTo>
                  <a:pt x="1675941" y="1219417"/>
                  <a:pt x="1700655" y="1244127"/>
                  <a:pt x="1700655" y="1274608"/>
                </a:cubicBezTo>
                <a:cubicBezTo>
                  <a:pt x="1700655" y="1305089"/>
                  <a:pt x="1675941" y="1329799"/>
                  <a:pt x="1645457" y="1329799"/>
                </a:cubicBezTo>
                <a:cubicBezTo>
                  <a:pt x="1614977" y="1329799"/>
                  <a:pt x="1590265" y="1305089"/>
                  <a:pt x="1590265" y="1274608"/>
                </a:cubicBezTo>
                <a:cubicBezTo>
                  <a:pt x="1590265" y="1244127"/>
                  <a:pt x="1614977" y="1219417"/>
                  <a:pt x="1645457" y="1219417"/>
                </a:cubicBezTo>
                <a:close/>
                <a:moveTo>
                  <a:pt x="1515168" y="1219417"/>
                </a:moveTo>
                <a:cubicBezTo>
                  <a:pt x="1545647" y="1219417"/>
                  <a:pt x="1570354" y="1244127"/>
                  <a:pt x="1570354" y="1274608"/>
                </a:cubicBezTo>
                <a:cubicBezTo>
                  <a:pt x="1570354" y="1305089"/>
                  <a:pt x="1545647" y="1329799"/>
                  <a:pt x="1515168" y="1329799"/>
                </a:cubicBezTo>
                <a:cubicBezTo>
                  <a:pt x="1484683" y="1329799"/>
                  <a:pt x="1459973" y="1305089"/>
                  <a:pt x="1459973" y="1274608"/>
                </a:cubicBezTo>
                <a:cubicBezTo>
                  <a:pt x="1459973" y="1244127"/>
                  <a:pt x="1484683" y="1219417"/>
                  <a:pt x="1515168" y="1219417"/>
                </a:cubicBezTo>
                <a:close/>
                <a:moveTo>
                  <a:pt x="1381528" y="1219417"/>
                </a:moveTo>
                <a:cubicBezTo>
                  <a:pt x="1412011" y="1219417"/>
                  <a:pt x="1436723" y="1244127"/>
                  <a:pt x="1436723" y="1274608"/>
                </a:cubicBezTo>
                <a:cubicBezTo>
                  <a:pt x="1436723" y="1305089"/>
                  <a:pt x="1412011" y="1329799"/>
                  <a:pt x="1381528" y="1329799"/>
                </a:cubicBezTo>
                <a:cubicBezTo>
                  <a:pt x="1351052" y="1329799"/>
                  <a:pt x="1326339" y="1305089"/>
                  <a:pt x="1326339" y="1274608"/>
                </a:cubicBezTo>
                <a:cubicBezTo>
                  <a:pt x="1326339" y="1244127"/>
                  <a:pt x="1351052" y="1219417"/>
                  <a:pt x="1381528" y="1219417"/>
                </a:cubicBezTo>
                <a:close/>
                <a:moveTo>
                  <a:pt x="1251239" y="1219417"/>
                </a:moveTo>
                <a:cubicBezTo>
                  <a:pt x="1281721" y="1219417"/>
                  <a:pt x="1306431" y="1244127"/>
                  <a:pt x="1306431" y="1274608"/>
                </a:cubicBezTo>
                <a:cubicBezTo>
                  <a:pt x="1306431" y="1305089"/>
                  <a:pt x="1281721" y="1329799"/>
                  <a:pt x="1251239" y="1329799"/>
                </a:cubicBezTo>
                <a:cubicBezTo>
                  <a:pt x="1220756" y="1329799"/>
                  <a:pt x="1196046" y="1305089"/>
                  <a:pt x="1196046" y="1274608"/>
                </a:cubicBezTo>
                <a:cubicBezTo>
                  <a:pt x="1196046" y="1244127"/>
                  <a:pt x="1220756" y="1219417"/>
                  <a:pt x="1251239" y="1219417"/>
                </a:cubicBezTo>
                <a:close/>
                <a:moveTo>
                  <a:pt x="1117601" y="1219417"/>
                </a:moveTo>
                <a:cubicBezTo>
                  <a:pt x="1148084" y="1219417"/>
                  <a:pt x="1172794" y="1244127"/>
                  <a:pt x="1172794" y="1274608"/>
                </a:cubicBezTo>
                <a:cubicBezTo>
                  <a:pt x="1172794" y="1305089"/>
                  <a:pt x="1148084" y="1329799"/>
                  <a:pt x="1117601" y="1329799"/>
                </a:cubicBezTo>
                <a:cubicBezTo>
                  <a:pt x="1087119" y="1329799"/>
                  <a:pt x="1062408" y="1305089"/>
                  <a:pt x="1062408" y="1274608"/>
                </a:cubicBezTo>
                <a:cubicBezTo>
                  <a:pt x="1062408" y="1244127"/>
                  <a:pt x="1087119" y="1219417"/>
                  <a:pt x="1117601" y="1219417"/>
                </a:cubicBezTo>
                <a:close/>
                <a:moveTo>
                  <a:pt x="980622" y="1219417"/>
                </a:moveTo>
                <a:cubicBezTo>
                  <a:pt x="1011105" y="1219417"/>
                  <a:pt x="1035816" y="1244127"/>
                  <a:pt x="1035816" y="1274608"/>
                </a:cubicBezTo>
                <a:cubicBezTo>
                  <a:pt x="1035816" y="1305089"/>
                  <a:pt x="1011105" y="1329799"/>
                  <a:pt x="980622" y="1329799"/>
                </a:cubicBezTo>
                <a:cubicBezTo>
                  <a:pt x="950140" y="1329799"/>
                  <a:pt x="925429" y="1305089"/>
                  <a:pt x="925429" y="1274608"/>
                </a:cubicBezTo>
                <a:cubicBezTo>
                  <a:pt x="925429" y="1244127"/>
                  <a:pt x="950140" y="1219417"/>
                  <a:pt x="980622" y="1219417"/>
                </a:cubicBezTo>
                <a:close/>
                <a:moveTo>
                  <a:pt x="9469710" y="1099147"/>
                </a:moveTo>
                <a:cubicBezTo>
                  <a:pt x="9500192" y="1099147"/>
                  <a:pt x="9524902" y="1123857"/>
                  <a:pt x="9524902" y="1154338"/>
                </a:cubicBezTo>
                <a:cubicBezTo>
                  <a:pt x="9524902" y="1184819"/>
                  <a:pt x="9500192" y="1209529"/>
                  <a:pt x="9469710" y="1209529"/>
                </a:cubicBezTo>
                <a:cubicBezTo>
                  <a:pt x="9439228" y="1209529"/>
                  <a:pt x="9414518" y="1184819"/>
                  <a:pt x="9414518" y="1154338"/>
                </a:cubicBezTo>
                <a:cubicBezTo>
                  <a:pt x="9414518" y="1123857"/>
                  <a:pt x="9439228" y="1099147"/>
                  <a:pt x="9469710" y="1099147"/>
                </a:cubicBezTo>
                <a:close/>
                <a:moveTo>
                  <a:pt x="9336075" y="1099147"/>
                </a:moveTo>
                <a:cubicBezTo>
                  <a:pt x="9366557" y="1099147"/>
                  <a:pt x="9391267" y="1123857"/>
                  <a:pt x="9391267" y="1154338"/>
                </a:cubicBezTo>
                <a:cubicBezTo>
                  <a:pt x="9391267" y="1184819"/>
                  <a:pt x="9366557" y="1209529"/>
                  <a:pt x="9336075" y="1209529"/>
                </a:cubicBezTo>
                <a:cubicBezTo>
                  <a:pt x="9305593" y="1209529"/>
                  <a:pt x="9280883" y="1184819"/>
                  <a:pt x="9280883" y="1154338"/>
                </a:cubicBezTo>
                <a:cubicBezTo>
                  <a:pt x="9280883" y="1123857"/>
                  <a:pt x="9305593" y="1099147"/>
                  <a:pt x="9336075" y="1099147"/>
                </a:cubicBezTo>
                <a:close/>
                <a:moveTo>
                  <a:pt x="9199100" y="1099147"/>
                </a:moveTo>
                <a:cubicBezTo>
                  <a:pt x="9229582" y="1099147"/>
                  <a:pt x="9254292" y="1123857"/>
                  <a:pt x="9254292" y="1154338"/>
                </a:cubicBezTo>
                <a:cubicBezTo>
                  <a:pt x="9254292" y="1184819"/>
                  <a:pt x="9229582" y="1209529"/>
                  <a:pt x="9199100" y="1209529"/>
                </a:cubicBezTo>
                <a:cubicBezTo>
                  <a:pt x="9168618" y="1209529"/>
                  <a:pt x="9143908" y="1184819"/>
                  <a:pt x="9143908" y="1154338"/>
                </a:cubicBezTo>
                <a:cubicBezTo>
                  <a:pt x="9143908" y="1123857"/>
                  <a:pt x="9168618" y="1099147"/>
                  <a:pt x="9199100" y="1099147"/>
                </a:cubicBezTo>
                <a:close/>
                <a:moveTo>
                  <a:pt x="9068805" y="1099147"/>
                </a:moveTo>
                <a:cubicBezTo>
                  <a:pt x="9099287" y="1099147"/>
                  <a:pt x="9123997" y="1123857"/>
                  <a:pt x="9123997" y="1154338"/>
                </a:cubicBezTo>
                <a:cubicBezTo>
                  <a:pt x="9123997" y="1184819"/>
                  <a:pt x="9099287" y="1209529"/>
                  <a:pt x="9068805" y="1209529"/>
                </a:cubicBezTo>
                <a:cubicBezTo>
                  <a:pt x="9038323" y="1209529"/>
                  <a:pt x="9013613" y="1184819"/>
                  <a:pt x="9013613" y="1154338"/>
                </a:cubicBezTo>
                <a:cubicBezTo>
                  <a:pt x="9013613" y="1123857"/>
                  <a:pt x="9038323" y="1099147"/>
                  <a:pt x="9068805" y="1099147"/>
                </a:cubicBezTo>
                <a:close/>
                <a:moveTo>
                  <a:pt x="8935170" y="1099147"/>
                </a:moveTo>
                <a:cubicBezTo>
                  <a:pt x="8965652" y="1099147"/>
                  <a:pt x="8990362" y="1123857"/>
                  <a:pt x="8990362" y="1154338"/>
                </a:cubicBezTo>
                <a:cubicBezTo>
                  <a:pt x="8990362" y="1184819"/>
                  <a:pt x="8965652" y="1209529"/>
                  <a:pt x="8935170" y="1209529"/>
                </a:cubicBezTo>
                <a:cubicBezTo>
                  <a:pt x="8904688" y="1209529"/>
                  <a:pt x="8879978" y="1184819"/>
                  <a:pt x="8879978" y="1154338"/>
                </a:cubicBezTo>
                <a:cubicBezTo>
                  <a:pt x="8879978" y="1123857"/>
                  <a:pt x="8904688" y="1099147"/>
                  <a:pt x="8935170" y="1099147"/>
                </a:cubicBezTo>
                <a:close/>
                <a:moveTo>
                  <a:pt x="8801536" y="1099147"/>
                </a:moveTo>
                <a:cubicBezTo>
                  <a:pt x="8832018" y="1099147"/>
                  <a:pt x="8856728" y="1123857"/>
                  <a:pt x="8856728" y="1154338"/>
                </a:cubicBezTo>
                <a:cubicBezTo>
                  <a:pt x="8856728" y="1184819"/>
                  <a:pt x="8832018" y="1209529"/>
                  <a:pt x="8801536" y="1209529"/>
                </a:cubicBezTo>
                <a:cubicBezTo>
                  <a:pt x="8771054" y="1209529"/>
                  <a:pt x="8746344" y="1184819"/>
                  <a:pt x="8746344" y="1154338"/>
                </a:cubicBezTo>
                <a:cubicBezTo>
                  <a:pt x="8746344" y="1123857"/>
                  <a:pt x="8771054" y="1099147"/>
                  <a:pt x="8801536" y="1099147"/>
                </a:cubicBezTo>
                <a:close/>
                <a:moveTo>
                  <a:pt x="8671243" y="1099147"/>
                </a:moveTo>
                <a:cubicBezTo>
                  <a:pt x="8701725" y="1099147"/>
                  <a:pt x="8726435" y="1123857"/>
                  <a:pt x="8726435" y="1154338"/>
                </a:cubicBezTo>
                <a:cubicBezTo>
                  <a:pt x="8726435" y="1184819"/>
                  <a:pt x="8701725" y="1209529"/>
                  <a:pt x="8671243" y="1209529"/>
                </a:cubicBezTo>
                <a:cubicBezTo>
                  <a:pt x="8640761" y="1209529"/>
                  <a:pt x="8616051" y="1184819"/>
                  <a:pt x="8616051" y="1154338"/>
                </a:cubicBezTo>
                <a:cubicBezTo>
                  <a:pt x="8616051" y="1123857"/>
                  <a:pt x="8640761" y="1099147"/>
                  <a:pt x="8671243" y="1099147"/>
                </a:cubicBezTo>
                <a:close/>
                <a:moveTo>
                  <a:pt x="8537609" y="1099147"/>
                </a:moveTo>
                <a:cubicBezTo>
                  <a:pt x="8568091" y="1099147"/>
                  <a:pt x="8592801" y="1123857"/>
                  <a:pt x="8592801" y="1154338"/>
                </a:cubicBezTo>
                <a:cubicBezTo>
                  <a:pt x="8592801" y="1184819"/>
                  <a:pt x="8568091" y="1209529"/>
                  <a:pt x="8537609" y="1209529"/>
                </a:cubicBezTo>
                <a:cubicBezTo>
                  <a:pt x="8507127" y="1209529"/>
                  <a:pt x="8482417" y="1184819"/>
                  <a:pt x="8482417" y="1154338"/>
                </a:cubicBezTo>
                <a:cubicBezTo>
                  <a:pt x="8482417" y="1123857"/>
                  <a:pt x="8507127" y="1099147"/>
                  <a:pt x="8537609" y="1099147"/>
                </a:cubicBezTo>
                <a:close/>
                <a:moveTo>
                  <a:pt x="8407315" y="1099147"/>
                </a:moveTo>
                <a:cubicBezTo>
                  <a:pt x="8437797" y="1099147"/>
                  <a:pt x="8462507" y="1123857"/>
                  <a:pt x="8462507" y="1154338"/>
                </a:cubicBezTo>
                <a:cubicBezTo>
                  <a:pt x="8462507" y="1184819"/>
                  <a:pt x="8437797" y="1209529"/>
                  <a:pt x="8407315" y="1209529"/>
                </a:cubicBezTo>
                <a:cubicBezTo>
                  <a:pt x="8376833" y="1209529"/>
                  <a:pt x="8352123" y="1184819"/>
                  <a:pt x="8352123" y="1154338"/>
                </a:cubicBezTo>
                <a:cubicBezTo>
                  <a:pt x="8352123" y="1123857"/>
                  <a:pt x="8376833" y="1099147"/>
                  <a:pt x="8407315" y="1099147"/>
                </a:cubicBezTo>
                <a:close/>
                <a:moveTo>
                  <a:pt x="8273681" y="1099147"/>
                </a:moveTo>
                <a:cubicBezTo>
                  <a:pt x="8304163" y="1099147"/>
                  <a:pt x="8328873" y="1123857"/>
                  <a:pt x="8328873" y="1154338"/>
                </a:cubicBezTo>
                <a:cubicBezTo>
                  <a:pt x="8328873" y="1184819"/>
                  <a:pt x="8304163" y="1209529"/>
                  <a:pt x="8273681" y="1209529"/>
                </a:cubicBezTo>
                <a:cubicBezTo>
                  <a:pt x="8243199" y="1209529"/>
                  <a:pt x="8218489" y="1184819"/>
                  <a:pt x="8218489" y="1154338"/>
                </a:cubicBezTo>
                <a:cubicBezTo>
                  <a:pt x="8218489" y="1123857"/>
                  <a:pt x="8243199" y="1099147"/>
                  <a:pt x="8273681" y="1099147"/>
                </a:cubicBezTo>
                <a:close/>
                <a:moveTo>
                  <a:pt x="8143386" y="1099147"/>
                </a:moveTo>
                <a:cubicBezTo>
                  <a:pt x="8173868" y="1099147"/>
                  <a:pt x="8198578" y="1123857"/>
                  <a:pt x="8198578" y="1154338"/>
                </a:cubicBezTo>
                <a:cubicBezTo>
                  <a:pt x="8198578" y="1184819"/>
                  <a:pt x="8173868" y="1209529"/>
                  <a:pt x="8143386" y="1209529"/>
                </a:cubicBezTo>
                <a:cubicBezTo>
                  <a:pt x="8112904" y="1209529"/>
                  <a:pt x="8088194" y="1184819"/>
                  <a:pt x="8088194" y="1154338"/>
                </a:cubicBezTo>
                <a:cubicBezTo>
                  <a:pt x="8088194" y="1123857"/>
                  <a:pt x="8112904" y="1099147"/>
                  <a:pt x="8143386" y="1099147"/>
                </a:cubicBezTo>
                <a:close/>
                <a:moveTo>
                  <a:pt x="8009752" y="1099147"/>
                </a:moveTo>
                <a:cubicBezTo>
                  <a:pt x="8040234" y="1099147"/>
                  <a:pt x="8064944" y="1123857"/>
                  <a:pt x="8064944" y="1154338"/>
                </a:cubicBezTo>
                <a:cubicBezTo>
                  <a:pt x="8064944" y="1184819"/>
                  <a:pt x="8040234" y="1209529"/>
                  <a:pt x="8009752" y="1209529"/>
                </a:cubicBezTo>
                <a:cubicBezTo>
                  <a:pt x="7979270" y="1209529"/>
                  <a:pt x="7954560" y="1184819"/>
                  <a:pt x="7954560" y="1154338"/>
                </a:cubicBezTo>
                <a:cubicBezTo>
                  <a:pt x="7954560" y="1123857"/>
                  <a:pt x="7979270" y="1099147"/>
                  <a:pt x="8009752" y="1099147"/>
                </a:cubicBezTo>
                <a:close/>
                <a:moveTo>
                  <a:pt x="7876117" y="1099147"/>
                </a:moveTo>
                <a:cubicBezTo>
                  <a:pt x="7906599" y="1099147"/>
                  <a:pt x="7931309" y="1123857"/>
                  <a:pt x="7931309" y="1154338"/>
                </a:cubicBezTo>
                <a:cubicBezTo>
                  <a:pt x="7931309" y="1184819"/>
                  <a:pt x="7906599" y="1209529"/>
                  <a:pt x="7876117" y="1209529"/>
                </a:cubicBezTo>
                <a:cubicBezTo>
                  <a:pt x="7845635" y="1209529"/>
                  <a:pt x="7820925" y="1184819"/>
                  <a:pt x="7820925" y="1154338"/>
                </a:cubicBezTo>
                <a:cubicBezTo>
                  <a:pt x="7820925" y="1123857"/>
                  <a:pt x="7845635" y="1099147"/>
                  <a:pt x="7876117" y="1099147"/>
                </a:cubicBezTo>
                <a:close/>
                <a:moveTo>
                  <a:pt x="7745822" y="1099147"/>
                </a:moveTo>
                <a:cubicBezTo>
                  <a:pt x="7776304" y="1099147"/>
                  <a:pt x="7801014" y="1123857"/>
                  <a:pt x="7801014" y="1154338"/>
                </a:cubicBezTo>
                <a:cubicBezTo>
                  <a:pt x="7801014" y="1184819"/>
                  <a:pt x="7776304" y="1209529"/>
                  <a:pt x="7745822" y="1209529"/>
                </a:cubicBezTo>
                <a:cubicBezTo>
                  <a:pt x="7715340" y="1209529"/>
                  <a:pt x="7690630" y="1184819"/>
                  <a:pt x="7690630" y="1154338"/>
                </a:cubicBezTo>
                <a:cubicBezTo>
                  <a:pt x="7690630" y="1123857"/>
                  <a:pt x="7715340" y="1099147"/>
                  <a:pt x="7745822" y="1099147"/>
                </a:cubicBezTo>
                <a:close/>
                <a:moveTo>
                  <a:pt x="7608847" y="1099147"/>
                </a:moveTo>
                <a:cubicBezTo>
                  <a:pt x="7639329" y="1099147"/>
                  <a:pt x="7664039" y="1123857"/>
                  <a:pt x="7664039" y="1154338"/>
                </a:cubicBezTo>
                <a:cubicBezTo>
                  <a:pt x="7664039" y="1184819"/>
                  <a:pt x="7639329" y="1209529"/>
                  <a:pt x="7608847" y="1209529"/>
                </a:cubicBezTo>
                <a:cubicBezTo>
                  <a:pt x="7578365" y="1209529"/>
                  <a:pt x="7553655" y="1184819"/>
                  <a:pt x="7553655" y="1154338"/>
                </a:cubicBezTo>
                <a:cubicBezTo>
                  <a:pt x="7553655" y="1123857"/>
                  <a:pt x="7578365" y="1099147"/>
                  <a:pt x="7608847" y="1099147"/>
                </a:cubicBezTo>
                <a:close/>
                <a:moveTo>
                  <a:pt x="7481895" y="1099147"/>
                </a:moveTo>
                <a:cubicBezTo>
                  <a:pt x="7512377" y="1099147"/>
                  <a:pt x="7537087" y="1123857"/>
                  <a:pt x="7537087" y="1154338"/>
                </a:cubicBezTo>
                <a:cubicBezTo>
                  <a:pt x="7537087" y="1184819"/>
                  <a:pt x="7512377" y="1209529"/>
                  <a:pt x="7481895" y="1209529"/>
                </a:cubicBezTo>
                <a:cubicBezTo>
                  <a:pt x="7451413" y="1209529"/>
                  <a:pt x="7426703" y="1184819"/>
                  <a:pt x="7426703" y="1154338"/>
                </a:cubicBezTo>
                <a:cubicBezTo>
                  <a:pt x="7426703" y="1123857"/>
                  <a:pt x="7451413" y="1099147"/>
                  <a:pt x="7481895" y="1099147"/>
                </a:cubicBezTo>
                <a:close/>
                <a:moveTo>
                  <a:pt x="7341578" y="1099147"/>
                </a:moveTo>
                <a:cubicBezTo>
                  <a:pt x="7372060" y="1099147"/>
                  <a:pt x="7396770" y="1123857"/>
                  <a:pt x="7396770" y="1154338"/>
                </a:cubicBezTo>
                <a:cubicBezTo>
                  <a:pt x="7396770" y="1184819"/>
                  <a:pt x="7372060" y="1209529"/>
                  <a:pt x="7341578" y="1209529"/>
                </a:cubicBezTo>
                <a:cubicBezTo>
                  <a:pt x="7311096" y="1209529"/>
                  <a:pt x="7286386" y="1184819"/>
                  <a:pt x="7286386" y="1154338"/>
                </a:cubicBezTo>
                <a:cubicBezTo>
                  <a:pt x="7286386" y="1123857"/>
                  <a:pt x="7311096" y="1099147"/>
                  <a:pt x="7341578" y="1099147"/>
                </a:cubicBezTo>
                <a:close/>
                <a:moveTo>
                  <a:pt x="7211285" y="1099147"/>
                </a:moveTo>
                <a:cubicBezTo>
                  <a:pt x="7241767" y="1099147"/>
                  <a:pt x="7266477" y="1123857"/>
                  <a:pt x="7266477" y="1154338"/>
                </a:cubicBezTo>
                <a:cubicBezTo>
                  <a:pt x="7266477" y="1184819"/>
                  <a:pt x="7241767" y="1209529"/>
                  <a:pt x="7211285" y="1209529"/>
                </a:cubicBezTo>
                <a:cubicBezTo>
                  <a:pt x="7180803" y="1209529"/>
                  <a:pt x="7156093" y="1184819"/>
                  <a:pt x="7156093" y="1154338"/>
                </a:cubicBezTo>
                <a:cubicBezTo>
                  <a:pt x="7156093" y="1123857"/>
                  <a:pt x="7180803" y="1099147"/>
                  <a:pt x="7211285" y="1099147"/>
                </a:cubicBezTo>
                <a:close/>
                <a:moveTo>
                  <a:pt x="7080991" y="1099147"/>
                </a:moveTo>
                <a:cubicBezTo>
                  <a:pt x="7111473" y="1099147"/>
                  <a:pt x="7136183" y="1123857"/>
                  <a:pt x="7136183" y="1154338"/>
                </a:cubicBezTo>
                <a:cubicBezTo>
                  <a:pt x="7136183" y="1184819"/>
                  <a:pt x="7111473" y="1209529"/>
                  <a:pt x="7080991" y="1209529"/>
                </a:cubicBezTo>
                <a:cubicBezTo>
                  <a:pt x="7050509" y="1209529"/>
                  <a:pt x="7025799" y="1184819"/>
                  <a:pt x="7025799" y="1154338"/>
                </a:cubicBezTo>
                <a:cubicBezTo>
                  <a:pt x="7025799" y="1123857"/>
                  <a:pt x="7050509" y="1099147"/>
                  <a:pt x="7080991" y="1099147"/>
                </a:cubicBezTo>
                <a:close/>
                <a:moveTo>
                  <a:pt x="6947356" y="1099147"/>
                </a:moveTo>
                <a:cubicBezTo>
                  <a:pt x="6977838" y="1099147"/>
                  <a:pt x="7002548" y="1123857"/>
                  <a:pt x="7002548" y="1154338"/>
                </a:cubicBezTo>
                <a:cubicBezTo>
                  <a:pt x="7002548" y="1184819"/>
                  <a:pt x="6977838" y="1209529"/>
                  <a:pt x="6947356" y="1209529"/>
                </a:cubicBezTo>
                <a:cubicBezTo>
                  <a:pt x="6916874" y="1209529"/>
                  <a:pt x="6892164" y="1184819"/>
                  <a:pt x="6892164" y="1154338"/>
                </a:cubicBezTo>
                <a:cubicBezTo>
                  <a:pt x="6892164" y="1123857"/>
                  <a:pt x="6916874" y="1099147"/>
                  <a:pt x="6947356" y="1099147"/>
                </a:cubicBezTo>
                <a:close/>
                <a:moveTo>
                  <a:pt x="6817063" y="1099147"/>
                </a:moveTo>
                <a:cubicBezTo>
                  <a:pt x="6847545" y="1099147"/>
                  <a:pt x="6872255" y="1123857"/>
                  <a:pt x="6872255" y="1154338"/>
                </a:cubicBezTo>
                <a:cubicBezTo>
                  <a:pt x="6872255" y="1184819"/>
                  <a:pt x="6847545" y="1209529"/>
                  <a:pt x="6817063" y="1209529"/>
                </a:cubicBezTo>
                <a:cubicBezTo>
                  <a:pt x="6786581" y="1209529"/>
                  <a:pt x="6761871" y="1184819"/>
                  <a:pt x="6761871" y="1154338"/>
                </a:cubicBezTo>
                <a:cubicBezTo>
                  <a:pt x="6761871" y="1123857"/>
                  <a:pt x="6786581" y="1099147"/>
                  <a:pt x="6817063" y="1099147"/>
                </a:cubicBezTo>
                <a:close/>
                <a:moveTo>
                  <a:pt x="6683430" y="1099147"/>
                </a:moveTo>
                <a:cubicBezTo>
                  <a:pt x="6713912" y="1099147"/>
                  <a:pt x="6738622" y="1123857"/>
                  <a:pt x="6738622" y="1154338"/>
                </a:cubicBezTo>
                <a:cubicBezTo>
                  <a:pt x="6738622" y="1184819"/>
                  <a:pt x="6713912" y="1209529"/>
                  <a:pt x="6683430" y="1209529"/>
                </a:cubicBezTo>
                <a:cubicBezTo>
                  <a:pt x="6652948" y="1209529"/>
                  <a:pt x="6628238" y="1184819"/>
                  <a:pt x="6628238" y="1154338"/>
                </a:cubicBezTo>
                <a:cubicBezTo>
                  <a:pt x="6628238" y="1123857"/>
                  <a:pt x="6652948" y="1099147"/>
                  <a:pt x="6683430" y="1099147"/>
                </a:cubicBezTo>
                <a:close/>
                <a:moveTo>
                  <a:pt x="6553135" y="1099147"/>
                </a:moveTo>
                <a:cubicBezTo>
                  <a:pt x="6583617" y="1099147"/>
                  <a:pt x="6608327" y="1123857"/>
                  <a:pt x="6608327" y="1154338"/>
                </a:cubicBezTo>
                <a:cubicBezTo>
                  <a:pt x="6608327" y="1184819"/>
                  <a:pt x="6583617" y="1209529"/>
                  <a:pt x="6553135" y="1209529"/>
                </a:cubicBezTo>
                <a:cubicBezTo>
                  <a:pt x="6522653" y="1209529"/>
                  <a:pt x="6497943" y="1184819"/>
                  <a:pt x="6497943" y="1154338"/>
                </a:cubicBezTo>
                <a:cubicBezTo>
                  <a:pt x="6497943" y="1123857"/>
                  <a:pt x="6522653" y="1099147"/>
                  <a:pt x="6553135" y="1099147"/>
                </a:cubicBezTo>
                <a:close/>
                <a:moveTo>
                  <a:pt x="6419501" y="1099147"/>
                </a:moveTo>
                <a:cubicBezTo>
                  <a:pt x="6449983" y="1099147"/>
                  <a:pt x="6474693" y="1123857"/>
                  <a:pt x="6474693" y="1154338"/>
                </a:cubicBezTo>
                <a:cubicBezTo>
                  <a:pt x="6474693" y="1184819"/>
                  <a:pt x="6449983" y="1209529"/>
                  <a:pt x="6419501" y="1209529"/>
                </a:cubicBezTo>
                <a:cubicBezTo>
                  <a:pt x="6389019" y="1209529"/>
                  <a:pt x="6364309" y="1184819"/>
                  <a:pt x="6364309" y="1154338"/>
                </a:cubicBezTo>
                <a:cubicBezTo>
                  <a:pt x="6364309" y="1123857"/>
                  <a:pt x="6389019" y="1099147"/>
                  <a:pt x="6419501" y="1099147"/>
                </a:cubicBezTo>
                <a:close/>
                <a:moveTo>
                  <a:pt x="6289206" y="1099147"/>
                </a:moveTo>
                <a:cubicBezTo>
                  <a:pt x="6319688" y="1099147"/>
                  <a:pt x="6344398" y="1123857"/>
                  <a:pt x="6344398" y="1154338"/>
                </a:cubicBezTo>
                <a:cubicBezTo>
                  <a:pt x="6344398" y="1184819"/>
                  <a:pt x="6319688" y="1209529"/>
                  <a:pt x="6289206" y="1209529"/>
                </a:cubicBezTo>
                <a:cubicBezTo>
                  <a:pt x="6258724" y="1209529"/>
                  <a:pt x="6234014" y="1184819"/>
                  <a:pt x="6234014" y="1154338"/>
                </a:cubicBezTo>
                <a:cubicBezTo>
                  <a:pt x="6234014" y="1123857"/>
                  <a:pt x="6258724" y="1099147"/>
                  <a:pt x="6289206" y="1099147"/>
                </a:cubicBezTo>
                <a:close/>
                <a:moveTo>
                  <a:pt x="6155571" y="1099147"/>
                </a:moveTo>
                <a:cubicBezTo>
                  <a:pt x="6186053" y="1099147"/>
                  <a:pt x="6210763" y="1123857"/>
                  <a:pt x="6210763" y="1154338"/>
                </a:cubicBezTo>
                <a:cubicBezTo>
                  <a:pt x="6210763" y="1184819"/>
                  <a:pt x="6186053" y="1209529"/>
                  <a:pt x="6155571" y="1209529"/>
                </a:cubicBezTo>
                <a:cubicBezTo>
                  <a:pt x="6125089" y="1209529"/>
                  <a:pt x="6100379" y="1184819"/>
                  <a:pt x="6100379" y="1154338"/>
                </a:cubicBezTo>
                <a:cubicBezTo>
                  <a:pt x="6100379" y="1123857"/>
                  <a:pt x="6125089" y="1099147"/>
                  <a:pt x="6155571" y="1099147"/>
                </a:cubicBezTo>
                <a:close/>
                <a:moveTo>
                  <a:pt x="6021938" y="1099147"/>
                </a:moveTo>
                <a:cubicBezTo>
                  <a:pt x="6052420" y="1099147"/>
                  <a:pt x="6077130" y="1123857"/>
                  <a:pt x="6077130" y="1154338"/>
                </a:cubicBezTo>
                <a:cubicBezTo>
                  <a:pt x="6077130" y="1184819"/>
                  <a:pt x="6052420" y="1209529"/>
                  <a:pt x="6021938" y="1209529"/>
                </a:cubicBezTo>
                <a:cubicBezTo>
                  <a:pt x="5991456" y="1209529"/>
                  <a:pt x="5966746" y="1184819"/>
                  <a:pt x="5966746" y="1154338"/>
                </a:cubicBezTo>
                <a:cubicBezTo>
                  <a:pt x="5966746" y="1123857"/>
                  <a:pt x="5991456" y="1099147"/>
                  <a:pt x="6021938" y="1099147"/>
                </a:cubicBezTo>
                <a:close/>
                <a:moveTo>
                  <a:pt x="5884963" y="1099147"/>
                </a:moveTo>
                <a:cubicBezTo>
                  <a:pt x="5915445" y="1099147"/>
                  <a:pt x="5940155" y="1123857"/>
                  <a:pt x="5940155" y="1154338"/>
                </a:cubicBezTo>
                <a:cubicBezTo>
                  <a:pt x="5940155" y="1184819"/>
                  <a:pt x="5915445" y="1209529"/>
                  <a:pt x="5884963" y="1209529"/>
                </a:cubicBezTo>
                <a:cubicBezTo>
                  <a:pt x="5854481" y="1209529"/>
                  <a:pt x="5829771" y="1184819"/>
                  <a:pt x="5829771" y="1154338"/>
                </a:cubicBezTo>
                <a:cubicBezTo>
                  <a:pt x="5829771" y="1123857"/>
                  <a:pt x="5854481" y="1099147"/>
                  <a:pt x="5884963" y="1099147"/>
                </a:cubicBezTo>
                <a:close/>
                <a:moveTo>
                  <a:pt x="5754668" y="1099147"/>
                </a:moveTo>
                <a:cubicBezTo>
                  <a:pt x="5785150" y="1099147"/>
                  <a:pt x="5809860" y="1123857"/>
                  <a:pt x="5809860" y="1154338"/>
                </a:cubicBezTo>
                <a:cubicBezTo>
                  <a:pt x="5809860" y="1184819"/>
                  <a:pt x="5785150" y="1209529"/>
                  <a:pt x="5754668" y="1209529"/>
                </a:cubicBezTo>
                <a:cubicBezTo>
                  <a:pt x="5724186" y="1209529"/>
                  <a:pt x="5699476" y="1184819"/>
                  <a:pt x="5699476" y="1154338"/>
                </a:cubicBezTo>
                <a:cubicBezTo>
                  <a:pt x="5699476" y="1123857"/>
                  <a:pt x="5724186" y="1099147"/>
                  <a:pt x="5754668" y="1099147"/>
                </a:cubicBezTo>
                <a:close/>
                <a:moveTo>
                  <a:pt x="5621031" y="1099147"/>
                </a:moveTo>
                <a:cubicBezTo>
                  <a:pt x="5651513" y="1099147"/>
                  <a:pt x="5676223" y="1123857"/>
                  <a:pt x="5676223" y="1154338"/>
                </a:cubicBezTo>
                <a:cubicBezTo>
                  <a:pt x="5676223" y="1184819"/>
                  <a:pt x="5651513" y="1209529"/>
                  <a:pt x="5621031" y="1209529"/>
                </a:cubicBezTo>
                <a:cubicBezTo>
                  <a:pt x="5590549" y="1209529"/>
                  <a:pt x="5565839" y="1184819"/>
                  <a:pt x="5565839" y="1154338"/>
                </a:cubicBezTo>
                <a:cubicBezTo>
                  <a:pt x="5565839" y="1123857"/>
                  <a:pt x="5590549" y="1099147"/>
                  <a:pt x="5621031" y="1099147"/>
                </a:cubicBezTo>
                <a:close/>
                <a:moveTo>
                  <a:pt x="5487398" y="1099147"/>
                </a:moveTo>
                <a:cubicBezTo>
                  <a:pt x="5517880" y="1099147"/>
                  <a:pt x="5542590" y="1123857"/>
                  <a:pt x="5542590" y="1154338"/>
                </a:cubicBezTo>
                <a:cubicBezTo>
                  <a:pt x="5542590" y="1184819"/>
                  <a:pt x="5517880" y="1209529"/>
                  <a:pt x="5487398" y="1209529"/>
                </a:cubicBezTo>
                <a:cubicBezTo>
                  <a:pt x="5456916" y="1209529"/>
                  <a:pt x="5432206" y="1184819"/>
                  <a:pt x="5432206" y="1154338"/>
                </a:cubicBezTo>
                <a:cubicBezTo>
                  <a:pt x="5432206" y="1123857"/>
                  <a:pt x="5456916" y="1099147"/>
                  <a:pt x="5487398" y="1099147"/>
                </a:cubicBezTo>
                <a:close/>
                <a:moveTo>
                  <a:pt x="5357105" y="1099147"/>
                </a:moveTo>
                <a:cubicBezTo>
                  <a:pt x="5387587" y="1099147"/>
                  <a:pt x="5412297" y="1123857"/>
                  <a:pt x="5412297" y="1154338"/>
                </a:cubicBezTo>
                <a:cubicBezTo>
                  <a:pt x="5412297" y="1184819"/>
                  <a:pt x="5387587" y="1209529"/>
                  <a:pt x="5357105" y="1209529"/>
                </a:cubicBezTo>
                <a:cubicBezTo>
                  <a:pt x="5326623" y="1209529"/>
                  <a:pt x="5301913" y="1184819"/>
                  <a:pt x="5301913" y="1154338"/>
                </a:cubicBezTo>
                <a:cubicBezTo>
                  <a:pt x="5301913" y="1123857"/>
                  <a:pt x="5326623" y="1099147"/>
                  <a:pt x="5357105" y="1099147"/>
                </a:cubicBezTo>
                <a:close/>
                <a:moveTo>
                  <a:pt x="5093176" y="1099147"/>
                </a:moveTo>
                <a:cubicBezTo>
                  <a:pt x="5123658" y="1099147"/>
                  <a:pt x="5148368" y="1123857"/>
                  <a:pt x="5148368" y="1154338"/>
                </a:cubicBezTo>
                <a:cubicBezTo>
                  <a:pt x="5148368" y="1184819"/>
                  <a:pt x="5123658" y="1209529"/>
                  <a:pt x="5093176" y="1209529"/>
                </a:cubicBezTo>
                <a:cubicBezTo>
                  <a:pt x="5062694" y="1209529"/>
                  <a:pt x="5037984" y="1184819"/>
                  <a:pt x="5037984" y="1154338"/>
                </a:cubicBezTo>
                <a:cubicBezTo>
                  <a:pt x="5037984" y="1123857"/>
                  <a:pt x="5062694" y="1099147"/>
                  <a:pt x="5093176" y="1099147"/>
                </a:cubicBezTo>
                <a:close/>
                <a:moveTo>
                  <a:pt x="4959540" y="1099147"/>
                </a:moveTo>
                <a:cubicBezTo>
                  <a:pt x="4990022" y="1099147"/>
                  <a:pt x="5014732" y="1123857"/>
                  <a:pt x="5014732" y="1154338"/>
                </a:cubicBezTo>
                <a:cubicBezTo>
                  <a:pt x="5014732" y="1184819"/>
                  <a:pt x="4990022" y="1209529"/>
                  <a:pt x="4959540" y="1209529"/>
                </a:cubicBezTo>
                <a:cubicBezTo>
                  <a:pt x="4929058" y="1209529"/>
                  <a:pt x="4904348" y="1184819"/>
                  <a:pt x="4904348" y="1154338"/>
                </a:cubicBezTo>
                <a:cubicBezTo>
                  <a:pt x="4904348" y="1123857"/>
                  <a:pt x="4929058" y="1099147"/>
                  <a:pt x="4959540" y="1099147"/>
                </a:cubicBezTo>
                <a:close/>
                <a:moveTo>
                  <a:pt x="4829246" y="1099147"/>
                </a:moveTo>
                <a:cubicBezTo>
                  <a:pt x="4859728" y="1099147"/>
                  <a:pt x="4884438" y="1123857"/>
                  <a:pt x="4884438" y="1154338"/>
                </a:cubicBezTo>
                <a:cubicBezTo>
                  <a:pt x="4884438" y="1184819"/>
                  <a:pt x="4859728" y="1209529"/>
                  <a:pt x="4829246" y="1209529"/>
                </a:cubicBezTo>
                <a:cubicBezTo>
                  <a:pt x="4798764" y="1209529"/>
                  <a:pt x="4774054" y="1184819"/>
                  <a:pt x="4774054" y="1154338"/>
                </a:cubicBezTo>
                <a:cubicBezTo>
                  <a:pt x="4774054" y="1123857"/>
                  <a:pt x="4798764" y="1099147"/>
                  <a:pt x="4829246" y="1099147"/>
                </a:cubicBezTo>
                <a:close/>
                <a:moveTo>
                  <a:pt x="319117" y="1099147"/>
                </a:moveTo>
                <a:cubicBezTo>
                  <a:pt x="349600" y="1099147"/>
                  <a:pt x="374310" y="1123857"/>
                  <a:pt x="374310" y="1154338"/>
                </a:cubicBezTo>
                <a:cubicBezTo>
                  <a:pt x="374310" y="1184819"/>
                  <a:pt x="349600" y="1209529"/>
                  <a:pt x="319117" y="1209529"/>
                </a:cubicBezTo>
                <a:cubicBezTo>
                  <a:pt x="288635" y="1209529"/>
                  <a:pt x="263926" y="1184819"/>
                  <a:pt x="263926" y="1154338"/>
                </a:cubicBezTo>
                <a:cubicBezTo>
                  <a:pt x="263926" y="1123857"/>
                  <a:pt x="288635" y="1099147"/>
                  <a:pt x="319117" y="1099147"/>
                </a:cubicBezTo>
                <a:close/>
                <a:moveTo>
                  <a:pt x="185484" y="1099147"/>
                </a:moveTo>
                <a:cubicBezTo>
                  <a:pt x="215966" y="1099147"/>
                  <a:pt x="240675" y="1123857"/>
                  <a:pt x="240675" y="1154338"/>
                </a:cubicBezTo>
                <a:cubicBezTo>
                  <a:pt x="240675" y="1184819"/>
                  <a:pt x="215966" y="1209529"/>
                  <a:pt x="185484" y="1209529"/>
                </a:cubicBezTo>
                <a:cubicBezTo>
                  <a:pt x="155003" y="1209529"/>
                  <a:pt x="130292" y="1184819"/>
                  <a:pt x="130292" y="1154338"/>
                </a:cubicBezTo>
                <a:cubicBezTo>
                  <a:pt x="130292" y="1123857"/>
                  <a:pt x="155003" y="1099147"/>
                  <a:pt x="185484" y="1099147"/>
                </a:cubicBezTo>
                <a:close/>
                <a:moveTo>
                  <a:pt x="55190" y="1099147"/>
                </a:moveTo>
                <a:cubicBezTo>
                  <a:pt x="85672" y="1099147"/>
                  <a:pt x="110381" y="1123857"/>
                  <a:pt x="110381" y="1154338"/>
                </a:cubicBezTo>
                <a:cubicBezTo>
                  <a:pt x="110381" y="1184819"/>
                  <a:pt x="85672" y="1209529"/>
                  <a:pt x="55190" y="1209529"/>
                </a:cubicBezTo>
                <a:cubicBezTo>
                  <a:pt x="24708" y="1209529"/>
                  <a:pt x="0" y="1184819"/>
                  <a:pt x="0" y="1154338"/>
                </a:cubicBezTo>
                <a:cubicBezTo>
                  <a:pt x="0" y="1123857"/>
                  <a:pt x="24708" y="1099147"/>
                  <a:pt x="55190" y="1099147"/>
                </a:cubicBezTo>
                <a:close/>
                <a:moveTo>
                  <a:pt x="3499584" y="1099146"/>
                </a:moveTo>
                <a:cubicBezTo>
                  <a:pt x="3530066" y="1099146"/>
                  <a:pt x="3554776" y="1123856"/>
                  <a:pt x="3554776" y="1154337"/>
                </a:cubicBezTo>
                <a:cubicBezTo>
                  <a:pt x="3554776" y="1184818"/>
                  <a:pt x="3530066" y="1209528"/>
                  <a:pt x="3499584" y="1209528"/>
                </a:cubicBezTo>
                <a:cubicBezTo>
                  <a:pt x="3469102" y="1209528"/>
                  <a:pt x="3444392" y="1184818"/>
                  <a:pt x="3444392" y="1154337"/>
                </a:cubicBezTo>
                <a:cubicBezTo>
                  <a:pt x="3444392" y="1123856"/>
                  <a:pt x="3469102" y="1099146"/>
                  <a:pt x="3499584" y="1099146"/>
                </a:cubicBezTo>
                <a:close/>
                <a:moveTo>
                  <a:pt x="2570894" y="1099146"/>
                </a:moveTo>
                <a:cubicBezTo>
                  <a:pt x="2601377" y="1099146"/>
                  <a:pt x="2626086" y="1123856"/>
                  <a:pt x="2626086" y="1154337"/>
                </a:cubicBezTo>
                <a:cubicBezTo>
                  <a:pt x="2626086" y="1184818"/>
                  <a:pt x="2601377" y="1209528"/>
                  <a:pt x="2570894" y="1209528"/>
                </a:cubicBezTo>
                <a:cubicBezTo>
                  <a:pt x="2540412" y="1209528"/>
                  <a:pt x="2515701" y="1184818"/>
                  <a:pt x="2515701" y="1154337"/>
                </a:cubicBezTo>
                <a:cubicBezTo>
                  <a:pt x="2515701" y="1123856"/>
                  <a:pt x="2540412" y="1099146"/>
                  <a:pt x="2570894" y="1099146"/>
                </a:cubicBezTo>
                <a:close/>
                <a:moveTo>
                  <a:pt x="2039698" y="1099146"/>
                </a:moveTo>
                <a:cubicBezTo>
                  <a:pt x="2070180" y="1099146"/>
                  <a:pt x="2094891" y="1123856"/>
                  <a:pt x="2094891" y="1154337"/>
                </a:cubicBezTo>
                <a:cubicBezTo>
                  <a:pt x="2094891" y="1184818"/>
                  <a:pt x="2070180" y="1209528"/>
                  <a:pt x="2039698" y="1209528"/>
                </a:cubicBezTo>
                <a:cubicBezTo>
                  <a:pt x="2009214" y="1209528"/>
                  <a:pt x="1984505" y="1184818"/>
                  <a:pt x="1984505" y="1154337"/>
                </a:cubicBezTo>
                <a:cubicBezTo>
                  <a:pt x="1984505" y="1123856"/>
                  <a:pt x="2009214" y="1099146"/>
                  <a:pt x="2039698" y="1099146"/>
                </a:cubicBezTo>
                <a:close/>
                <a:moveTo>
                  <a:pt x="1909401" y="1099146"/>
                </a:moveTo>
                <a:cubicBezTo>
                  <a:pt x="1939883" y="1099146"/>
                  <a:pt x="1964592" y="1123856"/>
                  <a:pt x="1964592" y="1154337"/>
                </a:cubicBezTo>
                <a:cubicBezTo>
                  <a:pt x="1964592" y="1184818"/>
                  <a:pt x="1939883" y="1209528"/>
                  <a:pt x="1909401" y="1209528"/>
                </a:cubicBezTo>
                <a:cubicBezTo>
                  <a:pt x="1878917" y="1209528"/>
                  <a:pt x="1854207" y="1184818"/>
                  <a:pt x="1854207" y="1154337"/>
                </a:cubicBezTo>
                <a:cubicBezTo>
                  <a:pt x="1854207" y="1123856"/>
                  <a:pt x="1878917" y="1099146"/>
                  <a:pt x="1909401" y="1099146"/>
                </a:cubicBezTo>
                <a:close/>
                <a:moveTo>
                  <a:pt x="1779104" y="1099146"/>
                </a:moveTo>
                <a:cubicBezTo>
                  <a:pt x="1809585" y="1099146"/>
                  <a:pt x="1834296" y="1123856"/>
                  <a:pt x="1834296" y="1154337"/>
                </a:cubicBezTo>
                <a:cubicBezTo>
                  <a:pt x="1834296" y="1184818"/>
                  <a:pt x="1809585" y="1209528"/>
                  <a:pt x="1779104" y="1209528"/>
                </a:cubicBezTo>
                <a:cubicBezTo>
                  <a:pt x="1748623" y="1209528"/>
                  <a:pt x="1723910" y="1184818"/>
                  <a:pt x="1723910" y="1154337"/>
                </a:cubicBezTo>
                <a:cubicBezTo>
                  <a:pt x="1723910" y="1123856"/>
                  <a:pt x="1748623" y="1099146"/>
                  <a:pt x="1779104" y="1099146"/>
                </a:cubicBezTo>
                <a:close/>
                <a:moveTo>
                  <a:pt x="1645469" y="1099146"/>
                </a:moveTo>
                <a:cubicBezTo>
                  <a:pt x="1675950" y="1099146"/>
                  <a:pt x="1700664" y="1123856"/>
                  <a:pt x="1700664" y="1154337"/>
                </a:cubicBezTo>
                <a:cubicBezTo>
                  <a:pt x="1700664" y="1184818"/>
                  <a:pt x="1675950" y="1209528"/>
                  <a:pt x="1645469" y="1209528"/>
                </a:cubicBezTo>
                <a:cubicBezTo>
                  <a:pt x="1614986" y="1209528"/>
                  <a:pt x="1590275" y="1184818"/>
                  <a:pt x="1590275" y="1154337"/>
                </a:cubicBezTo>
                <a:cubicBezTo>
                  <a:pt x="1590275" y="1123856"/>
                  <a:pt x="1614986" y="1099146"/>
                  <a:pt x="1645469" y="1099146"/>
                </a:cubicBezTo>
                <a:close/>
                <a:moveTo>
                  <a:pt x="1515179" y="1099146"/>
                </a:moveTo>
                <a:cubicBezTo>
                  <a:pt x="1545657" y="1099146"/>
                  <a:pt x="1570364" y="1123856"/>
                  <a:pt x="1570364" y="1154337"/>
                </a:cubicBezTo>
                <a:cubicBezTo>
                  <a:pt x="1570364" y="1184818"/>
                  <a:pt x="1545657" y="1209528"/>
                  <a:pt x="1515179" y="1209528"/>
                </a:cubicBezTo>
                <a:cubicBezTo>
                  <a:pt x="1484695" y="1209528"/>
                  <a:pt x="1459982" y="1184818"/>
                  <a:pt x="1459982" y="1154337"/>
                </a:cubicBezTo>
                <a:cubicBezTo>
                  <a:pt x="1459982" y="1123856"/>
                  <a:pt x="1484695" y="1099146"/>
                  <a:pt x="1515179" y="1099146"/>
                </a:cubicBezTo>
                <a:close/>
                <a:moveTo>
                  <a:pt x="1381539" y="1099146"/>
                </a:moveTo>
                <a:cubicBezTo>
                  <a:pt x="1412022" y="1099146"/>
                  <a:pt x="1436731" y="1123856"/>
                  <a:pt x="1436731" y="1154337"/>
                </a:cubicBezTo>
                <a:cubicBezTo>
                  <a:pt x="1436731" y="1184818"/>
                  <a:pt x="1412022" y="1209528"/>
                  <a:pt x="1381539" y="1209528"/>
                </a:cubicBezTo>
                <a:cubicBezTo>
                  <a:pt x="1351062" y="1209528"/>
                  <a:pt x="1326349" y="1184818"/>
                  <a:pt x="1326349" y="1154337"/>
                </a:cubicBezTo>
                <a:cubicBezTo>
                  <a:pt x="1326349" y="1123856"/>
                  <a:pt x="1351062" y="1099146"/>
                  <a:pt x="1381539" y="1099146"/>
                </a:cubicBezTo>
                <a:close/>
                <a:moveTo>
                  <a:pt x="1251245" y="1099146"/>
                </a:moveTo>
                <a:cubicBezTo>
                  <a:pt x="1281728" y="1099146"/>
                  <a:pt x="1306439" y="1123856"/>
                  <a:pt x="1306439" y="1154337"/>
                </a:cubicBezTo>
                <a:cubicBezTo>
                  <a:pt x="1306439" y="1184818"/>
                  <a:pt x="1281728" y="1209528"/>
                  <a:pt x="1251245" y="1209528"/>
                </a:cubicBezTo>
                <a:cubicBezTo>
                  <a:pt x="1220763" y="1209528"/>
                  <a:pt x="1196054" y="1184818"/>
                  <a:pt x="1196054" y="1154337"/>
                </a:cubicBezTo>
                <a:cubicBezTo>
                  <a:pt x="1196054" y="1123856"/>
                  <a:pt x="1220763" y="1099146"/>
                  <a:pt x="1251245" y="1099146"/>
                </a:cubicBezTo>
                <a:close/>
                <a:moveTo>
                  <a:pt x="1117610" y="1099146"/>
                </a:moveTo>
                <a:cubicBezTo>
                  <a:pt x="1148093" y="1099146"/>
                  <a:pt x="1172803" y="1123856"/>
                  <a:pt x="1172803" y="1154337"/>
                </a:cubicBezTo>
                <a:cubicBezTo>
                  <a:pt x="1172803" y="1184818"/>
                  <a:pt x="1148093" y="1209528"/>
                  <a:pt x="1117610" y="1209528"/>
                </a:cubicBezTo>
                <a:cubicBezTo>
                  <a:pt x="1087127" y="1209528"/>
                  <a:pt x="1062416" y="1184818"/>
                  <a:pt x="1062416" y="1154337"/>
                </a:cubicBezTo>
                <a:cubicBezTo>
                  <a:pt x="1062416" y="1123856"/>
                  <a:pt x="1087127" y="1099146"/>
                  <a:pt x="1117610" y="1099146"/>
                </a:cubicBezTo>
                <a:close/>
                <a:moveTo>
                  <a:pt x="980631" y="1099146"/>
                </a:moveTo>
                <a:cubicBezTo>
                  <a:pt x="1011115" y="1099146"/>
                  <a:pt x="1035825" y="1123856"/>
                  <a:pt x="1035825" y="1154337"/>
                </a:cubicBezTo>
                <a:cubicBezTo>
                  <a:pt x="1035825" y="1184818"/>
                  <a:pt x="1011115" y="1209528"/>
                  <a:pt x="980631" y="1209528"/>
                </a:cubicBezTo>
                <a:cubicBezTo>
                  <a:pt x="950149" y="1209528"/>
                  <a:pt x="925438" y="1184818"/>
                  <a:pt x="925438" y="1154337"/>
                </a:cubicBezTo>
                <a:cubicBezTo>
                  <a:pt x="925438" y="1123856"/>
                  <a:pt x="950149" y="1099146"/>
                  <a:pt x="980631" y="1099146"/>
                </a:cubicBezTo>
                <a:close/>
                <a:moveTo>
                  <a:pt x="846993" y="1099146"/>
                </a:moveTo>
                <a:cubicBezTo>
                  <a:pt x="877476" y="1099146"/>
                  <a:pt x="902186" y="1123856"/>
                  <a:pt x="902186" y="1154337"/>
                </a:cubicBezTo>
                <a:cubicBezTo>
                  <a:pt x="902186" y="1184818"/>
                  <a:pt x="877476" y="1209528"/>
                  <a:pt x="846993" y="1209528"/>
                </a:cubicBezTo>
                <a:cubicBezTo>
                  <a:pt x="816511" y="1209528"/>
                  <a:pt x="791796" y="1184818"/>
                  <a:pt x="791796" y="1154337"/>
                </a:cubicBezTo>
                <a:cubicBezTo>
                  <a:pt x="791796" y="1123856"/>
                  <a:pt x="816511" y="1099146"/>
                  <a:pt x="846993" y="1099146"/>
                </a:cubicBezTo>
                <a:close/>
                <a:moveTo>
                  <a:pt x="716690" y="1099146"/>
                </a:moveTo>
                <a:cubicBezTo>
                  <a:pt x="747176" y="1099146"/>
                  <a:pt x="771886" y="1123856"/>
                  <a:pt x="771886" y="1154337"/>
                </a:cubicBezTo>
                <a:cubicBezTo>
                  <a:pt x="771886" y="1184818"/>
                  <a:pt x="747176" y="1209528"/>
                  <a:pt x="716690" y="1209528"/>
                </a:cubicBezTo>
                <a:cubicBezTo>
                  <a:pt x="686211" y="1209528"/>
                  <a:pt x="661502" y="1184818"/>
                  <a:pt x="661502" y="1154337"/>
                </a:cubicBezTo>
                <a:cubicBezTo>
                  <a:pt x="661502" y="1123856"/>
                  <a:pt x="686211" y="1099146"/>
                  <a:pt x="716690" y="1099146"/>
                </a:cubicBezTo>
                <a:close/>
                <a:moveTo>
                  <a:pt x="583057" y="1099146"/>
                </a:moveTo>
                <a:cubicBezTo>
                  <a:pt x="613540" y="1099146"/>
                  <a:pt x="638250" y="1123856"/>
                  <a:pt x="638250" y="1154337"/>
                </a:cubicBezTo>
                <a:cubicBezTo>
                  <a:pt x="638250" y="1184818"/>
                  <a:pt x="613540" y="1209528"/>
                  <a:pt x="583057" y="1209528"/>
                </a:cubicBezTo>
                <a:cubicBezTo>
                  <a:pt x="552573" y="1209528"/>
                  <a:pt x="527863" y="1184818"/>
                  <a:pt x="527863" y="1154337"/>
                </a:cubicBezTo>
                <a:cubicBezTo>
                  <a:pt x="527863" y="1123856"/>
                  <a:pt x="552573" y="1099146"/>
                  <a:pt x="583057" y="1099146"/>
                </a:cubicBezTo>
                <a:close/>
                <a:moveTo>
                  <a:pt x="449413" y="1099146"/>
                </a:moveTo>
                <a:cubicBezTo>
                  <a:pt x="479896" y="1099146"/>
                  <a:pt x="504606" y="1123856"/>
                  <a:pt x="504606" y="1154337"/>
                </a:cubicBezTo>
                <a:cubicBezTo>
                  <a:pt x="504606" y="1184818"/>
                  <a:pt x="479896" y="1209528"/>
                  <a:pt x="449413" y="1209528"/>
                </a:cubicBezTo>
                <a:cubicBezTo>
                  <a:pt x="418931" y="1209528"/>
                  <a:pt x="394220" y="1184818"/>
                  <a:pt x="394220" y="1154337"/>
                </a:cubicBezTo>
                <a:cubicBezTo>
                  <a:pt x="394220" y="1123856"/>
                  <a:pt x="418931" y="1099146"/>
                  <a:pt x="449413" y="1099146"/>
                </a:cubicBezTo>
                <a:close/>
                <a:moveTo>
                  <a:pt x="9603343" y="975533"/>
                </a:moveTo>
                <a:cubicBezTo>
                  <a:pt x="9633825" y="975533"/>
                  <a:pt x="9658535" y="1000243"/>
                  <a:pt x="9658535" y="1030724"/>
                </a:cubicBezTo>
                <a:cubicBezTo>
                  <a:pt x="9658535" y="1061205"/>
                  <a:pt x="9633825" y="1085915"/>
                  <a:pt x="9603343" y="1085915"/>
                </a:cubicBezTo>
                <a:cubicBezTo>
                  <a:pt x="9572861" y="1085915"/>
                  <a:pt x="9548151" y="1061205"/>
                  <a:pt x="9548151" y="1030724"/>
                </a:cubicBezTo>
                <a:cubicBezTo>
                  <a:pt x="9548151" y="1000243"/>
                  <a:pt x="9572861" y="975533"/>
                  <a:pt x="9603343" y="975533"/>
                </a:cubicBezTo>
                <a:close/>
                <a:moveTo>
                  <a:pt x="9469708" y="975533"/>
                </a:moveTo>
                <a:cubicBezTo>
                  <a:pt x="9500190" y="975533"/>
                  <a:pt x="9524900" y="1000243"/>
                  <a:pt x="9524900" y="1030724"/>
                </a:cubicBezTo>
                <a:cubicBezTo>
                  <a:pt x="9524900" y="1061205"/>
                  <a:pt x="9500190" y="1085915"/>
                  <a:pt x="9469708" y="1085915"/>
                </a:cubicBezTo>
                <a:cubicBezTo>
                  <a:pt x="9439226" y="1085915"/>
                  <a:pt x="9414516" y="1061205"/>
                  <a:pt x="9414516" y="1030724"/>
                </a:cubicBezTo>
                <a:cubicBezTo>
                  <a:pt x="9414516" y="1000243"/>
                  <a:pt x="9439226" y="975533"/>
                  <a:pt x="9469708" y="975533"/>
                </a:cubicBezTo>
                <a:close/>
                <a:moveTo>
                  <a:pt x="8935170" y="975533"/>
                </a:moveTo>
                <a:cubicBezTo>
                  <a:pt x="8965652" y="975533"/>
                  <a:pt x="8990362" y="1000243"/>
                  <a:pt x="8990362" y="1030724"/>
                </a:cubicBezTo>
                <a:cubicBezTo>
                  <a:pt x="8990362" y="1061205"/>
                  <a:pt x="8965652" y="1085915"/>
                  <a:pt x="8935170" y="1085915"/>
                </a:cubicBezTo>
                <a:cubicBezTo>
                  <a:pt x="8904688" y="1085915"/>
                  <a:pt x="8879978" y="1061205"/>
                  <a:pt x="8879978" y="1030724"/>
                </a:cubicBezTo>
                <a:cubicBezTo>
                  <a:pt x="8879978" y="1000243"/>
                  <a:pt x="8904688" y="975533"/>
                  <a:pt x="8935170" y="975533"/>
                </a:cubicBezTo>
                <a:close/>
                <a:moveTo>
                  <a:pt x="8407315" y="975533"/>
                </a:moveTo>
                <a:cubicBezTo>
                  <a:pt x="8437797" y="975533"/>
                  <a:pt x="8462507" y="1000243"/>
                  <a:pt x="8462507" y="1030724"/>
                </a:cubicBezTo>
                <a:cubicBezTo>
                  <a:pt x="8462507" y="1061205"/>
                  <a:pt x="8437797" y="1085915"/>
                  <a:pt x="8407315" y="1085915"/>
                </a:cubicBezTo>
                <a:cubicBezTo>
                  <a:pt x="8376833" y="1085915"/>
                  <a:pt x="8352123" y="1061205"/>
                  <a:pt x="8352123" y="1030724"/>
                </a:cubicBezTo>
                <a:cubicBezTo>
                  <a:pt x="8352123" y="1000243"/>
                  <a:pt x="8376833" y="975533"/>
                  <a:pt x="8407315" y="975533"/>
                </a:cubicBezTo>
                <a:close/>
                <a:moveTo>
                  <a:pt x="7876116" y="975533"/>
                </a:moveTo>
                <a:cubicBezTo>
                  <a:pt x="7906598" y="975533"/>
                  <a:pt x="7931308" y="1000243"/>
                  <a:pt x="7931308" y="1030724"/>
                </a:cubicBezTo>
                <a:cubicBezTo>
                  <a:pt x="7931308" y="1061205"/>
                  <a:pt x="7906598" y="1085915"/>
                  <a:pt x="7876116" y="1085915"/>
                </a:cubicBezTo>
                <a:cubicBezTo>
                  <a:pt x="7845634" y="1085915"/>
                  <a:pt x="7820924" y="1061205"/>
                  <a:pt x="7820924" y="1030724"/>
                </a:cubicBezTo>
                <a:cubicBezTo>
                  <a:pt x="7820924" y="1000243"/>
                  <a:pt x="7845634" y="975533"/>
                  <a:pt x="7876116" y="975533"/>
                </a:cubicBezTo>
                <a:close/>
                <a:moveTo>
                  <a:pt x="7745822" y="975533"/>
                </a:moveTo>
                <a:cubicBezTo>
                  <a:pt x="7776304" y="975533"/>
                  <a:pt x="7801014" y="1000243"/>
                  <a:pt x="7801014" y="1030724"/>
                </a:cubicBezTo>
                <a:cubicBezTo>
                  <a:pt x="7801014" y="1061205"/>
                  <a:pt x="7776304" y="1085915"/>
                  <a:pt x="7745822" y="1085915"/>
                </a:cubicBezTo>
                <a:cubicBezTo>
                  <a:pt x="7715340" y="1085915"/>
                  <a:pt x="7690630" y="1061205"/>
                  <a:pt x="7690630" y="1030724"/>
                </a:cubicBezTo>
                <a:cubicBezTo>
                  <a:pt x="7690630" y="1000243"/>
                  <a:pt x="7715340" y="975533"/>
                  <a:pt x="7745822" y="975533"/>
                </a:cubicBezTo>
                <a:close/>
                <a:moveTo>
                  <a:pt x="7481894" y="975533"/>
                </a:moveTo>
                <a:cubicBezTo>
                  <a:pt x="7512376" y="975533"/>
                  <a:pt x="7537086" y="1000243"/>
                  <a:pt x="7537086" y="1030724"/>
                </a:cubicBezTo>
                <a:cubicBezTo>
                  <a:pt x="7537086" y="1061205"/>
                  <a:pt x="7512376" y="1085915"/>
                  <a:pt x="7481894" y="1085915"/>
                </a:cubicBezTo>
                <a:cubicBezTo>
                  <a:pt x="7451412" y="1085915"/>
                  <a:pt x="7426702" y="1061205"/>
                  <a:pt x="7426702" y="1030724"/>
                </a:cubicBezTo>
                <a:cubicBezTo>
                  <a:pt x="7426702" y="1000243"/>
                  <a:pt x="7451412" y="975533"/>
                  <a:pt x="7481894" y="975533"/>
                </a:cubicBezTo>
                <a:close/>
                <a:moveTo>
                  <a:pt x="7341578" y="975533"/>
                </a:moveTo>
                <a:cubicBezTo>
                  <a:pt x="7372060" y="975533"/>
                  <a:pt x="7396770" y="1000243"/>
                  <a:pt x="7396770" y="1030724"/>
                </a:cubicBezTo>
                <a:cubicBezTo>
                  <a:pt x="7396770" y="1061205"/>
                  <a:pt x="7372060" y="1085915"/>
                  <a:pt x="7341578" y="1085915"/>
                </a:cubicBezTo>
                <a:cubicBezTo>
                  <a:pt x="7311096" y="1085915"/>
                  <a:pt x="7286386" y="1061205"/>
                  <a:pt x="7286386" y="1030724"/>
                </a:cubicBezTo>
                <a:cubicBezTo>
                  <a:pt x="7286386" y="1000243"/>
                  <a:pt x="7311096" y="975533"/>
                  <a:pt x="7341578" y="975533"/>
                </a:cubicBezTo>
                <a:close/>
                <a:moveTo>
                  <a:pt x="7211285" y="975533"/>
                </a:moveTo>
                <a:cubicBezTo>
                  <a:pt x="7241767" y="975533"/>
                  <a:pt x="7266477" y="1000243"/>
                  <a:pt x="7266477" y="1030724"/>
                </a:cubicBezTo>
                <a:cubicBezTo>
                  <a:pt x="7266477" y="1061205"/>
                  <a:pt x="7241767" y="1085915"/>
                  <a:pt x="7211285" y="1085915"/>
                </a:cubicBezTo>
                <a:cubicBezTo>
                  <a:pt x="7180803" y="1085915"/>
                  <a:pt x="7156093" y="1061205"/>
                  <a:pt x="7156093" y="1030724"/>
                </a:cubicBezTo>
                <a:cubicBezTo>
                  <a:pt x="7156093" y="1000243"/>
                  <a:pt x="7180803" y="975533"/>
                  <a:pt x="7211285" y="975533"/>
                </a:cubicBezTo>
                <a:close/>
                <a:moveTo>
                  <a:pt x="6947356" y="975533"/>
                </a:moveTo>
                <a:cubicBezTo>
                  <a:pt x="6977838" y="975533"/>
                  <a:pt x="7002548" y="1000243"/>
                  <a:pt x="7002548" y="1030724"/>
                </a:cubicBezTo>
                <a:cubicBezTo>
                  <a:pt x="7002548" y="1061205"/>
                  <a:pt x="6977838" y="1085915"/>
                  <a:pt x="6947356" y="1085915"/>
                </a:cubicBezTo>
                <a:cubicBezTo>
                  <a:pt x="6916874" y="1085915"/>
                  <a:pt x="6892164" y="1061205"/>
                  <a:pt x="6892164" y="1030724"/>
                </a:cubicBezTo>
                <a:cubicBezTo>
                  <a:pt x="6892164" y="1000243"/>
                  <a:pt x="6916874" y="975533"/>
                  <a:pt x="6947356" y="975533"/>
                </a:cubicBezTo>
                <a:close/>
                <a:moveTo>
                  <a:pt x="6817063" y="975533"/>
                </a:moveTo>
                <a:cubicBezTo>
                  <a:pt x="6847545" y="975533"/>
                  <a:pt x="6872255" y="1000243"/>
                  <a:pt x="6872255" y="1030724"/>
                </a:cubicBezTo>
                <a:cubicBezTo>
                  <a:pt x="6872255" y="1061205"/>
                  <a:pt x="6847545" y="1085915"/>
                  <a:pt x="6817063" y="1085915"/>
                </a:cubicBezTo>
                <a:cubicBezTo>
                  <a:pt x="6786581" y="1085915"/>
                  <a:pt x="6761871" y="1061205"/>
                  <a:pt x="6761871" y="1030724"/>
                </a:cubicBezTo>
                <a:cubicBezTo>
                  <a:pt x="6761871" y="1000243"/>
                  <a:pt x="6786581" y="975533"/>
                  <a:pt x="6817063" y="975533"/>
                </a:cubicBezTo>
                <a:close/>
                <a:moveTo>
                  <a:pt x="6683430" y="975533"/>
                </a:moveTo>
                <a:cubicBezTo>
                  <a:pt x="6713912" y="975533"/>
                  <a:pt x="6738622" y="1000243"/>
                  <a:pt x="6738622" y="1030724"/>
                </a:cubicBezTo>
                <a:cubicBezTo>
                  <a:pt x="6738622" y="1061205"/>
                  <a:pt x="6713912" y="1085915"/>
                  <a:pt x="6683430" y="1085915"/>
                </a:cubicBezTo>
                <a:cubicBezTo>
                  <a:pt x="6652948" y="1085915"/>
                  <a:pt x="6628238" y="1061205"/>
                  <a:pt x="6628238" y="1030724"/>
                </a:cubicBezTo>
                <a:cubicBezTo>
                  <a:pt x="6628238" y="1000243"/>
                  <a:pt x="6652948" y="975533"/>
                  <a:pt x="6683430" y="975533"/>
                </a:cubicBezTo>
                <a:close/>
                <a:moveTo>
                  <a:pt x="6289206" y="975533"/>
                </a:moveTo>
                <a:cubicBezTo>
                  <a:pt x="6319688" y="975533"/>
                  <a:pt x="6344398" y="1000243"/>
                  <a:pt x="6344398" y="1030724"/>
                </a:cubicBezTo>
                <a:cubicBezTo>
                  <a:pt x="6344398" y="1061205"/>
                  <a:pt x="6319688" y="1085915"/>
                  <a:pt x="6289206" y="1085915"/>
                </a:cubicBezTo>
                <a:cubicBezTo>
                  <a:pt x="6258724" y="1085915"/>
                  <a:pt x="6234014" y="1061205"/>
                  <a:pt x="6234014" y="1030724"/>
                </a:cubicBezTo>
                <a:cubicBezTo>
                  <a:pt x="6234014" y="1000243"/>
                  <a:pt x="6258724" y="975533"/>
                  <a:pt x="6289206" y="975533"/>
                </a:cubicBezTo>
                <a:close/>
                <a:moveTo>
                  <a:pt x="5754667" y="975533"/>
                </a:moveTo>
                <a:cubicBezTo>
                  <a:pt x="5785149" y="975533"/>
                  <a:pt x="5809859" y="1000243"/>
                  <a:pt x="5809859" y="1030724"/>
                </a:cubicBezTo>
                <a:cubicBezTo>
                  <a:pt x="5809859" y="1061205"/>
                  <a:pt x="5785149" y="1085915"/>
                  <a:pt x="5754667" y="1085915"/>
                </a:cubicBezTo>
                <a:cubicBezTo>
                  <a:pt x="5724185" y="1085915"/>
                  <a:pt x="5699475" y="1061205"/>
                  <a:pt x="5699475" y="1030724"/>
                </a:cubicBezTo>
                <a:cubicBezTo>
                  <a:pt x="5699475" y="1000243"/>
                  <a:pt x="5724185" y="975533"/>
                  <a:pt x="5754667" y="975533"/>
                </a:cubicBezTo>
                <a:close/>
                <a:moveTo>
                  <a:pt x="5487398" y="975533"/>
                </a:moveTo>
                <a:cubicBezTo>
                  <a:pt x="5517880" y="975533"/>
                  <a:pt x="5542590" y="1000243"/>
                  <a:pt x="5542590" y="1030724"/>
                </a:cubicBezTo>
                <a:cubicBezTo>
                  <a:pt x="5542590" y="1061205"/>
                  <a:pt x="5517880" y="1085915"/>
                  <a:pt x="5487398" y="1085915"/>
                </a:cubicBezTo>
                <a:cubicBezTo>
                  <a:pt x="5456916" y="1085915"/>
                  <a:pt x="5432206" y="1061205"/>
                  <a:pt x="5432206" y="1030724"/>
                </a:cubicBezTo>
                <a:cubicBezTo>
                  <a:pt x="5432206" y="1000243"/>
                  <a:pt x="5456916" y="975533"/>
                  <a:pt x="5487398" y="975533"/>
                </a:cubicBezTo>
                <a:close/>
                <a:moveTo>
                  <a:pt x="5357105" y="975533"/>
                </a:moveTo>
                <a:cubicBezTo>
                  <a:pt x="5387587" y="975533"/>
                  <a:pt x="5412297" y="1000243"/>
                  <a:pt x="5412297" y="1030724"/>
                </a:cubicBezTo>
                <a:cubicBezTo>
                  <a:pt x="5412297" y="1061205"/>
                  <a:pt x="5387587" y="1085915"/>
                  <a:pt x="5357105" y="1085915"/>
                </a:cubicBezTo>
                <a:cubicBezTo>
                  <a:pt x="5326623" y="1085915"/>
                  <a:pt x="5301913" y="1061205"/>
                  <a:pt x="5301913" y="1030724"/>
                </a:cubicBezTo>
                <a:cubicBezTo>
                  <a:pt x="5301913" y="1000243"/>
                  <a:pt x="5326623" y="975533"/>
                  <a:pt x="5357105" y="975533"/>
                </a:cubicBezTo>
                <a:close/>
                <a:moveTo>
                  <a:pt x="5093176" y="975533"/>
                </a:moveTo>
                <a:cubicBezTo>
                  <a:pt x="5123658" y="975533"/>
                  <a:pt x="5148368" y="1000243"/>
                  <a:pt x="5148368" y="1030724"/>
                </a:cubicBezTo>
                <a:cubicBezTo>
                  <a:pt x="5148368" y="1061205"/>
                  <a:pt x="5123658" y="1085915"/>
                  <a:pt x="5093176" y="1085915"/>
                </a:cubicBezTo>
                <a:cubicBezTo>
                  <a:pt x="5062694" y="1085915"/>
                  <a:pt x="5037984" y="1061205"/>
                  <a:pt x="5037984" y="1030724"/>
                </a:cubicBezTo>
                <a:cubicBezTo>
                  <a:pt x="5037984" y="1000243"/>
                  <a:pt x="5062694" y="975533"/>
                  <a:pt x="5093176" y="975533"/>
                </a:cubicBezTo>
                <a:close/>
                <a:moveTo>
                  <a:pt x="4959540" y="975533"/>
                </a:moveTo>
                <a:cubicBezTo>
                  <a:pt x="4990022" y="975533"/>
                  <a:pt x="5014732" y="1000243"/>
                  <a:pt x="5014732" y="1030724"/>
                </a:cubicBezTo>
                <a:cubicBezTo>
                  <a:pt x="5014732" y="1061205"/>
                  <a:pt x="4990022" y="1085915"/>
                  <a:pt x="4959540" y="1085915"/>
                </a:cubicBezTo>
                <a:cubicBezTo>
                  <a:pt x="4929058" y="1085915"/>
                  <a:pt x="4904348" y="1061205"/>
                  <a:pt x="4904348" y="1030724"/>
                </a:cubicBezTo>
                <a:cubicBezTo>
                  <a:pt x="4904348" y="1000243"/>
                  <a:pt x="4929058" y="975533"/>
                  <a:pt x="4959540" y="975533"/>
                </a:cubicBezTo>
                <a:close/>
                <a:moveTo>
                  <a:pt x="4161075" y="975533"/>
                </a:moveTo>
                <a:cubicBezTo>
                  <a:pt x="4191557" y="975533"/>
                  <a:pt x="4216267" y="1000243"/>
                  <a:pt x="4216267" y="1030724"/>
                </a:cubicBezTo>
                <a:cubicBezTo>
                  <a:pt x="4216267" y="1061205"/>
                  <a:pt x="4191557" y="1085915"/>
                  <a:pt x="4161075" y="1085915"/>
                </a:cubicBezTo>
                <a:cubicBezTo>
                  <a:pt x="4130593" y="1085915"/>
                  <a:pt x="4105883" y="1061205"/>
                  <a:pt x="4105883" y="1030724"/>
                </a:cubicBezTo>
                <a:cubicBezTo>
                  <a:pt x="4105883" y="1000243"/>
                  <a:pt x="4130593" y="975533"/>
                  <a:pt x="4161075" y="975533"/>
                </a:cubicBezTo>
                <a:close/>
                <a:moveTo>
                  <a:pt x="4030782" y="975533"/>
                </a:moveTo>
                <a:cubicBezTo>
                  <a:pt x="4061264" y="975533"/>
                  <a:pt x="4085974" y="1000243"/>
                  <a:pt x="4085974" y="1030724"/>
                </a:cubicBezTo>
                <a:cubicBezTo>
                  <a:pt x="4085974" y="1061205"/>
                  <a:pt x="4061264" y="1085915"/>
                  <a:pt x="4030782" y="1085915"/>
                </a:cubicBezTo>
                <a:cubicBezTo>
                  <a:pt x="4000300" y="1085915"/>
                  <a:pt x="3975590" y="1061205"/>
                  <a:pt x="3975590" y="1030724"/>
                </a:cubicBezTo>
                <a:cubicBezTo>
                  <a:pt x="3975590" y="1000243"/>
                  <a:pt x="4000300" y="975533"/>
                  <a:pt x="4030782" y="975533"/>
                </a:cubicBezTo>
                <a:close/>
                <a:moveTo>
                  <a:pt x="3369290" y="975533"/>
                </a:moveTo>
                <a:cubicBezTo>
                  <a:pt x="3399772" y="975533"/>
                  <a:pt x="3424482" y="1000243"/>
                  <a:pt x="3424482" y="1030724"/>
                </a:cubicBezTo>
                <a:cubicBezTo>
                  <a:pt x="3424482" y="1061205"/>
                  <a:pt x="3399772" y="1085915"/>
                  <a:pt x="3369290" y="1085915"/>
                </a:cubicBezTo>
                <a:cubicBezTo>
                  <a:pt x="3338808" y="1085915"/>
                  <a:pt x="3314098" y="1061205"/>
                  <a:pt x="3314098" y="1030724"/>
                </a:cubicBezTo>
                <a:cubicBezTo>
                  <a:pt x="3314098" y="1000243"/>
                  <a:pt x="3338808" y="975533"/>
                  <a:pt x="3369290" y="975533"/>
                </a:cubicBezTo>
                <a:close/>
                <a:moveTo>
                  <a:pt x="2707880" y="975533"/>
                </a:moveTo>
                <a:cubicBezTo>
                  <a:pt x="2738363" y="975533"/>
                  <a:pt x="2763074" y="1000243"/>
                  <a:pt x="2763074" y="1030724"/>
                </a:cubicBezTo>
                <a:cubicBezTo>
                  <a:pt x="2763074" y="1061205"/>
                  <a:pt x="2738363" y="1085915"/>
                  <a:pt x="2707880" y="1085915"/>
                </a:cubicBezTo>
                <a:cubicBezTo>
                  <a:pt x="2677401" y="1085915"/>
                  <a:pt x="2652689" y="1061205"/>
                  <a:pt x="2652689" y="1030724"/>
                </a:cubicBezTo>
                <a:cubicBezTo>
                  <a:pt x="2652689" y="1000243"/>
                  <a:pt x="2677401" y="975533"/>
                  <a:pt x="2707880" y="975533"/>
                </a:cubicBezTo>
                <a:close/>
                <a:moveTo>
                  <a:pt x="2173347" y="975533"/>
                </a:moveTo>
                <a:cubicBezTo>
                  <a:pt x="2203830" y="975533"/>
                  <a:pt x="2228540" y="1000243"/>
                  <a:pt x="2228540" y="1030724"/>
                </a:cubicBezTo>
                <a:cubicBezTo>
                  <a:pt x="2228540" y="1061205"/>
                  <a:pt x="2203830" y="1085915"/>
                  <a:pt x="2173347" y="1085915"/>
                </a:cubicBezTo>
                <a:cubicBezTo>
                  <a:pt x="2142865" y="1085915"/>
                  <a:pt x="2118154" y="1061205"/>
                  <a:pt x="2118154" y="1030724"/>
                </a:cubicBezTo>
                <a:cubicBezTo>
                  <a:pt x="2118154" y="1000243"/>
                  <a:pt x="2142865" y="975533"/>
                  <a:pt x="2173347" y="975533"/>
                </a:cubicBezTo>
                <a:close/>
                <a:moveTo>
                  <a:pt x="1251258" y="975533"/>
                </a:moveTo>
                <a:cubicBezTo>
                  <a:pt x="1281740" y="975533"/>
                  <a:pt x="1306450" y="1000243"/>
                  <a:pt x="1306450" y="1030724"/>
                </a:cubicBezTo>
                <a:cubicBezTo>
                  <a:pt x="1306450" y="1061205"/>
                  <a:pt x="1281740" y="1085915"/>
                  <a:pt x="1251258" y="1085915"/>
                </a:cubicBezTo>
                <a:cubicBezTo>
                  <a:pt x="1220775" y="1085915"/>
                  <a:pt x="1196066" y="1061205"/>
                  <a:pt x="1196066" y="1030724"/>
                </a:cubicBezTo>
                <a:cubicBezTo>
                  <a:pt x="1196066" y="1000243"/>
                  <a:pt x="1220775" y="975533"/>
                  <a:pt x="1251258" y="975533"/>
                </a:cubicBezTo>
                <a:close/>
                <a:moveTo>
                  <a:pt x="847001" y="975533"/>
                </a:moveTo>
                <a:cubicBezTo>
                  <a:pt x="877484" y="975533"/>
                  <a:pt x="902196" y="1000243"/>
                  <a:pt x="902196" y="1030724"/>
                </a:cubicBezTo>
                <a:cubicBezTo>
                  <a:pt x="902196" y="1061205"/>
                  <a:pt x="877484" y="1085915"/>
                  <a:pt x="847001" y="1085915"/>
                </a:cubicBezTo>
                <a:cubicBezTo>
                  <a:pt x="816519" y="1085915"/>
                  <a:pt x="791804" y="1061205"/>
                  <a:pt x="791804" y="1030724"/>
                </a:cubicBezTo>
                <a:cubicBezTo>
                  <a:pt x="791804" y="1000243"/>
                  <a:pt x="816519" y="975533"/>
                  <a:pt x="847001" y="975533"/>
                </a:cubicBezTo>
                <a:close/>
                <a:moveTo>
                  <a:pt x="9336074" y="975532"/>
                </a:moveTo>
                <a:cubicBezTo>
                  <a:pt x="9366556" y="975532"/>
                  <a:pt x="9391266" y="1000242"/>
                  <a:pt x="9391266" y="1030723"/>
                </a:cubicBezTo>
                <a:cubicBezTo>
                  <a:pt x="9391266" y="1061204"/>
                  <a:pt x="9366556" y="1085914"/>
                  <a:pt x="9336074" y="1085914"/>
                </a:cubicBezTo>
                <a:cubicBezTo>
                  <a:pt x="9305592" y="1085914"/>
                  <a:pt x="9280882" y="1061204"/>
                  <a:pt x="9280882" y="1030723"/>
                </a:cubicBezTo>
                <a:cubicBezTo>
                  <a:pt x="9280882" y="1000242"/>
                  <a:pt x="9305592" y="975532"/>
                  <a:pt x="9336074" y="975532"/>
                </a:cubicBezTo>
                <a:close/>
                <a:moveTo>
                  <a:pt x="9199098" y="975532"/>
                </a:moveTo>
                <a:cubicBezTo>
                  <a:pt x="9229580" y="975532"/>
                  <a:pt x="9254290" y="1000242"/>
                  <a:pt x="9254290" y="1030723"/>
                </a:cubicBezTo>
                <a:cubicBezTo>
                  <a:pt x="9254290" y="1061204"/>
                  <a:pt x="9229580" y="1085914"/>
                  <a:pt x="9199098" y="1085914"/>
                </a:cubicBezTo>
                <a:cubicBezTo>
                  <a:pt x="9168616" y="1085914"/>
                  <a:pt x="9143906" y="1061204"/>
                  <a:pt x="9143906" y="1030723"/>
                </a:cubicBezTo>
                <a:cubicBezTo>
                  <a:pt x="9143906" y="1000242"/>
                  <a:pt x="9168616" y="975532"/>
                  <a:pt x="9199098" y="975532"/>
                </a:cubicBezTo>
                <a:close/>
                <a:moveTo>
                  <a:pt x="9068805" y="975532"/>
                </a:moveTo>
                <a:cubicBezTo>
                  <a:pt x="9099287" y="975532"/>
                  <a:pt x="9123997" y="1000242"/>
                  <a:pt x="9123997" y="1030723"/>
                </a:cubicBezTo>
                <a:cubicBezTo>
                  <a:pt x="9123997" y="1061204"/>
                  <a:pt x="9099287" y="1085914"/>
                  <a:pt x="9068805" y="1085914"/>
                </a:cubicBezTo>
                <a:cubicBezTo>
                  <a:pt x="9038323" y="1085914"/>
                  <a:pt x="9013613" y="1061204"/>
                  <a:pt x="9013613" y="1030723"/>
                </a:cubicBezTo>
                <a:cubicBezTo>
                  <a:pt x="9013613" y="1000242"/>
                  <a:pt x="9038323" y="975532"/>
                  <a:pt x="9068805" y="975532"/>
                </a:cubicBezTo>
                <a:close/>
                <a:moveTo>
                  <a:pt x="8801536" y="975532"/>
                </a:moveTo>
                <a:cubicBezTo>
                  <a:pt x="8832018" y="975532"/>
                  <a:pt x="8856728" y="1000242"/>
                  <a:pt x="8856728" y="1030723"/>
                </a:cubicBezTo>
                <a:cubicBezTo>
                  <a:pt x="8856728" y="1061204"/>
                  <a:pt x="8832018" y="1085914"/>
                  <a:pt x="8801536" y="1085914"/>
                </a:cubicBezTo>
                <a:cubicBezTo>
                  <a:pt x="8771054" y="1085914"/>
                  <a:pt x="8746344" y="1061204"/>
                  <a:pt x="8746344" y="1030723"/>
                </a:cubicBezTo>
                <a:cubicBezTo>
                  <a:pt x="8746344" y="1000242"/>
                  <a:pt x="8771054" y="975532"/>
                  <a:pt x="8801536" y="975532"/>
                </a:cubicBezTo>
                <a:close/>
                <a:moveTo>
                  <a:pt x="8671243" y="975532"/>
                </a:moveTo>
                <a:cubicBezTo>
                  <a:pt x="8701725" y="975532"/>
                  <a:pt x="8726435" y="1000242"/>
                  <a:pt x="8726435" y="1030723"/>
                </a:cubicBezTo>
                <a:cubicBezTo>
                  <a:pt x="8726435" y="1061204"/>
                  <a:pt x="8701725" y="1085914"/>
                  <a:pt x="8671243" y="1085914"/>
                </a:cubicBezTo>
                <a:cubicBezTo>
                  <a:pt x="8640761" y="1085914"/>
                  <a:pt x="8616051" y="1061204"/>
                  <a:pt x="8616051" y="1030723"/>
                </a:cubicBezTo>
                <a:cubicBezTo>
                  <a:pt x="8616051" y="1000242"/>
                  <a:pt x="8640761" y="975532"/>
                  <a:pt x="8671243" y="975532"/>
                </a:cubicBezTo>
                <a:close/>
                <a:moveTo>
                  <a:pt x="8537608" y="975532"/>
                </a:moveTo>
                <a:cubicBezTo>
                  <a:pt x="8568090" y="975532"/>
                  <a:pt x="8592800" y="1000242"/>
                  <a:pt x="8592800" y="1030723"/>
                </a:cubicBezTo>
                <a:cubicBezTo>
                  <a:pt x="8592800" y="1061204"/>
                  <a:pt x="8568090" y="1085914"/>
                  <a:pt x="8537608" y="1085914"/>
                </a:cubicBezTo>
                <a:cubicBezTo>
                  <a:pt x="8507126" y="1085914"/>
                  <a:pt x="8482416" y="1061204"/>
                  <a:pt x="8482416" y="1030723"/>
                </a:cubicBezTo>
                <a:cubicBezTo>
                  <a:pt x="8482416" y="1000242"/>
                  <a:pt x="8507126" y="975532"/>
                  <a:pt x="8537608" y="975532"/>
                </a:cubicBezTo>
                <a:close/>
                <a:moveTo>
                  <a:pt x="8273681" y="975532"/>
                </a:moveTo>
                <a:cubicBezTo>
                  <a:pt x="8304163" y="975532"/>
                  <a:pt x="8328873" y="1000242"/>
                  <a:pt x="8328873" y="1030723"/>
                </a:cubicBezTo>
                <a:cubicBezTo>
                  <a:pt x="8328873" y="1061204"/>
                  <a:pt x="8304163" y="1085914"/>
                  <a:pt x="8273681" y="1085914"/>
                </a:cubicBezTo>
                <a:cubicBezTo>
                  <a:pt x="8243199" y="1085914"/>
                  <a:pt x="8218489" y="1061204"/>
                  <a:pt x="8218489" y="1030723"/>
                </a:cubicBezTo>
                <a:cubicBezTo>
                  <a:pt x="8218489" y="1000242"/>
                  <a:pt x="8243199" y="975532"/>
                  <a:pt x="8273681" y="975532"/>
                </a:cubicBezTo>
                <a:close/>
                <a:moveTo>
                  <a:pt x="8143385" y="975532"/>
                </a:moveTo>
                <a:cubicBezTo>
                  <a:pt x="8173867" y="975532"/>
                  <a:pt x="8198577" y="1000242"/>
                  <a:pt x="8198577" y="1030723"/>
                </a:cubicBezTo>
                <a:cubicBezTo>
                  <a:pt x="8198577" y="1061204"/>
                  <a:pt x="8173867" y="1085914"/>
                  <a:pt x="8143385" y="1085914"/>
                </a:cubicBezTo>
                <a:cubicBezTo>
                  <a:pt x="8112903" y="1085914"/>
                  <a:pt x="8088193" y="1061204"/>
                  <a:pt x="8088193" y="1030723"/>
                </a:cubicBezTo>
                <a:cubicBezTo>
                  <a:pt x="8088193" y="1000242"/>
                  <a:pt x="8112903" y="975532"/>
                  <a:pt x="8143385" y="975532"/>
                </a:cubicBezTo>
                <a:close/>
                <a:moveTo>
                  <a:pt x="8009751" y="975532"/>
                </a:moveTo>
                <a:cubicBezTo>
                  <a:pt x="8040233" y="975532"/>
                  <a:pt x="8064943" y="1000242"/>
                  <a:pt x="8064943" y="1030723"/>
                </a:cubicBezTo>
                <a:cubicBezTo>
                  <a:pt x="8064943" y="1061204"/>
                  <a:pt x="8040233" y="1085914"/>
                  <a:pt x="8009751" y="1085914"/>
                </a:cubicBezTo>
                <a:cubicBezTo>
                  <a:pt x="7979269" y="1085914"/>
                  <a:pt x="7954559" y="1061204"/>
                  <a:pt x="7954559" y="1030723"/>
                </a:cubicBezTo>
                <a:cubicBezTo>
                  <a:pt x="7954559" y="1000242"/>
                  <a:pt x="7979269" y="975532"/>
                  <a:pt x="8009751" y="975532"/>
                </a:cubicBezTo>
                <a:close/>
                <a:moveTo>
                  <a:pt x="7608847" y="975532"/>
                </a:moveTo>
                <a:cubicBezTo>
                  <a:pt x="7639329" y="975532"/>
                  <a:pt x="7664039" y="1000242"/>
                  <a:pt x="7664039" y="1030723"/>
                </a:cubicBezTo>
                <a:cubicBezTo>
                  <a:pt x="7664039" y="1061204"/>
                  <a:pt x="7639329" y="1085914"/>
                  <a:pt x="7608847" y="1085914"/>
                </a:cubicBezTo>
                <a:cubicBezTo>
                  <a:pt x="7578365" y="1085914"/>
                  <a:pt x="7553655" y="1061204"/>
                  <a:pt x="7553655" y="1030723"/>
                </a:cubicBezTo>
                <a:cubicBezTo>
                  <a:pt x="7553655" y="1000242"/>
                  <a:pt x="7578365" y="975532"/>
                  <a:pt x="7608847" y="975532"/>
                </a:cubicBezTo>
                <a:close/>
                <a:moveTo>
                  <a:pt x="7080991" y="975532"/>
                </a:moveTo>
                <a:cubicBezTo>
                  <a:pt x="7111473" y="975532"/>
                  <a:pt x="7136183" y="1000242"/>
                  <a:pt x="7136183" y="1030723"/>
                </a:cubicBezTo>
                <a:cubicBezTo>
                  <a:pt x="7136183" y="1061204"/>
                  <a:pt x="7111473" y="1085914"/>
                  <a:pt x="7080991" y="1085914"/>
                </a:cubicBezTo>
                <a:cubicBezTo>
                  <a:pt x="7050509" y="1085914"/>
                  <a:pt x="7025799" y="1061204"/>
                  <a:pt x="7025799" y="1030723"/>
                </a:cubicBezTo>
                <a:cubicBezTo>
                  <a:pt x="7025799" y="1000242"/>
                  <a:pt x="7050509" y="975532"/>
                  <a:pt x="7080991" y="975532"/>
                </a:cubicBezTo>
                <a:close/>
                <a:moveTo>
                  <a:pt x="6553135" y="975532"/>
                </a:moveTo>
                <a:cubicBezTo>
                  <a:pt x="6583617" y="975532"/>
                  <a:pt x="6608327" y="1000242"/>
                  <a:pt x="6608327" y="1030723"/>
                </a:cubicBezTo>
                <a:cubicBezTo>
                  <a:pt x="6608327" y="1061204"/>
                  <a:pt x="6583617" y="1085914"/>
                  <a:pt x="6553135" y="1085914"/>
                </a:cubicBezTo>
                <a:cubicBezTo>
                  <a:pt x="6522653" y="1085914"/>
                  <a:pt x="6497943" y="1061204"/>
                  <a:pt x="6497943" y="1030723"/>
                </a:cubicBezTo>
                <a:cubicBezTo>
                  <a:pt x="6497943" y="1000242"/>
                  <a:pt x="6522653" y="975532"/>
                  <a:pt x="6553135" y="975532"/>
                </a:cubicBezTo>
                <a:close/>
                <a:moveTo>
                  <a:pt x="6419501" y="975532"/>
                </a:moveTo>
                <a:cubicBezTo>
                  <a:pt x="6449983" y="975532"/>
                  <a:pt x="6474693" y="1000242"/>
                  <a:pt x="6474693" y="1030723"/>
                </a:cubicBezTo>
                <a:cubicBezTo>
                  <a:pt x="6474693" y="1061204"/>
                  <a:pt x="6449983" y="1085914"/>
                  <a:pt x="6419501" y="1085914"/>
                </a:cubicBezTo>
                <a:cubicBezTo>
                  <a:pt x="6389019" y="1085914"/>
                  <a:pt x="6364309" y="1061204"/>
                  <a:pt x="6364309" y="1030723"/>
                </a:cubicBezTo>
                <a:cubicBezTo>
                  <a:pt x="6364309" y="1000242"/>
                  <a:pt x="6389019" y="975532"/>
                  <a:pt x="6419501" y="975532"/>
                </a:cubicBezTo>
                <a:close/>
                <a:moveTo>
                  <a:pt x="6155571" y="975532"/>
                </a:moveTo>
                <a:cubicBezTo>
                  <a:pt x="6186053" y="975532"/>
                  <a:pt x="6210763" y="1000242"/>
                  <a:pt x="6210763" y="1030723"/>
                </a:cubicBezTo>
                <a:cubicBezTo>
                  <a:pt x="6210763" y="1061204"/>
                  <a:pt x="6186053" y="1085914"/>
                  <a:pt x="6155571" y="1085914"/>
                </a:cubicBezTo>
                <a:cubicBezTo>
                  <a:pt x="6125089" y="1085914"/>
                  <a:pt x="6100379" y="1061204"/>
                  <a:pt x="6100379" y="1030723"/>
                </a:cubicBezTo>
                <a:cubicBezTo>
                  <a:pt x="6100379" y="1000242"/>
                  <a:pt x="6125089" y="975532"/>
                  <a:pt x="6155571" y="975532"/>
                </a:cubicBezTo>
                <a:close/>
                <a:moveTo>
                  <a:pt x="6021936" y="975532"/>
                </a:moveTo>
                <a:cubicBezTo>
                  <a:pt x="6052418" y="975532"/>
                  <a:pt x="6077128" y="1000242"/>
                  <a:pt x="6077128" y="1030723"/>
                </a:cubicBezTo>
                <a:cubicBezTo>
                  <a:pt x="6077128" y="1061204"/>
                  <a:pt x="6052418" y="1085914"/>
                  <a:pt x="6021936" y="1085914"/>
                </a:cubicBezTo>
                <a:cubicBezTo>
                  <a:pt x="5991454" y="1085914"/>
                  <a:pt x="5966744" y="1061204"/>
                  <a:pt x="5966744" y="1030723"/>
                </a:cubicBezTo>
                <a:cubicBezTo>
                  <a:pt x="5966744" y="1000242"/>
                  <a:pt x="5991454" y="975532"/>
                  <a:pt x="6021936" y="975532"/>
                </a:cubicBezTo>
                <a:close/>
                <a:moveTo>
                  <a:pt x="5884963" y="975532"/>
                </a:moveTo>
                <a:cubicBezTo>
                  <a:pt x="5915445" y="975532"/>
                  <a:pt x="5940155" y="1000242"/>
                  <a:pt x="5940155" y="1030723"/>
                </a:cubicBezTo>
                <a:cubicBezTo>
                  <a:pt x="5940155" y="1061204"/>
                  <a:pt x="5915445" y="1085914"/>
                  <a:pt x="5884963" y="1085914"/>
                </a:cubicBezTo>
                <a:cubicBezTo>
                  <a:pt x="5854481" y="1085914"/>
                  <a:pt x="5829771" y="1061204"/>
                  <a:pt x="5829771" y="1030723"/>
                </a:cubicBezTo>
                <a:cubicBezTo>
                  <a:pt x="5829771" y="1000242"/>
                  <a:pt x="5854481" y="975532"/>
                  <a:pt x="5884963" y="975532"/>
                </a:cubicBezTo>
                <a:close/>
                <a:moveTo>
                  <a:pt x="5621031" y="975532"/>
                </a:moveTo>
                <a:cubicBezTo>
                  <a:pt x="5651513" y="975532"/>
                  <a:pt x="5676223" y="1000242"/>
                  <a:pt x="5676223" y="1030723"/>
                </a:cubicBezTo>
                <a:cubicBezTo>
                  <a:pt x="5676223" y="1061204"/>
                  <a:pt x="5651513" y="1085914"/>
                  <a:pt x="5621031" y="1085914"/>
                </a:cubicBezTo>
                <a:cubicBezTo>
                  <a:pt x="5590549" y="1085914"/>
                  <a:pt x="5565839" y="1061204"/>
                  <a:pt x="5565839" y="1030723"/>
                </a:cubicBezTo>
                <a:cubicBezTo>
                  <a:pt x="5565839" y="1000242"/>
                  <a:pt x="5590549" y="975532"/>
                  <a:pt x="5621031" y="975532"/>
                </a:cubicBezTo>
                <a:close/>
                <a:moveTo>
                  <a:pt x="5223472" y="975532"/>
                </a:moveTo>
                <a:cubicBezTo>
                  <a:pt x="5253954" y="975532"/>
                  <a:pt x="5278664" y="1000242"/>
                  <a:pt x="5278664" y="1030723"/>
                </a:cubicBezTo>
                <a:cubicBezTo>
                  <a:pt x="5278664" y="1061204"/>
                  <a:pt x="5253954" y="1085914"/>
                  <a:pt x="5223472" y="1085914"/>
                </a:cubicBezTo>
                <a:cubicBezTo>
                  <a:pt x="5192990" y="1085914"/>
                  <a:pt x="5168280" y="1061204"/>
                  <a:pt x="5168280" y="1030723"/>
                </a:cubicBezTo>
                <a:cubicBezTo>
                  <a:pt x="5168280" y="1000242"/>
                  <a:pt x="5192990" y="975532"/>
                  <a:pt x="5223472" y="975532"/>
                </a:cubicBezTo>
                <a:close/>
                <a:moveTo>
                  <a:pt x="4294710" y="975532"/>
                </a:moveTo>
                <a:cubicBezTo>
                  <a:pt x="4325192" y="975532"/>
                  <a:pt x="4349902" y="1000242"/>
                  <a:pt x="4349902" y="1030723"/>
                </a:cubicBezTo>
                <a:cubicBezTo>
                  <a:pt x="4349902" y="1061204"/>
                  <a:pt x="4325192" y="1085914"/>
                  <a:pt x="4294710" y="1085914"/>
                </a:cubicBezTo>
                <a:cubicBezTo>
                  <a:pt x="4264228" y="1085914"/>
                  <a:pt x="4239518" y="1061204"/>
                  <a:pt x="4239518" y="1030723"/>
                </a:cubicBezTo>
                <a:cubicBezTo>
                  <a:pt x="4239518" y="1000242"/>
                  <a:pt x="4264228" y="975532"/>
                  <a:pt x="4294710" y="975532"/>
                </a:cubicBezTo>
                <a:close/>
                <a:moveTo>
                  <a:pt x="3499584" y="975532"/>
                </a:moveTo>
                <a:cubicBezTo>
                  <a:pt x="3530066" y="975532"/>
                  <a:pt x="3554776" y="1000242"/>
                  <a:pt x="3554776" y="1030723"/>
                </a:cubicBezTo>
                <a:cubicBezTo>
                  <a:pt x="3554776" y="1061204"/>
                  <a:pt x="3530066" y="1085914"/>
                  <a:pt x="3499584" y="1085914"/>
                </a:cubicBezTo>
                <a:cubicBezTo>
                  <a:pt x="3469102" y="1085914"/>
                  <a:pt x="3444392" y="1061204"/>
                  <a:pt x="3444392" y="1030723"/>
                </a:cubicBezTo>
                <a:cubicBezTo>
                  <a:pt x="3444392" y="1000242"/>
                  <a:pt x="3469102" y="975532"/>
                  <a:pt x="3499584" y="975532"/>
                </a:cubicBezTo>
                <a:close/>
                <a:moveTo>
                  <a:pt x="2834836" y="975532"/>
                </a:moveTo>
                <a:cubicBezTo>
                  <a:pt x="2865318" y="975532"/>
                  <a:pt x="2890028" y="1000242"/>
                  <a:pt x="2890028" y="1030723"/>
                </a:cubicBezTo>
                <a:cubicBezTo>
                  <a:pt x="2890028" y="1061204"/>
                  <a:pt x="2865318" y="1085914"/>
                  <a:pt x="2834836" y="1085914"/>
                </a:cubicBezTo>
                <a:cubicBezTo>
                  <a:pt x="2804354" y="1085914"/>
                  <a:pt x="2779643" y="1061204"/>
                  <a:pt x="2779643" y="1030723"/>
                </a:cubicBezTo>
                <a:cubicBezTo>
                  <a:pt x="2779643" y="1000242"/>
                  <a:pt x="2804354" y="975532"/>
                  <a:pt x="2834836" y="975532"/>
                </a:cubicBezTo>
                <a:close/>
                <a:moveTo>
                  <a:pt x="2303639" y="975532"/>
                </a:moveTo>
                <a:cubicBezTo>
                  <a:pt x="2334120" y="975532"/>
                  <a:pt x="2358830" y="1000242"/>
                  <a:pt x="2358830" y="1030723"/>
                </a:cubicBezTo>
                <a:cubicBezTo>
                  <a:pt x="2358830" y="1061204"/>
                  <a:pt x="2334120" y="1085914"/>
                  <a:pt x="2303639" y="1085914"/>
                </a:cubicBezTo>
                <a:cubicBezTo>
                  <a:pt x="2273157" y="1085914"/>
                  <a:pt x="2248448" y="1061204"/>
                  <a:pt x="2248448" y="1030723"/>
                </a:cubicBezTo>
                <a:cubicBezTo>
                  <a:pt x="2248448" y="1000242"/>
                  <a:pt x="2273157" y="975532"/>
                  <a:pt x="2303639" y="975532"/>
                </a:cubicBezTo>
                <a:close/>
                <a:moveTo>
                  <a:pt x="2039712" y="975532"/>
                </a:moveTo>
                <a:cubicBezTo>
                  <a:pt x="2070195" y="975532"/>
                  <a:pt x="2094905" y="1000242"/>
                  <a:pt x="2094905" y="1030723"/>
                </a:cubicBezTo>
                <a:cubicBezTo>
                  <a:pt x="2094905" y="1061204"/>
                  <a:pt x="2070195" y="1085914"/>
                  <a:pt x="2039712" y="1085914"/>
                </a:cubicBezTo>
                <a:cubicBezTo>
                  <a:pt x="2009228" y="1085914"/>
                  <a:pt x="1984518" y="1061204"/>
                  <a:pt x="1984518" y="1030723"/>
                </a:cubicBezTo>
                <a:cubicBezTo>
                  <a:pt x="1984518" y="1000242"/>
                  <a:pt x="2009228" y="975532"/>
                  <a:pt x="2039712" y="975532"/>
                </a:cubicBezTo>
                <a:close/>
                <a:moveTo>
                  <a:pt x="1909414" y="975532"/>
                </a:moveTo>
                <a:cubicBezTo>
                  <a:pt x="1939897" y="975532"/>
                  <a:pt x="1964607" y="1000242"/>
                  <a:pt x="1964607" y="1030723"/>
                </a:cubicBezTo>
                <a:cubicBezTo>
                  <a:pt x="1964607" y="1061204"/>
                  <a:pt x="1939897" y="1085914"/>
                  <a:pt x="1909414" y="1085914"/>
                </a:cubicBezTo>
                <a:cubicBezTo>
                  <a:pt x="1878931" y="1085914"/>
                  <a:pt x="1854220" y="1061204"/>
                  <a:pt x="1854220" y="1030723"/>
                </a:cubicBezTo>
                <a:cubicBezTo>
                  <a:pt x="1854220" y="1000242"/>
                  <a:pt x="1878931" y="975532"/>
                  <a:pt x="1909414" y="975532"/>
                </a:cubicBezTo>
                <a:close/>
                <a:moveTo>
                  <a:pt x="1779117" y="975532"/>
                </a:moveTo>
                <a:cubicBezTo>
                  <a:pt x="1809599" y="975532"/>
                  <a:pt x="1834310" y="1000242"/>
                  <a:pt x="1834310" y="1030723"/>
                </a:cubicBezTo>
                <a:cubicBezTo>
                  <a:pt x="1834310" y="1061204"/>
                  <a:pt x="1809599" y="1085914"/>
                  <a:pt x="1779117" y="1085914"/>
                </a:cubicBezTo>
                <a:cubicBezTo>
                  <a:pt x="1748635" y="1085914"/>
                  <a:pt x="1723923" y="1061204"/>
                  <a:pt x="1723923" y="1030723"/>
                </a:cubicBezTo>
                <a:cubicBezTo>
                  <a:pt x="1723923" y="1000242"/>
                  <a:pt x="1748635" y="975532"/>
                  <a:pt x="1779117" y="975532"/>
                </a:cubicBezTo>
                <a:close/>
                <a:moveTo>
                  <a:pt x="1645480" y="975532"/>
                </a:moveTo>
                <a:cubicBezTo>
                  <a:pt x="1675963" y="975532"/>
                  <a:pt x="1700679" y="1000242"/>
                  <a:pt x="1700679" y="1030723"/>
                </a:cubicBezTo>
                <a:cubicBezTo>
                  <a:pt x="1700679" y="1061204"/>
                  <a:pt x="1675963" y="1085914"/>
                  <a:pt x="1645480" y="1085914"/>
                </a:cubicBezTo>
                <a:cubicBezTo>
                  <a:pt x="1615000" y="1085914"/>
                  <a:pt x="1590287" y="1061204"/>
                  <a:pt x="1590287" y="1030723"/>
                </a:cubicBezTo>
                <a:cubicBezTo>
                  <a:pt x="1590287" y="1000242"/>
                  <a:pt x="1615000" y="975532"/>
                  <a:pt x="1645480" y="975532"/>
                </a:cubicBezTo>
                <a:close/>
                <a:moveTo>
                  <a:pt x="1515189" y="975532"/>
                </a:moveTo>
                <a:cubicBezTo>
                  <a:pt x="1545668" y="975532"/>
                  <a:pt x="1570378" y="1000242"/>
                  <a:pt x="1570378" y="1030723"/>
                </a:cubicBezTo>
                <a:cubicBezTo>
                  <a:pt x="1570378" y="1061204"/>
                  <a:pt x="1545668" y="1085914"/>
                  <a:pt x="1515189" y="1085914"/>
                </a:cubicBezTo>
                <a:cubicBezTo>
                  <a:pt x="1484708" y="1085914"/>
                  <a:pt x="1459995" y="1061204"/>
                  <a:pt x="1459995" y="1030723"/>
                </a:cubicBezTo>
                <a:cubicBezTo>
                  <a:pt x="1459995" y="1000242"/>
                  <a:pt x="1484708" y="975532"/>
                  <a:pt x="1515189" y="975532"/>
                </a:cubicBezTo>
                <a:close/>
                <a:moveTo>
                  <a:pt x="1381549" y="975532"/>
                </a:moveTo>
                <a:cubicBezTo>
                  <a:pt x="1412033" y="975532"/>
                  <a:pt x="1436744" y="1000242"/>
                  <a:pt x="1436744" y="1030723"/>
                </a:cubicBezTo>
                <a:cubicBezTo>
                  <a:pt x="1436744" y="1061204"/>
                  <a:pt x="1412033" y="1085914"/>
                  <a:pt x="1381549" y="1085914"/>
                </a:cubicBezTo>
                <a:cubicBezTo>
                  <a:pt x="1351074" y="1085914"/>
                  <a:pt x="1326361" y="1061204"/>
                  <a:pt x="1326361" y="1030723"/>
                </a:cubicBezTo>
                <a:cubicBezTo>
                  <a:pt x="1326361" y="1000242"/>
                  <a:pt x="1351074" y="975532"/>
                  <a:pt x="1381549" y="975532"/>
                </a:cubicBezTo>
                <a:close/>
                <a:moveTo>
                  <a:pt x="1117621" y="975532"/>
                </a:moveTo>
                <a:cubicBezTo>
                  <a:pt x="1148103" y="975532"/>
                  <a:pt x="1172814" y="1000242"/>
                  <a:pt x="1172814" y="1030723"/>
                </a:cubicBezTo>
                <a:cubicBezTo>
                  <a:pt x="1172814" y="1061204"/>
                  <a:pt x="1148103" y="1085914"/>
                  <a:pt x="1117621" y="1085914"/>
                </a:cubicBezTo>
                <a:cubicBezTo>
                  <a:pt x="1087137" y="1085914"/>
                  <a:pt x="1062427" y="1061204"/>
                  <a:pt x="1062427" y="1030723"/>
                </a:cubicBezTo>
                <a:cubicBezTo>
                  <a:pt x="1062427" y="1000242"/>
                  <a:pt x="1087137" y="975532"/>
                  <a:pt x="1117621" y="975532"/>
                </a:cubicBezTo>
                <a:close/>
                <a:moveTo>
                  <a:pt x="980643" y="975532"/>
                </a:moveTo>
                <a:cubicBezTo>
                  <a:pt x="1011125" y="975532"/>
                  <a:pt x="1035836" y="1000242"/>
                  <a:pt x="1035836" y="1030723"/>
                </a:cubicBezTo>
                <a:cubicBezTo>
                  <a:pt x="1035836" y="1061204"/>
                  <a:pt x="1011125" y="1085914"/>
                  <a:pt x="980643" y="1085914"/>
                </a:cubicBezTo>
                <a:cubicBezTo>
                  <a:pt x="950159" y="1085914"/>
                  <a:pt x="925449" y="1061204"/>
                  <a:pt x="925449" y="1030723"/>
                </a:cubicBezTo>
                <a:cubicBezTo>
                  <a:pt x="925449" y="1000242"/>
                  <a:pt x="950159" y="975532"/>
                  <a:pt x="980643" y="975532"/>
                </a:cubicBezTo>
                <a:close/>
                <a:moveTo>
                  <a:pt x="716703" y="975532"/>
                </a:moveTo>
                <a:cubicBezTo>
                  <a:pt x="747185" y="975532"/>
                  <a:pt x="771897" y="1000242"/>
                  <a:pt x="771897" y="1030723"/>
                </a:cubicBezTo>
                <a:cubicBezTo>
                  <a:pt x="771897" y="1061204"/>
                  <a:pt x="747185" y="1085914"/>
                  <a:pt x="716703" y="1085914"/>
                </a:cubicBezTo>
                <a:cubicBezTo>
                  <a:pt x="686222" y="1085914"/>
                  <a:pt x="661511" y="1061204"/>
                  <a:pt x="661511" y="1030723"/>
                </a:cubicBezTo>
                <a:cubicBezTo>
                  <a:pt x="661511" y="1000242"/>
                  <a:pt x="686222" y="975532"/>
                  <a:pt x="716703" y="975532"/>
                </a:cubicBezTo>
                <a:close/>
                <a:moveTo>
                  <a:pt x="583065" y="975532"/>
                </a:moveTo>
                <a:cubicBezTo>
                  <a:pt x="613549" y="975532"/>
                  <a:pt x="638258" y="1000242"/>
                  <a:pt x="638258" y="1030723"/>
                </a:cubicBezTo>
                <a:cubicBezTo>
                  <a:pt x="638258" y="1061204"/>
                  <a:pt x="613549" y="1085914"/>
                  <a:pt x="583065" y="1085914"/>
                </a:cubicBezTo>
                <a:cubicBezTo>
                  <a:pt x="552583" y="1085914"/>
                  <a:pt x="527871" y="1061204"/>
                  <a:pt x="527871" y="1030723"/>
                </a:cubicBezTo>
                <a:cubicBezTo>
                  <a:pt x="527871" y="1000242"/>
                  <a:pt x="552583" y="975532"/>
                  <a:pt x="583065" y="975532"/>
                </a:cubicBezTo>
                <a:close/>
                <a:moveTo>
                  <a:pt x="449419" y="975532"/>
                </a:moveTo>
                <a:cubicBezTo>
                  <a:pt x="479902" y="975532"/>
                  <a:pt x="504612" y="1000242"/>
                  <a:pt x="504612" y="1030723"/>
                </a:cubicBezTo>
                <a:cubicBezTo>
                  <a:pt x="504612" y="1061204"/>
                  <a:pt x="479902" y="1085914"/>
                  <a:pt x="449419" y="1085914"/>
                </a:cubicBezTo>
                <a:cubicBezTo>
                  <a:pt x="418936" y="1085914"/>
                  <a:pt x="394227" y="1061204"/>
                  <a:pt x="394227" y="1030723"/>
                </a:cubicBezTo>
                <a:cubicBezTo>
                  <a:pt x="394227" y="1000242"/>
                  <a:pt x="418936" y="975532"/>
                  <a:pt x="449419" y="975532"/>
                </a:cubicBezTo>
                <a:close/>
                <a:moveTo>
                  <a:pt x="319124" y="975532"/>
                </a:moveTo>
                <a:cubicBezTo>
                  <a:pt x="349606" y="975532"/>
                  <a:pt x="374317" y="1000242"/>
                  <a:pt x="374317" y="1030723"/>
                </a:cubicBezTo>
                <a:cubicBezTo>
                  <a:pt x="374317" y="1061204"/>
                  <a:pt x="349606" y="1085914"/>
                  <a:pt x="319124" y="1085914"/>
                </a:cubicBezTo>
                <a:cubicBezTo>
                  <a:pt x="288640" y="1085914"/>
                  <a:pt x="263931" y="1061204"/>
                  <a:pt x="263931" y="1030723"/>
                </a:cubicBezTo>
                <a:cubicBezTo>
                  <a:pt x="263931" y="1000242"/>
                  <a:pt x="288640" y="975532"/>
                  <a:pt x="319124" y="975532"/>
                </a:cubicBezTo>
                <a:close/>
                <a:moveTo>
                  <a:pt x="185492" y="975532"/>
                </a:moveTo>
                <a:cubicBezTo>
                  <a:pt x="215972" y="975532"/>
                  <a:pt x="240682" y="1000242"/>
                  <a:pt x="240682" y="1030723"/>
                </a:cubicBezTo>
                <a:cubicBezTo>
                  <a:pt x="240682" y="1061204"/>
                  <a:pt x="215972" y="1085914"/>
                  <a:pt x="185492" y="1085914"/>
                </a:cubicBezTo>
                <a:cubicBezTo>
                  <a:pt x="155010" y="1085914"/>
                  <a:pt x="130299" y="1061204"/>
                  <a:pt x="130299" y="1030723"/>
                </a:cubicBezTo>
                <a:cubicBezTo>
                  <a:pt x="130299" y="1000242"/>
                  <a:pt x="155010" y="975532"/>
                  <a:pt x="185492" y="975532"/>
                </a:cubicBezTo>
                <a:close/>
                <a:moveTo>
                  <a:pt x="55197" y="975532"/>
                </a:moveTo>
                <a:cubicBezTo>
                  <a:pt x="85679" y="975532"/>
                  <a:pt x="110388" y="1000242"/>
                  <a:pt x="110388" y="1030723"/>
                </a:cubicBezTo>
                <a:cubicBezTo>
                  <a:pt x="110388" y="1061204"/>
                  <a:pt x="85679" y="1085914"/>
                  <a:pt x="55197" y="1085914"/>
                </a:cubicBezTo>
                <a:cubicBezTo>
                  <a:pt x="24715" y="1085914"/>
                  <a:pt x="7" y="1061204"/>
                  <a:pt x="7" y="1030723"/>
                </a:cubicBezTo>
                <a:cubicBezTo>
                  <a:pt x="7" y="1000242"/>
                  <a:pt x="24715" y="975532"/>
                  <a:pt x="55197" y="975532"/>
                </a:cubicBezTo>
                <a:close/>
                <a:moveTo>
                  <a:pt x="9469710" y="855263"/>
                </a:moveTo>
                <a:cubicBezTo>
                  <a:pt x="9500192" y="855263"/>
                  <a:pt x="9524902" y="879973"/>
                  <a:pt x="9524902" y="910454"/>
                </a:cubicBezTo>
                <a:cubicBezTo>
                  <a:pt x="9524902" y="940935"/>
                  <a:pt x="9500192" y="965645"/>
                  <a:pt x="9469710" y="965645"/>
                </a:cubicBezTo>
                <a:cubicBezTo>
                  <a:pt x="9439228" y="965645"/>
                  <a:pt x="9414518" y="940935"/>
                  <a:pt x="9414518" y="910454"/>
                </a:cubicBezTo>
                <a:cubicBezTo>
                  <a:pt x="9414518" y="879973"/>
                  <a:pt x="9439228" y="855263"/>
                  <a:pt x="9469710" y="855263"/>
                </a:cubicBezTo>
                <a:close/>
                <a:moveTo>
                  <a:pt x="9336075" y="855263"/>
                </a:moveTo>
                <a:cubicBezTo>
                  <a:pt x="9366557" y="855263"/>
                  <a:pt x="9391267" y="879973"/>
                  <a:pt x="9391267" y="910454"/>
                </a:cubicBezTo>
                <a:cubicBezTo>
                  <a:pt x="9391267" y="940935"/>
                  <a:pt x="9366557" y="965645"/>
                  <a:pt x="9336075" y="965645"/>
                </a:cubicBezTo>
                <a:cubicBezTo>
                  <a:pt x="9305593" y="965645"/>
                  <a:pt x="9280883" y="940935"/>
                  <a:pt x="9280883" y="910454"/>
                </a:cubicBezTo>
                <a:cubicBezTo>
                  <a:pt x="9280883" y="879973"/>
                  <a:pt x="9305593" y="855263"/>
                  <a:pt x="9336075" y="855263"/>
                </a:cubicBezTo>
                <a:close/>
                <a:moveTo>
                  <a:pt x="9199100" y="855263"/>
                </a:moveTo>
                <a:cubicBezTo>
                  <a:pt x="9229582" y="855263"/>
                  <a:pt x="9254292" y="879973"/>
                  <a:pt x="9254292" y="910454"/>
                </a:cubicBezTo>
                <a:cubicBezTo>
                  <a:pt x="9254292" y="940935"/>
                  <a:pt x="9229582" y="965645"/>
                  <a:pt x="9199100" y="965645"/>
                </a:cubicBezTo>
                <a:cubicBezTo>
                  <a:pt x="9168618" y="965645"/>
                  <a:pt x="9143908" y="940935"/>
                  <a:pt x="9143908" y="910454"/>
                </a:cubicBezTo>
                <a:cubicBezTo>
                  <a:pt x="9143908" y="879973"/>
                  <a:pt x="9168618" y="855263"/>
                  <a:pt x="9199100" y="855263"/>
                </a:cubicBezTo>
                <a:close/>
                <a:moveTo>
                  <a:pt x="9068806" y="855263"/>
                </a:moveTo>
                <a:cubicBezTo>
                  <a:pt x="9099288" y="855263"/>
                  <a:pt x="9123998" y="879973"/>
                  <a:pt x="9123998" y="910454"/>
                </a:cubicBezTo>
                <a:cubicBezTo>
                  <a:pt x="9123998" y="940935"/>
                  <a:pt x="9099288" y="965645"/>
                  <a:pt x="9068806" y="965645"/>
                </a:cubicBezTo>
                <a:cubicBezTo>
                  <a:pt x="9038324" y="965645"/>
                  <a:pt x="9013614" y="940935"/>
                  <a:pt x="9013614" y="910454"/>
                </a:cubicBezTo>
                <a:cubicBezTo>
                  <a:pt x="9013614" y="879973"/>
                  <a:pt x="9038324" y="855263"/>
                  <a:pt x="9068806" y="855263"/>
                </a:cubicBezTo>
                <a:close/>
                <a:moveTo>
                  <a:pt x="8935170" y="855263"/>
                </a:moveTo>
                <a:cubicBezTo>
                  <a:pt x="8965652" y="855263"/>
                  <a:pt x="8990362" y="879973"/>
                  <a:pt x="8990362" y="910454"/>
                </a:cubicBezTo>
                <a:cubicBezTo>
                  <a:pt x="8990362" y="940935"/>
                  <a:pt x="8965652" y="965645"/>
                  <a:pt x="8935170" y="965645"/>
                </a:cubicBezTo>
                <a:cubicBezTo>
                  <a:pt x="8904688" y="965645"/>
                  <a:pt x="8879978" y="940935"/>
                  <a:pt x="8879978" y="910454"/>
                </a:cubicBezTo>
                <a:cubicBezTo>
                  <a:pt x="8879978" y="879973"/>
                  <a:pt x="8904688" y="855263"/>
                  <a:pt x="8935170" y="855263"/>
                </a:cubicBezTo>
                <a:close/>
                <a:moveTo>
                  <a:pt x="8801536" y="855263"/>
                </a:moveTo>
                <a:cubicBezTo>
                  <a:pt x="8832018" y="855263"/>
                  <a:pt x="8856728" y="879973"/>
                  <a:pt x="8856728" y="910454"/>
                </a:cubicBezTo>
                <a:cubicBezTo>
                  <a:pt x="8856728" y="940935"/>
                  <a:pt x="8832018" y="965645"/>
                  <a:pt x="8801536" y="965645"/>
                </a:cubicBezTo>
                <a:cubicBezTo>
                  <a:pt x="8771054" y="965645"/>
                  <a:pt x="8746344" y="940935"/>
                  <a:pt x="8746344" y="910454"/>
                </a:cubicBezTo>
                <a:cubicBezTo>
                  <a:pt x="8746344" y="879973"/>
                  <a:pt x="8771054" y="855263"/>
                  <a:pt x="8801536" y="855263"/>
                </a:cubicBezTo>
                <a:close/>
                <a:moveTo>
                  <a:pt x="8671243" y="855263"/>
                </a:moveTo>
                <a:cubicBezTo>
                  <a:pt x="8701725" y="855263"/>
                  <a:pt x="8726435" y="879973"/>
                  <a:pt x="8726435" y="910454"/>
                </a:cubicBezTo>
                <a:cubicBezTo>
                  <a:pt x="8726435" y="940935"/>
                  <a:pt x="8701725" y="965645"/>
                  <a:pt x="8671243" y="965645"/>
                </a:cubicBezTo>
                <a:cubicBezTo>
                  <a:pt x="8640761" y="965645"/>
                  <a:pt x="8616051" y="940935"/>
                  <a:pt x="8616051" y="910454"/>
                </a:cubicBezTo>
                <a:cubicBezTo>
                  <a:pt x="8616051" y="879973"/>
                  <a:pt x="8640761" y="855263"/>
                  <a:pt x="8671243" y="855263"/>
                </a:cubicBezTo>
                <a:close/>
                <a:moveTo>
                  <a:pt x="8537609" y="855263"/>
                </a:moveTo>
                <a:cubicBezTo>
                  <a:pt x="8568091" y="855263"/>
                  <a:pt x="8592801" y="879973"/>
                  <a:pt x="8592801" y="910454"/>
                </a:cubicBezTo>
                <a:cubicBezTo>
                  <a:pt x="8592801" y="940935"/>
                  <a:pt x="8568091" y="965645"/>
                  <a:pt x="8537609" y="965645"/>
                </a:cubicBezTo>
                <a:cubicBezTo>
                  <a:pt x="8507127" y="965645"/>
                  <a:pt x="8482417" y="940935"/>
                  <a:pt x="8482417" y="910454"/>
                </a:cubicBezTo>
                <a:cubicBezTo>
                  <a:pt x="8482417" y="879973"/>
                  <a:pt x="8507127" y="855263"/>
                  <a:pt x="8537609" y="855263"/>
                </a:cubicBezTo>
                <a:close/>
                <a:moveTo>
                  <a:pt x="8407315" y="855263"/>
                </a:moveTo>
                <a:cubicBezTo>
                  <a:pt x="8437797" y="855263"/>
                  <a:pt x="8462507" y="879973"/>
                  <a:pt x="8462507" y="910454"/>
                </a:cubicBezTo>
                <a:cubicBezTo>
                  <a:pt x="8462507" y="940935"/>
                  <a:pt x="8437797" y="965645"/>
                  <a:pt x="8407315" y="965645"/>
                </a:cubicBezTo>
                <a:cubicBezTo>
                  <a:pt x="8376833" y="965645"/>
                  <a:pt x="8352123" y="940935"/>
                  <a:pt x="8352123" y="910454"/>
                </a:cubicBezTo>
                <a:cubicBezTo>
                  <a:pt x="8352123" y="879973"/>
                  <a:pt x="8376833" y="855263"/>
                  <a:pt x="8407315" y="855263"/>
                </a:cubicBezTo>
                <a:close/>
                <a:moveTo>
                  <a:pt x="8273681" y="855263"/>
                </a:moveTo>
                <a:cubicBezTo>
                  <a:pt x="8304163" y="855263"/>
                  <a:pt x="8328873" y="879973"/>
                  <a:pt x="8328873" y="910454"/>
                </a:cubicBezTo>
                <a:cubicBezTo>
                  <a:pt x="8328873" y="940935"/>
                  <a:pt x="8304163" y="965645"/>
                  <a:pt x="8273681" y="965645"/>
                </a:cubicBezTo>
                <a:cubicBezTo>
                  <a:pt x="8243199" y="965645"/>
                  <a:pt x="8218489" y="940935"/>
                  <a:pt x="8218489" y="910454"/>
                </a:cubicBezTo>
                <a:cubicBezTo>
                  <a:pt x="8218489" y="879973"/>
                  <a:pt x="8243199" y="855263"/>
                  <a:pt x="8273681" y="855263"/>
                </a:cubicBezTo>
                <a:close/>
                <a:moveTo>
                  <a:pt x="8143386" y="855263"/>
                </a:moveTo>
                <a:cubicBezTo>
                  <a:pt x="8173868" y="855263"/>
                  <a:pt x="8198578" y="879973"/>
                  <a:pt x="8198578" y="910454"/>
                </a:cubicBezTo>
                <a:cubicBezTo>
                  <a:pt x="8198578" y="940935"/>
                  <a:pt x="8173868" y="965645"/>
                  <a:pt x="8143386" y="965645"/>
                </a:cubicBezTo>
                <a:cubicBezTo>
                  <a:pt x="8112904" y="965645"/>
                  <a:pt x="8088194" y="940935"/>
                  <a:pt x="8088194" y="910454"/>
                </a:cubicBezTo>
                <a:cubicBezTo>
                  <a:pt x="8088194" y="879973"/>
                  <a:pt x="8112904" y="855263"/>
                  <a:pt x="8143386" y="855263"/>
                </a:cubicBezTo>
                <a:close/>
                <a:moveTo>
                  <a:pt x="8009752" y="855263"/>
                </a:moveTo>
                <a:cubicBezTo>
                  <a:pt x="8040234" y="855263"/>
                  <a:pt x="8064944" y="879973"/>
                  <a:pt x="8064944" y="910454"/>
                </a:cubicBezTo>
                <a:cubicBezTo>
                  <a:pt x="8064944" y="940935"/>
                  <a:pt x="8040234" y="965645"/>
                  <a:pt x="8009752" y="965645"/>
                </a:cubicBezTo>
                <a:cubicBezTo>
                  <a:pt x="7979270" y="965645"/>
                  <a:pt x="7954560" y="940935"/>
                  <a:pt x="7954560" y="910454"/>
                </a:cubicBezTo>
                <a:cubicBezTo>
                  <a:pt x="7954560" y="879973"/>
                  <a:pt x="7979270" y="855263"/>
                  <a:pt x="8009752" y="855263"/>
                </a:cubicBezTo>
                <a:close/>
                <a:moveTo>
                  <a:pt x="7876117" y="855263"/>
                </a:moveTo>
                <a:cubicBezTo>
                  <a:pt x="7906599" y="855263"/>
                  <a:pt x="7931309" y="879973"/>
                  <a:pt x="7931309" y="910454"/>
                </a:cubicBezTo>
                <a:cubicBezTo>
                  <a:pt x="7931309" y="940935"/>
                  <a:pt x="7906599" y="965645"/>
                  <a:pt x="7876117" y="965645"/>
                </a:cubicBezTo>
                <a:cubicBezTo>
                  <a:pt x="7845635" y="965645"/>
                  <a:pt x="7820925" y="940935"/>
                  <a:pt x="7820925" y="910454"/>
                </a:cubicBezTo>
                <a:cubicBezTo>
                  <a:pt x="7820925" y="879973"/>
                  <a:pt x="7845635" y="855263"/>
                  <a:pt x="7876117" y="855263"/>
                </a:cubicBezTo>
                <a:close/>
                <a:moveTo>
                  <a:pt x="7745822" y="855263"/>
                </a:moveTo>
                <a:cubicBezTo>
                  <a:pt x="7776304" y="855263"/>
                  <a:pt x="7801014" y="879973"/>
                  <a:pt x="7801014" y="910454"/>
                </a:cubicBezTo>
                <a:cubicBezTo>
                  <a:pt x="7801014" y="940935"/>
                  <a:pt x="7776304" y="965645"/>
                  <a:pt x="7745822" y="965645"/>
                </a:cubicBezTo>
                <a:cubicBezTo>
                  <a:pt x="7715340" y="965645"/>
                  <a:pt x="7690630" y="940935"/>
                  <a:pt x="7690630" y="910454"/>
                </a:cubicBezTo>
                <a:cubicBezTo>
                  <a:pt x="7690630" y="879973"/>
                  <a:pt x="7715340" y="855263"/>
                  <a:pt x="7745822" y="855263"/>
                </a:cubicBezTo>
                <a:close/>
                <a:moveTo>
                  <a:pt x="7608849" y="855263"/>
                </a:moveTo>
                <a:cubicBezTo>
                  <a:pt x="7639331" y="855263"/>
                  <a:pt x="7664041" y="879973"/>
                  <a:pt x="7664041" y="910454"/>
                </a:cubicBezTo>
                <a:cubicBezTo>
                  <a:pt x="7664041" y="940935"/>
                  <a:pt x="7639331" y="965645"/>
                  <a:pt x="7608849" y="965645"/>
                </a:cubicBezTo>
                <a:cubicBezTo>
                  <a:pt x="7578367" y="965645"/>
                  <a:pt x="7553657" y="940935"/>
                  <a:pt x="7553657" y="910454"/>
                </a:cubicBezTo>
                <a:cubicBezTo>
                  <a:pt x="7553657" y="879973"/>
                  <a:pt x="7578367" y="855263"/>
                  <a:pt x="7608849" y="855263"/>
                </a:cubicBezTo>
                <a:close/>
                <a:moveTo>
                  <a:pt x="7481895" y="855263"/>
                </a:moveTo>
                <a:cubicBezTo>
                  <a:pt x="7512377" y="855263"/>
                  <a:pt x="7537087" y="879973"/>
                  <a:pt x="7537087" y="910454"/>
                </a:cubicBezTo>
                <a:cubicBezTo>
                  <a:pt x="7537087" y="940935"/>
                  <a:pt x="7512377" y="965645"/>
                  <a:pt x="7481895" y="965645"/>
                </a:cubicBezTo>
                <a:cubicBezTo>
                  <a:pt x="7451413" y="965645"/>
                  <a:pt x="7426703" y="940935"/>
                  <a:pt x="7426703" y="910454"/>
                </a:cubicBezTo>
                <a:cubicBezTo>
                  <a:pt x="7426703" y="879973"/>
                  <a:pt x="7451413" y="855263"/>
                  <a:pt x="7481895" y="855263"/>
                </a:cubicBezTo>
                <a:close/>
                <a:moveTo>
                  <a:pt x="7341578" y="855263"/>
                </a:moveTo>
                <a:cubicBezTo>
                  <a:pt x="7372060" y="855263"/>
                  <a:pt x="7396770" y="879973"/>
                  <a:pt x="7396770" y="910454"/>
                </a:cubicBezTo>
                <a:cubicBezTo>
                  <a:pt x="7396770" y="940935"/>
                  <a:pt x="7372060" y="965645"/>
                  <a:pt x="7341578" y="965645"/>
                </a:cubicBezTo>
                <a:cubicBezTo>
                  <a:pt x="7311096" y="965645"/>
                  <a:pt x="7286386" y="940935"/>
                  <a:pt x="7286386" y="910454"/>
                </a:cubicBezTo>
                <a:cubicBezTo>
                  <a:pt x="7286386" y="879973"/>
                  <a:pt x="7311096" y="855263"/>
                  <a:pt x="7341578" y="855263"/>
                </a:cubicBezTo>
                <a:close/>
                <a:moveTo>
                  <a:pt x="7211285" y="855263"/>
                </a:moveTo>
                <a:cubicBezTo>
                  <a:pt x="7241767" y="855263"/>
                  <a:pt x="7266477" y="879973"/>
                  <a:pt x="7266477" y="910454"/>
                </a:cubicBezTo>
                <a:cubicBezTo>
                  <a:pt x="7266477" y="940935"/>
                  <a:pt x="7241767" y="965645"/>
                  <a:pt x="7211285" y="965645"/>
                </a:cubicBezTo>
                <a:cubicBezTo>
                  <a:pt x="7180803" y="965645"/>
                  <a:pt x="7156093" y="940935"/>
                  <a:pt x="7156093" y="910454"/>
                </a:cubicBezTo>
                <a:cubicBezTo>
                  <a:pt x="7156093" y="879973"/>
                  <a:pt x="7180803" y="855263"/>
                  <a:pt x="7211285" y="855263"/>
                </a:cubicBezTo>
                <a:close/>
                <a:moveTo>
                  <a:pt x="7080993" y="855263"/>
                </a:moveTo>
                <a:cubicBezTo>
                  <a:pt x="7111475" y="855263"/>
                  <a:pt x="7136185" y="879973"/>
                  <a:pt x="7136185" y="910454"/>
                </a:cubicBezTo>
                <a:cubicBezTo>
                  <a:pt x="7136185" y="940935"/>
                  <a:pt x="7111475" y="965645"/>
                  <a:pt x="7080993" y="965645"/>
                </a:cubicBezTo>
                <a:cubicBezTo>
                  <a:pt x="7050511" y="965645"/>
                  <a:pt x="7025801" y="940935"/>
                  <a:pt x="7025801" y="910454"/>
                </a:cubicBezTo>
                <a:cubicBezTo>
                  <a:pt x="7025801" y="879973"/>
                  <a:pt x="7050511" y="855263"/>
                  <a:pt x="7080993" y="855263"/>
                </a:cubicBezTo>
                <a:close/>
                <a:moveTo>
                  <a:pt x="6947357" y="855263"/>
                </a:moveTo>
                <a:cubicBezTo>
                  <a:pt x="6977839" y="855263"/>
                  <a:pt x="7002549" y="879973"/>
                  <a:pt x="7002549" y="910454"/>
                </a:cubicBezTo>
                <a:cubicBezTo>
                  <a:pt x="7002549" y="940935"/>
                  <a:pt x="6977839" y="965645"/>
                  <a:pt x="6947357" y="965645"/>
                </a:cubicBezTo>
                <a:cubicBezTo>
                  <a:pt x="6916875" y="965645"/>
                  <a:pt x="6892165" y="940935"/>
                  <a:pt x="6892165" y="910454"/>
                </a:cubicBezTo>
                <a:cubicBezTo>
                  <a:pt x="6892165" y="879973"/>
                  <a:pt x="6916875" y="855263"/>
                  <a:pt x="6947357" y="855263"/>
                </a:cubicBezTo>
                <a:close/>
                <a:moveTo>
                  <a:pt x="6817063" y="855263"/>
                </a:moveTo>
                <a:cubicBezTo>
                  <a:pt x="6847545" y="855263"/>
                  <a:pt x="6872255" y="879973"/>
                  <a:pt x="6872255" y="910454"/>
                </a:cubicBezTo>
                <a:cubicBezTo>
                  <a:pt x="6872255" y="940935"/>
                  <a:pt x="6847545" y="965645"/>
                  <a:pt x="6817063" y="965645"/>
                </a:cubicBezTo>
                <a:cubicBezTo>
                  <a:pt x="6786581" y="965645"/>
                  <a:pt x="6761871" y="940935"/>
                  <a:pt x="6761871" y="910454"/>
                </a:cubicBezTo>
                <a:cubicBezTo>
                  <a:pt x="6761871" y="879973"/>
                  <a:pt x="6786581" y="855263"/>
                  <a:pt x="6817063" y="855263"/>
                </a:cubicBezTo>
                <a:close/>
                <a:moveTo>
                  <a:pt x="6683430" y="855263"/>
                </a:moveTo>
                <a:cubicBezTo>
                  <a:pt x="6713912" y="855263"/>
                  <a:pt x="6738622" y="879973"/>
                  <a:pt x="6738622" y="910454"/>
                </a:cubicBezTo>
                <a:cubicBezTo>
                  <a:pt x="6738622" y="940935"/>
                  <a:pt x="6713912" y="965645"/>
                  <a:pt x="6683430" y="965645"/>
                </a:cubicBezTo>
                <a:cubicBezTo>
                  <a:pt x="6652948" y="965645"/>
                  <a:pt x="6628238" y="940935"/>
                  <a:pt x="6628238" y="910454"/>
                </a:cubicBezTo>
                <a:cubicBezTo>
                  <a:pt x="6628238" y="879973"/>
                  <a:pt x="6652948" y="855263"/>
                  <a:pt x="6683430" y="855263"/>
                </a:cubicBezTo>
                <a:close/>
                <a:moveTo>
                  <a:pt x="6553135" y="855263"/>
                </a:moveTo>
                <a:cubicBezTo>
                  <a:pt x="6583617" y="855263"/>
                  <a:pt x="6608327" y="879973"/>
                  <a:pt x="6608327" y="910454"/>
                </a:cubicBezTo>
                <a:cubicBezTo>
                  <a:pt x="6608327" y="940935"/>
                  <a:pt x="6583617" y="965645"/>
                  <a:pt x="6553135" y="965645"/>
                </a:cubicBezTo>
                <a:cubicBezTo>
                  <a:pt x="6522653" y="965645"/>
                  <a:pt x="6497943" y="940935"/>
                  <a:pt x="6497943" y="910454"/>
                </a:cubicBezTo>
                <a:cubicBezTo>
                  <a:pt x="6497943" y="879973"/>
                  <a:pt x="6522653" y="855263"/>
                  <a:pt x="6553135" y="855263"/>
                </a:cubicBezTo>
                <a:close/>
                <a:moveTo>
                  <a:pt x="6419502" y="855263"/>
                </a:moveTo>
                <a:cubicBezTo>
                  <a:pt x="6449984" y="855263"/>
                  <a:pt x="6474694" y="879973"/>
                  <a:pt x="6474694" y="910454"/>
                </a:cubicBezTo>
                <a:cubicBezTo>
                  <a:pt x="6474694" y="940935"/>
                  <a:pt x="6449984" y="965645"/>
                  <a:pt x="6419502" y="965645"/>
                </a:cubicBezTo>
                <a:cubicBezTo>
                  <a:pt x="6389020" y="965645"/>
                  <a:pt x="6364310" y="940935"/>
                  <a:pt x="6364310" y="910454"/>
                </a:cubicBezTo>
                <a:cubicBezTo>
                  <a:pt x="6364310" y="879973"/>
                  <a:pt x="6389020" y="855263"/>
                  <a:pt x="6419502" y="855263"/>
                </a:cubicBezTo>
                <a:close/>
                <a:moveTo>
                  <a:pt x="6289206" y="855263"/>
                </a:moveTo>
                <a:cubicBezTo>
                  <a:pt x="6319688" y="855263"/>
                  <a:pt x="6344398" y="879973"/>
                  <a:pt x="6344398" y="910454"/>
                </a:cubicBezTo>
                <a:cubicBezTo>
                  <a:pt x="6344398" y="940935"/>
                  <a:pt x="6319688" y="965645"/>
                  <a:pt x="6289206" y="965645"/>
                </a:cubicBezTo>
                <a:cubicBezTo>
                  <a:pt x="6258724" y="965645"/>
                  <a:pt x="6234014" y="940935"/>
                  <a:pt x="6234014" y="910454"/>
                </a:cubicBezTo>
                <a:cubicBezTo>
                  <a:pt x="6234014" y="879973"/>
                  <a:pt x="6258724" y="855263"/>
                  <a:pt x="6289206" y="855263"/>
                </a:cubicBezTo>
                <a:close/>
                <a:moveTo>
                  <a:pt x="6155571" y="855263"/>
                </a:moveTo>
                <a:cubicBezTo>
                  <a:pt x="6186053" y="855263"/>
                  <a:pt x="6210763" y="879973"/>
                  <a:pt x="6210763" y="910454"/>
                </a:cubicBezTo>
                <a:cubicBezTo>
                  <a:pt x="6210763" y="940935"/>
                  <a:pt x="6186053" y="965645"/>
                  <a:pt x="6155571" y="965645"/>
                </a:cubicBezTo>
                <a:cubicBezTo>
                  <a:pt x="6125089" y="965645"/>
                  <a:pt x="6100379" y="940935"/>
                  <a:pt x="6100379" y="910454"/>
                </a:cubicBezTo>
                <a:cubicBezTo>
                  <a:pt x="6100379" y="879973"/>
                  <a:pt x="6125089" y="855263"/>
                  <a:pt x="6155571" y="855263"/>
                </a:cubicBezTo>
                <a:close/>
                <a:moveTo>
                  <a:pt x="6021938" y="855263"/>
                </a:moveTo>
                <a:cubicBezTo>
                  <a:pt x="6052420" y="855263"/>
                  <a:pt x="6077130" y="879973"/>
                  <a:pt x="6077130" y="910454"/>
                </a:cubicBezTo>
                <a:cubicBezTo>
                  <a:pt x="6077130" y="940935"/>
                  <a:pt x="6052420" y="965645"/>
                  <a:pt x="6021938" y="965645"/>
                </a:cubicBezTo>
                <a:cubicBezTo>
                  <a:pt x="5991456" y="965645"/>
                  <a:pt x="5966746" y="940935"/>
                  <a:pt x="5966746" y="910454"/>
                </a:cubicBezTo>
                <a:cubicBezTo>
                  <a:pt x="5966746" y="879973"/>
                  <a:pt x="5991456" y="855263"/>
                  <a:pt x="6021938" y="855263"/>
                </a:cubicBezTo>
                <a:close/>
                <a:moveTo>
                  <a:pt x="5884961" y="855263"/>
                </a:moveTo>
                <a:cubicBezTo>
                  <a:pt x="5915443" y="855263"/>
                  <a:pt x="5940153" y="879973"/>
                  <a:pt x="5940153" y="910454"/>
                </a:cubicBezTo>
                <a:cubicBezTo>
                  <a:pt x="5940153" y="940935"/>
                  <a:pt x="5915443" y="965645"/>
                  <a:pt x="5884961" y="965645"/>
                </a:cubicBezTo>
                <a:cubicBezTo>
                  <a:pt x="5854479" y="965645"/>
                  <a:pt x="5829769" y="940935"/>
                  <a:pt x="5829769" y="910454"/>
                </a:cubicBezTo>
                <a:cubicBezTo>
                  <a:pt x="5829769" y="879973"/>
                  <a:pt x="5854479" y="855263"/>
                  <a:pt x="5884961" y="855263"/>
                </a:cubicBezTo>
                <a:close/>
                <a:moveTo>
                  <a:pt x="5754668" y="855263"/>
                </a:moveTo>
                <a:cubicBezTo>
                  <a:pt x="5785150" y="855263"/>
                  <a:pt x="5809860" y="879973"/>
                  <a:pt x="5809860" y="910454"/>
                </a:cubicBezTo>
                <a:cubicBezTo>
                  <a:pt x="5809860" y="940935"/>
                  <a:pt x="5785150" y="965645"/>
                  <a:pt x="5754668" y="965645"/>
                </a:cubicBezTo>
                <a:cubicBezTo>
                  <a:pt x="5724186" y="965645"/>
                  <a:pt x="5699476" y="940935"/>
                  <a:pt x="5699476" y="910454"/>
                </a:cubicBezTo>
                <a:cubicBezTo>
                  <a:pt x="5699476" y="879973"/>
                  <a:pt x="5724186" y="855263"/>
                  <a:pt x="5754668" y="855263"/>
                </a:cubicBezTo>
                <a:close/>
                <a:moveTo>
                  <a:pt x="5621034" y="855263"/>
                </a:moveTo>
                <a:cubicBezTo>
                  <a:pt x="5651516" y="855263"/>
                  <a:pt x="5676226" y="879973"/>
                  <a:pt x="5676226" y="910454"/>
                </a:cubicBezTo>
                <a:cubicBezTo>
                  <a:pt x="5676226" y="940935"/>
                  <a:pt x="5651516" y="965645"/>
                  <a:pt x="5621034" y="965645"/>
                </a:cubicBezTo>
                <a:cubicBezTo>
                  <a:pt x="5590552" y="965645"/>
                  <a:pt x="5565842" y="940935"/>
                  <a:pt x="5565842" y="910454"/>
                </a:cubicBezTo>
                <a:cubicBezTo>
                  <a:pt x="5565842" y="879973"/>
                  <a:pt x="5590552" y="855263"/>
                  <a:pt x="5621034" y="855263"/>
                </a:cubicBezTo>
                <a:close/>
                <a:moveTo>
                  <a:pt x="5487399" y="855263"/>
                </a:moveTo>
                <a:cubicBezTo>
                  <a:pt x="5517881" y="855263"/>
                  <a:pt x="5542591" y="879973"/>
                  <a:pt x="5542591" y="910454"/>
                </a:cubicBezTo>
                <a:cubicBezTo>
                  <a:pt x="5542591" y="940935"/>
                  <a:pt x="5517881" y="965645"/>
                  <a:pt x="5487399" y="965645"/>
                </a:cubicBezTo>
                <a:cubicBezTo>
                  <a:pt x="5456917" y="965645"/>
                  <a:pt x="5432207" y="940935"/>
                  <a:pt x="5432207" y="910454"/>
                </a:cubicBezTo>
                <a:cubicBezTo>
                  <a:pt x="5432207" y="879973"/>
                  <a:pt x="5456917" y="855263"/>
                  <a:pt x="5487399" y="855263"/>
                </a:cubicBezTo>
                <a:close/>
                <a:moveTo>
                  <a:pt x="5357105" y="855263"/>
                </a:moveTo>
                <a:cubicBezTo>
                  <a:pt x="5387587" y="855263"/>
                  <a:pt x="5412297" y="879973"/>
                  <a:pt x="5412297" y="910454"/>
                </a:cubicBezTo>
                <a:cubicBezTo>
                  <a:pt x="5412297" y="940935"/>
                  <a:pt x="5387587" y="965645"/>
                  <a:pt x="5357105" y="965645"/>
                </a:cubicBezTo>
                <a:cubicBezTo>
                  <a:pt x="5326623" y="965645"/>
                  <a:pt x="5301913" y="940935"/>
                  <a:pt x="5301913" y="910454"/>
                </a:cubicBezTo>
                <a:cubicBezTo>
                  <a:pt x="5301913" y="879973"/>
                  <a:pt x="5326623" y="855263"/>
                  <a:pt x="5357105" y="855263"/>
                </a:cubicBezTo>
                <a:close/>
                <a:moveTo>
                  <a:pt x="5223472" y="855263"/>
                </a:moveTo>
                <a:cubicBezTo>
                  <a:pt x="5253954" y="855263"/>
                  <a:pt x="5278664" y="879973"/>
                  <a:pt x="5278664" y="910454"/>
                </a:cubicBezTo>
                <a:cubicBezTo>
                  <a:pt x="5278664" y="940935"/>
                  <a:pt x="5253954" y="965645"/>
                  <a:pt x="5223472" y="965645"/>
                </a:cubicBezTo>
                <a:cubicBezTo>
                  <a:pt x="5192990" y="965645"/>
                  <a:pt x="5168280" y="940935"/>
                  <a:pt x="5168280" y="910454"/>
                </a:cubicBezTo>
                <a:cubicBezTo>
                  <a:pt x="5168280" y="879973"/>
                  <a:pt x="5192990" y="855263"/>
                  <a:pt x="5223472" y="855263"/>
                </a:cubicBezTo>
                <a:close/>
                <a:moveTo>
                  <a:pt x="5093178" y="855263"/>
                </a:moveTo>
                <a:cubicBezTo>
                  <a:pt x="5123660" y="855263"/>
                  <a:pt x="5148370" y="879973"/>
                  <a:pt x="5148370" y="910454"/>
                </a:cubicBezTo>
                <a:cubicBezTo>
                  <a:pt x="5148370" y="940935"/>
                  <a:pt x="5123660" y="965645"/>
                  <a:pt x="5093178" y="965645"/>
                </a:cubicBezTo>
                <a:cubicBezTo>
                  <a:pt x="5062696" y="965645"/>
                  <a:pt x="5037986" y="940935"/>
                  <a:pt x="5037986" y="910454"/>
                </a:cubicBezTo>
                <a:cubicBezTo>
                  <a:pt x="5037986" y="879973"/>
                  <a:pt x="5062696" y="855263"/>
                  <a:pt x="5093178" y="855263"/>
                </a:cubicBezTo>
                <a:close/>
                <a:moveTo>
                  <a:pt x="4161076" y="855263"/>
                </a:moveTo>
                <a:cubicBezTo>
                  <a:pt x="4191558" y="855263"/>
                  <a:pt x="4216268" y="879973"/>
                  <a:pt x="4216268" y="910454"/>
                </a:cubicBezTo>
                <a:cubicBezTo>
                  <a:pt x="4216268" y="940935"/>
                  <a:pt x="4191558" y="965645"/>
                  <a:pt x="4161076" y="965645"/>
                </a:cubicBezTo>
                <a:cubicBezTo>
                  <a:pt x="4130594" y="965645"/>
                  <a:pt x="4105884" y="940935"/>
                  <a:pt x="4105884" y="910454"/>
                </a:cubicBezTo>
                <a:cubicBezTo>
                  <a:pt x="4105884" y="879973"/>
                  <a:pt x="4130594" y="855263"/>
                  <a:pt x="4161076" y="855263"/>
                </a:cubicBezTo>
                <a:close/>
                <a:moveTo>
                  <a:pt x="3633218" y="855263"/>
                </a:moveTo>
                <a:cubicBezTo>
                  <a:pt x="3663700" y="855263"/>
                  <a:pt x="3688410" y="879973"/>
                  <a:pt x="3688410" y="910454"/>
                </a:cubicBezTo>
                <a:cubicBezTo>
                  <a:pt x="3688410" y="940935"/>
                  <a:pt x="3663700" y="965645"/>
                  <a:pt x="3633218" y="965645"/>
                </a:cubicBezTo>
                <a:cubicBezTo>
                  <a:pt x="3602736" y="965645"/>
                  <a:pt x="3578026" y="940935"/>
                  <a:pt x="3578026" y="910454"/>
                </a:cubicBezTo>
                <a:cubicBezTo>
                  <a:pt x="3578026" y="879973"/>
                  <a:pt x="3602736" y="855263"/>
                  <a:pt x="3633218" y="855263"/>
                </a:cubicBezTo>
                <a:close/>
                <a:moveTo>
                  <a:pt x="3499586" y="855263"/>
                </a:moveTo>
                <a:cubicBezTo>
                  <a:pt x="3530068" y="855263"/>
                  <a:pt x="3554778" y="879973"/>
                  <a:pt x="3554778" y="910454"/>
                </a:cubicBezTo>
                <a:cubicBezTo>
                  <a:pt x="3554778" y="940935"/>
                  <a:pt x="3530068" y="965645"/>
                  <a:pt x="3499586" y="965645"/>
                </a:cubicBezTo>
                <a:cubicBezTo>
                  <a:pt x="3469104" y="965645"/>
                  <a:pt x="3444394" y="940935"/>
                  <a:pt x="3444394" y="910454"/>
                </a:cubicBezTo>
                <a:cubicBezTo>
                  <a:pt x="3444394" y="879973"/>
                  <a:pt x="3469104" y="855263"/>
                  <a:pt x="3499586" y="855263"/>
                </a:cubicBezTo>
                <a:close/>
                <a:moveTo>
                  <a:pt x="3369290" y="855263"/>
                </a:moveTo>
                <a:cubicBezTo>
                  <a:pt x="3399772" y="855263"/>
                  <a:pt x="3424482" y="879973"/>
                  <a:pt x="3424482" y="910454"/>
                </a:cubicBezTo>
                <a:cubicBezTo>
                  <a:pt x="3424482" y="940935"/>
                  <a:pt x="3399772" y="965645"/>
                  <a:pt x="3369290" y="965645"/>
                </a:cubicBezTo>
                <a:cubicBezTo>
                  <a:pt x="3338808" y="965645"/>
                  <a:pt x="3314098" y="940935"/>
                  <a:pt x="3314098" y="910454"/>
                </a:cubicBezTo>
                <a:cubicBezTo>
                  <a:pt x="3314098" y="879973"/>
                  <a:pt x="3338808" y="855263"/>
                  <a:pt x="3369290" y="855263"/>
                </a:cubicBezTo>
                <a:close/>
                <a:moveTo>
                  <a:pt x="2834849" y="855263"/>
                </a:moveTo>
                <a:cubicBezTo>
                  <a:pt x="2865329" y="855263"/>
                  <a:pt x="2890040" y="879973"/>
                  <a:pt x="2890040" y="910454"/>
                </a:cubicBezTo>
                <a:cubicBezTo>
                  <a:pt x="2890040" y="940935"/>
                  <a:pt x="2865329" y="965645"/>
                  <a:pt x="2834849" y="965645"/>
                </a:cubicBezTo>
                <a:cubicBezTo>
                  <a:pt x="2804367" y="965645"/>
                  <a:pt x="2779655" y="940935"/>
                  <a:pt x="2779655" y="910454"/>
                </a:cubicBezTo>
                <a:cubicBezTo>
                  <a:pt x="2779655" y="879973"/>
                  <a:pt x="2804367" y="855263"/>
                  <a:pt x="2834849" y="855263"/>
                </a:cubicBezTo>
                <a:close/>
                <a:moveTo>
                  <a:pt x="2707895" y="855263"/>
                </a:moveTo>
                <a:cubicBezTo>
                  <a:pt x="2738377" y="855263"/>
                  <a:pt x="2763087" y="879973"/>
                  <a:pt x="2763087" y="910454"/>
                </a:cubicBezTo>
                <a:cubicBezTo>
                  <a:pt x="2763087" y="940935"/>
                  <a:pt x="2738377" y="965645"/>
                  <a:pt x="2707895" y="965645"/>
                </a:cubicBezTo>
                <a:cubicBezTo>
                  <a:pt x="2677411" y="965645"/>
                  <a:pt x="2652702" y="940935"/>
                  <a:pt x="2652702" y="910454"/>
                </a:cubicBezTo>
                <a:cubicBezTo>
                  <a:pt x="2652702" y="879973"/>
                  <a:pt x="2677411" y="855263"/>
                  <a:pt x="2707895" y="855263"/>
                </a:cubicBezTo>
                <a:close/>
                <a:moveTo>
                  <a:pt x="2570919" y="855263"/>
                </a:moveTo>
                <a:cubicBezTo>
                  <a:pt x="2601400" y="855263"/>
                  <a:pt x="2626110" y="879973"/>
                  <a:pt x="2626110" y="910454"/>
                </a:cubicBezTo>
                <a:cubicBezTo>
                  <a:pt x="2626110" y="940935"/>
                  <a:pt x="2601400" y="965645"/>
                  <a:pt x="2570919" y="965645"/>
                </a:cubicBezTo>
                <a:cubicBezTo>
                  <a:pt x="2540436" y="965645"/>
                  <a:pt x="2515724" y="940935"/>
                  <a:pt x="2515724" y="910454"/>
                </a:cubicBezTo>
                <a:cubicBezTo>
                  <a:pt x="2515724" y="879973"/>
                  <a:pt x="2540436" y="855263"/>
                  <a:pt x="2570919" y="855263"/>
                </a:cubicBezTo>
                <a:close/>
                <a:moveTo>
                  <a:pt x="2303651" y="855263"/>
                </a:moveTo>
                <a:cubicBezTo>
                  <a:pt x="2334134" y="855263"/>
                  <a:pt x="2358843" y="879973"/>
                  <a:pt x="2358843" y="910454"/>
                </a:cubicBezTo>
                <a:cubicBezTo>
                  <a:pt x="2358843" y="940935"/>
                  <a:pt x="2334134" y="965645"/>
                  <a:pt x="2303651" y="965645"/>
                </a:cubicBezTo>
                <a:cubicBezTo>
                  <a:pt x="2273169" y="965645"/>
                  <a:pt x="2248461" y="940935"/>
                  <a:pt x="2248461" y="910454"/>
                </a:cubicBezTo>
                <a:cubicBezTo>
                  <a:pt x="2248461" y="879973"/>
                  <a:pt x="2273169" y="855263"/>
                  <a:pt x="2303651" y="855263"/>
                </a:cubicBezTo>
                <a:close/>
                <a:moveTo>
                  <a:pt x="2173362" y="855263"/>
                </a:moveTo>
                <a:cubicBezTo>
                  <a:pt x="2203845" y="855263"/>
                  <a:pt x="2228554" y="879973"/>
                  <a:pt x="2228554" y="910454"/>
                </a:cubicBezTo>
                <a:cubicBezTo>
                  <a:pt x="2228554" y="940935"/>
                  <a:pt x="2203845" y="965645"/>
                  <a:pt x="2173362" y="965645"/>
                </a:cubicBezTo>
                <a:cubicBezTo>
                  <a:pt x="2142879" y="965645"/>
                  <a:pt x="2118170" y="940935"/>
                  <a:pt x="2118170" y="910454"/>
                </a:cubicBezTo>
                <a:cubicBezTo>
                  <a:pt x="2118170" y="879973"/>
                  <a:pt x="2142879" y="855263"/>
                  <a:pt x="2173362" y="855263"/>
                </a:cubicBezTo>
                <a:close/>
                <a:moveTo>
                  <a:pt x="2039725" y="855263"/>
                </a:moveTo>
                <a:cubicBezTo>
                  <a:pt x="2070208" y="855263"/>
                  <a:pt x="2094919" y="879973"/>
                  <a:pt x="2094919" y="910454"/>
                </a:cubicBezTo>
                <a:cubicBezTo>
                  <a:pt x="2094919" y="940935"/>
                  <a:pt x="2070208" y="965645"/>
                  <a:pt x="2039725" y="965645"/>
                </a:cubicBezTo>
                <a:cubicBezTo>
                  <a:pt x="2009244" y="965645"/>
                  <a:pt x="1984533" y="940935"/>
                  <a:pt x="1984533" y="910454"/>
                </a:cubicBezTo>
                <a:cubicBezTo>
                  <a:pt x="1984533" y="879973"/>
                  <a:pt x="2009244" y="855263"/>
                  <a:pt x="2039725" y="855263"/>
                </a:cubicBezTo>
                <a:close/>
                <a:moveTo>
                  <a:pt x="1909428" y="855263"/>
                </a:moveTo>
                <a:cubicBezTo>
                  <a:pt x="1939911" y="855263"/>
                  <a:pt x="1964620" y="879973"/>
                  <a:pt x="1964620" y="910454"/>
                </a:cubicBezTo>
                <a:cubicBezTo>
                  <a:pt x="1964620" y="940935"/>
                  <a:pt x="1939911" y="965645"/>
                  <a:pt x="1909428" y="965645"/>
                </a:cubicBezTo>
                <a:cubicBezTo>
                  <a:pt x="1878945" y="965645"/>
                  <a:pt x="1854234" y="940935"/>
                  <a:pt x="1854234" y="910454"/>
                </a:cubicBezTo>
                <a:cubicBezTo>
                  <a:pt x="1854234" y="879973"/>
                  <a:pt x="1878945" y="855263"/>
                  <a:pt x="1909428" y="855263"/>
                </a:cubicBezTo>
                <a:close/>
                <a:moveTo>
                  <a:pt x="1779130" y="855263"/>
                </a:moveTo>
                <a:cubicBezTo>
                  <a:pt x="1809614" y="855263"/>
                  <a:pt x="1834324" y="879973"/>
                  <a:pt x="1834324" y="910454"/>
                </a:cubicBezTo>
                <a:cubicBezTo>
                  <a:pt x="1834324" y="940935"/>
                  <a:pt x="1809614" y="965645"/>
                  <a:pt x="1779130" y="965645"/>
                </a:cubicBezTo>
                <a:cubicBezTo>
                  <a:pt x="1748649" y="965645"/>
                  <a:pt x="1723937" y="940935"/>
                  <a:pt x="1723937" y="910454"/>
                </a:cubicBezTo>
                <a:cubicBezTo>
                  <a:pt x="1723937" y="879973"/>
                  <a:pt x="1748649" y="855263"/>
                  <a:pt x="1779130" y="855263"/>
                </a:cubicBezTo>
                <a:close/>
                <a:moveTo>
                  <a:pt x="1645495" y="855263"/>
                </a:moveTo>
                <a:cubicBezTo>
                  <a:pt x="1675980" y="855263"/>
                  <a:pt x="1700693" y="879973"/>
                  <a:pt x="1700693" y="910454"/>
                </a:cubicBezTo>
                <a:cubicBezTo>
                  <a:pt x="1700693" y="940935"/>
                  <a:pt x="1675980" y="965645"/>
                  <a:pt x="1645495" y="965645"/>
                </a:cubicBezTo>
                <a:cubicBezTo>
                  <a:pt x="1615015" y="965645"/>
                  <a:pt x="1590303" y="940935"/>
                  <a:pt x="1590303" y="910454"/>
                </a:cubicBezTo>
                <a:cubicBezTo>
                  <a:pt x="1590303" y="879973"/>
                  <a:pt x="1615015" y="855263"/>
                  <a:pt x="1645495" y="855263"/>
                </a:cubicBezTo>
                <a:close/>
                <a:moveTo>
                  <a:pt x="1515206" y="855263"/>
                </a:moveTo>
                <a:cubicBezTo>
                  <a:pt x="1545685" y="855263"/>
                  <a:pt x="1570391" y="879973"/>
                  <a:pt x="1570391" y="910454"/>
                </a:cubicBezTo>
                <a:cubicBezTo>
                  <a:pt x="1570391" y="940935"/>
                  <a:pt x="1545685" y="965645"/>
                  <a:pt x="1515206" y="965645"/>
                </a:cubicBezTo>
                <a:cubicBezTo>
                  <a:pt x="1484723" y="965645"/>
                  <a:pt x="1460009" y="940935"/>
                  <a:pt x="1460009" y="910454"/>
                </a:cubicBezTo>
                <a:cubicBezTo>
                  <a:pt x="1460009" y="879973"/>
                  <a:pt x="1484723" y="855263"/>
                  <a:pt x="1515206" y="855263"/>
                </a:cubicBezTo>
                <a:close/>
                <a:moveTo>
                  <a:pt x="1381566" y="855263"/>
                </a:moveTo>
                <a:cubicBezTo>
                  <a:pt x="1412046" y="855263"/>
                  <a:pt x="1436758" y="879973"/>
                  <a:pt x="1436758" y="910454"/>
                </a:cubicBezTo>
                <a:cubicBezTo>
                  <a:pt x="1436758" y="940935"/>
                  <a:pt x="1412046" y="965645"/>
                  <a:pt x="1381566" y="965645"/>
                </a:cubicBezTo>
                <a:cubicBezTo>
                  <a:pt x="1351086" y="965645"/>
                  <a:pt x="1326375" y="940935"/>
                  <a:pt x="1326375" y="910454"/>
                </a:cubicBezTo>
                <a:cubicBezTo>
                  <a:pt x="1326375" y="879973"/>
                  <a:pt x="1351086" y="855263"/>
                  <a:pt x="1381566" y="855263"/>
                </a:cubicBezTo>
                <a:close/>
                <a:moveTo>
                  <a:pt x="1251271" y="855263"/>
                </a:moveTo>
                <a:cubicBezTo>
                  <a:pt x="1281752" y="855263"/>
                  <a:pt x="1306464" y="879973"/>
                  <a:pt x="1306464" y="910454"/>
                </a:cubicBezTo>
                <a:cubicBezTo>
                  <a:pt x="1306464" y="940935"/>
                  <a:pt x="1281752" y="965645"/>
                  <a:pt x="1251271" y="965645"/>
                </a:cubicBezTo>
                <a:cubicBezTo>
                  <a:pt x="1220788" y="965645"/>
                  <a:pt x="1196078" y="940935"/>
                  <a:pt x="1196078" y="910454"/>
                </a:cubicBezTo>
                <a:cubicBezTo>
                  <a:pt x="1196078" y="879973"/>
                  <a:pt x="1220788" y="855263"/>
                  <a:pt x="1251271" y="855263"/>
                </a:cubicBezTo>
                <a:close/>
                <a:moveTo>
                  <a:pt x="1117634" y="855263"/>
                </a:moveTo>
                <a:cubicBezTo>
                  <a:pt x="1148117" y="855263"/>
                  <a:pt x="1172828" y="879973"/>
                  <a:pt x="1172828" y="910454"/>
                </a:cubicBezTo>
                <a:cubicBezTo>
                  <a:pt x="1172828" y="940935"/>
                  <a:pt x="1148117" y="965645"/>
                  <a:pt x="1117634" y="965645"/>
                </a:cubicBezTo>
                <a:cubicBezTo>
                  <a:pt x="1087150" y="965645"/>
                  <a:pt x="1062440" y="940935"/>
                  <a:pt x="1062440" y="910454"/>
                </a:cubicBezTo>
                <a:cubicBezTo>
                  <a:pt x="1062440" y="879973"/>
                  <a:pt x="1087150" y="855263"/>
                  <a:pt x="1117634" y="855263"/>
                </a:cubicBezTo>
                <a:close/>
                <a:moveTo>
                  <a:pt x="980654" y="855263"/>
                </a:moveTo>
                <a:cubicBezTo>
                  <a:pt x="1011137" y="855263"/>
                  <a:pt x="1035848" y="879973"/>
                  <a:pt x="1035848" y="910454"/>
                </a:cubicBezTo>
                <a:cubicBezTo>
                  <a:pt x="1035848" y="940935"/>
                  <a:pt x="1011137" y="965645"/>
                  <a:pt x="980654" y="965645"/>
                </a:cubicBezTo>
                <a:cubicBezTo>
                  <a:pt x="950172" y="965645"/>
                  <a:pt x="925460" y="940935"/>
                  <a:pt x="925460" y="910454"/>
                </a:cubicBezTo>
                <a:cubicBezTo>
                  <a:pt x="925460" y="879973"/>
                  <a:pt x="950172" y="855263"/>
                  <a:pt x="980654" y="855263"/>
                </a:cubicBezTo>
                <a:close/>
                <a:moveTo>
                  <a:pt x="847016" y="855263"/>
                </a:moveTo>
                <a:cubicBezTo>
                  <a:pt x="877497" y="855263"/>
                  <a:pt x="902209" y="879973"/>
                  <a:pt x="902209" y="910454"/>
                </a:cubicBezTo>
                <a:cubicBezTo>
                  <a:pt x="902209" y="940935"/>
                  <a:pt x="877497" y="965645"/>
                  <a:pt x="847016" y="965645"/>
                </a:cubicBezTo>
                <a:cubicBezTo>
                  <a:pt x="816533" y="965645"/>
                  <a:pt x="791816" y="940935"/>
                  <a:pt x="791816" y="910454"/>
                </a:cubicBezTo>
                <a:cubicBezTo>
                  <a:pt x="791816" y="879973"/>
                  <a:pt x="816533" y="855263"/>
                  <a:pt x="847016" y="855263"/>
                </a:cubicBezTo>
                <a:close/>
                <a:moveTo>
                  <a:pt x="716709" y="855263"/>
                </a:moveTo>
                <a:cubicBezTo>
                  <a:pt x="747196" y="855263"/>
                  <a:pt x="771907" y="879973"/>
                  <a:pt x="771907" y="910454"/>
                </a:cubicBezTo>
                <a:cubicBezTo>
                  <a:pt x="771907" y="940935"/>
                  <a:pt x="747196" y="965645"/>
                  <a:pt x="716709" y="965645"/>
                </a:cubicBezTo>
                <a:cubicBezTo>
                  <a:pt x="686233" y="965645"/>
                  <a:pt x="661522" y="940935"/>
                  <a:pt x="661522" y="910454"/>
                </a:cubicBezTo>
                <a:cubicBezTo>
                  <a:pt x="661522" y="879973"/>
                  <a:pt x="686233" y="855263"/>
                  <a:pt x="716709" y="855263"/>
                </a:cubicBezTo>
                <a:close/>
                <a:moveTo>
                  <a:pt x="583074" y="855263"/>
                </a:moveTo>
                <a:cubicBezTo>
                  <a:pt x="613557" y="855263"/>
                  <a:pt x="638268" y="879973"/>
                  <a:pt x="638268" y="910454"/>
                </a:cubicBezTo>
                <a:cubicBezTo>
                  <a:pt x="638268" y="940935"/>
                  <a:pt x="613557" y="965645"/>
                  <a:pt x="583074" y="965645"/>
                </a:cubicBezTo>
                <a:cubicBezTo>
                  <a:pt x="552591" y="965645"/>
                  <a:pt x="527881" y="940935"/>
                  <a:pt x="527881" y="910454"/>
                </a:cubicBezTo>
                <a:cubicBezTo>
                  <a:pt x="527881" y="879973"/>
                  <a:pt x="552591" y="855263"/>
                  <a:pt x="583074" y="855263"/>
                </a:cubicBezTo>
                <a:close/>
                <a:moveTo>
                  <a:pt x="9867273" y="855260"/>
                </a:moveTo>
                <a:cubicBezTo>
                  <a:pt x="9897755" y="855260"/>
                  <a:pt x="9922465" y="879970"/>
                  <a:pt x="9922465" y="910451"/>
                </a:cubicBezTo>
                <a:cubicBezTo>
                  <a:pt x="9922465" y="940932"/>
                  <a:pt x="9897755" y="965642"/>
                  <a:pt x="9867273" y="965642"/>
                </a:cubicBezTo>
                <a:cubicBezTo>
                  <a:pt x="9836791" y="965642"/>
                  <a:pt x="9812081" y="940932"/>
                  <a:pt x="9812081" y="910451"/>
                </a:cubicBezTo>
                <a:cubicBezTo>
                  <a:pt x="9812081" y="879970"/>
                  <a:pt x="9836791" y="855260"/>
                  <a:pt x="9867273" y="855260"/>
                </a:cubicBezTo>
                <a:close/>
                <a:moveTo>
                  <a:pt x="9733637" y="855260"/>
                </a:moveTo>
                <a:cubicBezTo>
                  <a:pt x="9764119" y="855260"/>
                  <a:pt x="9788829" y="879970"/>
                  <a:pt x="9788829" y="910451"/>
                </a:cubicBezTo>
                <a:cubicBezTo>
                  <a:pt x="9788829" y="940932"/>
                  <a:pt x="9764119" y="965642"/>
                  <a:pt x="9733637" y="965642"/>
                </a:cubicBezTo>
                <a:cubicBezTo>
                  <a:pt x="9703155" y="965642"/>
                  <a:pt x="9678445" y="940932"/>
                  <a:pt x="9678445" y="910451"/>
                </a:cubicBezTo>
                <a:cubicBezTo>
                  <a:pt x="9678445" y="879970"/>
                  <a:pt x="9703155" y="855260"/>
                  <a:pt x="9733637" y="855260"/>
                </a:cubicBezTo>
                <a:close/>
                <a:moveTo>
                  <a:pt x="9603343" y="855260"/>
                </a:moveTo>
                <a:cubicBezTo>
                  <a:pt x="9633825" y="855260"/>
                  <a:pt x="9658535" y="879970"/>
                  <a:pt x="9658535" y="910451"/>
                </a:cubicBezTo>
                <a:cubicBezTo>
                  <a:pt x="9658535" y="940932"/>
                  <a:pt x="9633825" y="965642"/>
                  <a:pt x="9603343" y="965642"/>
                </a:cubicBezTo>
                <a:cubicBezTo>
                  <a:pt x="9572861" y="965642"/>
                  <a:pt x="9548151" y="940932"/>
                  <a:pt x="9548151" y="910451"/>
                </a:cubicBezTo>
                <a:cubicBezTo>
                  <a:pt x="9548151" y="879970"/>
                  <a:pt x="9572861" y="855260"/>
                  <a:pt x="9603343" y="855260"/>
                </a:cubicBezTo>
                <a:close/>
                <a:moveTo>
                  <a:pt x="449429" y="855260"/>
                </a:moveTo>
                <a:cubicBezTo>
                  <a:pt x="479910" y="855260"/>
                  <a:pt x="504621" y="879970"/>
                  <a:pt x="504621" y="910451"/>
                </a:cubicBezTo>
                <a:cubicBezTo>
                  <a:pt x="504621" y="940932"/>
                  <a:pt x="479910" y="965642"/>
                  <a:pt x="449429" y="965642"/>
                </a:cubicBezTo>
                <a:cubicBezTo>
                  <a:pt x="418945" y="965642"/>
                  <a:pt x="394234" y="940932"/>
                  <a:pt x="394234" y="910451"/>
                </a:cubicBezTo>
                <a:cubicBezTo>
                  <a:pt x="394234" y="879970"/>
                  <a:pt x="418945" y="855260"/>
                  <a:pt x="449429" y="855260"/>
                </a:cubicBezTo>
                <a:close/>
                <a:moveTo>
                  <a:pt x="319132" y="855260"/>
                </a:moveTo>
                <a:cubicBezTo>
                  <a:pt x="349615" y="855260"/>
                  <a:pt x="374326" y="879970"/>
                  <a:pt x="374326" y="910451"/>
                </a:cubicBezTo>
                <a:cubicBezTo>
                  <a:pt x="374326" y="940932"/>
                  <a:pt x="349615" y="965642"/>
                  <a:pt x="319132" y="965642"/>
                </a:cubicBezTo>
                <a:cubicBezTo>
                  <a:pt x="288649" y="965642"/>
                  <a:pt x="263940" y="940932"/>
                  <a:pt x="263940" y="910451"/>
                </a:cubicBezTo>
                <a:cubicBezTo>
                  <a:pt x="263940" y="879970"/>
                  <a:pt x="288649" y="855260"/>
                  <a:pt x="319132" y="855260"/>
                </a:cubicBezTo>
                <a:close/>
                <a:moveTo>
                  <a:pt x="185499" y="855260"/>
                </a:moveTo>
                <a:cubicBezTo>
                  <a:pt x="215981" y="855260"/>
                  <a:pt x="240690" y="879970"/>
                  <a:pt x="240690" y="910451"/>
                </a:cubicBezTo>
                <a:cubicBezTo>
                  <a:pt x="240690" y="940932"/>
                  <a:pt x="215981" y="965642"/>
                  <a:pt x="185499" y="965642"/>
                </a:cubicBezTo>
                <a:cubicBezTo>
                  <a:pt x="155018" y="965642"/>
                  <a:pt x="130308" y="940932"/>
                  <a:pt x="130308" y="910451"/>
                </a:cubicBezTo>
                <a:cubicBezTo>
                  <a:pt x="130308" y="879970"/>
                  <a:pt x="155018" y="855260"/>
                  <a:pt x="185499" y="855260"/>
                </a:cubicBezTo>
                <a:close/>
                <a:moveTo>
                  <a:pt x="9733637" y="724970"/>
                </a:moveTo>
                <a:cubicBezTo>
                  <a:pt x="9764119" y="724970"/>
                  <a:pt x="9788829" y="749680"/>
                  <a:pt x="9788829" y="780161"/>
                </a:cubicBezTo>
                <a:cubicBezTo>
                  <a:pt x="9788829" y="810642"/>
                  <a:pt x="9764119" y="835352"/>
                  <a:pt x="9733637" y="835352"/>
                </a:cubicBezTo>
                <a:cubicBezTo>
                  <a:pt x="9703155" y="835352"/>
                  <a:pt x="9678445" y="810642"/>
                  <a:pt x="9678445" y="780161"/>
                </a:cubicBezTo>
                <a:cubicBezTo>
                  <a:pt x="9678445" y="749680"/>
                  <a:pt x="9703155" y="724970"/>
                  <a:pt x="9733637" y="724970"/>
                </a:cubicBezTo>
                <a:close/>
                <a:moveTo>
                  <a:pt x="9603344" y="724970"/>
                </a:moveTo>
                <a:cubicBezTo>
                  <a:pt x="9633826" y="724970"/>
                  <a:pt x="9658536" y="749680"/>
                  <a:pt x="9658536" y="780161"/>
                </a:cubicBezTo>
                <a:cubicBezTo>
                  <a:pt x="9658536" y="810642"/>
                  <a:pt x="9633826" y="835352"/>
                  <a:pt x="9603344" y="835352"/>
                </a:cubicBezTo>
                <a:cubicBezTo>
                  <a:pt x="9572862" y="835352"/>
                  <a:pt x="9548152" y="810642"/>
                  <a:pt x="9548152" y="780161"/>
                </a:cubicBezTo>
                <a:cubicBezTo>
                  <a:pt x="9548152" y="749680"/>
                  <a:pt x="9572862" y="724970"/>
                  <a:pt x="9603344" y="724970"/>
                </a:cubicBezTo>
                <a:close/>
                <a:moveTo>
                  <a:pt x="9469710" y="724970"/>
                </a:moveTo>
                <a:cubicBezTo>
                  <a:pt x="9500192" y="724970"/>
                  <a:pt x="9524902" y="749680"/>
                  <a:pt x="9524902" y="780161"/>
                </a:cubicBezTo>
                <a:cubicBezTo>
                  <a:pt x="9524902" y="810642"/>
                  <a:pt x="9500192" y="835352"/>
                  <a:pt x="9469710" y="835352"/>
                </a:cubicBezTo>
                <a:cubicBezTo>
                  <a:pt x="9439228" y="835352"/>
                  <a:pt x="9414518" y="810642"/>
                  <a:pt x="9414518" y="780161"/>
                </a:cubicBezTo>
                <a:cubicBezTo>
                  <a:pt x="9414518" y="749680"/>
                  <a:pt x="9439228" y="724970"/>
                  <a:pt x="9469710" y="724970"/>
                </a:cubicBezTo>
                <a:close/>
                <a:moveTo>
                  <a:pt x="9336075" y="724970"/>
                </a:moveTo>
                <a:cubicBezTo>
                  <a:pt x="9366557" y="724970"/>
                  <a:pt x="9391267" y="749680"/>
                  <a:pt x="9391267" y="780161"/>
                </a:cubicBezTo>
                <a:cubicBezTo>
                  <a:pt x="9391267" y="810642"/>
                  <a:pt x="9366557" y="835352"/>
                  <a:pt x="9336075" y="835352"/>
                </a:cubicBezTo>
                <a:cubicBezTo>
                  <a:pt x="9305593" y="835352"/>
                  <a:pt x="9280883" y="810642"/>
                  <a:pt x="9280883" y="780161"/>
                </a:cubicBezTo>
                <a:cubicBezTo>
                  <a:pt x="9280883" y="749680"/>
                  <a:pt x="9305593" y="724970"/>
                  <a:pt x="9336075" y="724970"/>
                </a:cubicBezTo>
                <a:close/>
                <a:moveTo>
                  <a:pt x="9199100" y="724970"/>
                </a:moveTo>
                <a:cubicBezTo>
                  <a:pt x="9229582" y="724970"/>
                  <a:pt x="9254292" y="749680"/>
                  <a:pt x="9254292" y="780161"/>
                </a:cubicBezTo>
                <a:cubicBezTo>
                  <a:pt x="9254292" y="810642"/>
                  <a:pt x="9229582" y="835352"/>
                  <a:pt x="9199100" y="835352"/>
                </a:cubicBezTo>
                <a:cubicBezTo>
                  <a:pt x="9168618" y="835352"/>
                  <a:pt x="9143908" y="810642"/>
                  <a:pt x="9143908" y="780161"/>
                </a:cubicBezTo>
                <a:cubicBezTo>
                  <a:pt x="9143908" y="749680"/>
                  <a:pt x="9168618" y="724970"/>
                  <a:pt x="9199100" y="724970"/>
                </a:cubicBezTo>
                <a:close/>
                <a:moveTo>
                  <a:pt x="9068806" y="724970"/>
                </a:moveTo>
                <a:cubicBezTo>
                  <a:pt x="9099288" y="724970"/>
                  <a:pt x="9123998" y="749680"/>
                  <a:pt x="9123998" y="780161"/>
                </a:cubicBezTo>
                <a:cubicBezTo>
                  <a:pt x="9123998" y="810642"/>
                  <a:pt x="9099288" y="835352"/>
                  <a:pt x="9068806" y="835352"/>
                </a:cubicBezTo>
                <a:cubicBezTo>
                  <a:pt x="9038324" y="835352"/>
                  <a:pt x="9013614" y="810642"/>
                  <a:pt x="9013614" y="780161"/>
                </a:cubicBezTo>
                <a:cubicBezTo>
                  <a:pt x="9013614" y="749680"/>
                  <a:pt x="9038324" y="724970"/>
                  <a:pt x="9068806" y="724970"/>
                </a:cubicBezTo>
                <a:close/>
                <a:moveTo>
                  <a:pt x="8935170" y="724970"/>
                </a:moveTo>
                <a:cubicBezTo>
                  <a:pt x="8965652" y="724970"/>
                  <a:pt x="8990362" y="749680"/>
                  <a:pt x="8990362" y="780161"/>
                </a:cubicBezTo>
                <a:cubicBezTo>
                  <a:pt x="8990362" y="810642"/>
                  <a:pt x="8965652" y="835352"/>
                  <a:pt x="8935170" y="835352"/>
                </a:cubicBezTo>
                <a:cubicBezTo>
                  <a:pt x="8904688" y="835352"/>
                  <a:pt x="8879978" y="810642"/>
                  <a:pt x="8879978" y="780161"/>
                </a:cubicBezTo>
                <a:cubicBezTo>
                  <a:pt x="8879978" y="749680"/>
                  <a:pt x="8904688" y="724970"/>
                  <a:pt x="8935170" y="724970"/>
                </a:cubicBezTo>
                <a:close/>
                <a:moveTo>
                  <a:pt x="8801536" y="724970"/>
                </a:moveTo>
                <a:cubicBezTo>
                  <a:pt x="8832018" y="724970"/>
                  <a:pt x="8856728" y="749680"/>
                  <a:pt x="8856728" y="780161"/>
                </a:cubicBezTo>
                <a:cubicBezTo>
                  <a:pt x="8856728" y="810642"/>
                  <a:pt x="8832018" y="835352"/>
                  <a:pt x="8801536" y="835352"/>
                </a:cubicBezTo>
                <a:cubicBezTo>
                  <a:pt x="8771054" y="835352"/>
                  <a:pt x="8746344" y="810642"/>
                  <a:pt x="8746344" y="780161"/>
                </a:cubicBezTo>
                <a:cubicBezTo>
                  <a:pt x="8746344" y="749680"/>
                  <a:pt x="8771054" y="724970"/>
                  <a:pt x="8801536" y="724970"/>
                </a:cubicBezTo>
                <a:close/>
                <a:moveTo>
                  <a:pt x="8671243" y="724970"/>
                </a:moveTo>
                <a:cubicBezTo>
                  <a:pt x="8701725" y="724970"/>
                  <a:pt x="8726435" y="749680"/>
                  <a:pt x="8726435" y="780161"/>
                </a:cubicBezTo>
                <a:cubicBezTo>
                  <a:pt x="8726435" y="810642"/>
                  <a:pt x="8701725" y="835352"/>
                  <a:pt x="8671243" y="835352"/>
                </a:cubicBezTo>
                <a:cubicBezTo>
                  <a:pt x="8640761" y="835352"/>
                  <a:pt x="8616051" y="810642"/>
                  <a:pt x="8616051" y="780161"/>
                </a:cubicBezTo>
                <a:cubicBezTo>
                  <a:pt x="8616051" y="749680"/>
                  <a:pt x="8640761" y="724970"/>
                  <a:pt x="8671243" y="724970"/>
                </a:cubicBezTo>
                <a:close/>
                <a:moveTo>
                  <a:pt x="8537609" y="724970"/>
                </a:moveTo>
                <a:cubicBezTo>
                  <a:pt x="8568091" y="724970"/>
                  <a:pt x="8592801" y="749680"/>
                  <a:pt x="8592801" y="780161"/>
                </a:cubicBezTo>
                <a:cubicBezTo>
                  <a:pt x="8592801" y="810642"/>
                  <a:pt x="8568091" y="835352"/>
                  <a:pt x="8537609" y="835352"/>
                </a:cubicBezTo>
                <a:cubicBezTo>
                  <a:pt x="8507127" y="835352"/>
                  <a:pt x="8482417" y="810642"/>
                  <a:pt x="8482417" y="780161"/>
                </a:cubicBezTo>
                <a:cubicBezTo>
                  <a:pt x="8482417" y="749680"/>
                  <a:pt x="8507127" y="724970"/>
                  <a:pt x="8537609" y="724970"/>
                </a:cubicBezTo>
                <a:close/>
                <a:moveTo>
                  <a:pt x="8407318" y="724970"/>
                </a:moveTo>
                <a:cubicBezTo>
                  <a:pt x="8437800" y="724970"/>
                  <a:pt x="8462510" y="749680"/>
                  <a:pt x="8462510" y="780161"/>
                </a:cubicBezTo>
                <a:cubicBezTo>
                  <a:pt x="8462510" y="810642"/>
                  <a:pt x="8437800" y="835352"/>
                  <a:pt x="8407318" y="835352"/>
                </a:cubicBezTo>
                <a:cubicBezTo>
                  <a:pt x="8376836" y="835352"/>
                  <a:pt x="8352126" y="810642"/>
                  <a:pt x="8352126" y="780161"/>
                </a:cubicBezTo>
                <a:cubicBezTo>
                  <a:pt x="8352126" y="749680"/>
                  <a:pt x="8376836" y="724970"/>
                  <a:pt x="8407318" y="724970"/>
                </a:cubicBezTo>
                <a:close/>
                <a:moveTo>
                  <a:pt x="8273682" y="724970"/>
                </a:moveTo>
                <a:cubicBezTo>
                  <a:pt x="8304164" y="724970"/>
                  <a:pt x="8328874" y="749680"/>
                  <a:pt x="8328874" y="780161"/>
                </a:cubicBezTo>
                <a:cubicBezTo>
                  <a:pt x="8328874" y="810642"/>
                  <a:pt x="8304164" y="835352"/>
                  <a:pt x="8273682" y="835352"/>
                </a:cubicBezTo>
                <a:cubicBezTo>
                  <a:pt x="8243200" y="835352"/>
                  <a:pt x="8218490" y="810642"/>
                  <a:pt x="8218490" y="780161"/>
                </a:cubicBezTo>
                <a:cubicBezTo>
                  <a:pt x="8218490" y="749680"/>
                  <a:pt x="8243200" y="724970"/>
                  <a:pt x="8273682" y="724970"/>
                </a:cubicBezTo>
                <a:close/>
                <a:moveTo>
                  <a:pt x="8143386" y="724970"/>
                </a:moveTo>
                <a:cubicBezTo>
                  <a:pt x="8173868" y="724970"/>
                  <a:pt x="8198578" y="749680"/>
                  <a:pt x="8198578" y="780161"/>
                </a:cubicBezTo>
                <a:cubicBezTo>
                  <a:pt x="8198578" y="810642"/>
                  <a:pt x="8173868" y="835352"/>
                  <a:pt x="8143386" y="835352"/>
                </a:cubicBezTo>
                <a:cubicBezTo>
                  <a:pt x="8112904" y="835352"/>
                  <a:pt x="8088194" y="810642"/>
                  <a:pt x="8088194" y="780161"/>
                </a:cubicBezTo>
                <a:cubicBezTo>
                  <a:pt x="8088194" y="749680"/>
                  <a:pt x="8112904" y="724970"/>
                  <a:pt x="8143386" y="724970"/>
                </a:cubicBezTo>
                <a:close/>
                <a:moveTo>
                  <a:pt x="8009753" y="724970"/>
                </a:moveTo>
                <a:cubicBezTo>
                  <a:pt x="8040235" y="724970"/>
                  <a:pt x="8064945" y="749680"/>
                  <a:pt x="8064945" y="780161"/>
                </a:cubicBezTo>
                <a:cubicBezTo>
                  <a:pt x="8064945" y="810642"/>
                  <a:pt x="8040235" y="835352"/>
                  <a:pt x="8009753" y="835352"/>
                </a:cubicBezTo>
                <a:cubicBezTo>
                  <a:pt x="7979271" y="835352"/>
                  <a:pt x="7954561" y="810642"/>
                  <a:pt x="7954561" y="780161"/>
                </a:cubicBezTo>
                <a:cubicBezTo>
                  <a:pt x="7954561" y="749680"/>
                  <a:pt x="7979271" y="724970"/>
                  <a:pt x="8009753" y="724970"/>
                </a:cubicBezTo>
                <a:close/>
                <a:moveTo>
                  <a:pt x="7876118" y="724970"/>
                </a:moveTo>
                <a:cubicBezTo>
                  <a:pt x="7906600" y="724970"/>
                  <a:pt x="7931310" y="749680"/>
                  <a:pt x="7931310" y="780161"/>
                </a:cubicBezTo>
                <a:cubicBezTo>
                  <a:pt x="7931310" y="810642"/>
                  <a:pt x="7906600" y="835352"/>
                  <a:pt x="7876118" y="835352"/>
                </a:cubicBezTo>
                <a:cubicBezTo>
                  <a:pt x="7845636" y="835352"/>
                  <a:pt x="7820926" y="810642"/>
                  <a:pt x="7820926" y="780161"/>
                </a:cubicBezTo>
                <a:cubicBezTo>
                  <a:pt x="7820926" y="749680"/>
                  <a:pt x="7845636" y="724970"/>
                  <a:pt x="7876118" y="724970"/>
                </a:cubicBezTo>
                <a:close/>
                <a:moveTo>
                  <a:pt x="7745824" y="724970"/>
                </a:moveTo>
                <a:cubicBezTo>
                  <a:pt x="7776306" y="724970"/>
                  <a:pt x="7801016" y="749680"/>
                  <a:pt x="7801016" y="780161"/>
                </a:cubicBezTo>
                <a:cubicBezTo>
                  <a:pt x="7801016" y="810642"/>
                  <a:pt x="7776306" y="835352"/>
                  <a:pt x="7745824" y="835352"/>
                </a:cubicBezTo>
                <a:cubicBezTo>
                  <a:pt x="7715342" y="835352"/>
                  <a:pt x="7690632" y="810642"/>
                  <a:pt x="7690632" y="780161"/>
                </a:cubicBezTo>
                <a:cubicBezTo>
                  <a:pt x="7690632" y="749680"/>
                  <a:pt x="7715342" y="724970"/>
                  <a:pt x="7745824" y="724970"/>
                </a:cubicBezTo>
                <a:close/>
                <a:moveTo>
                  <a:pt x="7608850" y="724970"/>
                </a:moveTo>
                <a:cubicBezTo>
                  <a:pt x="7639332" y="724970"/>
                  <a:pt x="7664042" y="749680"/>
                  <a:pt x="7664042" y="780161"/>
                </a:cubicBezTo>
                <a:cubicBezTo>
                  <a:pt x="7664042" y="810642"/>
                  <a:pt x="7639332" y="835352"/>
                  <a:pt x="7608850" y="835352"/>
                </a:cubicBezTo>
                <a:cubicBezTo>
                  <a:pt x="7578368" y="835352"/>
                  <a:pt x="7553658" y="810642"/>
                  <a:pt x="7553658" y="780161"/>
                </a:cubicBezTo>
                <a:cubicBezTo>
                  <a:pt x="7553658" y="749680"/>
                  <a:pt x="7578368" y="724970"/>
                  <a:pt x="7608850" y="724970"/>
                </a:cubicBezTo>
                <a:close/>
                <a:moveTo>
                  <a:pt x="7481895" y="724970"/>
                </a:moveTo>
                <a:cubicBezTo>
                  <a:pt x="7512377" y="724970"/>
                  <a:pt x="7537087" y="749680"/>
                  <a:pt x="7537087" y="780161"/>
                </a:cubicBezTo>
                <a:cubicBezTo>
                  <a:pt x="7537087" y="810642"/>
                  <a:pt x="7512377" y="835352"/>
                  <a:pt x="7481895" y="835352"/>
                </a:cubicBezTo>
                <a:cubicBezTo>
                  <a:pt x="7451413" y="835352"/>
                  <a:pt x="7426703" y="810642"/>
                  <a:pt x="7426703" y="780161"/>
                </a:cubicBezTo>
                <a:cubicBezTo>
                  <a:pt x="7426703" y="749680"/>
                  <a:pt x="7451413" y="724970"/>
                  <a:pt x="7481895" y="724970"/>
                </a:cubicBezTo>
                <a:close/>
                <a:moveTo>
                  <a:pt x="7341579" y="724970"/>
                </a:moveTo>
                <a:cubicBezTo>
                  <a:pt x="7372061" y="724970"/>
                  <a:pt x="7396771" y="749680"/>
                  <a:pt x="7396771" y="780161"/>
                </a:cubicBezTo>
                <a:cubicBezTo>
                  <a:pt x="7396771" y="810642"/>
                  <a:pt x="7372061" y="835352"/>
                  <a:pt x="7341579" y="835352"/>
                </a:cubicBezTo>
                <a:cubicBezTo>
                  <a:pt x="7311097" y="835352"/>
                  <a:pt x="7286387" y="810642"/>
                  <a:pt x="7286387" y="780161"/>
                </a:cubicBezTo>
                <a:cubicBezTo>
                  <a:pt x="7286387" y="749680"/>
                  <a:pt x="7311097" y="724970"/>
                  <a:pt x="7341579" y="724970"/>
                </a:cubicBezTo>
                <a:close/>
                <a:moveTo>
                  <a:pt x="7211286" y="724970"/>
                </a:moveTo>
                <a:cubicBezTo>
                  <a:pt x="7241768" y="724970"/>
                  <a:pt x="7266478" y="749680"/>
                  <a:pt x="7266478" y="780161"/>
                </a:cubicBezTo>
                <a:cubicBezTo>
                  <a:pt x="7266478" y="810642"/>
                  <a:pt x="7241768" y="835352"/>
                  <a:pt x="7211286" y="835352"/>
                </a:cubicBezTo>
                <a:cubicBezTo>
                  <a:pt x="7180804" y="835352"/>
                  <a:pt x="7156094" y="810642"/>
                  <a:pt x="7156094" y="780161"/>
                </a:cubicBezTo>
                <a:cubicBezTo>
                  <a:pt x="7156094" y="749680"/>
                  <a:pt x="7180804" y="724970"/>
                  <a:pt x="7211286" y="724970"/>
                </a:cubicBezTo>
                <a:close/>
                <a:moveTo>
                  <a:pt x="7080994" y="724970"/>
                </a:moveTo>
                <a:cubicBezTo>
                  <a:pt x="7111476" y="724970"/>
                  <a:pt x="7136186" y="749680"/>
                  <a:pt x="7136186" y="780161"/>
                </a:cubicBezTo>
                <a:cubicBezTo>
                  <a:pt x="7136186" y="810642"/>
                  <a:pt x="7111476" y="835352"/>
                  <a:pt x="7080994" y="835352"/>
                </a:cubicBezTo>
                <a:cubicBezTo>
                  <a:pt x="7050512" y="835352"/>
                  <a:pt x="7025802" y="810642"/>
                  <a:pt x="7025802" y="780161"/>
                </a:cubicBezTo>
                <a:cubicBezTo>
                  <a:pt x="7025802" y="749680"/>
                  <a:pt x="7050512" y="724970"/>
                  <a:pt x="7080994" y="724970"/>
                </a:cubicBezTo>
                <a:close/>
                <a:moveTo>
                  <a:pt x="6947358" y="724970"/>
                </a:moveTo>
                <a:cubicBezTo>
                  <a:pt x="6977840" y="724970"/>
                  <a:pt x="7002550" y="749680"/>
                  <a:pt x="7002550" y="780161"/>
                </a:cubicBezTo>
                <a:cubicBezTo>
                  <a:pt x="7002550" y="810642"/>
                  <a:pt x="6977840" y="835352"/>
                  <a:pt x="6947358" y="835352"/>
                </a:cubicBezTo>
                <a:cubicBezTo>
                  <a:pt x="6916876" y="835352"/>
                  <a:pt x="6892166" y="810642"/>
                  <a:pt x="6892166" y="780161"/>
                </a:cubicBezTo>
                <a:cubicBezTo>
                  <a:pt x="6892166" y="749680"/>
                  <a:pt x="6916876" y="724970"/>
                  <a:pt x="6947358" y="724970"/>
                </a:cubicBezTo>
                <a:close/>
                <a:moveTo>
                  <a:pt x="6817064" y="724970"/>
                </a:moveTo>
                <a:cubicBezTo>
                  <a:pt x="6847546" y="724970"/>
                  <a:pt x="6872256" y="749680"/>
                  <a:pt x="6872256" y="780161"/>
                </a:cubicBezTo>
                <a:cubicBezTo>
                  <a:pt x="6872256" y="810642"/>
                  <a:pt x="6847546" y="835352"/>
                  <a:pt x="6817064" y="835352"/>
                </a:cubicBezTo>
                <a:cubicBezTo>
                  <a:pt x="6786582" y="835352"/>
                  <a:pt x="6761872" y="810642"/>
                  <a:pt x="6761872" y="780161"/>
                </a:cubicBezTo>
                <a:cubicBezTo>
                  <a:pt x="6761872" y="749680"/>
                  <a:pt x="6786582" y="724970"/>
                  <a:pt x="6817064" y="724970"/>
                </a:cubicBezTo>
                <a:close/>
                <a:moveTo>
                  <a:pt x="6683431" y="724970"/>
                </a:moveTo>
                <a:cubicBezTo>
                  <a:pt x="6713913" y="724970"/>
                  <a:pt x="6738623" y="749680"/>
                  <a:pt x="6738623" y="780161"/>
                </a:cubicBezTo>
                <a:cubicBezTo>
                  <a:pt x="6738623" y="810642"/>
                  <a:pt x="6713913" y="835352"/>
                  <a:pt x="6683431" y="835352"/>
                </a:cubicBezTo>
                <a:cubicBezTo>
                  <a:pt x="6652949" y="835352"/>
                  <a:pt x="6628239" y="810642"/>
                  <a:pt x="6628239" y="780161"/>
                </a:cubicBezTo>
                <a:cubicBezTo>
                  <a:pt x="6628239" y="749680"/>
                  <a:pt x="6652949" y="724970"/>
                  <a:pt x="6683431" y="724970"/>
                </a:cubicBezTo>
                <a:close/>
                <a:moveTo>
                  <a:pt x="6553137" y="724970"/>
                </a:moveTo>
                <a:cubicBezTo>
                  <a:pt x="6583619" y="724970"/>
                  <a:pt x="6608329" y="749680"/>
                  <a:pt x="6608329" y="780161"/>
                </a:cubicBezTo>
                <a:cubicBezTo>
                  <a:pt x="6608329" y="810642"/>
                  <a:pt x="6583619" y="835352"/>
                  <a:pt x="6553137" y="835352"/>
                </a:cubicBezTo>
                <a:cubicBezTo>
                  <a:pt x="6522655" y="835352"/>
                  <a:pt x="6497945" y="810642"/>
                  <a:pt x="6497945" y="780161"/>
                </a:cubicBezTo>
                <a:cubicBezTo>
                  <a:pt x="6497945" y="749680"/>
                  <a:pt x="6522655" y="724970"/>
                  <a:pt x="6553137" y="724970"/>
                </a:cubicBezTo>
                <a:close/>
                <a:moveTo>
                  <a:pt x="6419503" y="724970"/>
                </a:moveTo>
                <a:cubicBezTo>
                  <a:pt x="6449985" y="724970"/>
                  <a:pt x="6474695" y="749680"/>
                  <a:pt x="6474695" y="780161"/>
                </a:cubicBezTo>
                <a:cubicBezTo>
                  <a:pt x="6474695" y="810642"/>
                  <a:pt x="6449985" y="835352"/>
                  <a:pt x="6419503" y="835352"/>
                </a:cubicBezTo>
                <a:cubicBezTo>
                  <a:pt x="6389021" y="835352"/>
                  <a:pt x="6364311" y="810642"/>
                  <a:pt x="6364311" y="780161"/>
                </a:cubicBezTo>
                <a:cubicBezTo>
                  <a:pt x="6364311" y="749680"/>
                  <a:pt x="6389021" y="724970"/>
                  <a:pt x="6419503" y="724970"/>
                </a:cubicBezTo>
                <a:close/>
                <a:moveTo>
                  <a:pt x="6289207" y="724970"/>
                </a:moveTo>
                <a:cubicBezTo>
                  <a:pt x="6319689" y="724970"/>
                  <a:pt x="6344399" y="749680"/>
                  <a:pt x="6344399" y="780161"/>
                </a:cubicBezTo>
                <a:cubicBezTo>
                  <a:pt x="6344399" y="810642"/>
                  <a:pt x="6319689" y="835352"/>
                  <a:pt x="6289207" y="835352"/>
                </a:cubicBezTo>
                <a:cubicBezTo>
                  <a:pt x="6258725" y="835352"/>
                  <a:pt x="6234015" y="810642"/>
                  <a:pt x="6234015" y="780161"/>
                </a:cubicBezTo>
                <a:cubicBezTo>
                  <a:pt x="6234015" y="749680"/>
                  <a:pt x="6258725" y="724970"/>
                  <a:pt x="6289207" y="724970"/>
                </a:cubicBezTo>
                <a:close/>
                <a:moveTo>
                  <a:pt x="6155573" y="724970"/>
                </a:moveTo>
                <a:cubicBezTo>
                  <a:pt x="6186055" y="724970"/>
                  <a:pt x="6210765" y="749680"/>
                  <a:pt x="6210765" y="780161"/>
                </a:cubicBezTo>
                <a:cubicBezTo>
                  <a:pt x="6210765" y="810642"/>
                  <a:pt x="6186055" y="835352"/>
                  <a:pt x="6155573" y="835352"/>
                </a:cubicBezTo>
                <a:cubicBezTo>
                  <a:pt x="6125091" y="835352"/>
                  <a:pt x="6100381" y="810642"/>
                  <a:pt x="6100381" y="780161"/>
                </a:cubicBezTo>
                <a:cubicBezTo>
                  <a:pt x="6100381" y="749680"/>
                  <a:pt x="6125091" y="724970"/>
                  <a:pt x="6155573" y="724970"/>
                </a:cubicBezTo>
                <a:close/>
                <a:moveTo>
                  <a:pt x="5621035" y="724970"/>
                </a:moveTo>
                <a:cubicBezTo>
                  <a:pt x="5651517" y="724970"/>
                  <a:pt x="5676227" y="749680"/>
                  <a:pt x="5676227" y="780161"/>
                </a:cubicBezTo>
                <a:cubicBezTo>
                  <a:pt x="5676227" y="810642"/>
                  <a:pt x="5651517" y="835352"/>
                  <a:pt x="5621035" y="835352"/>
                </a:cubicBezTo>
                <a:cubicBezTo>
                  <a:pt x="5590553" y="835352"/>
                  <a:pt x="5565843" y="810642"/>
                  <a:pt x="5565843" y="780161"/>
                </a:cubicBezTo>
                <a:cubicBezTo>
                  <a:pt x="5565843" y="749680"/>
                  <a:pt x="5590553" y="724970"/>
                  <a:pt x="5621035" y="724970"/>
                </a:cubicBezTo>
                <a:close/>
                <a:moveTo>
                  <a:pt x="5487399" y="724970"/>
                </a:moveTo>
                <a:cubicBezTo>
                  <a:pt x="5517881" y="724970"/>
                  <a:pt x="5542591" y="749680"/>
                  <a:pt x="5542591" y="780161"/>
                </a:cubicBezTo>
                <a:cubicBezTo>
                  <a:pt x="5542591" y="810642"/>
                  <a:pt x="5517881" y="835352"/>
                  <a:pt x="5487399" y="835352"/>
                </a:cubicBezTo>
                <a:cubicBezTo>
                  <a:pt x="5456917" y="835352"/>
                  <a:pt x="5432207" y="810642"/>
                  <a:pt x="5432207" y="780161"/>
                </a:cubicBezTo>
                <a:cubicBezTo>
                  <a:pt x="5432207" y="749680"/>
                  <a:pt x="5456917" y="724970"/>
                  <a:pt x="5487399" y="724970"/>
                </a:cubicBezTo>
                <a:close/>
                <a:moveTo>
                  <a:pt x="5357106" y="724970"/>
                </a:moveTo>
                <a:cubicBezTo>
                  <a:pt x="5387588" y="724970"/>
                  <a:pt x="5412298" y="749680"/>
                  <a:pt x="5412298" y="780161"/>
                </a:cubicBezTo>
                <a:cubicBezTo>
                  <a:pt x="5412298" y="810642"/>
                  <a:pt x="5387588" y="835352"/>
                  <a:pt x="5357106" y="835352"/>
                </a:cubicBezTo>
                <a:cubicBezTo>
                  <a:pt x="5326624" y="835352"/>
                  <a:pt x="5301914" y="810642"/>
                  <a:pt x="5301914" y="780161"/>
                </a:cubicBezTo>
                <a:cubicBezTo>
                  <a:pt x="5301914" y="749680"/>
                  <a:pt x="5326624" y="724970"/>
                  <a:pt x="5357106" y="724970"/>
                </a:cubicBezTo>
                <a:close/>
                <a:moveTo>
                  <a:pt x="5223473" y="724970"/>
                </a:moveTo>
                <a:cubicBezTo>
                  <a:pt x="5253955" y="724970"/>
                  <a:pt x="5278665" y="749680"/>
                  <a:pt x="5278665" y="780161"/>
                </a:cubicBezTo>
                <a:cubicBezTo>
                  <a:pt x="5278665" y="810642"/>
                  <a:pt x="5253955" y="835352"/>
                  <a:pt x="5223473" y="835352"/>
                </a:cubicBezTo>
                <a:cubicBezTo>
                  <a:pt x="5192991" y="835352"/>
                  <a:pt x="5168281" y="810642"/>
                  <a:pt x="5168281" y="780161"/>
                </a:cubicBezTo>
                <a:cubicBezTo>
                  <a:pt x="5168281" y="749680"/>
                  <a:pt x="5192991" y="724970"/>
                  <a:pt x="5223473" y="724970"/>
                </a:cubicBezTo>
                <a:close/>
                <a:moveTo>
                  <a:pt x="5093178" y="724970"/>
                </a:moveTo>
                <a:cubicBezTo>
                  <a:pt x="5123660" y="724970"/>
                  <a:pt x="5148370" y="749680"/>
                  <a:pt x="5148370" y="780161"/>
                </a:cubicBezTo>
                <a:cubicBezTo>
                  <a:pt x="5148370" y="810642"/>
                  <a:pt x="5123660" y="835352"/>
                  <a:pt x="5093178" y="835352"/>
                </a:cubicBezTo>
                <a:cubicBezTo>
                  <a:pt x="5062696" y="835352"/>
                  <a:pt x="5037986" y="810642"/>
                  <a:pt x="5037986" y="780161"/>
                </a:cubicBezTo>
                <a:cubicBezTo>
                  <a:pt x="5037986" y="749680"/>
                  <a:pt x="5062696" y="724970"/>
                  <a:pt x="5093178" y="724970"/>
                </a:cubicBezTo>
                <a:close/>
                <a:moveTo>
                  <a:pt x="3897148" y="724970"/>
                </a:moveTo>
                <a:cubicBezTo>
                  <a:pt x="3927630" y="724970"/>
                  <a:pt x="3952340" y="749680"/>
                  <a:pt x="3952340" y="780161"/>
                </a:cubicBezTo>
                <a:cubicBezTo>
                  <a:pt x="3952340" y="810642"/>
                  <a:pt x="3927630" y="835352"/>
                  <a:pt x="3897148" y="835352"/>
                </a:cubicBezTo>
                <a:cubicBezTo>
                  <a:pt x="3866666" y="835352"/>
                  <a:pt x="3841956" y="810642"/>
                  <a:pt x="3841956" y="780161"/>
                </a:cubicBezTo>
                <a:cubicBezTo>
                  <a:pt x="3841956" y="749680"/>
                  <a:pt x="3866666" y="724970"/>
                  <a:pt x="3897148" y="724970"/>
                </a:cubicBezTo>
                <a:close/>
                <a:moveTo>
                  <a:pt x="3763514" y="724970"/>
                </a:moveTo>
                <a:cubicBezTo>
                  <a:pt x="3793996" y="724970"/>
                  <a:pt x="3818706" y="749680"/>
                  <a:pt x="3818706" y="780161"/>
                </a:cubicBezTo>
                <a:cubicBezTo>
                  <a:pt x="3818706" y="810642"/>
                  <a:pt x="3793996" y="835352"/>
                  <a:pt x="3763514" y="835352"/>
                </a:cubicBezTo>
                <a:cubicBezTo>
                  <a:pt x="3733032" y="835352"/>
                  <a:pt x="3708322" y="810642"/>
                  <a:pt x="3708322" y="780161"/>
                </a:cubicBezTo>
                <a:cubicBezTo>
                  <a:pt x="3708322" y="749680"/>
                  <a:pt x="3733032" y="724970"/>
                  <a:pt x="3763514" y="724970"/>
                </a:cubicBezTo>
                <a:close/>
                <a:moveTo>
                  <a:pt x="3633221" y="724970"/>
                </a:moveTo>
                <a:cubicBezTo>
                  <a:pt x="3663703" y="724970"/>
                  <a:pt x="3688413" y="749680"/>
                  <a:pt x="3688413" y="780161"/>
                </a:cubicBezTo>
                <a:cubicBezTo>
                  <a:pt x="3688413" y="810642"/>
                  <a:pt x="3663703" y="835352"/>
                  <a:pt x="3633221" y="835352"/>
                </a:cubicBezTo>
                <a:cubicBezTo>
                  <a:pt x="3602739" y="835352"/>
                  <a:pt x="3578029" y="810642"/>
                  <a:pt x="3578029" y="780161"/>
                </a:cubicBezTo>
                <a:cubicBezTo>
                  <a:pt x="3578029" y="749680"/>
                  <a:pt x="3602739" y="724970"/>
                  <a:pt x="3633221" y="724970"/>
                </a:cubicBezTo>
                <a:close/>
                <a:moveTo>
                  <a:pt x="3499586" y="724970"/>
                </a:moveTo>
                <a:cubicBezTo>
                  <a:pt x="3530068" y="724970"/>
                  <a:pt x="3554778" y="749680"/>
                  <a:pt x="3554778" y="780161"/>
                </a:cubicBezTo>
                <a:cubicBezTo>
                  <a:pt x="3554778" y="810642"/>
                  <a:pt x="3530068" y="835352"/>
                  <a:pt x="3499586" y="835352"/>
                </a:cubicBezTo>
                <a:cubicBezTo>
                  <a:pt x="3469104" y="835352"/>
                  <a:pt x="3444394" y="810642"/>
                  <a:pt x="3444394" y="780161"/>
                </a:cubicBezTo>
                <a:cubicBezTo>
                  <a:pt x="3444394" y="749680"/>
                  <a:pt x="3469104" y="724970"/>
                  <a:pt x="3499586" y="724970"/>
                </a:cubicBezTo>
                <a:close/>
                <a:moveTo>
                  <a:pt x="3369292" y="724970"/>
                </a:moveTo>
                <a:cubicBezTo>
                  <a:pt x="3399774" y="724970"/>
                  <a:pt x="3424484" y="749680"/>
                  <a:pt x="3424484" y="780161"/>
                </a:cubicBezTo>
                <a:cubicBezTo>
                  <a:pt x="3424484" y="810642"/>
                  <a:pt x="3399774" y="835352"/>
                  <a:pt x="3369292" y="835352"/>
                </a:cubicBezTo>
                <a:cubicBezTo>
                  <a:pt x="3338810" y="835352"/>
                  <a:pt x="3314100" y="810642"/>
                  <a:pt x="3314100" y="780161"/>
                </a:cubicBezTo>
                <a:cubicBezTo>
                  <a:pt x="3314100" y="749680"/>
                  <a:pt x="3338810" y="724970"/>
                  <a:pt x="3369292" y="724970"/>
                </a:cubicBezTo>
                <a:close/>
                <a:moveTo>
                  <a:pt x="2834856" y="724970"/>
                </a:moveTo>
                <a:cubicBezTo>
                  <a:pt x="2865340" y="724970"/>
                  <a:pt x="2890049" y="749680"/>
                  <a:pt x="2890049" y="780161"/>
                </a:cubicBezTo>
                <a:cubicBezTo>
                  <a:pt x="2890049" y="810642"/>
                  <a:pt x="2865340" y="835352"/>
                  <a:pt x="2834856" y="835352"/>
                </a:cubicBezTo>
                <a:cubicBezTo>
                  <a:pt x="2804376" y="835352"/>
                  <a:pt x="2779665" y="810642"/>
                  <a:pt x="2779665" y="780161"/>
                </a:cubicBezTo>
                <a:cubicBezTo>
                  <a:pt x="2779665" y="749680"/>
                  <a:pt x="2804376" y="724970"/>
                  <a:pt x="2834856" y="724970"/>
                </a:cubicBezTo>
                <a:close/>
                <a:moveTo>
                  <a:pt x="2707901" y="724970"/>
                </a:moveTo>
                <a:cubicBezTo>
                  <a:pt x="2738385" y="724970"/>
                  <a:pt x="2763094" y="749680"/>
                  <a:pt x="2763094" y="780161"/>
                </a:cubicBezTo>
                <a:cubicBezTo>
                  <a:pt x="2763094" y="810642"/>
                  <a:pt x="2738385" y="835352"/>
                  <a:pt x="2707901" y="835352"/>
                </a:cubicBezTo>
                <a:cubicBezTo>
                  <a:pt x="2677420" y="835352"/>
                  <a:pt x="2652711" y="810642"/>
                  <a:pt x="2652711" y="780161"/>
                </a:cubicBezTo>
                <a:cubicBezTo>
                  <a:pt x="2652711" y="749680"/>
                  <a:pt x="2677420" y="724970"/>
                  <a:pt x="2707901" y="724970"/>
                </a:cubicBezTo>
                <a:close/>
                <a:moveTo>
                  <a:pt x="2570929" y="724970"/>
                </a:moveTo>
                <a:cubicBezTo>
                  <a:pt x="2601412" y="724970"/>
                  <a:pt x="2626122" y="749680"/>
                  <a:pt x="2626122" y="780161"/>
                </a:cubicBezTo>
                <a:cubicBezTo>
                  <a:pt x="2626122" y="810642"/>
                  <a:pt x="2601412" y="835352"/>
                  <a:pt x="2570929" y="835352"/>
                </a:cubicBezTo>
                <a:cubicBezTo>
                  <a:pt x="2540446" y="835352"/>
                  <a:pt x="2515735" y="810642"/>
                  <a:pt x="2515735" y="780161"/>
                </a:cubicBezTo>
                <a:cubicBezTo>
                  <a:pt x="2515735" y="749680"/>
                  <a:pt x="2540446" y="724970"/>
                  <a:pt x="2570929" y="724970"/>
                </a:cubicBezTo>
                <a:close/>
                <a:moveTo>
                  <a:pt x="2437294" y="724970"/>
                </a:moveTo>
                <a:cubicBezTo>
                  <a:pt x="2467777" y="724970"/>
                  <a:pt x="2492487" y="749680"/>
                  <a:pt x="2492487" y="780161"/>
                </a:cubicBezTo>
                <a:cubicBezTo>
                  <a:pt x="2492487" y="810642"/>
                  <a:pt x="2467777" y="835352"/>
                  <a:pt x="2437294" y="835352"/>
                </a:cubicBezTo>
                <a:cubicBezTo>
                  <a:pt x="2406815" y="835352"/>
                  <a:pt x="2382104" y="810642"/>
                  <a:pt x="2382104" y="780161"/>
                </a:cubicBezTo>
                <a:cubicBezTo>
                  <a:pt x="2382104" y="749680"/>
                  <a:pt x="2406815" y="724970"/>
                  <a:pt x="2437294" y="724970"/>
                </a:cubicBezTo>
                <a:close/>
                <a:moveTo>
                  <a:pt x="2303662" y="724970"/>
                </a:moveTo>
                <a:cubicBezTo>
                  <a:pt x="2334145" y="724970"/>
                  <a:pt x="2358853" y="749680"/>
                  <a:pt x="2358853" y="780161"/>
                </a:cubicBezTo>
                <a:cubicBezTo>
                  <a:pt x="2358853" y="810642"/>
                  <a:pt x="2334145" y="835352"/>
                  <a:pt x="2303662" y="835352"/>
                </a:cubicBezTo>
                <a:cubicBezTo>
                  <a:pt x="2273180" y="835352"/>
                  <a:pt x="2248471" y="810642"/>
                  <a:pt x="2248471" y="780161"/>
                </a:cubicBezTo>
                <a:cubicBezTo>
                  <a:pt x="2248471" y="749680"/>
                  <a:pt x="2273180" y="724970"/>
                  <a:pt x="2303662" y="724970"/>
                </a:cubicBezTo>
                <a:close/>
                <a:moveTo>
                  <a:pt x="2173371" y="724970"/>
                </a:moveTo>
                <a:cubicBezTo>
                  <a:pt x="2203851" y="724970"/>
                  <a:pt x="2228562" y="749680"/>
                  <a:pt x="2228562" y="780161"/>
                </a:cubicBezTo>
                <a:cubicBezTo>
                  <a:pt x="2228562" y="810642"/>
                  <a:pt x="2203851" y="835352"/>
                  <a:pt x="2173371" y="835352"/>
                </a:cubicBezTo>
                <a:cubicBezTo>
                  <a:pt x="2142888" y="835352"/>
                  <a:pt x="2118177" y="810642"/>
                  <a:pt x="2118177" y="780161"/>
                </a:cubicBezTo>
                <a:cubicBezTo>
                  <a:pt x="2118177" y="749680"/>
                  <a:pt x="2142888" y="724970"/>
                  <a:pt x="2173371" y="724970"/>
                </a:cubicBezTo>
                <a:close/>
                <a:moveTo>
                  <a:pt x="2039733" y="724970"/>
                </a:moveTo>
                <a:cubicBezTo>
                  <a:pt x="2070216" y="724970"/>
                  <a:pt x="2094927" y="749680"/>
                  <a:pt x="2094927" y="780161"/>
                </a:cubicBezTo>
                <a:cubicBezTo>
                  <a:pt x="2094927" y="810642"/>
                  <a:pt x="2070216" y="835352"/>
                  <a:pt x="2039733" y="835352"/>
                </a:cubicBezTo>
                <a:cubicBezTo>
                  <a:pt x="2009252" y="835352"/>
                  <a:pt x="1984539" y="810642"/>
                  <a:pt x="1984539" y="780161"/>
                </a:cubicBezTo>
                <a:cubicBezTo>
                  <a:pt x="1984539" y="749680"/>
                  <a:pt x="2009252" y="724970"/>
                  <a:pt x="2039733" y="724970"/>
                </a:cubicBezTo>
                <a:close/>
                <a:moveTo>
                  <a:pt x="1909436" y="724970"/>
                </a:moveTo>
                <a:cubicBezTo>
                  <a:pt x="1939919" y="724970"/>
                  <a:pt x="1964630" y="749680"/>
                  <a:pt x="1964630" y="780161"/>
                </a:cubicBezTo>
                <a:cubicBezTo>
                  <a:pt x="1964630" y="810642"/>
                  <a:pt x="1939919" y="835352"/>
                  <a:pt x="1909436" y="835352"/>
                </a:cubicBezTo>
                <a:cubicBezTo>
                  <a:pt x="1878955" y="835352"/>
                  <a:pt x="1854243" y="810642"/>
                  <a:pt x="1854243" y="780161"/>
                </a:cubicBezTo>
                <a:cubicBezTo>
                  <a:pt x="1854243" y="749680"/>
                  <a:pt x="1878955" y="724970"/>
                  <a:pt x="1909436" y="724970"/>
                </a:cubicBezTo>
                <a:close/>
                <a:moveTo>
                  <a:pt x="1779142" y="724970"/>
                </a:moveTo>
                <a:cubicBezTo>
                  <a:pt x="1809623" y="724970"/>
                  <a:pt x="1834335" y="749680"/>
                  <a:pt x="1834335" y="780161"/>
                </a:cubicBezTo>
                <a:cubicBezTo>
                  <a:pt x="1834335" y="810642"/>
                  <a:pt x="1809623" y="835352"/>
                  <a:pt x="1779142" y="835352"/>
                </a:cubicBezTo>
                <a:cubicBezTo>
                  <a:pt x="1748660" y="835352"/>
                  <a:pt x="1723947" y="810642"/>
                  <a:pt x="1723947" y="780161"/>
                </a:cubicBezTo>
                <a:cubicBezTo>
                  <a:pt x="1723947" y="749680"/>
                  <a:pt x="1748660" y="724970"/>
                  <a:pt x="1779142" y="724970"/>
                </a:cubicBezTo>
                <a:close/>
                <a:moveTo>
                  <a:pt x="1645501" y="724970"/>
                </a:moveTo>
                <a:cubicBezTo>
                  <a:pt x="1675988" y="724970"/>
                  <a:pt x="1700699" y="749680"/>
                  <a:pt x="1700699" y="780161"/>
                </a:cubicBezTo>
                <a:cubicBezTo>
                  <a:pt x="1700699" y="810642"/>
                  <a:pt x="1675988" y="835352"/>
                  <a:pt x="1645501" y="835352"/>
                </a:cubicBezTo>
                <a:cubicBezTo>
                  <a:pt x="1615024" y="835352"/>
                  <a:pt x="1590310" y="810642"/>
                  <a:pt x="1590310" y="780161"/>
                </a:cubicBezTo>
                <a:cubicBezTo>
                  <a:pt x="1590310" y="749680"/>
                  <a:pt x="1615024" y="724970"/>
                  <a:pt x="1645501" y="724970"/>
                </a:cubicBezTo>
                <a:close/>
                <a:moveTo>
                  <a:pt x="1515213" y="724970"/>
                </a:moveTo>
                <a:cubicBezTo>
                  <a:pt x="1545692" y="724970"/>
                  <a:pt x="1570399" y="749680"/>
                  <a:pt x="1570399" y="780161"/>
                </a:cubicBezTo>
                <a:cubicBezTo>
                  <a:pt x="1570399" y="810642"/>
                  <a:pt x="1545692" y="835352"/>
                  <a:pt x="1515213" y="835352"/>
                </a:cubicBezTo>
                <a:cubicBezTo>
                  <a:pt x="1484730" y="835352"/>
                  <a:pt x="1460016" y="810642"/>
                  <a:pt x="1460016" y="780161"/>
                </a:cubicBezTo>
                <a:cubicBezTo>
                  <a:pt x="1460016" y="749680"/>
                  <a:pt x="1484730" y="724970"/>
                  <a:pt x="1515213" y="724970"/>
                </a:cubicBezTo>
                <a:close/>
                <a:moveTo>
                  <a:pt x="1381573" y="724970"/>
                </a:moveTo>
                <a:cubicBezTo>
                  <a:pt x="1412052" y="724970"/>
                  <a:pt x="1436767" y="749680"/>
                  <a:pt x="1436767" y="780161"/>
                </a:cubicBezTo>
                <a:cubicBezTo>
                  <a:pt x="1436767" y="810642"/>
                  <a:pt x="1412052" y="835352"/>
                  <a:pt x="1381573" y="835352"/>
                </a:cubicBezTo>
                <a:cubicBezTo>
                  <a:pt x="1351096" y="835352"/>
                  <a:pt x="1326381" y="810642"/>
                  <a:pt x="1326381" y="780161"/>
                </a:cubicBezTo>
                <a:cubicBezTo>
                  <a:pt x="1326381" y="749680"/>
                  <a:pt x="1351096" y="724970"/>
                  <a:pt x="1381573" y="724970"/>
                </a:cubicBezTo>
                <a:close/>
                <a:moveTo>
                  <a:pt x="1251282" y="724970"/>
                </a:moveTo>
                <a:cubicBezTo>
                  <a:pt x="1281764" y="724970"/>
                  <a:pt x="1306475" y="749680"/>
                  <a:pt x="1306475" y="780161"/>
                </a:cubicBezTo>
                <a:cubicBezTo>
                  <a:pt x="1306475" y="810642"/>
                  <a:pt x="1281764" y="835352"/>
                  <a:pt x="1251282" y="835352"/>
                </a:cubicBezTo>
                <a:cubicBezTo>
                  <a:pt x="1220800" y="835352"/>
                  <a:pt x="1196089" y="810642"/>
                  <a:pt x="1196089" y="780161"/>
                </a:cubicBezTo>
                <a:cubicBezTo>
                  <a:pt x="1196089" y="749680"/>
                  <a:pt x="1220800" y="724970"/>
                  <a:pt x="1251282" y="724970"/>
                </a:cubicBezTo>
                <a:close/>
                <a:moveTo>
                  <a:pt x="1117642" y="724970"/>
                </a:moveTo>
                <a:cubicBezTo>
                  <a:pt x="1148126" y="724970"/>
                  <a:pt x="1172836" y="749680"/>
                  <a:pt x="1172836" y="780161"/>
                </a:cubicBezTo>
                <a:cubicBezTo>
                  <a:pt x="1172836" y="810642"/>
                  <a:pt x="1148126" y="835352"/>
                  <a:pt x="1117642" y="835352"/>
                </a:cubicBezTo>
                <a:cubicBezTo>
                  <a:pt x="1087161" y="835352"/>
                  <a:pt x="1062448" y="810642"/>
                  <a:pt x="1062448" y="780161"/>
                </a:cubicBezTo>
                <a:cubicBezTo>
                  <a:pt x="1062448" y="749680"/>
                  <a:pt x="1087161" y="724970"/>
                  <a:pt x="1117642" y="724970"/>
                </a:cubicBezTo>
                <a:close/>
                <a:moveTo>
                  <a:pt x="980664" y="724970"/>
                </a:moveTo>
                <a:cubicBezTo>
                  <a:pt x="1011146" y="724970"/>
                  <a:pt x="1035857" y="749680"/>
                  <a:pt x="1035857" y="780161"/>
                </a:cubicBezTo>
                <a:cubicBezTo>
                  <a:pt x="1035857" y="810642"/>
                  <a:pt x="1011146" y="835352"/>
                  <a:pt x="980664" y="835352"/>
                </a:cubicBezTo>
                <a:cubicBezTo>
                  <a:pt x="950180" y="835352"/>
                  <a:pt x="925471" y="810642"/>
                  <a:pt x="925471" y="780161"/>
                </a:cubicBezTo>
                <a:cubicBezTo>
                  <a:pt x="925471" y="749680"/>
                  <a:pt x="950180" y="724970"/>
                  <a:pt x="980664" y="724970"/>
                </a:cubicBezTo>
                <a:close/>
                <a:moveTo>
                  <a:pt x="847022" y="724970"/>
                </a:moveTo>
                <a:cubicBezTo>
                  <a:pt x="877506" y="724970"/>
                  <a:pt x="902217" y="749680"/>
                  <a:pt x="902217" y="780161"/>
                </a:cubicBezTo>
                <a:cubicBezTo>
                  <a:pt x="902217" y="810642"/>
                  <a:pt x="877506" y="835352"/>
                  <a:pt x="847022" y="835352"/>
                </a:cubicBezTo>
                <a:cubicBezTo>
                  <a:pt x="816540" y="835352"/>
                  <a:pt x="791823" y="810642"/>
                  <a:pt x="791823" y="780161"/>
                </a:cubicBezTo>
                <a:cubicBezTo>
                  <a:pt x="791823" y="749680"/>
                  <a:pt x="816540" y="724970"/>
                  <a:pt x="847022" y="724970"/>
                </a:cubicBezTo>
                <a:close/>
                <a:moveTo>
                  <a:pt x="716722" y="724970"/>
                </a:moveTo>
                <a:cubicBezTo>
                  <a:pt x="747204" y="724970"/>
                  <a:pt x="771916" y="749680"/>
                  <a:pt x="771916" y="780161"/>
                </a:cubicBezTo>
                <a:cubicBezTo>
                  <a:pt x="771916" y="810642"/>
                  <a:pt x="747204" y="835352"/>
                  <a:pt x="716722" y="835352"/>
                </a:cubicBezTo>
                <a:cubicBezTo>
                  <a:pt x="686240" y="835352"/>
                  <a:pt x="661530" y="810642"/>
                  <a:pt x="661530" y="780161"/>
                </a:cubicBezTo>
                <a:cubicBezTo>
                  <a:pt x="661530" y="749680"/>
                  <a:pt x="686240" y="724970"/>
                  <a:pt x="716722" y="724970"/>
                </a:cubicBezTo>
                <a:close/>
                <a:moveTo>
                  <a:pt x="583085" y="724970"/>
                </a:moveTo>
                <a:cubicBezTo>
                  <a:pt x="613567" y="724970"/>
                  <a:pt x="638278" y="749680"/>
                  <a:pt x="638278" y="780161"/>
                </a:cubicBezTo>
                <a:cubicBezTo>
                  <a:pt x="638278" y="810642"/>
                  <a:pt x="613567" y="835352"/>
                  <a:pt x="583085" y="835352"/>
                </a:cubicBezTo>
                <a:cubicBezTo>
                  <a:pt x="552602" y="835352"/>
                  <a:pt x="527891" y="810642"/>
                  <a:pt x="527891" y="780161"/>
                </a:cubicBezTo>
                <a:cubicBezTo>
                  <a:pt x="527891" y="749680"/>
                  <a:pt x="552602" y="724970"/>
                  <a:pt x="583085" y="724970"/>
                </a:cubicBezTo>
                <a:close/>
                <a:moveTo>
                  <a:pt x="449437" y="724970"/>
                </a:moveTo>
                <a:cubicBezTo>
                  <a:pt x="479919" y="724970"/>
                  <a:pt x="504629" y="749680"/>
                  <a:pt x="504629" y="780161"/>
                </a:cubicBezTo>
                <a:cubicBezTo>
                  <a:pt x="504629" y="810642"/>
                  <a:pt x="479919" y="835352"/>
                  <a:pt x="449437" y="835352"/>
                </a:cubicBezTo>
                <a:cubicBezTo>
                  <a:pt x="418954" y="835352"/>
                  <a:pt x="394244" y="810642"/>
                  <a:pt x="394244" y="780161"/>
                </a:cubicBezTo>
                <a:cubicBezTo>
                  <a:pt x="394244" y="749680"/>
                  <a:pt x="418954" y="724970"/>
                  <a:pt x="449437" y="724970"/>
                </a:cubicBezTo>
                <a:close/>
                <a:moveTo>
                  <a:pt x="319140" y="724970"/>
                </a:moveTo>
                <a:cubicBezTo>
                  <a:pt x="349624" y="724970"/>
                  <a:pt x="374334" y="749680"/>
                  <a:pt x="374334" y="780161"/>
                </a:cubicBezTo>
                <a:cubicBezTo>
                  <a:pt x="374334" y="810642"/>
                  <a:pt x="349624" y="835352"/>
                  <a:pt x="319140" y="835352"/>
                </a:cubicBezTo>
                <a:cubicBezTo>
                  <a:pt x="288658" y="835352"/>
                  <a:pt x="263948" y="810642"/>
                  <a:pt x="263948" y="780161"/>
                </a:cubicBezTo>
                <a:cubicBezTo>
                  <a:pt x="263948" y="749680"/>
                  <a:pt x="288658" y="724970"/>
                  <a:pt x="319140" y="724970"/>
                </a:cubicBezTo>
                <a:close/>
                <a:moveTo>
                  <a:pt x="185509" y="724970"/>
                </a:moveTo>
                <a:cubicBezTo>
                  <a:pt x="215993" y="724970"/>
                  <a:pt x="240701" y="749680"/>
                  <a:pt x="240701" y="780161"/>
                </a:cubicBezTo>
                <a:cubicBezTo>
                  <a:pt x="240701" y="810642"/>
                  <a:pt x="215993" y="835352"/>
                  <a:pt x="185509" y="835352"/>
                </a:cubicBezTo>
                <a:cubicBezTo>
                  <a:pt x="155029" y="835352"/>
                  <a:pt x="130319" y="810642"/>
                  <a:pt x="130319" y="780161"/>
                </a:cubicBezTo>
                <a:cubicBezTo>
                  <a:pt x="130319" y="749680"/>
                  <a:pt x="155029" y="724970"/>
                  <a:pt x="185509" y="724970"/>
                </a:cubicBezTo>
                <a:close/>
                <a:moveTo>
                  <a:pt x="8801538" y="608039"/>
                </a:moveTo>
                <a:cubicBezTo>
                  <a:pt x="8832020" y="608039"/>
                  <a:pt x="8856730" y="632749"/>
                  <a:pt x="8856730" y="663230"/>
                </a:cubicBezTo>
                <a:cubicBezTo>
                  <a:pt x="8856730" y="693711"/>
                  <a:pt x="8832020" y="718421"/>
                  <a:pt x="8801538" y="718421"/>
                </a:cubicBezTo>
                <a:cubicBezTo>
                  <a:pt x="8771056" y="718421"/>
                  <a:pt x="8746346" y="693711"/>
                  <a:pt x="8746346" y="663230"/>
                </a:cubicBezTo>
                <a:cubicBezTo>
                  <a:pt x="8746346" y="632749"/>
                  <a:pt x="8771056" y="608039"/>
                  <a:pt x="8801538" y="608039"/>
                </a:cubicBezTo>
                <a:close/>
                <a:moveTo>
                  <a:pt x="8671244" y="608039"/>
                </a:moveTo>
                <a:cubicBezTo>
                  <a:pt x="8701726" y="608039"/>
                  <a:pt x="8726436" y="632749"/>
                  <a:pt x="8726436" y="663230"/>
                </a:cubicBezTo>
                <a:cubicBezTo>
                  <a:pt x="8726436" y="693711"/>
                  <a:pt x="8701726" y="718421"/>
                  <a:pt x="8671244" y="718421"/>
                </a:cubicBezTo>
                <a:cubicBezTo>
                  <a:pt x="8640762" y="718421"/>
                  <a:pt x="8616052" y="693711"/>
                  <a:pt x="8616052" y="663230"/>
                </a:cubicBezTo>
                <a:cubicBezTo>
                  <a:pt x="8616052" y="632749"/>
                  <a:pt x="8640762" y="608039"/>
                  <a:pt x="8671244" y="608039"/>
                </a:cubicBezTo>
                <a:close/>
                <a:moveTo>
                  <a:pt x="8537609" y="608039"/>
                </a:moveTo>
                <a:cubicBezTo>
                  <a:pt x="8568091" y="608039"/>
                  <a:pt x="8592801" y="632749"/>
                  <a:pt x="8592801" y="663230"/>
                </a:cubicBezTo>
                <a:cubicBezTo>
                  <a:pt x="8592801" y="693711"/>
                  <a:pt x="8568091" y="718421"/>
                  <a:pt x="8537609" y="718421"/>
                </a:cubicBezTo>
                <a:cubicBezTo>
                  <a:pt x="8507127" y="718421"/>
                  <a:pt x="8482417" y="693711"/>
                  <a:pt x="8482417" y="663230"/>
                </a:cubicBezTo>
                <a:cubicBezTo>
                  <a:pt x="8482417" y="632749"/>
                  <a:pt x="8507127" y="608039"/>
                  <a:pt x="8537609" y="608039"/>
                </a:cubicBezTo>
                <a:close/>
                <a:moveTo>
                  <a:pt x="8407318" y="608039"/>
                </a:moveTo>
                <a:cubicBezTo>
                  <a:pt x="8437800" y="608039"/>
                  <a:pt x="8462510" y="632749"/>
                  <a:pt x="8462510" y="663230"/>
                </a:cubicBezTo>
                <a:cubicBezTo>
                  <a:pt x="8462510" y="693711"/>
                  <a:pt x="8437800" y="718421"/>
                  <a:pt x="8407318" y="718421"/>
                </a:cubicBezTo>
                <a:cubicBezTo>
                  <a:pt x="8376836" y="718421"/>
                  <a:pt x="8352126" y="693711"/>
                  <a:pt x="8352126" y="663230"/>
                </a:cubicBezTo>
                <a:cubicBezTo>
                  <a:pt x="8352126" y="632749"/>
                  <a:pt x="8376836" y="608039"/>
                  <a:pt x="8407318" y="608039"/>
                </a:cubicBezTo>
                <a:close/>
                <a:moveTo>
                  <a:pt x="8273682" y="608039"/>
                </a:moveTo>
                <a:cubicBezTo>
                  <a:pt x="8304164" y="608039"/>
                  <a:pt x="8328874" y="632749"/>
                  <a:pt x="8328874" y="663230"/>
                </a:cubicBezTo>
                <a:cubicBezTo>
                  <a:pt x="8328874" y="693711"/>
                  <a:pt x="8304164" y="718421"/>
                  <a:pt x="8273682" y="718421"/>
                </a:cubicBezTo>
                <a:cubicBezTo>
                  <a:pt x="8243200" y="718421"/>
                  <a:pt x="8218490" y="693711"/>
                  <a:pt x="8218490" y="663230"/>
                </a:cubicBezTo>
                <a:cubicBezTo>
                  <a:pt x="8218490" y="632749"/>
                  <a:pt x="8243200" y="608039"/>
                  <a:pt x="8273682" y="608039"/>
                </a:cubicBezTo>
                <a:close/>
                <a:moveTo>
                  <a:pt x="8143386" y="608039"/>
                </a:moveTo>
                <a:cubicBezTo>
                  <a:pt x="8173868" y="608039"/>
                  <a:pt x="8198578" y="632749"/>
                  <a:pt x="8198578" y="663230"/>
                </a:cubicBezTo>
                <a:cubicBezTo>
                  <a:pt x="8198578" y="693711"/>
                  <a:pt x="8173868" y="718421"/>
                  <a:pt x="8143386" y="718421"/>
                </a:cubicBezTo>
                <a:cubicBezTo>
                  <a:pt x="8112904" y="718421"/>
                  <a:pt x="8088194" y="693711"/>
                  <a:pt x="8088194" y="663230"/>
                </a:cubicBezTo>
                <a:cubicBezTo>
                  <a:pt x="8088194" y="632749"/>
                  <a:pt x="8112904" y="608039"/>
                  <a:pt x="8143386" y="608039"/>
                </a:cubicBezTo>
                <a:close/>
                <a:moveTo>
                  <a:pt x="8009753" y="608039"/>
                </a:moveTo>
                <a:cubicBezTo>
                  <a:pt x="8040235" y="608039"/>
                  <a:pt x="8064945" y="632749"/>
                  <a:pt x="8064945" y="663230"/>
                </a:cubicBezTo>
                <a:cubicBezTo>
                  <a:pt x="8064945" y="693711"/>
                  <a:pt x="8040235" y="718421"/>
                  <a:pt x="8009753" y="718421"/>
                </a:cubicBezTo>
                <a:cubicBezTo>
                  <a:pt x="7979271" y="718421"/>
                  <a:pt x="7954561" y="693711"/>
                  <a:pt x="7954561" y="663230"/>
                </a:cubicBezTo>
                <a:cubicBezTo>
                  <a:pt x="7954561" y="632749"/>
                  <a:pt x="7979271" y="608039"/>
                  <a:pt x="8009753" y="608039"/>
                </a:cubicBezTo>
                <a:close/>
                <a:moveTo>
                  <a:pt x="7876118" y="608039"/>
                </a:moveTo>
                <a:cubicBezTo>
                  <a:pt x="7906600" y="608039"/>
                  <a:pt x="7931310" y="632749"/>
                  <a:pt x="7931310" y="663230"/>
                </a:cubicBezTo>
                <a:cubicBezTo>
                  <a:pt x="7931310" y="693711"/>
                  <a:pt x="7906600" y="718421"/>
                  <a:pt x="7876118" y="718421"/>
                </a:cubicBezTo>
                <a:cubicBezTo>
                  <a:pt x="7845636" y="718421"/>
                  <a:pt x="7820926" y="693711"/>
                  <a:pt x="7820926" y="663230"/>
                </a:cubicBezTo>
                <a:cubicBezTo>
                  <a:pt x="7820926" y="632749"/>
                  <a:pt x="7845636" y="608039"/>
                  <a:pt x="7876118" y="608039"/>
                </a:cubicBezTo>
                <a:close/>
                <a:moveTo>
                  <a:pt x="7745824" y="608039"/>
                </a:moveTo>
                <a:cubicBezTo>
                  <a:pt x="7776306" y="608039"/>
                  <a:pt x="7801016" y="632749"/>
                  <a:pt x="7801016" y="663230"/>
                </a:cubicBezTo>
                <a:cubicBezTo>
                  <a:pt x="7801016" y="693711"/>
                  <a:pt x="7776306" y="718421"/>
                  <a:pt x="7745824" y="718421"/>
                </a:cubicBezTo>
                <a:cubicBezTo>
                  <a:pt x="7715342" y="718421"/>
                  <a:pt x="7690632" y="693711"/>
                  <a:pt x="7690632" y="663230"/>
                </a:cubicBezTo>
                <a:cubicBezTo>
                  <a:pt x="7690632" y="632749"/>
                  <a:pt x="7715342" y="608039"/>
                  <a:pt x="7745824" y="608039"/>
                </a:cubicBezTo>
                <a:close/>
                <a:moveTo>
                  <a:pt x="7608850" y="608039"/>
                </a:moveTo>
                <a:cubicBezTo>
                  <a:pt x="7639332" y="608039"/>
                  <a:pt x="7664042" y="632749"/>
                  <a:pt x="7664042" y="663230"/>
                </a:cubicBezTo>
                <a:cubicBezTo>
                  <a:pt x="7664042" y="693711"/>
                  <a:pt x="7639332" y="718421"/>
                  <a:pt x="7608850" y="718421"/>
                </a:cubicBezTo>
                <a:cubicBezTo>
                  <a:pt x="7578368" y="718421"/>
                  <a:pt x="7553658" y="693711"/>
                  <a:pt x="7553658" y="663230"/>
                </a:cubicBezTo>
                <a:cubicBezTo>
                  <a:pt x="7553658" y="632749"/>
                  <a:pt x="7578368" y="608039"/>
                  <a:pt x="7608850" y="608039"/>
                </a:cubicBezTo>
                <a:close/>
                <a:moveTo>
                  <a:pt x="7481895" y="608039"/>
                </a:moveTo>
                <a:cubicBezTo>
                  <a:pt x="7512377" y="608039"/>
                  <a:pt x="7537087" y="632749"/>
                  <a:pt x="7537087" y="663230"/>
                </a:cubicBezTo>
                <a:cubicBezTo>
                  <a:pt x="7537087" y="693711"/>
                  <a:pt x="7512377" y="718421"/>
                  <a:pt x="7481895" y="718421"/>
                </a:cubicBezTo>
                <a:cubicBezTo>
                  <a:pt x="7451413" y="718421"/>
                  <a:pt x="7426703" y="693711"/>
                  <a:pt x="7426703" y="663230"/>
                </a:cubicBezTo>
                <a:cubicBezTo>
                  <a:pt x="7426703" y="632749"/>
                  <a:pt x="7451413" y="608039"/>
                  <a:pt x="7481895" y="608039"/>
                </a:cubicBezTo>
                <a:close/>
                <a:moveTo>
                  <a:pt x="7341579" y="608039"/>
                </a:moveTo>
                <a:cubicBezTo>
                  <a:pt x="7372061" y="608039"/>
                  <a:pt x="7396771" y="632749"/>
                  <a:pt x="7396771" y="663230"/>
                </a:cubicBezTo>
                <a:cubicBezTo>
                  <a:pt x="7396771" y="693711"/>
                  <a:pt x="7372061" y="718421"/>
                  <a:pt x="7341579" y="718421"/>
                </a:cubicBezTo>
                <a:cubicBezTo>
                  <a:pt x="7311097" y="718421"/>
                  <a:pt x="7286387" y="693711"/>
                  <a:pt x="7286387" y="663230"/>
                </a:cubicBezTo>
                <a:cubicBezTo>
                  <a:pt x="7286387" y="632749"/>
                  <a:pt x="7311097" y="608039"/>
                  <a:pt x="7341579" y="608039"/>
                </a:cubicBezTo>
                <a:close/>
                <a:moveTo>
                  <a:pt x="7211286" y="608039"/>
                </a:moveTo>
                <a:cubicBezTo>
                  <a:pt x="7241768" y="608039"/>
                  <a:pt x="7266478" y="632749"/>
                  <a:pt x="7266478" y="663230"/>
                </a:cubicBezTo>
                <a:cubicBezTo>
                  <a:pt x="7266478" y="693711"/>
                  <a:pt x="7241768" y="718421"/>
                  <a:pt x="7211286" y="718421"/>
                </a:cubicBezTo>
                <a:cubicBezTo>
                  <a:pt x="7180804" y="718421"/>
                  <a:pt x="7156094" y="693711"/>
                  <a:pt x="7156094" y="663230"/>
                </a:cubicBezTo>
                <a:cubicBezTo>
                  <a:pt x="7156094" y="632749"/>
                  <a:pt x="7180804" y="608039"/>
                  <a:pt x="7211286" y="608039"/>
                </a:cubicBezTo>
                <a:close/>
                <a:moveTo>
                  <a:pt x="7080994" y="608039"/>
                </a:moveTo>
                <a:cubicBezTo>
                  <a:pt x="7111476" y="608039"/>
                  <a:pt x="7136186" y="632749"/>
                  <a:pt x="7136186" y="663230"/>
                </a:cubicBezTo>
                <a:cubicBezTo>
                  <a:pt x="7136186" y="693711"/>
                  <a:pt x="7111476" y="718421"/>
                  <a:pt x="7080994" y="718421"/>
                </a:cubicBezTo>
                <a:cubicBezTo>
                  <a:pt x="7050512" y="718421"/>
                  <a:pt x="7025802" y="693711"/>
                  <a:pt x="7025802" y="663230"/>
                </a:cubicBezTo>
                <a:cubicBezTo>
                  <a:pt x="7025802" y="632749"/>
                  <a:pt x="7050512" y="608039"/>
                  <a:pt x="7080994" y="608039"/>
                </a:cubicBezTo>
                <a:close/>
                <a:moveTo>
                  <a:pt x="6947358" y="608039"/>
                </a:moveTo>
                <a:cubicBezTo>
                  <a:pt x="6977840" y="608039"/>
                  <a:pt x="7002550" y="632749"/>
                  <a:pt x="7002550" y="663230"/>
                </a:cubicBezTo>
                <a:cubicBezTo>
                  <a:pt x="7002550" y="693711"/>
                  <a:pt x="6977840" y="718421"/>
                  <a:pt x="6947358" y="718421"/>
                </a:cubicBezTo>
                <a:cubicBezTo>
                  <a:pt x="6916876" y="718421"/>
                  <a:pt x="6892166" y="693711"/>
                  <a:pt x="6892166" y="663230"/>
                </a:cubicBezTo>
                <a:cubicBezTo>
                  <a:pt x="6892166" y="632749"/>
                  <a:pt x="6916876" y="608039"/>
                  <a:pt x="6947358" y="608039"/>
                </a:cubicBezTo>
                <a:close/>
                <a:moveTo>
                  <a:pt x="6817064" y="608039"/>
                </a:moveTo>
                <a:cubicBezTo>
                  <a:pt x="6847546" y="608039"/>
                  <a:pt x="6872256" y="632749"/>
                  <a:pt x="6872256" y="663230"/>
                </a:cubicBezTo>
                <a:cubicBezTo>
                  <a:pt x="6872256" y="693711"/>
                  <a:pt x="6847546" y="718421"/>
                  <a:pt x="6817064" y="718421"/>
                </a:cubicBezTo>
                <a:cubicBezTo>
                  <a:pt x="6786582" y="718421"/>
                  <a:pt x="6761872" y="693711"/>
                  <a:pt x="6761872" y="663230"/>
                </a:cubicBezTo>
                <a:cubicBezTo>
                  <a:pt x="6761872" y="632749"/>
                  <a:pt x="6786582" y="608039"/>
                  <a:pt x="6817064" y="608039"/>
                </a:cubicBezTo>
                <a:close/>
                <a:moveTo>
                  <a:pt x="6683431" y="608039"/>
                </a:moveTo>
                <a:cubicBezTo>
                  <a:pt x="6713913" y="608039"/>
                  <a:pt x="6738623" y="632749"/>
                  <a:pt x="6738623" y="663230"/>
                </a:cubicBezTo>
                <a:cubicBezTo>
                  <a:pt x="6738623" y="693711"/>
                  <a:pt x="6713913" y="718421"/>
                  <a:pt x="6683431" y="718421"/>
                </a:cubicBezTo>
                <a:cubicBezTo>
                  <a:pt x="6652949" y="718421"/>
                  <a:pt x="6628239" y="693711"/>
                  <a:pt x="6628239" y="663230"/>
                </a:cubicBezTo>
                <a:cubicBezTo>
                  <a:pt x="6628239" y="632749"/>
                  <a:pt x="6652949" y="608039"/>
                  <a:pt x="6683431" y="608039"/>
                </a:cubicBezTo>
                <a:close/>
                <a:moveTo>
                  <a:pt x="6155573" y="608039"/>
                </a:moveTo>
                <a:cubicBezTo>
                  <a:pt x="6186055" y="608039"/>
                  <a:pt x="6210765" y="632749"/>
                  <a:pt x="6210765" y="663230"/>
                </a:cubicBezTo>
                <a:cubicBezTo>
                  <a:pt x="6210765" y="693711"/>
                  <a:pt x="6186055" y="718421"/>
                  <a:pt x="6155573" y="718421"/>
                </a:cubicBezTo>
                <a:cubicBezTo>
                  <a:pt x="6125091" y="718421"/>
                  <a:pt x="6100381" y="693711"/>
                  <a:pt x="6100381" y="663230"/>
                </a:cubicBezTo>
                <a:cubicBezTo>
                  <a:pt x="6100381" y="632749"/>
                  <a:pt x="6125091" y="608039"/>
                  <a:pt x="6155573" y="608039"/>
                </a:cubicBezTo>
                <a:close/>
                <a:moveTo>
                  <a:pt x="5487399" y="608039"/>
                </a:moveTo>
                <a:cubicBezTo>
                  <a:pt x="5517881" y="608039"/>
                  <a:pt x="5542591" y="632749"/>
                  <a:pt x="5542591" y="663230"/>
                </a:cubicBezTo>
                <a:cubicBezTo>
                  <a:pt x="5542591" y="693711"/>
                  <a:pt x="5517881" y="718421"/>
                  <a:pt x="5487399" y="718421"/>
                </a:cubicBezTo>
                <a:cubicBezTo>
                  <a:pt x="5456917" y="718421"/>
                  <a:pt x="5432207" y="693711"/>
                  <a:pt x="5432207" y="663230"/>
                </a:cubicBezTo>
                <a:cubicBezTo>
                  <a:pt x="5432207" y="632749"/>
                  <a:pt x="5456917" y="608039"/>
                  <a:pt x="5487399" y="608039"/>
                </a:cubicBezTo>
                <a:close/>
                <a:moveTo>
                  <a:pt x="5357106" y="608039"/>
                </a:moveTo>
                <a:cubicBezTo>
                  <a:pt x="5387588" y="608039"/>
                  <a:pt x="5412298" y="632749"/>
                  <a:pt x="5412298" y="663230"/>
                </a:cubicBezTo>
                <a:cubicBezTo>
                  <a:pt x="5412298" y="693711"/>
                  <a:pt x="5387588" y="718421"/>
                  <a:pt x="5357106" y="718421"/>
                </a:cubicBezTo>
                <a:cubicBezTo>
                  <a:pt x="5326624" y="718421"/>
                  <a:pt x="5301914" y="693711"/>
                  <a:pt x="5301914" y="663230"/>
                </a:cubicBezTo>
                <a:cubicBezTo>
                  <a:pt x="5301914" y="632749"/>
                  <a:pt x="5326624" y="608039"/>
                  <a:pt x="5357106" y="608039"/>
                </a:cubicBezTo>
                <a:close/>
                <a:moveTo>
                  <a:pt x="5223473" y="608038"/>
                </a:moveTo>
                <a:cubicBezTo>
                  <a:pt x="5253955" y="608038"/>
                  <a:pt x="5278665" y="632748"/>
                  <a:pt x="5278665" y="663229"/>
                </a:cubicBezTo>
                <a:cubicBezTo>
                  <a:pt x="5278665" y="693710"/>
                  <a:pt x="5253955" y="718420"/>
                  <a:pt x="5223473" y="718420"/>
                </a:cubicBezTo>
                <a:cubicBezTo>
                  <a:pt x="5192991" y="718420"/>
                  <a:pt x="5168281" y="693710"/>
                  <a:pt x="5168281" y="663229"/>
                </a:cubicBezTo>
                <a:cubicBezTo>
                  <a:pt x="5168281" y="632748"/>
                  <a:pt x="5192991" y="608038"/>
                  <a:pt x="5223473" y="608038"/>
                </a:cubicBezTo>
                <a:close/>
                <a:moveTo>
                  <a:pt x="4030786" y="608038"/>
                </a:moveTo>
                <a:cubicBezTo>
                  <a:pt x="4061268" y="608038"/>
                  <a:pt x="4085978" y="632748"/>
                  <a:pt x="4085978" y="663229"/>
                </a:cubicBezTo>
                <a:cubicBezTo>
                  <a:pt x="4085978" y="693710"/>
                  <a:pt x="4061268" y="718420"/>
                  <a:pt x="4030786" y="718420"/>
                </a:cubicBezTo>
                <a:cubicBezTo>
                  <a:pt x="4000304" y="718420"/>
                  <a:pt x="3975594" y="693710"/>
                  <a:pt x="3975594" y="663229"/>
                </a:cubicBezTo>
                <a:cubicBezTo>
                  <a:pt x="3975594" y="632748"/>
                  <a:pt x="4000304" y="608038"/>
                  <a:pt x="4030786" y="608038"/>
                </a:cubicBezTo>
                <a:close/>
                <a:moveTo>
                  <a:pt x="3897148" y="608038"/>
                </a:moveTo>
                <a:cubicBezTo>
                  <a:pt x="3927630" y="608038"/>
                  <a:pt x="3952340" y="632748"/>
                  <a:pt x="3952340" y="663229"/>
                </a:cubicBezTo>
                <a:cubicBezTo>
                  <a:pt x="3952340" y="693710"/>
                  <a:pt x="3927630" y="718420"/>
                  <a:pt x="3897148" y="718420"/>
                </a:cubicBezTo>
                <a:cubicBezTo>
                  <a:pt x="3866666" y="718420"/>
                  <a:pt x="3841956" y="693710"/>
                  <a:pt x="3841956" y="663229"/>
                </a:cubicBezTo>
                <a:cubicBezTo>
                  <a:pt x="3841956" y="632748"/>
                  <a:pt x="3866666" y="608038"/>
                  <a:pt x="3897148" y="608038"/>
                </a:cubicBezTo>
                <a:close/>
                <a:moveTo>
                  <a:pt x="3763514" y="608038"/>
                </a:moveTo>
                <a:cubicBezTo>
                  <a:pt x="3793996" y="608038"/>
                  <a:pt x="3818706" y="632748"/>
                  <a:pt x="3818706" y="663229"/>
                </a:cubicBezTo>
                <a:cubicBezTo>
                  <a:pt x="3818706" y="693710"/>
                  <a:pt x="3793996" y="718420"/>
                  <a:pt x="3763514" y="718420"/>
                </a:cubicBezTo>
                <a:cubicBezTo>
                  <a:pt x="3733032" y="718420"/>
                  <a:pt x="3708322" y="693710"/>
                  <a:pt x="3708322" y="663229"/>
                </a:cubicBezTo>
                <a:cubicBezTo>
                  <a:pt x="3708322" y="632748"/>
                  <a:pt x="3733032" y="608038"/>
                  <a:pt x="3763514" y="608038"/>
                </a:cubicBezTo>
                <a:close/>
                <a:moveTo>
                  <a:pt x="3633221" y="608038"/>
                </a:moveTo>
                <a:cubicBezTo>
                  <a:pt x="3663703" y="608038"/>
                  <a:pt x="3688413" y="632748"/>
                  <a:pt x="3688413" y="663229"/>
                </a:cubicBezTo>
                <a:cubicBezTo>
                  <a:pt x="3688413" y="693710"/>
                  <a:pt x="3663703" y="718420"/>
                  <a:pt x="3633221" y="718420"/>
                </a:cubicBezTo>
                <a:cubicBezTo>
                  <a:pt x="3602739" y="718420"/>
                  <a:pt x="3578029" y="693710"/>
                  <a:pt x="3578029" y="663229"/>
                </a:cubicBezTo>
                <a:cubicBezTo>
                  <a:pt x="3578029" y="632748"/>
                  <a:pt x="3602739" y="608038"/>
                  <a:pt x="3633221" y="608038"/>
                </a:cubicBezTo>
                <a:close/>
                <a:moveTo>
                  <a:pt x="3499589" y="608038"/>
                </a:moveTo>
                <a:cubicBezTo>
                  <a:pt x="3530071" y="608038"/>
                  <a:pt x="3554781" y="632748"/>
                  <a:pt x="3554781" y="663229"/>
                </a:cubicBezTo>
                <a:cubicBezTo>
                  <a:pt x="3554781" y="693710"/>
                  <a:pt x="3530071" y="718420"/>
                  <a:pt x="3499589" y="718420"/>
                </a:cubicBezTo>
                <a:cubicBezTo>
                  <a:pt x="3469107" y="718420"/>
                  <a:pt x="3444397" y="693710"/>
                  <a:pt x="3444397" y="663229"/>
                </a:cubicBezTo>
                <a:cubicBezTo>
                  <a:pt x="3444397" y="632748"/>
                  <a:pt x="3469107" y="608038"/>
                  <a:pt x="3499589" y="608038"/>
                </a:cubicBezTo>
                <a:close/>
                <a:moveTo>
                  <a:pt x="3369292" y="608038"/>
                </a:moveTo>
                <a:cubicBezTo>
                  <a:pt x="3399774" y="608038"/>
                  <a:pt x="3424484" y="632748"/>
                  <a:pt x="3424484" y="663229"/>
                </a:cubicBezTo>
                <a:cubicBezTo>
                  <a:pt x="3424484" y="693710"/>
                  <a:pt x="3399774" y="718420"/>
                  <a:pt x="3369292" y="718420"/>
                </a:cubicBezTo>
                <a:cubicBezTo>
                  <a:pt x="3338810" y="718420"/>
                  <a:pt x="3314100" y="693710"/>
                  <a:pt x="3314100" y="663229"/>
                </a:cubicBezTo>
                <a:cubicBezTo>
                  <a:pt x="3314100" y="632748"/>
                  <a:pt x="3338810" y="608038"/>
                  <a:pt x="3369292" y="608038"/>
                </a:cubicBezTo>
                <a:close/>
                <a:moveTo>
                  <a:pt x="3235657" y="608038"/>
                </a:moveTo>
                <a:cubicBezTo>
                  <a:pt x="3266139" y="608038"/>
                  <a:pt x="3290849" y="632748"/>
                  <a:pt x="3290849" y="663229"/>
                </a:cubicBezTo>
                <a:cubicBezTo>
                  <a:pt x="3290849" y="693710"/>
                  <a:pt x="3266139" y="718420"/>
                  <a:pt x="3235657" y="718420"/>
                </a:cubicBezTo>
                <a:cubicBezTo>
                  <a:pt x="3205175" y="718420"/>
                  <a:pt x="3180465" y="693710"/>
                  <a:pt x="3180465" y="663229"/>
                </a:cubicBezTo>
                <a:cubicBezTo>
                  <a:pt x="3180465" y="632748"/>
                  <a:pt x="3205175" y="608038"/>
                  <a:pt x="3235657" y="608038"/>
                </a:cubicBezTo>
                <a:close/>
                <a:moveTo>
                  <a:pt x="2570932" y="608038"/>
                </a:moveTo>
                <a:cubicBezTo>
                  <a:pt x="2601414" y="608038"/>
                  <a:pt x="2626123" y="632748"/>
                  <a:pt x="2626123" y="663229"/>
                </a:cubicBezTo>
                <a:cubicBezTo>
                  <a:pt x="2626123" y="693710"/>
                  <a:pt x="2601414" y="718420"/>
                  <a:pt x="2570932" y="718420"/>
                </a:cubicBezTo>
                <a:cubicBezTo>
                  <a:pt x="2540449" y="718420"/>
                  <a:pt x="2515738" y="693710"/>
                  <a:pt x="2515738" y="663229"/>
                </a:cubicBezTo>
                <a:cubicBezTo>
                  <a:pt x="2515738" y="632748"/>
                  <a:pt x="2540449" y="608038"/>
                  <a:pt x="2570932" y="608038"/>
                </a:cubicBezTo>
                <a:close/>
                <a:moveTo>
                  <a:pt x="2437297" y="608038"/>
                </a:moveTo>
                <a:cubicBezTo>
                  <a:pt x="2467779" y="608038"/>
                  <a:pt x="2492487" y="632748"/>
                  <a:pt x="2492487" y="663229"/>
                </a:cubicBezTo>
                <a:cubicBezTo>
                  <a:pt x="2492487" y="693710"/>
                  <a:pt x="2467779" y="718420"/>
                  <a:pt x="2437297" y="718420"/>
                </a:cubicBezTo>
                <a:cubicBezTo>
                  <a:pt x="2406818" y="718420"/>
                  <a:pt x="2382108" y="693710"/>
                  <a:pt x="2382108" y="663229"/>
                </a:cubicBezTo>
                <a:cubicBezTo>
                  <a:pt x="2382108" y="632748"/>
                  <a:pt x="2406818" y="608038"/>
                  <a:pt x="2437297" y="608038"/>
                </a:cubicBezTo>
                <a:close/>
                <a:moveTo>
                  <a:pt x="2303664" y="608038"/>
                </a:moveTo>
                <a:cubicBezTo>
                  <a:pt x="2334145" y="608038"/>
                  <a:pt x="2358856" y="632748"/>
                  <a:pt x="2358856" y="663229"/>
                </a:cubicBezTo>
                <a:cubicBezTo>
                  <a:pt x="2358856" y="693710"/>
                  <a:pt x="2334145" y="718420"/>
                  <a:pt x="2303664" y="718420"/>
                </a:cubicBezTo>
                <a:cubicBezTo>
                  <a:pt x="2273182" y="718420"/>
                  <a:pt x="2248473" y="693710"/>
                  <a:pt x="2248473" y="663229"/>
                </a:cubicBezTo>
                <a:cubicBezTo>
                  <a:pt x="2248473" y="632748"/>
                  <a:pt x="2273182" y="608038"/>
                  <a:pt x="2303664" y="608038"/>
                </a:cubicBezTo>
                <a:close/>
                <a:moveTo>
                  <a:pt x="2173372" y="608038"/>
                </a:moveTo>
                <a:cubicBezTo>
                  <a:pt x="2203854" y="608038"/>
                  <a:pt x="2228565" y="632748"/>
                  <a:pt x="2228565" y="663229"/>
                </a:cubicBezTo>
                <a:cubicBezTo>
                  <a:pt x="2228565" y="693710"/>
                  <a:pt x="2203854" y="718420"/>
                  <a:pt x="2173372" y="718420"/>
                </a:cubicBezTo>
                <a:cubicBezTo>
                  <a:pt x="2142889" y="718420"/>
                  <a:pt x="2118180" y="693710"/>
                  <a:pt x="2118180" y="663229"/>
                </a:cubicBezTo>
                <a:cubicBezTo>
                  <a:pt x="2118180" y="632748"/>
                  <a:pt x="2142889" y="608038"/>
                  <a:pt x="2173372" y="608038"/>
                </a:cubicBezTo>
                <a:close/>
                <a:moveTo>
                  <a:pt x="2039736" y="608038"/>
                </a:moveTo>
                <a:cubicBezTo>
                  <a:pt x="2070218" y="608038"/>
                  <a:pt x="2094930" y="632748"/>
                  <a:pt x="2094930" y="663229"/>
                </a:cubicBezTo>
                <a:cubicBezTo>
                  <a:pt x="2094930" y="693710"/>
                  <a:pt x="2070218" y="718420"/>
                  <a:pt x="2039736" y="718420"/>
                </a:cubicBezTo>
                <a:cubicBezTo>
                  <a:pt x="2009254" y="718420"/>
                  <a:pt x="1984543" y="693710"/>
                  <a:pt x="1984543" y="663229"/>
                </a:cubicBezTo>
                <a:cubicBezTo>
                  <a:pt x="1984543" y="632748"/>
                  <a:pt x="2009254" y="608038"/>
                  <a:pt x="2039736" y="608038"/>
                </a:cubicBezTo>
                <a:close/>
                <a:moveTo>
                  <a:pt x="1909437" y="608038"/>
                </a:moveTo>
                <a:cubicBezTo>
                  <a:pt x="1939921" y="608038"/>
                  <a:pt x="1964630" y="632748"/>
                  <a:pt x="1964630" y="663229"/>
                </a:cubicBezTo>
                <a:cubicBezTo>
                  <a:pt x="1964630" y="693710"/>
                  <a:pt x="1939921" y="718420"/>
                  <a:pt x="1909437" y="718420"/>
                </a:cubicBezTo>
                <a:cubicBezTo>
                  <a:pt x="1878955" y="718420"/>
                  <a:pt x="1854244" y="693710"/>
                  <a:pt x="1854244" y="663229"/>
                </a:cubicBezTo>
                <a:cubicBezTo>
                  <a:pt x="1854244" y="632748"/>
                  <a:pt x="1878955" y="608038"/>
                  <a:pt x="1909437" y="608038"/>
                </a:cubicBezTo>
                <a:close/>
                <a:moveTo>
                  <a:pt x="1779142" y="608038"/>
                </a:moveTo>
                <a:cubicBezTo>
                  <a:pt x="1809626" y="608038"/>
                  <a:pt x="1834335" y="632748"/>
                  <a:pt x="1834335" y="663229"/>
                </a:cubicBezTo>
                <a:cubicBezTo>
                  <a:pt x="1834335" y="693710"/>
                  <a:pt x="1809626" y="718420"/>
                  <a:pt x="1779142" y="718420"/>
                </a:cubicBezTo>
                <a:cubicBezTo>
                  <a:pt x="1748663" y="718420"/>
                  <a:pt x="1723950" y="693710"/>
                  <a:pt x="1723950" y="663229"/>
                </a:cubicBezTo>
                <a:cubicBezTo>
                  <a:pt x="1723950" y="632748"/>
                  <a:pt x="1748663" y="608038"/>
                  <a:pt x="1779142" y="608038"/>
                </a:cubicBezTo>
                <a:close/>
                <a:moveTo>
                  <a:pt x="1645508" y="608038"/>
                </a:moveTo>
                <a:cubicBezTo>
                  <a:pt x="1675988" y="608038"/>
                  <a:pt x="1700702" y="632748"/>
                  <a:pt x="1700702" y="663229"/>
                </a:cubicBezTo>
                <a:cubicBezTo>
                  <a:pt x="1700702" y="693710"/>
                  <a:pt x="1675988" y="718420"/>
                  <a:pt x="1645508" y="718420"/>
                </a:cubicBezTo>
                <a:cubicBezTo>
                  <a:pt x="1615024" y="718420"/>
                  <a:pt x="1590311" y="693710"/>
                  <a:pt x="1590311" y="663229"/>
                </a:cubicBezTo>
                <a:cubicBezTo>
                  <a:pt x="1590311" y="632748"/>
                  <a:pt x="1615024" y="608038"/>
                  <a:pt x="1645508" y="608038"/>
                </a:cubicBezTo>
                <a:close/>
                <a:moveTo>
                  <a:pt x="1515217" y="608038"/>
                </a:moveTo>
                <a:cubicBezTo>
                  <a:pt x="1545695" y="608038"/>
                  <a:pt x="1570402" y="632748"/>
                  <a:pt x="1570402" y="663229"/>
                </a:cubicBezTo>
                <a:cubicBezTo>
                  <a:pt x="1570402" y="693710"/>
                  <a:pt x="1545695" y="718420"/>
                  <a:pt x="1515217" y="718420"/>
                </a:cubicBezTo>
                <a:cubicBezTo>
                  <a:pt x="1484732" y="718420"/>
                  <a:pt x="1460020" y="693710"/>
                  <a:pt x="1460020" y="663229"/>
                </a:cubicBezTo>
                <a:cubicBezTo>
                  <a:pt x="1460020" y="632748"/>
                  <a:pt x="1484732" y="608038"/>
                  <a:pt x="1515217" y="608038"/>
                </a:cubicBezTo>
                <a:close/>
                <a:moveTo>
                  <a:pt x="1381573" y="608038"/>
                </a:moveTo>
                <a:cubicBezTo>
                  <a:pt x="1412057" y="608038"/>
                  <a:pt x="1436767" y="632748"/>
                  <a:pt x="1436767" y="663229"/>
                </a:cubicBezTo>
                <a:cubicBezTo>
                  <a:pt x="1436767" y="693710"/>
                  <a:pt x="1412057" y="718420"/>
                  <a:pt x="1381573" y="718420"/>
                </a:cubicBezTo>
                <a:cubicBezTo>
                  <a:pt x="1351097" y="718420"/>
                  <a:pt x="1326384" y="693710"/>
                  <a:pt x="1326384" y="663229"/>
                </a:cubicBezTo>
                <a:cubicBezTo>
                  <a:pt x="1326384" y="632748"/>
                  <a:pt x="1351097" y="608038"/>
                  <a:pt x="1381573" y="608038"/>
                </a:cubicBezTo>
                <a:close/>
                <a:moveTo>
                  <a:pt x="1251282" y="608038"/>
                </a:moveTo>
                <a:cubicBezTo>
                  <a:pt x="1281766" y="608038"/>
                  <a:pt x="1306476" y="632748"/>
                  <a:pt x="1306476" y="663229"/>
                </a:cubicBezTo>
                <a:cubicBezTo>
                  <a:pt x="1306476" y="693710"/>
                  <a:pt x="1281766" y="718420"/>
                  <a:pt x="1251282" y="718420"/>
                </a:cubicBezTo>
                <a:cubicBezTo>
                  <a:pt x="1220801" y="718420"/>
                  <a:pt x="1196089" y="693710"/>
                  <a:pt x="1196089" y="663229"/>
                </a:cubicBezTo>
                <a:cubicBezTo>
                  <a:pt x="1196089" y="632748"/>
                  <a:pt x="1220801" y="608038"/>
                  <a:pt x="1251282" y="608038"/>
                </a:cubicBezTo>
                <a:close/>
                <a:moveTo>
                  <a:pt x="8143386" y="494447"/>
                </a:moveTo>
                <a:cubicBezTo>
                  <a:pt x="8173868" y="494447"/>
                  <a:pt x="8198578" y="519157"/>
                  <a:pt x="8198578" y="549638"/>
                </a:cubicBezTo>
                <a:cubicBezTo>
                  <a:pt x="8198578" y="580119"/>
                  <a:pt x="8173868" y="604829"/>
                  <a:pt x="8143386" y="604829"/>
                </a:cubicBezTo>
                <a:cubicBezTo>
                  <a:pt x="8112904" y="604829"/>
                  <a:pt x="8088194" y="580119"/>
                  <a:pt x="8088194" y="549638"/>
                </a:cubicBezTo>
                <a:cubicBezTo>
                  <a:pt x="8088194" y="519157"/>
                  <a:pt x="8112904" y="494447"/>
                  <a:pt x="8143386" y="494447"/>
                </a:cubicBezTo>
                <a:close/>
                <a:moveTo>
                  <a:pt x="8009753" y="494447"/>
                </a:moveTo>
                <a:cubicBezTo>
                  <a:pt x="8040235" y="494447"/>
                  <a:pt x="8064945" y="519157"/>
                  <a:pt x="8064945" y="549638"/>
                </a:cubicBezTo>
                <a:cubicBezTo>
                  <a:pt x="8064945" y="580119"/>
                  <a:pt x="8040235" y="604829"/>
                  <a:pt x="8009753" y="604829"/>
                </a:cubicBezTo>
                <a:cubicBezTo>
                  <a:pt x="7979271" y="604829"/>
                  <a:pt x="7954561" y="580119"/>
                  <a:pt x="7954561" y="549638"/>
                </a:cubicBezTo>
                <a:cubicBezTo>
                  <a:pt x="7954561" y="519157"/>
                  <a:pt x="7979271" y="494447"/>
                  <a:pt x="8009753" y="494447"/>
                </a:cubicBezTo>
                <a:close/>
                <a:moveTo>
                  <a:pt x="7876118" y="494447"/>
                </a:moveTo>
                <a:cubicBezTo>
                  <a:pt x="7906600" y="494447"/>
                  <a:pt x="7931310" y="519157"/>
                  <a:pt x="7931310" y="549638"/>
                </a:cubicBezTo>
                <a:cubicBezTo>
                  <a:pt x="7931310" y="580119"/>
                  <a:pt x="7906600" y="604829"/>
                  <a:pt x="7876118" y="604829"/>
                </a:cubicBezTo>
                <a:cubicBezTo>
                  <a:pt x="7845636" y="604829"/>
                  <a:pt x="7820926" y="580119"/>
                  <a:pt x="7820926" y="549638"/>
                </a:cubicBezTo>
                <a:cubicBezTo>
                  <a:pt x="7820926" y="519157"/>
                  <a:pt x="7845636" y="494447"/>
                  <a:pt x="7876118" y="494447"/>
                </a:cubicBezTo>
                <a:close/>
                <a:moveTo>
                  <a:pt x="7745824" y="494447"/>
                </a:moveTo>
                <a:cubicBezTo>
                  <a:pt x="7776306" y="494447"/>
                  <a:pt x="7801016" y="519157"/>
                  <a:pt x="7801016" y="549638"/>
                </a:cubicBezTo>
                <a:cubicBezTo>
                  <a:pt x="7801016" y="580119"/>
                  <a:pt x="7776306" y="604829"/>
                  <a:pt x="7745824" y="604829"/>
                </a:cubicBezTo>
                <a:cubicBezTo>
                  <a:pt x="7715342" y="604829"/>
                  <a:pt x="7690632" y="580119"/>
                  <a:pt x="7690632" y="549638"/>
                </a:cubicBezTo>
                <a:cubicBezTo>
                  <a:pt x="7690632" y="519157"/>
                  <a:pt x="7715342" y="494447"/>
                  <a:pt x="7745824" y="494447"/>
                </a:cubicBezTo>
                <a:close/>
                <a:moveTo>
                  <a:pt x="7608850" y="494447"/>
                </a:moveTo>
                <a:cubicBezTo>
                  <a:pt x="7639332" y="494447"/>
                  <a:pt x="7664042" y="519157"/>
                  <a:pt x="7664042" y="549638"/>
                </a:cubicBezTo>
                <a:cubicBezTo>
                  <a:pt x="7664042" y="580119"/>
                  <a:pt x="7639332" y="604829"/>
                  <a:pt x="7608850" y="604829"/>
                </a:cubicBezTo>
                <a:cubicBezTo>
                  <a:pt x="7578368" y="604829"/>
                  <a:pt x="7553658" y="580119"/>
                  <a:pt x="7553658" y="549638"/>
                </a:cubicBezTo>
                <a:cubicBezTo>
                  <a:pt x="7553658" y="519157"/>
                  <a:pt x="7578368" y="494447"/>
                  <a:pt x="7608850" y="494447"/>
                </a:cubicBezTo>
                <a:close/>
                <a:moveTo>
                  <a:pt x="7481895" y="494447"/>
                </a:moveTo>
                <a:cubicBezTo>
                  <a:pt x="7512377" y="494447"/>
                  <a:pt x="7537087" y="519157"/>
                  <a:pt x="7537087" y="549638"/>
                </a:cubicBezTo>
                <a:cubicBezTo>
                  <a:pt x="7537087" y="580119"/>
                  <a:pt x="7512377" y="604829"/>
                  <a:pt x="7481895" y="604829"/>
                </a:cubicBezTo>
                <a:cubicBezTo>
                  <a:pt x="7451413" y="604829"/>
                  <a:pt x="7426703" y="580119"/>
                  <a:pt x="7426703" y="549638"/>
                </a:cubicBezTo>
                <a:cubicBezTo>
                  <a:pt x="7426703" y="519157"/>
                  <a:pt x="7451413" y="494447"/>
                  <a:pt x="7481895" y="494447"/>
                </a:cubicBezTo>
                <a:close/>
                <a:moveTo>
                  <a:pt x="7341580" y="494447"/>
                </a:moveTo>
                <a:cubicBezTo>
                  <a:pt x="7372062" y="494447"/>
                  <a:pt x="7396772" y="519157"/>
                  <a:pt x="7396772" y="549638"/>
                </a:cubicBezTo>
                <a:cubicBezTo>
                  <a:pt x="7396772" y="580119"/>
                  <a:pt x="7372062" y="604829"/>
                  <a:pt x="7341580" y="604829"/>
                </a:cubicBezTo>
                <a:cubicBezTo>
                  <a:pt x="7311098" y="604829"/>
                  <a:pt x="7286388" y="580119"/>
                  <a:pt x="7286388" y="549638"/>
                </a:cubicBezTo>
                <a:cubicBezTo>
                  <a:pt x="7286388" y="519157"/>
                  <a:pt x="7311098" y="494447"/>
                  <a:pt x="7341580" y="494447"/>
                </a:cubicBezTo>
                <a:close/>
                <a:moveTo>
                  <a:pt x="7211286" y="494447"/>
                </a:moveTo>
                <a:cubicBezTo>
                  <a:pt x="7241768" y="494447"/>
                  <a:pt x="7266478" y="519157"/>
                  <a:pt x="7266478" y="549638"/>
                </a:cubicBezTo>
                <a:cubicBezTo>
                  <a:pt x="7266478" y="580119"/>
                  <a:pt x="7241768" y="604829"/>
                  <a:pt x="7211286" y="604829"/>
                </a:cubicBezTo>
                <a:cubicBezTo>
                  <a:pt x="7180804" y="604829"/>
                  <a:pt x="7156094" y="580119"/>
                  <a:pt x="7156094" y="549638"/>
                </a:cubicBezTo>
                <a:cubicBezTo>
                  <a:pt x="7156094" y="519157"/>
                  <a:pt x="7180804" y="494447"/>
                  <a:pt x="7211286" y="494447"/>
                </a:cubicBezTo>
                <a:close/>
                <a:moveTo>
                  <a:pt x="7080994" y="494447"/>
                </a:moveTo>
                <a:cubicBezTo>
                  <a:pt x="7111476" y="494447"/>
                  <a:pt x="7136186" y="519157"/>
                  <a:pt x="7136186" y="549638"/>
                </a:cubicBezTo>
                <a:cubicBezTo>
                  <a:pt x="7136186" y="580119"/>
                  <a:pt x="7111476" y="604829"/>
                  <a:pt x="7080994" y="604829"/>
                </a:cubicBezTo>
                <a:cubicBezTo>
                  <a:pt x="7050512" y="604829"/>
                  <a:pt x="7025802" y="580119"/>
                  <a:pt x="7025802" y="549638"/>
                </a:cubicBezTo>
                <a:cubicBezTo>
                  <a:pt x="7025802" y="519157"/>
                  <a:pt x="7050512" y="494447"/>
                  <a:pt x="7080994" y="494447"/>
                </a:cubicBezTo>
                <a:close/>
                <a:moveTo>
                  <a:pt x="6947358" y="494447"/>
                </a:moveTo>
                <a:cubicBezTo>
                  <a:pt x="6977840" y="494447"/>
                  <a:pt x="7002550" y="519157"/>
                  <a:pt x="7002550" y="549638"/>
                </a:cubicBezTo>
                <a:cubicBezTo>
                  <a:pt x="7002550" y="580119"/>
                  <a:pt x="6977840" y="604829"/>
                  <a:pt x="6947358" y="604829"/>
                </a:cubicBezTo>
                <a:cubicBezTo>
                  <a:pt x="6916876" y="604829"/>
                  <a:pt x="6892166" y="580119"/>
                  <a:pt x="6892166" y="549638"/>
                </a:cubicBezTo>
                <a:cubicBezTo>
                  <a:pt x="6892166" y="519157"/>
                  <a:pt x="6916876" y="494447"/>
                  <a:pt x="6947358" y="494447"/>
                </a:cubicBezTo>
                <a:close/>
                <a:moveTo>
                  <a:pt x="6289207" y="494447"/>
                </a:moveTo>
                <a:cubicBezTo>
                  <a:pt x="6319689" y="494447"/>
                  <a:pt x="6344399" y="519157"/>
                  <a:pt x="6344399" y="549638"/>
                </a:cubicBezTo>
                <a:cubicBezTo>
                  <a:pt x="6344399" y="580119"/>
                  <a:pt x="6319689" y="604829"/>
                  <a:pt x="6289207" y="604829"/>
                </a:cubicBezTo>
                <a:cubicBezTo>
                  <a:pt x="6258725" y="604829"/>
                  <a:pt x="6234015" y="580119"/>
                  <a:pt x="6234015" y="549638"/>
                </a:cubicBezTo>
                <a:cubicBezTo>
                  <a:pt x="6234015" y="519157"/>
                  <a:pt x="6258725" y="494447"/>
                  <a:pt x="6289207" y="494447"/>
                </a:cubicBezTo>
                <a:close/>
                <a:moveTo>
                  <a:pt x="4030786" y="494447"/>
                </a:moveTo>
                <a:cubicBezTo>
                  <a:pt x="4061268" y="494447"/>
                  <a:pt x="4085978" y="519157"/>
                  <a:pt x="4085978" y="549638"/>
                </a:cubicBezTo>
                <a:cubicBezTo>
                  <a:pt x="4085978" y="580119"/>
                  <a:pt x="4061268" y="604829"/>
                  <a:pt x="4030786" y="604829"/>
                </a:cubicBezTo>
                <a:cubicBezTo>
                  <a:pt x="4000304" y="604829"/>
                  <a:pt x="3975594" y="580119"/>
                  <a:pt x="3975594" y="549638"/>
                </a:cubicBezTo>
                <a:cubicBezTo>
                  <a:pt x="3975594" y="519157"/>
                  <a:pt x="4000304" y="494447"/>
                  <a:pt x="4030786" y="494447"/>
                </a:cubicBezTo>
                <a:close/>
                <a:moveTo>
                  <a:pt x="3897148" y="494447"/>
                </a:moveTo>
                <a:cubicBezTo>
                  <a:pt x="3927630" y="494447"/>
                  <a:pt x="3952340" y="519157"/>
                  <a:pt x="3952340" y="549638"/>
                </a:cubicBezTo>
                <a:cubicBezTo>
                  <a:pt x="3952340" y="580119"/>
                  <a:pt x="3927630" y="604829"/>
                  <a:pt x="3897148" y="604829"/>
                </a:cubicBezTo>
                <a:cubicBezTo>
                  <a:pt x="3866666" y="604829"/>
                  <a:pt x="3841956" y="580119"/>
                  <a:pt x="3841956" y="549638"/>
                </a:cubicBezTo>
                <a:cubicBezTo>
                  <a:pt x="3841956" y="519157"/>
                  <a:pt x="3866666" y="494447"/>
                  <a:pt x="3897148" y="494447"/>
                </a:cubicBezTo>
                <a:close/>
                <a:moveTo>
                  <a:pt x="3763514" y="494447"/>
                </a:moveTo>
                <a:cubicBezTo>
                  <a:pt x="3793996" y="494447"/>
                  <a:pt x="3818706" y="519157"/>
                  <a:pt x="3818706" y="549638"/>
                </a:cubicBezTo>
                <a:cubicBezTo>
                  <a:pt x="3818706" y="580119"/>
                  <a:pt x="3793996" y="604829"/>
                  <a:pt x="3763514" y="604829"/>
                </a:cubicBezTo>
                <a:cubicBezTo>
                  <a:pt x="3733032" y="604829"/>
                  <a:pt x="3708322" y="580119"/>
                  <a:pt x="3708322" y="549638"/>
                </a:cubicBezTo>
                <a:cubicBezTo>
                  <a:pt x="3708322" y="519157"/>
                  <a:pt x="3733032" y="494447"/>
                  <a:pt x="3763514" y="494447"/>
                </a:cubicBezTo>
                <a:close/>
                <a:moveTo>
                  <a:pt x="3633221" y="494447"/>
                </a:moveTo>
                <a:cubicBezTo>
                  <a:pt x="3663703" y="494447"/>
                  <a:pt x="3688413" y="519157"/>
                  <a:pt x="3688413" y="549638"/>
                </a:cubicBezTo>
                <a:cubicBezTo>
                  <a:pt x="3688413" y="580119"/>
                  <a:pt x="3663703" y="604829"/>
                  <a:pt x="3633221" y="604829"/>
                </a:cubicBezTo>
                <a:cubicBezTo>
                  <a:pt x="3602739" y="604829"/>
                  <a:pt x="3578029" y="580119"/>
                  <a:pt x="3578029" y="549638"/>
                </a:cubicBezTo>
                <a:cubicBezTo>
                  <a:pt x="3578029" y="519157"/>
                  <a:pt x="3602739" y="494447"/>
                  <a:pt x="3633221" y="494447"/>
                </a:cubicBezTo>
                <a:close/>
                <a:moveTo>
                  <a:pt x="3499589" y="494447"/>
                </a:moveTo>
                <a:cubicBezTo>
                  <a:pt x="3530071" y="494447"/>
                  <a:pt x="3554781" y="519157"/>
                  <a:pt x="3554781" y="549638"/>
                </a:cubicBezTo>
                <a:cubicBezTo>
                  <a:pt x="3554781" y="580119"/>
                  <a:pt x="3530071" y="604829"/>
                  <a:pt x="3499589" y="604829"/>
                </a:cubicBezTo>
                <a:cubicBezTo>
                  <a:pt x="3469107" y="604829"/>
                  <a:pt x="3444397" y="580119"/>
                  <a:pt x="3444397" y="549638"/>
                </a:cubicBezTo>
                <a:cubicBezTo>
                  <a:pt x="3444397" y="519157"/>
                  <a:pt x="3469107" y="494447"/>
                  <a:pt x="3499589" y="494447"/>
                </a:cubicBezTo>
                <a:close/>
                <a:moveTo>
                  <a:pt x="3369292" y="494447"/>
                </a:moveTo>
                <a:cubicBezTo>
                  <a:pt x="3399774" y="494447"/>
                  <a:pt x="3424484" y="519157"/>
                  <a:pt x="3424484" y="549638"/>
                </a:cubicBezTo>
                <a:cubicBezTo>
                  <a:pt x="3424484" y="580119"/>
                  <a:pt x="3399774" y="604829"/>
                  <a:pt x="3369292" y="604829"/>
                </a:cubicBezTo>
                <a:cubicBezTo>
                  <a:pt x="3338810" y="604829"/>
                  <a:pt x="3314100" y="580119"/>
                  <a:pt x="3314100" y="549638"/>
                </a:cubicBezTo>
                <a:cubicBezTo>
                  <a:pt x="3314100" y="519157"/>
                  <a:pt x="3338810" y="494447"/>
                  <a:pt x="3369292" y="494447"/>
                </a:cubicBezTo>
                <a:close/>
                <a:moveTo>
                  <a:pt x="3235657" y="494447"/>
                </a:moveTo>
                <a:cubicBezTo>
                  <a:pt x="3266139" y="494447"/>
                  <a:pt x="3290849" y="519157"/>
                  <a:pt x="3290849" y="549638"/>
                </a:cubicBezTo>
                <a:cubicBezTo>
                  <a:pt x="3290849" y="580119"/>
                  <a:pt x="3266139" y="604829"/>
                  <a:pt x="3235657" y="604829"/>
                </a:cubicBezTo>
                <a:cubicBezTo>
                  <a:pt x="3205175" y="604829"/>
                  <a:pt x="3180465" y="580119"/>
                  <a:pt x="3180465" y="549638"/>
                </a:cubicBezTo>
                <a:cubicBezTo>
                  <a:pt x="3180465" y="519157"/>
                  <a:pt x="3205175" y="494447"/>
                  <a:pt x="3235657" y="494447"/>
                </a:cubicBezTo>
                <a:close/>
                <a:moveTo>
                  <a:pt x="2437297" y="494447"/>
                </a:moveTo>
                <a:cubicBezTo>
                  <a:pt x="2467779" y="494447"/>
                  <a:pt x="2492487" y="519157"/>
                  <a:pt x="2492487" y="549638"/>
                </a:cubicBezTo>
                <a:cubicBezTo>
                  <a:pt x="2492487" y="580119"/>
                  <a:pt x="2467779" y="604829"/>
                  <a:pt x="2437297" y="604829"/>
                </a:cubicBezTo>
                <a:cubicBezTo>
                  <a:pt x="2406818" y="604829"/>
                  <a:pt x="2382108" y="580119"/>
                  <a:pt x="2382108" y="549638"/>
                </a:cubicBezTo>
                <a:cubicBezTo>
                  <a:pt x="2382108" y="519157"/>
                  <a:pt x="2406818" y="494447"/>
                  <a:pt x="2437297" y="494447"/>
                </a:cubicBezTo>
                <a:close/>
                <a:moveTo>
                  <a:pt x="2303664" y="494447"/>
                </a:moveTo>
                <a:cubicBezTo>
                  <a:pt x="2334145" y="494447"/>
                  <a:pt x="2358856" y="519157"/>
                  <a:pt x="2358856" y="549638"/>
                </a:cubicBezTo>
                <a:cubicBezTo>
                  <a:pt x="2358856" y="580119"/>
                  <a:pt x="2334145" y="604829"/>
                  <a:pt x="2303664" y="604829"/>
                </a:cubicBezTo>
                <a:cubicBezTo>
                  <a:pt x="2273182" y="604829"/>
                  <a:pt x="2248473" y="580119"/>
                  <a:pt x="2248473" y="549638"/>
                </a:cubicBezTo>
                <a:cubicBezTo>
                  <a:pt x="2248473" y="519157"/>
                  <a:pt x="2273182" y="494447"/>
                  <a:pt x="2303664" y="494447"/>
                </a:cubicBezTo>
                <a:close/>
                <a:moveTo>
                  <a:pt x="2173372" y="494447"/>
                </a:moveTo>
                <a:cubicBezTo>
                  <a:pt x="2203854" y="494447"/>
                  <a:pt x="2228565" y="519157"/>
                  <a:pt x="2228565" y="549638"/>
                </a:cubicBezTo>
                <a:cubicBezTo>
                  <a:pt x="2228565" y="580119"/>
                  <a:pt x="2203854" y="604829"/>
                  <a:pt x="2173372" y="604829"/>
                </a:cubicBezTo>
                <a:cubicBezTo>
                  <a:pt x="2142889" y="604829"/>
                  <a:pt x="2118180" y="580119"/>
                  <a:pt x="2118180" y="549638"/>
                </a:cubicBezTo>
                <a:cubicBezTo>
                  <a:pt x="2118180" y="519157"/>
                  <a:pt x="2142889" y="494447"/>
                  <a:pt x="2173372" y="494447"/>
                </a:cubicBezTo>
                <a:close/>
                <a:moveTo>
                  <a:pt x="2039736" y="494447"/>
                </a:moveTo>
                <a:cubicBezTo>
                  <a:pt x="2070218" y="494447"/>
                  <a:pt x="2094930" y="519157"/>
                  <a:pt x="2094930" y="549638"/>
                </a:cubicBezTo>
                <a:cubicBezTo>
                  <a:pt x="2094930" y="580119"/>
                  <a:pt x="2070218" y="604829"/>
                  <a:pt x="2039736" y="604829"/>
                </a:cubicBezTo>
                <a:cubicBezTo>
                  <a:pt x="2009254" y="604829"/>
                  <a:pt x="1984543" y="580119"/>
                  <a:pt x="1984543" y="549638"/>
                </a:cubicBezTo>
                <a:cubicBezTo>
                  <a:pt x="1984543" y="519157"/>
                  <a:pt x="2009254" y="494447"/>
                  <a:pt x="2039736" y="494447"/>
                </a:cubicBezTo>
                <a:close/>
                <a:moveTo>
                  <a:pt x="1909437" y="494447"/>
                </a:moveTo>
                <a:cubicBezTo>
                  <a:pt x="1939921" y="494447"/>
                  <a:pt x="1964630" y="519157"/>
                  <a:pt x="1964630" y="549638"/>
                </a:cubicBezTo>
                <a:cubicBezTo>
                  <a:pt x="1964630" y="580119"/>
                  <a:pt x="1939921" y="604829"/>
                  <a:pt x="1909437" y="604829"/>
                </a:cubicBezTo>
                <a:cubicBezTo>
                  <a:pt x="1878955" y="604829"/>
                  <a:pt x="1854244" y="580119"/>
                  <a:pt x="1854244" y="549638"/>
                </a:cubicBezTo>
                <a:cubicBezTo>
                  <a:pt x="1854244" y="519157"/>
                  <a:pt x="1878955" y="494447"/>
                  <a:pt x="1909437" y="494447"/>
                </a:cubicBezTo>
                <a:close/>
                <a:moveTo>
                  <a:pt x="1779142" y="494447"/>
                </a:moveTo>
                <a:cubicBezTo>
                  <a:pt x="1809626" y="494447"/>
                  <a:pt x="1834335" y="519157"/>
                  <a:pt x="1834335" y="549638"/>
                </a:cubicBezTo>
                <a:cubicBezTo>
                  <a:pt x="1834335" y="580119"/>
                  <a:pt x="1809626" y="604829"/>
                  <a:pt x="1779142" y="604829"/>
                </a:cubicBezTo>
                <a:cubicBezTo>
                  <a:pt x="1748663" y="604829"/>
                  <a:pt x="1723950" y="580119"/>
                  <a:pt x="1723950" y="549638"/>
                </a:cubicBezTo>
                <a:cubicBezTo>
                  <a:pt x="1723950" y="519157"/>
                  <a:pt x="1748663" y="494447"/>
                  <a:pt x="1779142" y="494447"/>
                </a:cubicBezTo>
                <a:close/>
                <a:moveTo>
                  <a:pt x="1645508" y="494447"/>
                </a:moveTo>
                <a:cubicBezTo>
                  <a:pt x="1675988" y="494447"/>
                  <a:pt x="1700702" y="519157"/>
                  <a:pt x="1700702" y="549638"/>
                </a:cubicBezTo>
                <a:cubicBezTo>
                  <a:pt x="1700702" y="580119"/>
                  <a:pt x="1675988" y="604829"/>
                  <a:pt x="1645508" y="604829"/>
                </a:cubicBezTo>
                <a:cubicBezTo>
                  <a:pt x="1615024" y="604829"/>
                  <a:pt x="1590311" y="580119"/>
                  <a:pt x="1590311" y="549638"/>
                </a:cubicBezTo>
                <a:cubicBezTo>
                  <a:pt x="1590311" y="519157"/>
                  <a:pt x="1615024" y="494447"/>
                  <a:pt x="1645508" y="494447"/>
                </a:cubicBezTo>
                <a:close/>
                <a:moveTo>
                  <a:pt x="1515217" y="494447"/>
                </a:moveTo>
                <a:cubicBezTo>
                  <a:pt x="1545695" y="494447"/>
                  <a:pt x="1570402" y="519157"/>
                  <a:pt x="1570402" y="549638"/>
                </a:cubicBezTo>
                <a:cubicBezTo>
                  <a:pt x="1570402" y="580119"/>
                  <a:pt x="1545695" y="604829"/>
                  <a:pt x="1515217" y="604829"/>
                </a:cubicBezTo>
                <a:cubicBezTo>
                  <a:pt x="1484732" y="604829"/>
                  <a:pt x="1460020" y="580119"/>
                  <a:pt x="1460020" y="549638"/>
                </a:cubicBezTo>
                <a:cubicBezTo>
                  <a:pt x="1460020" y="519157"/>
                  <a:pt x="1484732" y="494447"/>
                  <a:pt x="1515217" y="494447"/>
                </a:cubicBezTo>
                <a:close/>
                <a:moveTo>
                  <a:pt x="1381573" y="494447"/>
                </a:moveTo>
                <a:cubicBezTo>
                  <a:pt x="1412057" y="494447"/>
                  <a:pt x="1436767" y="519157"/>
                  <a:pt x="1436767" y="549638"/>
                </a:cubicBezTo>
                <a:cubicBezTo>
                  <a:pt x="1436767" y="580119"/>
                  <a:pt x="1412057" y="604829"/>
                  <a:pt x="1381573" y="604829"/>
                </a:cubicBezTo>
                <a:cubicBezTo>
                  <a:pt x="1351097" y="604829"/>
                  <a:pt x="1326384" y="580119"/>
                  <a:pt x="1326384" y="549638"/>
                </a:cubicBezTo>
                <a:cubicBezTo>
                  <a:pt x="1326384" y="519157"/>
                  <a:pt x="1351097" y="494447"/>
                  <a:pt x="1381573" y="494447"/>
                </a:cubicBezTo>
                <a:close/>
                <a:moveTo>
                  <a:pt x="1251282" y="494447"/>
                </a:moveTo>
                <a:cubicBezTo>
                  <a:pt x="1281766" y="494447"/>
                  <a:pt x="1306476" y="519157"/>
                  <a:pt x="1306476" y="549638"/>
                </a:cubicBezTo>
                <a:cubicBezTo>
                  <a:pt x="1306476" y="580119"/>
                  <a:pt x="1281766" y="604829"/>
                  <a:pt x="1251282" y="604829"/>
                </a:cubicBezTo>
                <a:cubicBezTo>
                  <a:pt x="1220801" y="604829"/>
                  <a:pt x="1196089" y="580119"/>
                  <a:pt x="1196089" y="549638"/>
                </a:cubicBezTo>
                <a:cubicBezTo>
                  <a:pt x="1196089" y="519157"/>
                  <a:pt x="1220801" y="494447"/>
                  <a:pt x="1251282" y="494447"/>
                </a:cubicBezTo>
                <a:close/>
                <a:moveTo>
                  <a:pt x="8801538" y="364154"/>
                </a:moveTo>
                <a:cubicBezTo>
                  <a:pt x="8832020" y="364154"/>
                  <a:pt x="8856730" y="388864"/>
                  <a:pt x="8856730" y="419345"/>
                </a:cubicBezTo>
                <a:cubicBezTo>
                  <a:pt x="8856730" y="449826"/>
                  <a:pt x="8832020" y="474536"/>
                  <a:pt x="8801538" y="474536"/>
                </a:cubicBezTo>
                <a:cubicBezTo>
                  <a:pt x="8771056" y="474536"/>
                  <a:pt x="8746346" y="449826"/>
                  <a:pt x="8746346" y="419345"/>
                </a:cubicBezTo>
                <a:cubicBezTo>
                  <a:pt x="8746346" y="388864"/>
                  <a:pt x="8771056" y="364154"/>
                  <a:pt x="8801538" y="364154"/>
                </a:cubicBezTo>
                <a:close/>
                <a:moveTo>
                  <a:pt x="8671244" y="364154"/>
                </a:moveTo>
                <a:cubicBezTo>
                  <a:pt x="8701726" y="364154"/>
                  <a:pt x="8726436" y="388864"/>
                  <a:pt x="8726436" y="419345"/>
                </a:cubicBezTo>
                <a:cubicBezTo>
                  <a:pt x="8726436" y="449826"/>
                  <a:pt x="8701726" y="474536"/>
                  <a:pt x="8671244" y="474536"/>
                </a:cubicBezTo>
                <a:cubicBezTo>
                  <a:pt x="8640762" y="474536"/>
                  <a:pt x="8616052" y="449826"/>
                  <a:pt x="8616052" y="419345"/>
                </a:cubicBezTo>
                <a:cubicBezTo>
                  <a:pt x="8616052" y="388864"/>
                  <a:pt x="8640762" y="364154"/>
                  <a:pt x="8671244" y="364154"/>
                </a:cubicBezTo>
                <a:close/>
                <a:moveTo>
                  <a:pt x="8537609" y="364154"/>
                </a:moveTo>
                <a:cubicBezTo>
                  <a:pt x="8568091" y="364154"/>
                  <a:pt x="8592801" y="388864"/>
                  <a:pt x="8592801" y="419345"/>
                </a:cubicBezTo>
                <a:cubicBezTo>
                  <a:pt x="8592801" y="449826"/>
                  <a:pt x="8568091" y="474536"/>
                  <a:pt x="8537609" y="474536"/>
                </a:cubicBezTo>
                <a:cubicBezTo>
                  <a:pt x="8507127" y="474536"/>
                  <a:pt x="8482417" y="449826"/>
                  <a:pt x="8482417" y="419345"/>
                </a:cubicBezTo>
                <a:cubicBezTo>
                  <a:pt x="8482417" y="388864"/>
                  <a:pt x="8507127" y="364154"/>
                  <a:pt x="8537609" y="364154"/>
                </a:cubicBezTo>
                <a:close/>
                <a:moveTo>
                  <a:pt x="7745824" y="364154"/>
                </a:moveTo>
                <a:cubicBezTo>
                  <a:pt x="7776306" y="364154"/>
                  <a:pt x="7801016" y="388864"/>
                  <a:pt x="7801016" y="419345"/>
                </a:cubicBezTo>
                <a:cubicBezTo>
                  <a:pt x="7801016" y="449826"/>
                  <a:pt x="7776306" y="474536"/>
                  <a:pt x="7745824" y="474536"/>
                </a:cubicBezTo>
                <a:cubicBezTo>
                  <a:pt x="7715342" y="474536"/>
                  <a:pt x="7690632" y="449826"/>
                  <a:pt x="7690632" y="419345"/>
                </a:cubicBezTo>
                <a:cubicBezTo>
                  <a:pt x="7690632" y="388864"/>
                  <a:pt x="7715342" y="364154"/>
                  <a:pt x="7745824" y="364154"/>
                </a:cubicBezTo>
                <a:close/>
                <a:moveTo>
                  <a:pt x="7608850" y="364154"/>
                </a:moveTo>
                <a:cubicBezTo>
                  <a:pt x="7639332" y="364154"/>
                  <a:pt x="7664042" y="388864"/>
                  <a:pt x="7664042" y="419345"/>
                </a:cubicBezTo>
                <a:cubicBezTo>
                  <a:pt x="7664042" y="449826"/>
                  <a:pt x="7639332" y="474536"/>
                  <a:pt x="7608850" y="474536"/>
                </a:cubicBezTo>
                <a:cubicBezTo>
                  <a:pt x="7578368" y="474536"/>
                  <a:pt x="7553658" y="449826"/>
                  <a:pt x="7553658" y="419345"/>
                </a:cubicBezTo>
                <a:cubicBezTo>
                  <a:pt x="7553658" y="388864"/>
                  <a:pt x="7578368" y="364154"/>
                  <a:pt x="7608850" y="364154"/>
                </a:cubicBezTo>
                <a:close/>
                <a:moveTo>
                  <a:pt x="7481895" y="364154"/>
                </a:moveTo>
                <a:cubicBezTo>
                  <a:pt x="7512377" y="364154"/>
                  <a:pt x="7537087" y="388864"/>
                  <a:pt x="7537087" y="419345"/>
                </a:cubicBezTo>
                <a:cubicBezTo>
                  <a:pt x="7537087" y="449826"/>
                  <a:pt x="7512377" y="474536"/>
                  <a:pt x="7481895" y="474536"/>
                </a:cubicBezTo>
                <a:cubicBezTo>
                  <a:pt x="7451413" y="474536"/>
                  <a:pt x="7426703" y="449826"/>
                  <a:pt x="7426703" y="419345"/>
                </a:cubicBezTo>
                <a:cubicBezTo>
                  <a:pt x="7426703" y="388864"/>
                  <a:pt x="7451413" y="364154"/>
                  <a:pt x="7481895" y="364154"/>
                </a:cubicBezTo>
                <a:close/>
                <a:moveTo>
                  <a:pt x="7341580" y="364154"/>
                </a:moveTo>
                <a:cubicBezTo>
                  <a:pt x="7372062" y="364154"/>
                  <a:pt x="7396772" y="388864"/>
                  <a:pt x="7396772" y="419345"/>
                </a:cubicBezTo>
                <a:cubicBezTo>
                  <a:pt x="7396772" y="449826"/>
                  <a:pt x="7372062" y="474536"/>
                  <a:pt x="7341580" y="474536"/>
                </a:cubicBezTo>
                <a:cubicBezTo>
                  <a:pt x="7311098" y="474536"/>
                  <a:pt x="7286388" y="449826"/>
                  <a:pt x="7286388" y="419345"/>
                </a:cubicBezTo>
                <a:cubicBezTo>
                  <a:pt x="7286388" y="388864"/>
                  <a:pt x="7311098" y="364154"/>
                  <a:pt x="7341580" y="364154"/>
                </a:cubicBezTo>
                <a:close/>
                <a:moveTo>
                  <a:pt x="6553137" y="364154"/>
                </a:moveTo>
                <a:cubicBezTo>
                  <a:pt x="6583619" y="364154"/>
                  <a:pt x="6608329" y="388864"/>
                  <a:pt x="6608329" y="419345"/>
                </a:cubicBezTo>
                <a:cubicBezTo>
                  <a:pt x="6608329" y="449826"/>
                  <a:pt x="6583619" y="474536"/>
                  <a:pt x="6553137" y="474536"/>
                </a:cubicBezTo>
                <a:cubicBezTo>
                  <a:pt x="6522655" y="474536"/>
                  <a:pt x="6497945" y="449826"/>
                  <a:pt x="6497945" y="419345"/>
                </a:cubicBezTo>
                <a:cubicBezTo>
                  <a:pt x="6497945" y="388864"/>
                  <a:pt x="6522655" y="364154"/>
                  <a:pt x="6553137" y="364154"/>
                </a:cubicBezTo>
                <a:close/>
                <a:moveTo>
                  <a:pt x="6419503" y="364154"/>
                </a:moveTo>
                <a:cubicBezTo>
                  <a:pt x="6449985" y="364154"/>
                  <a:pt x="6474695" y="388864"/>
                  <a:pt x="6474695" y="419345"/>
                </a:cubicBezTo>
                <a:cubicBezTo>
                  <a:pt x="6474695" y="449826"/>
                  <a:pt x="6449985" y="474536"/>
                  <a:pt x="6419503" y="474536"/>
                </a:cubicBezTo>
                <a:cubicBezTo>
                  <a:pt x="6389021" y="474536"/>
                  <a:pt x="6364311" y="449826"/>
                  <a:pt x="6364311" y="419345"/>
                </a:cubicBezTo>
                <a:cubicBezTo>
                  <a:pt x="6364311" y="388864"/>
                  <a:pt x="6389021" y="364154"/>
                  <a:pt x="6419503" y="364154"/>
                </a:cubicBezTo>
                <a:close/>
                <a:moveTo>
                  <a:pt x="4030786" y="364154"/>
                </a:moveTo>
                <a:cubicBezTo>
                  <a:pt x="4061268" y="364154"/>
                  <a:pt x="4085978" y="388864"/>
                  <a:pt x="4085978" y="419345"/>
                </a:cubicBezTo>
                <a:cubicBezTo>
                  <a:pt x="4085978" y="449826"/>
                  <a:pt x="4061268" y="474536"/>
                  <a:pt x="4030786" y="474536"/>
                </a:cubicBezTo>
                <a:cubicBezTo>
                  <a:pt x="4000304" y="474536"/>
                  <a:pt x="3975594" y="449826"/>
                  <a:pt x="3975594" y="419345"/>
                </a:cubicBezTo>
                <a:cubicBezTo>
                  <a:pt x="3975594" y="388864"/>
                  <a:pt x="4000304" y="364154"/>
                  <a:pt x="4030786" y="364154"/>
                </a:cubicBezTo>
                <a:close/>
                <a:moveTo>
                  <a:pt x="3897148" y="364154"/>
                </a:moveTo>
                <a:cubicBezTo>
                  <a:pt x="3927630" y="364154"/>
                  <a:pt x="3952340" y="388864"/>
                  <a:pt x="3952340" y="419345"/>
                </a:cubicBezTo>
                <a:cubicBezTo>
                  <a:pt x="3952340" y="449826"/>
                  <a:pt x="3927630" y="474536"/>
                  <a:pt x="3897148" y="474536"/>
                </a:cubicBezTo>
                <a:cubicBezTo>
                  <a:pt x="3866666" y="474536"/>
                  <a:pt x="3841956" y="449826"/>
                  <a:pt x="3841956" y="419345"/>
                </a:cubicBezTo>
                <a:cubicBezTo>
                  <a:pt x="3841956" y="388864"/>
                  <a:pt x="3866666" y="364154"/>
                  <a:pt x="3897148" y="364154"/>
                </a:cubicBezTo>
                <a:close/>
                <a:moveTo>
                  <a:pt x="3763514" y="364154"/>
                </a:moveTo>
                <a:cubicBezTo>
                  <a:pt x="3793996" y="364154"/>
                  <a:pt x="3818706" y="388864"/>
                  <a:pt x="3818706" y="419345"/>
                </a:cubicBezTo>
                <a:cubicBezTo>
                  <a:pt x="3818706" y="449826"/>
                  <a:pt x="3793996" y="474536"/>
                  <a:pt x="3763514" y="474536"/>
                </a:cubicBezTo>
                <a:cubicBezTo>
                  <a:pt x="3733032" y="474536"/>
                  <a:pt x="3708322" y="449826"/>
                  <a:pt x="3708322" y="419345"/>
                </a:cubicBezTo>
                <a:cubicBezTo>
                  <a:pt x="3708322" y="388864"/>
                  <a:pt x="3733032" y="364154"/>
                  <a:pt x="3763514" y="364154"/>
                </a:cubicBezTo>
                <a:close/>
                <a:moveTo>
                  <a:pt x="3633221" y="364154"/>
                </a:moveTo>
                <a:cubicBezTo>
                  <a:pt x="3663703" y="364154"/>
                  <a:pt x="3688413" y="388864"/>
                  <a:pt x="3688413" y="419345"/>
                </a:cubicBezTo>
                <a:cubicBezTo>
                  <a:pt x="3688413" y="449826"/>
                  <a:pt x="3663703" y="474536"/>
                  <a:pt x="3633221" y="474536"/>
                </a:cubicBezTo>
                <a:cubicBezTo>
                  <a:pt x="3602739" y="474536"/>
                  <a:pt x="3578029" y="449826"/>
                  <a:pt x="3578029" y="419345"/>
                </a:cubicBezTo>
                <a:cubicBezTo>
                  <a:pt x="3578029" y="388864"/>
                  <a:pt x="3602739" y="364154"/>
                  <a:pt x="3633221" y="364154"/>
                </a:cubicBezTo>
                <a:close/>
                <a:moveTo>
                  <a:pt x="3499589" y="364154"/>
                </a:moveTo>
                <a:cubicBezTo>
                  <a:pt x="3530071" y="364154"/>
                  <a:pt x="3554781" y="388864"/>
                  <a:pt x="3554781" y="419345"/>
                </a:cubicBezTo>
                <a:cubicBezTo>
                  <a:pt x="3554781" y="449826"/>
                  <a:pt x="3530071" y="474536"/>
                  <a:pt x="3499589" y="474536"/>
                </a:cubicBezTo>
                <a:cubicBezTo>
                  <a:pt x="3469107" y="474536"/>
                  <a:pt x="3444397" y="449826"/>
                  <a:pt x="3444397" y="419345"/>
                </a:cubicBezTo>
                <a:cubicBezTo>
                  <a:pt x="3444397" y="388864"/>
                  <a:pt x="3469107" y="364154"/>
                  <a:pt x="3499589" y="364154"/>
                </a:cubicBezTo>
                <a:close/>
                <a:moveTo>
                  <a:pt x="3369292" y="364154"/>
                </a:moveTo>
                <a:cubicBezTo>
                  <a:pt x="3399774" y="364154"/>
                  <a:pt x="3424484" y="388864"/>
                  <a:pt x="3424484" y="419345"/>
                </a:cubicBezTo>
                <a:cubicBezTo>
                  <a:pt x="3424484" y="449826"/>
                  <a:pt x="3399774" y="474536"/>
                  <a:pt x="3369292" y="474536"/>
                </a:cubicBezTo>
                <a:cubicBezTo>
                  <a:pt x="3338810" y="474536"/>
                  <a:pt x="3314100" y="449826"/>
                  <a:pt x="3314100" y="419345"/>
                </a:cubicBezTo>
                <a:cubicBezTo>
                  <a:pt x="3314100" y="388864"/>
                  <a:pt x="3338810" y="364154"/>
                  <a:pt x="3369292" y="364154"/>
                </a:cubicBezTo>
                <a:close/>
                <a:moveTo>
                  <a:pt x="3235657" y="364154"/>
                </a:moveTo>
                <a:cubicBezTo>
                  <a:pt x="3266139" y="364154"/>
                  <a:pt x="3290849" y="388864"/>
                  <a:pt x="3290849" y="419345"/>
                </a:cubicBezTo>
                <a:cubicBezTo>
                  <a:pt x="3290849" y="449826"/>
                  <a:pt x="3266139" y="474536"/>
                  <a:pt x="3235657" y="474536"/>
                </a:cubicBezTo>
                <a:cubicBezTo>
                  <a:pt x="3205175" y="474536"/>
                  <a:pt x="3180465" y="449826"/>
                  <a:pt x="3180465" y="419345"/>
                </a:cubicBezTo>
                <a:cubicBezTo>
                  <a:pt x="3180465" y="388864"/>
                  <a:pt x="3205175" y="364154"/>
                  <a:pt x="3235657" y="364154"/>
                </a:cubicBezTo>
                <a:close/>
                <a:moveTo>
                  <a:pt x="3098681" y="364154"/>
                </a:moveTo>
                <a:cubicBezTo>
                  <a:pt x="3129163" y="364154"/>
                  <a:pt x="3153873" y="388864"/>
                  <a:pt x="3153873" y="419345"/>
                </a:cubicBezTo>
                <a:cubicBezTo>
                  <a:pt x="3153873" y="449826"/>
                  <a:pt x="3129163" y="474536"/>
                  <a:pt x="3098681" y="474536"/>
                </a:cubicBezTo>
                <a:cubicBezTo>
                  <a:pt x="3068199" y="474536"/>
                  <a:pt x="3043489" y="449826"/>
                  <a:pt x="3043489" y="419345"/>
                </a:cubicBezTo>
                <a:cubicBezTo>
                  <a:pt x="3043489" y="388864"/>
                  <a:pt x="3068199" y="364154"/>
                  <a:pt x="3098681" y="364154"/>
                </a:cubicBezTo>
                <a:close/>
                <a:moveTo>
                  <a:pt x="2971729" y="364154"/>
                </a:moveTo>
                <a:cubicBezTo>
                  <a:pt x="3002211" y="364154"/>
                  <a:pt x="3026921" y="388864"/>
                  <a:pt x="3026921" y="419345"/>
                </a:cubicBezTo>
                <a:cubicBezTo>
                  <a:pt x="3026921" y="449826"/>
                  <a:pt x="3002211" y="474536"/>
                  <a:pt x="2971729" y="474536"/>
                </a:cubicBezTo>
                <a:cubicBezTo>
                  <a:pt x="2941247" y="474536"/>
                  <a:pt x="2916537" y="449826"/>
                  <a:pt x="2916537" y="419345"/>
                </a:cubicBezTo>
                <a:cubicBezTo>
                  <a:pt x="2916537" y="388864"/>
                  <a:pt x="2941247" y="364154"/>
                  <a:pt x="2971729" y="364154"/>
                </a:cubicBezTo>
                <a:close/>
                <a:moveTo>
                  <a:pt x="2834862" y="364154"/>
                </a:moveTo>
                <a:cubicBezTo>
                  <a:pt x="2865342" y="364154"/>
                  <a:pt x="2890052" y="388864"/>
                  <a:pt x="2890052" y="419345"/>
                </a:cubicBezTo>
                <a:cubicBezTo>
                  <a:pt x="2890052" y="449826"/>
                  <a:pt x="2865342" y="474536"/>
                  <a:pt x="2834862" y="474536"/>
                </a:cubicBezTo>
                <a:cubicBezTo>
                  <a:pt x="2804379" y="474536"/>
                  <a:pt x="2779671" y="449826"/>
                  <a:pt x="2779671" y="419345"/>
                </a:cubicBezTo>
                <a:cubicBezTo>
                  <a:pt x="2779671" y="388864"/>
                  <a:pt x="2804379" y="364154"/>
                  <a:pt x="2834862" y="364154"/>
                </a:cubicBezTo>
                <a:close/>
                <a:moveTo>
                  <a:pt x="2437297" y="364154"/>
                </a:moveTo>
                <a:cubicBezTo>
                  <a:pt x="2467781" y="364154"/>
                  <a:pt x="2492487" y="388864"/>
                  <a:pt x="2492487" y="419345"/>
                </a:cubicBezTo>
                <a:cubicBezTo>
                  <a:pt x="2492487" y="449826"/>
                  <a:pt x="2467781" y="474536"/>
                  <a:pt x="2437297" y="474536"/>
                </a:cubicBezTo>
                <a:cubicBezTo>
                  <a:pt x="2406818" y="474536"/>
                  <a:pt x="2382108" y="449826"/>
                  <a:pt x="2382108" y="419345"/>
                </a:cubicBezTo>
                <a:cubicBezTo>
                  <a:pt x="2382108" y="388864"/>
                  <a:pt x="2406818" y="364154"/>
                  <a:pt x="2437297" y="364154"/>
                </a:cubicBezTo>
                <a:close/>
                <a:moveTo>
                  <a:pt x="2303664" y="364154"/>
                </a:moveTo>
                <a:cubicBezTo>
                  <a:pt x="2334146" y="364154"/>
                  <a:pt x="2358856" y="388864"/>
                  <a:pt x="2358856" y="419345"/>
                </a:cubicBezTo>
                <a:cubicBezTo>
                  <a:pt x="2358856" y="449826"/>
                  <a:pt x="2334146" y="474536"/>
                  <a:pt x="2303664" y="474536"/>
                </a:cubicBezTo>
                <a:cubicBezTo>
                  <a:pt x="2273184" y="474536"/>
                  <a:pt x="2248473" y="449826"/>
                  <a:pt x="2248473" y="419345"/>
                </a:cubicBezTo>
                <a:cubicBezTo>
                  <a:pt x="2248473" y="388864"/>
                  <a:pt x="2273184" y="364154"/>
                  <a:pt x="2303664" y="364154"/>
                </a:cubicBezTo>
                <a:close/>
                <a:moveTo>
                  <a:pt x="2173372" y="364154"/>
                </a:moveTo>
                <a:cubicBezTo>
                  <a:pt x="2203854" y="364154"/>
                  <a:pt x="2228565" y="388864"/>
                  <a:pt x="2228565" y="419345"/>
                </a:cubicBezTo>
                <a:cubicBezTo>
                  <a:pt x="2228565" y="449826"/>
                  <a:pt x="2203854" y="474536"/>
                  <a:pt x="2173372" y="474536"/>
                </a:cubicBezTo>
                <a:cubicBezTo>
                  <a:pt x="2142892" y="474536"/>
                  <a:pt x="2118180" y="449826"/>
                  <a:pt x="2118180" y="419345"/>
                </a:cubicBezTo>
                <a:cubicBezTo>
                  <a:pt x="2118180" y="388864"/>
                  <a:pt x="2142892" y="364154"/>
                  <a:pt x="2173372" y="364154"/>
                </a:cubicBezTo>
                <a:close/>
                <a:moveTo>
                  <a:pt x="2039736" y="364154"/>
                </a:moveTo>
                <a:cubicBezTo>
                  <a:pt x="2070218" y="364154"/>
                  <a:pt x="2094930" y="388864"/>
                  <a:pt x="2094930" y="419345"/>
                </a:cubicBezTo>
                <a:cubicBezTo>
                  <a:pt x="2094930" y="449826"/>
                  <a:pt x="2070218" y="474536"/>
                  <a:pt x="2039736" y="474536"/>
                </a:cubicBezTo>
                <a:cubicBezTo>
                  <a:pt x="2009254" y="474536"/>
                  <a:pt x="1984543" y="449826"/>
                  <a:pt x="1984543" y="419345"/>
                </a:cubicBezTo>
                <a:cubicBezTo>
                  <a:pt x="1984543" y="388864"/>
                  <a:pt x="2009254" y="364154"/>
                  <a:pt x="2039736" y="364154"/>
                </a:cubicBezTo>
                <a:close/>
                <a:moveTo>
                  <a:pt x="1909440" y="364154"/>
                </a:moveTo>
                <a:cubicBezTo>
                  <a:pt x="1939922" y="364154"/>
                  <a:pt x="1964634" y="388864"/>
                  <a:pt x="1964634" y="419345"/>
                </a:cubicBezTo>
                <a:cubicBezTo>
                  <a:pt x="1964634" y="449826"/>
                  <a:pt x="1939922" y="474536"/>
                  <a:pt x="1909440" y="474536"/>
                </a:cubicBezTo>
                <a:cubicBezTo>
                  <a:pt x="1878957" y="474536"/>
                  <a:pt x="1854246" y="449826"/>
                  <a:pt x="1854246" y="419345"/>
                </a:cubicBezTo>
                <a:cubicBezTo>
                  <a:pt x="1854246" y="388864"/>
                  <a:pt x="1878957" y="364154"/>
                  <a:pt x="1909440" y="364154"/>
                </a:cubicBezTo>
                <a:close/>
                <a:moveTo>
                  <a:pt x="1779142" y="364154"/>
                </a:moveTo>
                <a:cubicBezTo>
                  <a:pt x="1809626" y="364154"/>
                  <a:pt x="1834337" y="388864"/>
                  <a:pt x="1834337" y="419345"/>
                </a:cubicBezTo>
                <a:cubicBezTo>
                  <a:pt x="1834337" y="449826"/>
                  <a:pt x="1809626" y="474536"/>
                  <a:pt x="1779142" y="474536"/>
                </a:cubicBezTo>
                <a:cubicBezTo>
                  <a:pt x="1748663" y="474536"/>
                  <a:pt x="1723951" y="449826"/>
                  <a:pt x="1723951" y="419345"/>
                </a:cubicBezTo>
                <a:cubicBezTo>
                  <a:pt x="1723951" y="388864"/>
                  <a:pt x="1748663" y="364154"/>
                  <a:pt x="1779142" y="364154"/>
                </a:cubicBezTo>
                <a:close/>
                <a:moveTo>
                  <a:pt x="1645508" y="364154"/>
                </a:moveTo>
                <a:cubicBezTo>
                  <a:pt x="1675988" y="364154"/>
                  <a:pt x="1700702" y="388864"/>
                  <a:pt x="1700702" y="419345"/>
                </a:cubicBezTo>
                <a:cubicBezTo>
                  <a:pt x="1700702" y="449826"/>
                  <a:pt x="1675988" y="474536"/>
                  <a:pt x="1645508" y="474536"/>
                </a:cubicBezTo>
                <a:cubicBezTo>
                  <a:pt x="1615024" y="474536"/>
                  <a:pt x="1590313" y="449826"/>
                  <a:pt x="1590313" y="419345"/>
                </a:cubicBezTo>
                <a:cubicBezTo>
                  <a:pt x="1590313" y="388864"/>
                  <a:pt x="1615024" y="364154"/>
                  <a:pt x="1645508" y="364154"/>
                </a:cubicBezTo>
                <a:close/>
                <a:moveTo>
                  <a:pt x="1515217" y="364154"/>
                </a:moveTo>
                <a:cubicBezTo>
                  <a:pt x="1545695" y="364154"/>
                  <a:pt x="1570405" y="388864"/>
                  <a:pt x="1570405" y="419345"/>
                </a:cubicBezTo>
                <a:cubicBezTo>
                  <a:pt x="1570405" y="449826"/>
                  <a:pt x="1545695" y="474536"/>
                  <a:pt x="1515217" y="474536"/>
                </a:cubicBezTo>
                <a:cubicBezTo>
                  <a:pt x="1484732" y="474536"/>
                  <a:pt x="1460020" y="449826"/>
                  <a:pt x="1460020" y="419345"/>
                </a:cubicBezTo>
                <a:cubicBezTo>
                  <a:pt x="1460020" y="388864"/>
                  <a:pt x="1484732" y="364154"/>
                  <a:pt x="1515217" y="364154"/>
                </a:cubicBezTo>
                <a:close/>
                <a:moveTo>
                  <a:pt x="1381573" y="364154"/>
                </a:moveTo>
                <a:cubicBezTo>
                  <a:pt x="1412060" y="364154"/>
                  <a:pt x="1436767" y="388864"/>
                  <a:pt x="1436767" y="419345"/>
                </a:cubicBezTo>
                <a:cubicBezTo>
                  <a:pt x="1436767" y="449826"/>
                  <a:pt x="1412060" y="474536"/>
                  <a:pt x="1381573" y="474536"/>
                </a:cubicBezTo>
                <a:cubicBezTo>
                  <a:pt x="1351097" y="474536"/>
                  <a:pt x="1326384" y="449826"/>
                  <a:pt x="1326384" y="419345"/>
                </a:cubicBezTo>
                <a:cubicBezTo>
                  <a:pt x="1326384" y="388864"/>
                  <a:pt x="1351097" y="364154"/>
                  <a:pt x="1381573" y="364154"/>
                </a:cubicBezTo>
                <a:close/>
                <a:moveTo>
                  <a:pt x="1251283" y="364154"/>
                </a:moveTo>
                <a:cubicBezTo>
                  <a:pt x="1281766" y="364154"/>
                  <a:pt x="1306476" y="388864"/>
                  <a:pt x="1306476" y="419345"/>
                </a:cubicBezTo>
                <a:cubicBezTo>
                  <a:pt x="1306476" y="449826"/>
                  <a:pt x="1281766" y="474536"/>
                  <a:pt x="1251283" y="474536"/>
                </a:cubicBezTo>
                <a:cubicBezTo>
                  <a:pt x="1220801" y="474536"/>
                  <a:pt x="1196091" y="449826"/>
                  <a:pt x="1196091" y="419345"/>
                </a:cubicBezTo>
                <a:cubicBezTo>
                  <a:pt x="1196091" y="388864"/>
                  <a:pt x="1220801" y="364154"/>
                  <a:pt x="1251283" y="364154"/>
                </a:cubicBezTo>
                <a:close/>
                <a:moveTo>
                  <a:pt x="7608850" y="247225"/>
                </a:moveTo>
                <a:cubicBezTo>
                  <a:pt x="7639332" y="247225"/>
                  <a:pt x="7664042" y="271935"/>
                  <a:pt x="7664042" y="302416"/>
                </a:cubicBezTo>
                <a:cubicBezTo>
                  <a:pt x="7664042" y="332897"/>
                  <a:pt x="7639332" y="357607"/>
                  <a:pt x="7608850" y="357607"/>
                </a:cubicBezTo>
                <a:cubicBezTo>
                  <a:pt x="7578368" y="357607"/>
                  <a:pt x="7553658" y="332897"/>
                  <a:pt x="7553658" y="302416"/>
                </a:cubicBezTo>
                <a:cubicBezTo>
                  <a:pt x="7553658" y="271935"/>
                  <a:pt x="7578368" y="247225"/>
                  <a:pt x="7608850" y="247225"/>
                </a:cubicBezTo>
                <a:close/>
                <a:moveTo>
                  <a:pt x="7481898" y="247225"/>
                </a:moveTo>
                <a:cubicBezTo>
                  <a:pt x="7512380" y="247225"/>
                  <a:pt x="7537090" y="271935"/>
                  <a:pt x="7537090" y="302416"/>
                </a:cubicBezTo>
                <a:cubicBezTo>
                  <a:pt x="7537090" y="332897"/>
                  <a:pt x="7512380" y="357607"/>
                  <a:pt x="7481898" y="357607"/>
                </a:cubicBezTo>
                <a:cubicBezTo>
                  <a:pt x="7451416" y="357607"/>
                  <a:pt x="7426706" y="332897"/>
                  <a:pt x="7426706" y="302416"/>
                </a:cubicBezTo>
                <a:cubicBezTo>
                  <a:pt x="7426706" y="271935"/>
                  <a:pt x="7451416" y="247225"/>
                  <a:pt x="7481898" y="247225"/>
                </a:cubicBezTo>
                <a:close/>
                <a:moveTo>
                  <a:pt x="5093178" y="247225"/>
                </a:moveTo>
                <a:cubicBezTo>
                  <a:pt x="5123660" y="247225"/>
                  <a:pt x="5148370" y="271935"/>
                  <a:pt x="5148370" y="302416"/>
                </a:cubicBezTo>
                <a:cubicBezTo>
                  <a:pt x="5148370" y="332897"/>
                  <a:pt x="5123660" y="357607"/>
                  <a:pt x="5093178" y="357607"/>
                </a:cubicBezTo>
                <a:cubicBezTo>
                  <a:pt x="5062696" y="357607"/>
                  <a:pt x="5037986" y="332897"/>
                  <a:pt x="5037986" y="302416"/>
                </a:cubicBezTo>
                <a:cubicBezTo>
                  <a:pt x="5037986" y="271935"/>
                  <a:pt x="5062696" y="247225"/>
                  <a:pt x="5093178" y="247225"/>
                </a:cubicBezTo>
                <a:close/>
                <a:moveTo>
                  <a:pt x="4030786" y="247225"/>
                </a:moveTo>
                <a:cubicBezTo>
                  <a:pt x="4061268" y="247225"/>
                  <a:pt x="4085978" y="271935"/>
                  <a:pt x="4085978" y="302416"/>
                </a:cubicBezTo>
                <a:cubicBezTo>
                  <a:pt x="4085978" y="332897"/>
                  <a:pt x="4061268" y="357607"/>
                  <a:pt x="4030786" y="357607"/>
                </a:cubicBezTo>
                <a:cubicBezTo>
                  <a:pt x="4000304" y="357607"/>
                  <a:pt x="3975594" y="332897"/>
                  <a:pt x="3975594" y="302416"/>
                </a:cubicBezTo>
                <a:cubicBezTo>
                  <a:pt x="3975594" y="271935"/>
                  <a:pt x="4000304" y="247225"/>
                  <a:pt x="4030786" y="247225"/>
                </a:cubicBezTo>
                <a:close/>
                <a:moveTo>
                  <a:pt x="3897148" y="247225"/>
                </a:moveTo>
                <a:cubicBezTo>
                  <a:pt x="3927630" y="247225"/>
                  <a:pt x="3952340" y="271935"/>
                  <a:pt x="3952340" y="302416"/>
                </a:cubicBezTo>
                <a:cubicBezTo>
                  <a:pt x="3952340" y="332897"/>
                  <a:pt x="3927630" y="357607"/>
                  <a:pt x="3897148" y="357607"/>
                </a:cubicBezTo>
                <a:cubicBezTo>
                  <a:pt x="3866666" y="357607"/>
                  <a:pt x="3841956" y="332897"/>
                  <a:pt x="3841956" y="302416"/>
                </a:cubicBezTo>
                <a:cubicBezTo>
                  <a:pt x="3841956" y="271935"/>
                  <a:pt x="3866666" y="247225"/>
                  <a:pt x="3897148" y="247225"/>
                </a:cubicBezTo>
                <a:close/>
                <a:moveTo>
                  <a:pt x="3763514" y="247225"/>
                </a:moveTo>
                <a:cubicBezTo>
                  <a:pt x="3793996" y="247225"/>
                  <a:pt x="3818706" y="271935"/>
                  <a:pt x="3818706" y="302416"/>
                </a:cubicBezTo>
                <a:cubicBezTo>
                  <a:pt x="3818706" y="332897"/>
                  <a:pt x="3793996" y="357607"/>
                  <a:pt x="3763514" y="357607"/>
                </a:cubicBezTo>
                <a:cubicBezTo>
                  <a:pt x="3733032" y="357607"/>
                  <a:pt x="3708322" y="332897"/>
                  <a:pt x="3708322" y="302416"/>
                </a:cubicBezTo>
                <a:cubicBezTo>
                  <a:pt x="3708322" y="271935"/>
                  <a:pt x="3733032" y="247225"/>
                  <a:pt x="3763514" y="247225"/>
                </a:cubicBezTo>
                <a:close/>
                <a:moveTo>
                  <a:pt x="3633221" y="247225"/>
                </a:moveTo>
                <a:cubicBezTo>
                  <a:pt x="3663703" y="247225"/>
                  <a:pt x="3688413" y="271935"/>
                  <a:pt x="3688413" y="302416"/>
                </a:cubicBezTo>
                <a:cubicBezTo>
                  <a:pt x="3688413" y="332897"/>
                  <a:pt x="3663703" y="357607"/>
                  <a:pt x="3633221" y="357607"/>
                </a:cubicBezTo>
                <a:cubicBezTo>
                  <a:pt x="3602739" y="357607"/>
                  <a:pt x="3578029" y="332897"/>
                  <a:pt x="3578029" y="302416"/>
                </a:cubicBezTo>
                <a:cubicBezTo>
                  <a:pt x="3578029" y="271935"/>
                  <a:pt x="3602739" y="247225"/>
                  <a:pt x="3633221" y="247225"/>
                </a:cubicBezTo>
                <a:close/>
                <a:moveTo>
                  <a:pt x="3499589" y="247225"/>
                </a:moveTo>
                <a:cubicBezTo>
                  <a:pt x="3530071" y="247225"/>
                  <a:pt x="3554781" y="271935"/>
                  <a:pt x="3554781" y="302416"/>
                </a:cubicBezTo>
                <a:cubicBezTo>
                  <a:pt x="3554781" y="332897"/>
                  <a:pt x="3530071" y="357607"/>
                  <a:pt x="3499589" y="357607"/>
                </a:cubicBezTo>
                <a:cubicBezTo>
                  <a:pt x="3469107" y="357607"/>
                  <a:pt x="3444397" y="332897"/>
                  <a:pt x="3444397" y="302416"/>
                </a:cubicBezTo>
                <a:cubicBezTo>
                  <a:pt x="3444397" y="271935"/>
                  <a:pt x="3469107" y="247225"/>
                  <a:pt x="3499589" y="247225"/>
                </a:cubicBezTo>
                <a:close/>
                <a:moveTo>
                  <a:pt x="3369293" y="247225"/>
                </a:moveTo>
                <a:cubicBezTo>
                  <a:pt x="3399775" y="247225"/>
                  <a:pt x="3424485" y="271935"/>
                  <a:pt x="3424485" y="302416"/>
                </a:cubicBezTo>
                <a:cubicBezTo>
                  <a:pt x="3424485" y="332897"/>
                  <a:pt x="3399775" y="357607"/>
                  <a:pt x="3369293" y="357607"/>
                </a:cubicBezTo>
                <a:cubicBezTo>
                  <a:pt x="3338811" y="357607"/>
                  <a:pt x="3314101" y="332897"/>
                  <a:pt x="3314101" y="302416"/>
                </a:cubicBezTo>
                <a:cubicBezTo>
                  <a:pt x="3314101" y="271935"/>
                  <a:pt x="3338811" y="247225"/>
                  <a:pt x="3369293" y="247225"/>
                </a:cubicBezTo>
                <a:close/>
                <a:moveTo>
                  <a:pt x="3235657" y="247225"/>
                </a:moveTo>
                <a:cubicBezTo>
                  <a:pt x="3266139" y="247225"/>
                  <a:pt x="3290849" y="271935"/>
                  <a:pt x="3290849" y="302416"/>
                </a:cubicBezTo>
                <a:cubicBezTo>
                  <a:pt x="3290849" y="332897"/>
                  <a:pt x="3266139" y="357607"/>
                  <a:pt x="3235657" y="357607"/>
                </a:cubicBezTo>
                <a:cubicBezTo>
                  <a:pt x="3205175" y="357607"/>
                  <a:pt x="3180465" y="332897"/>
                  <a:pt x="3180465" y="302416"/>
                </a:cubicBezTo>
                <a:cubicBezTo>
                  <a:pt x="3180465" y="271935"/>
                  <a:pt x="3205175" y="247225"/>
                  <a:pt x="3235657" y="247225"/>
                </a:cubicBezTo>
                <a:close/>
                <a:moveTo>
                  <a:pt x="3098682" y="247225"/>
                </a:moveTo>
                <a:cubicBezTo>
                  <a:pt x="3129164" y="247225"/>
                  <a:pt x="3153874" y="271935"/>
                  <a:pt x="3153874" y="302416"/>
                </a:cubicBezTo>
                <a:cubicBezTo>
                  <a:pt x="3153874" y="332897"/>
                  <a:pt x="3129164" y="357607"/>
                  <a:pt x="3098682" y="357607"/>
                </a:cubicBezTo>
                <a:cubicBezTo>
                  <a:pt x="3068200" y="357607"/>
                  <a:pt x="3043490" y="332897"/>
                  <a:pt x="3043490" y="302416"/>
                </a:cubicBezTo>
                <a:cubicBezTo>
                  <a:pt x="3043490" y="271935"/>
                  <a:pt x="3068200" y="247225"/>
                  <a:pt x="3098682" y="247225"/>
                </a:cubicBezTo>
                <a:close/>
                <a:moveTo>
                  <a:pt x="2971729" y="247225"/>
                </a:moveTo>
                <a:cubicBezTo>
                  <a:pt x="3002211" y="247225"/>
                  <a:pt x="3026921" y="271935"/>
                  <a:pt x="3026921" y="302416"/>
                </a:cubicBezTo>
                <a:cubicBezTo>
                  <a:pt x="3026921" y="332897"/>
                  <a:pt x="3002211" y="357607"/>
                  <a:pt x="2971729" y="357607"/>
                </a:cubicBezTo>
                <a:cubicBezTo>
                  <a:pt x="2941247" y="357607"/>
                  <a:pt x="2916537" y="332897"/>
                  <a:pt x="2916537" y="302416"/>
                </a:cubicBezTo>
                <a:cubicBezTo>
                  <a:pt x="2916537" y="271935"/>
                  <a:pt x="2941247" y="247225"/>
                  <a:pt x="2971729" y="247225"/>
                </a:cubicBezTo>
                <a:close/>
                <a:moveTo>
                  <a:pt x="2834862" y="247225"/>
                </a:moveTo>
                <a:cubicBezTo>
                  <a:pt x="2865342" y="247225"/>
                  <a:pt x="2890052" y="271935"/>
                  <a:pt x="2890052" y="302416"/>
                </a:cubicBezTo>
                <a:cubicBezTo>
                  <a:pt x="2890052" y="332897"/>
                  <a:pt x="2865342" y="357607"/>
                  <a:pt x="2834862" y="357607"/>
                </a:cubicBezTo>
                <a:cubicBezTo>
                  <a:pt x="2804379" y="357607"/>
                  <a:pt x="2779671" y="332897"/>
                  <a:pt x="2779671" y="302416"/>
                </a:cubicBezTo>
                <a:cubicBezTo>
                  <a:pt x="2779671" y="271935"/>
                  <a:pt x="2804379" y="247225"/>
                  <a:pt x="2834862" y="247225"/>
                </a:cubicBezTo>
                <a:close/>
                <a:moveTo>
                  <a:pt x="2570933" y="247225"/>
                </a:moveTo>
                <a:cubicBezTo>
                  <a:pt x="2601414" y="247225"/>
                  <a:pt x="2626123" y="271935"/>
                  <a:pt x="2626123" y="302416"/>
                </a:cubicBezTo>
                <a:cubicBezTo>
                  <a:pt x="2626123" y="332897"/>
                  <a:pt x="2601414" y="357607"/>
                  <a:pt x="2570933" y="357607"/>
                </a:cubicBezTo>
                <a:cubicBezTo>
                  <a:pt x="2540449" y="357607"/>
                  <a:pt x="2515738" y="332897"/>
                  <a:pt x="2515738" y="302416"/>
                </a:cubicBezTo>
                <a:cubicBezTo>
                  <a:pt x="2515738" y="271935"/>
                  <a:pt x="2540449" y="247225"/>
                  <a:pt x="2570933" y="247225"/>
                </a:cubicBezTo>
                <a:close/>
                <a:moveTo>
                  <a:pt x="2437297" y="247225"/>
                </a:moveTo>
                <a:cubicBezTo>
                  <a:pt x="2467781" y="247225"/>
                  <a:pt x="2492487" y="271935"/>
                  <a:pt x="2492487" y="302416"/>
                </a:cubicBezTo>
                <a:cubicBezTo>
                  <a:pt x="2492487" y="332897"/>
                  <a:pt x="2467781" y="357607"/>
                  <a:pt x="2437297" y="357607"/>
                </a:cubicBezTo>
                <a:cubicBezTo>
                  <a:pt x="2406818" y="357607"/>
                  <a:pt x="2382108" y="332897"/>
                  <a:pt x="2382108" y="302416"/>
                </a:cubicBezTo>
                <a:cubicBezTo>
                  <a:pt x="2382108" y="271935"/>
                  <a:pt x="2406818" y="247225"/>
                  <a:pt x="2437297" y="247225"/>
                </a:cubicBezTo>
                <a:close/>
                <a:moveTo>
                  <a:pt x="2303666" y="247225"/>
                </a:moveTo>
                <a:cubicBezTo>
                  <a:pt x="2334146" y="247225"/>
                  <a:pt x="2358856" y="271935"/>
                  <a:pt x="2358856" y="302416"/>
                </a:cubicBezTo>
                <a:cubicBezTo>
                  <a:pt x="2358856" y="332897"/>
                  <a:pt x="2334146" y="357607"/>
                  <a:pt x="2303666" y="357607"/>
                </a:cubicBezTo>
                <a:cubicBezTo>
                  <a:pt x="2273184" y="357607"/>
                  <a:pt x="2248473" y="332897"/>
                  <a:pt x="2248473" y="302416"/>
                </a:cubicBezTo>
                <a:cubicBezTo>
                  <a:pt x="2248473" y="271935"/>
                  <a:pt x="2273184" y="247225"/>
                  <a:pt x="2303666" y="247225"/>
                </a:cubicBezTo>
                <a:close/>
                <a:moveTo>
                  <a:pt x="2173372" y="247225"/>
                </a:moveTo>
                <a:cubicBezTo>
                  <a:pt x="2203857" y="247225"/>
                  <a:pt x="2228566" y="271935"/>
                  <a:pt x="2228566" y="302416"/>
                </a:cubicBezTo>
                <a:cubicBezTo>
                  <a:pt x="2228566" y="332897"/>
                  <a:pt x="2203857" y="357607"/>
                  <a:pt x="2173372" y="357607"/>
                </a:cubicBezTo>
                <a:cubicBezTo>
                  <a:pt x="2142892" y="357607"/>
                  <a:pt x="2118180" y="332897"/>
                  <a:pt x="2118180" y="302416"/>
                </a:cubicBezTo>
                <a:cubicBezTo>
                  <a:pt x="2118180" y="271935"/>
                  <a:pt x="2142892" y="247225"/>
                  <a:pt x="2173372" y="247225"/>
                </a:cubicBezTo>
                <a:close/>
                <a:moveTo>
                  <a:pt x="1909440" y="247225"/>
                </a:moveTo>
                <a:cubicBezTo>
                  <a:pt x="1939922" y="247225"/>
                  <a:pt x="1964634" y="271935"/>
                  <a:pt x="1964634" y="302416"/>
                </a:cubicBezTo>
                <a:cubicBezTo>
                  <a:pt x="1964634" y="332897"/>
                  <a:pt x="1939922" y="357607"/>
                  <a:pt x="1909440" y="357607"/>
                </a:cubicBezTo>
                <a:cubicBezTo>
                  <a:pt x="1878957" y="357607"/>
                  <a:pt x="1854246" y="332897"/>
                  <a:pt x="1854246" y="302416"/>
                </a:cubicBezTo>
                <a:cubicBezTo>
                  <a:pt x="1854246" y="271935"/>
                  <a:pt x="1878957" y="247225"/>
                  <a:pt x="1909440" y="247225"/>
                </a:cubicBezTo>
                <a:close/>
                <a:moveTo>
                  <a:pt x="1779142" y="247225"/>
                </a:moveTo>
                <a:cubicBezTo>
                  <a:pt x="1809626" y="247225"/>
                  <a:pt x="1834337" y="271935"/>
                  <a:pt x="1834337" y="302416"/>
                </a:cubicBezTo>
                <a:cubicBezTo>
                  <a:pt x="1834337" y="332897"/>
                  <a:pt x="1809626" y="357607"/>
                  <a:pt x="1779142" y="357607"/>
                </a:cubicBezTo>
                <a:cubicBezTo>
                  <a:pt x="1748663" y="357607"/>
                  <a:pt x="1723951" y="332897"/>
                  <a:pt x="1723951" y="302416"/>
                </a:cubicBezTo>
                <a:cubicBezTo>
                  <a:pt x="1723951" y="271935"/>
                  <a:pt x="1748663" y="247225"/>
                  <a:pt x="1779142" y="247225"/>
                </a:cubicBezTo>
                <a:close/>
                <a:moveTo>
                  <a:pt x="1645508" y="247225"/>
                </a:moveTo>
                <a:cubicBezTo>
                  <a:pt x="1675988" y="247225"/>
                  <a:pt x="1700702" y="271935"/>
                  <a:pt x="1700702" y="302416"/>
                </a:cubicBezTo>
                <a:cubicBezTo>
                  <a:pt x="1700702" y="332897"/>
                  <a:pt x="1675988" y="357607"/>
                  <a:pt x="1645508" y="357607"/>
                </a:cubicBezTo>
                <a:cubicBezTo>
                  <a:pt x="1615027" y="357607"/>
                  <a:pt x="1590313" y="332897"/>
                  <a:pt x="1590313" y="302416"/>
                </a:cubicBezTo>
                <a:cubicBezTo>
                  <a:pt x="1590313" y="271935"/>
                  <a:pt x="1615027" y="247225"/>
                  <a:pt x="1645508" y="247225"/>
                </a:cubicBezTo>
                <a:close/>
                <a:moveTo>
                  <a:pt x="1515217" y="247225"/>
                </a:moveTo>
                <a:cubicBezTo>
                  <a:pt x="1545695" y="247225"/>
                  <a:pt x="1570405" y="271935"/>
                  <a:pt x="1570405" y="302416"/>
                </a:cubicBezTo>
                <a:cubicBezTo>
                  <a:pt x="1570405" y="332897"/>
                  <a:pt x="1545695" y="357607"/>
                  <a:pt x="1515217" y="357607"/>
                </a:cubicBezTo>
                <a:cubicBezTo>
                  <a:pt x="1484732" y="357607"/>
                  <a:pt x="1460020" y="332897"/>
                  <a:pt x="1460020" y="302416"/>
                </a:cubicBezTo>
                <a:cubicBezTo>
                  <a:pt x="1460020" y="271935"/>
                  <a:pt x="1484732" y="247225"/>
                  <a:pt x="1515217" y="247225"/>
                </a:cubicBezTo>
                <a:close/>
                <a:moveTo>
                  <a:pt x="1381573" y="247225"/>
                </a:moveTo>
                <a:cubicBezTo>
                  <a:pt x="1412060" y="247225"/>
                  <a:pt x="1436767" y="271935"/>
                  <a:pt x="1436767" y="302416"/>
                </a:cubicBezTo>
                <a:cubicBezTo>
                  <a:pt x="1436767" y="332897"/>
                  <a:pt x="1412060" y="357607"/>
                  <a:pt x="1381573" y="357607"/>
                </a:cubicBezTo>
                <a:cubicBezTo>
                  <a:pt x="1351097" y="357607"/>
                  <a:pt x="1326384" y="332897"/>
                  <a:pt x="1326384" y="302416"/>
                </a:cubicBezTo>
                <a:cubicBezTo>
                  <a:pt x="1326384" y="271935"/>
                  <a:pt x="1351097" y="247225"/>
                  <a:pt x="1381573" y="247225"/>
                </a:cubicBezTo>
                <a:close/>
                <a:moveTo>
                  <a:pt x="7481898" y="120271"/>
                </a:moveTo>
                <a:cubicBezTo>
                  <a:pt x="7512380" y="120271"/>
                  <a:pt x="7537090" y="144981"/>
                  <a:pt x="7537090" y="175462"/>
                </a:cubicBezTo>
                <a:cubicBezTo>
                  <a:pt x="7537090" y="205943"/>
                  <a:pt x="7512380" y="230653"/>
                  <a:pt x="7481898" y="230653"/>
                </a:cubicBezTo>
                <a:cubicBezTo>
                  <a:pt x="7451416" y="230653"/>
                  <a:pt x="7426706" y="205943"/>
                  <a:pt x="7426706" y="175462"/>
                </a:cubicBezTo>
                <a:cubicBezTo>
                  <a:pt x="7426706" y="144981"/>
                  <a:pt x="7451416" y="120271"/>
                  <a:pt x="7481898" y="120271"/>
                </a:cubicBezTo>
                <a:close/>
                <a:moveTo>
                  <a:pt x="7341580" y="120271"/>
                </a:moveTo>
                <a:cubicBezTo>
                  <a:pt x="7372062" y="120271"/>
                  <a:pt x="7396772" y="144981"/>
                  <a:pt x="7396772" y="175462"/>
                </a:cubicBezTo>
                <a:cubicBezTo>
                  <a:pt x="7396772" y="205943"/>
                  <a:pt x="7372062" y="230653"/>
                  <a:pt x="7341580" y="230653"/>
                </a:cubicBezTo>
                <a:cubicBezTo>
                  <a:pt x="7311098" y="230653"/>
                  <a:pt x="7286388" y="205943"/>
                  <a:pt x="7286388" y="175462"/>
                </a:cubicBezTo>
                <a:cubicBezTo>
                  <a:pt x="7286388" y="144981"/>
                  <a:pt x="7311098" y="120271"/>
                  <a:pt x="7341580" y="120271"/>
                </a:cubicBezTo>
                <a:close/>
                <a:moveTo>
                  <a:pt x="7211288" y="120271"/>
                </a:moveTo>
                <a:cubicBezTo>
                  <a:pt x="7241770" y="120271"/>
                  <a:pt x="7266480" y="144981"/>
                  <a:pt x="7266480" y="175462"/>
                </a:cubicBezTo>
                <a:cubicBezTo>
                  <a:pt x="7266480" y="205943"/>
                  <a:pt x="7241770" y="230653"/>
                  <a:pt x="7211288" y="230653"/>
                </a:cubicBezTo>
                <a:cubicBezTo>
                  <a:pt x="7180806" y="230653"/>
                  <a:pt x="7156096" y="205943"/>
                  <a:pt x="7156096" y="175462"/>
                </a:cubicBezTo>
                <a:cubicBezTo>
                  <a:pt x="7156096" y="144981"/>
                  <a:pt x="7180806" y="120271"/>
                  <a:pt x="7211288" y="120271"/>
                </a:cubicBezTo>
                <a:close/>
                <a:moveTo>
                  <a:pt x="5223474" y="120271"/>
                </a:moveTo>
                <a:cubicBezTo>
                  <a:pt x="5253956" y="120271"/>
                  <a:pt x="5278666" y="144981"/>
                  <a:pt x="5278666" y="175462"/>
                </a:cubicBezTo>
                <a:cubicBezTo>
                  <a:pt x="5278666" y="205943"/>
                  <a:pt x="5253956" y="230653"/>
                  <a:pt x="5223474" y="230653"/>
                </a:cubicBezTo>
                <a:cubicBezTo>
                  <a:pt x="5192992" y="230653"/>
                  <a:pt x="5168282" y="205943"/>
                  <a:pt x="5168282" y="175462"/>
                </a:cubicBezTo>
                <a:cubicBezTo>
                  <a:pt x="5168282" y="144981"/>
                  <a:pt x="5192992" y="120271"/>
                  <a:pt x="5223474" y="120271"/>
                </a:cubicBezTo>
                <a:close/>
                <a:moveTo>
                  <a:pt x="5093178" y="120271"/>
                </a:moveTo>
                <a:cubicBezTo>
                  <a:pt x="5123660" y="120271"/>
                  <a:pt x="5148370" y="144981"/>
                  <a:pt x="5148370" y="175462"/>
                </a:cubicBezTo>
                <a:cubicBezTo>
                  <a:pt x="5148370" y="205943"/>
                  <a:pt x="5123660" y="230653"/>
                  <a:pt x="5093178" y="230653"/>
                </a:cubicBezTo>
                <a:cubicBezTo>
                  <a:pt x="5062696" y="230653"/>
                  <a:pt x="5037986" y="205943"/>
                  <a:pt x="5037986" y="175462"/>
                </a:cubicBezTo>
                <a:cubicBezTo>
                  <a:pt x="5037986" y="144981"/>
                  <a:pt x="5062696" y="120271"/>
                  <a:pt x="5093178" y="120271"/>
                </a:cubicBezTo>
                <a:close/>
                <a:moveTo>
                  <a:pt x="4161077" y="120271"/>
                </a:moveTo>
                <a:cubicBezTo>
                  <a:pt x="4191559" y="120271"/>
                  <a:pt x="4216269" y="144981"/>
                  <a:pt x="4216269" y="175462"/>
                </a:cubicBezTo>
                <a:cubicBezTo>
                  <a:pt x="4216269" y="205943"/>
                  <a:pt x="4191559" y="230653"/>
                  <a:pt x="4161077" y="230653"/>
                </a:cubicBezTo>
                <a:cubicBezTo>
                  <a:pt x="4130595" y="230653"/>
                  <a:pt x="4105885" y="205943"/>
                  <a:pt x="4105885" y="175462"/>
                </a:cubicBezTo>
                <a:cubicBezTo>
                  <a:pt x="4105885" y="144981"/>
                  <a:pt x="4130595" y="120271"/>
                  <a:pt x="4161077" y="120271"/>
                </a:cubicBezTo>
                <a:close/>
                <a:moveTo>
                  <a:pt x="4030786" y="120271"/>
                </a:moveTo>
                <a:cubicBezTo>
                  <a:pt x="4061268" y="120271"/>
                  <a:pt x="4085978" y="144981"/>
                  <a:pt x="4085978" y="175462"/>
                </a:cubicBezTo>
                <a:cubicBezTo>
                  <a:pt x="4085978" y="205943"/>
                  <a:pt x="4061268" y="230653"/>
                  <a:pt x="4030786" y="230653"/>
                </a:cubicBezTo>
                <a:cubicBezTo>
                  <a:pt x="4000304" y="230653"/>
                  <a:pt x="3975594" y="205943"/>
                  <a:pt x="3975594" y="175462"/>
                </a:cubicBezTo>
                <a:cubicBezTo>
                  <a:pt x="3975594" y="144981"/>
                  <a:pt x="4000304" y="120271"/>
                  <a:pt x="4030786" y="120271"/>
                </a:cubicBezTo>
                <a:close/>
                <a:moveTo>
                  <a:pt x="3897148" y="120271"/>
                </a:moveTo>
                <a:cubicBezTo>
                  <a:pt x="3927630" y="120271"/>
                  <a:pt x="3952340" y="144981"/>
                  <a:pt x="3952340" y="175462"/>
                </a:cubicBezTo>
                <a:cubicBezTo>
                  <a:pt x="3952340" y="205943"/>
                  <a:pt x="3927630" y="230653"/>
                  <a:pt x="3897148" y="230653"/>
                </a:cubicBezTo>
                <a:cubicBezTo>
                  <a:pt x="3866666" y="230653"/>
                  <a:pt x="3841956" y="205943"/>
                  <a:pt x="3841956" y="175462"/>
                </a:cubicBezTo>
                <a:cubicBezTo>
                  <a:pt x="3841956" y="144981"/>
                  <a:pt x="3866666" y="120271"/>
                  <a:pt x="3897148" y="120271"/>
                </a:cubicBezTo>
                <a:close/>
                <a:moveTo>
                  <a:pt x="3763514" y="120271"/>
                </a:moveTo>
                <a:cubicBezTo>
                  <a:pt x="3793996" y="120271"/>
                  <a:pt x="3818706" y="144981"/>
                  <a:pt x="3818706" y="175462"/>
                </a:cubicBezTo>
                <a:cubicBezTo>
                  <a:pt x="3818706" y="205943"/>
                  <a:pt x="3793996" y="230653"/>
                  <a:pt x="3763514" y="230653"/>
                </a:cubicBezTo>
                <a:cubicBezTo>
                  <a:pt x="3733032" y="230653"/>
                  <a:pt x="3708322" y="205943"/>
                  <a:pt x="3708322" y="175462"/>
                </a:cubicBezTo>
                <a:cubicBezTo>
                  <a:pt x="3708322" y="144981"/>
                  <a:pt x="3733032" y="120271"/>
                  <a:pt x="3763514" y="120271"/>
                </a:cubicBezTo>
                <a:close/>
                <a:moveTo>
                  <a:pt x="3633221" y="120271"/>
                </a:moveTo>
                <a:cubicBezTo>
                  <a:pt x="3663703" y="120271"/>
                  <a:pt x="3688413" y="144981"/>
                  <a:pt x="3688413" y="175462"/>
                </a:cubicBezTo>
                <a:cubicBezTo>
                  <a:pt x="3688413" y="205943"/>
                  <a:pt x="3663703" y="230653"/>
                  <a:pt x="3633221" y="230653"/>
                </a:cubicBezTo>
                <a:cubicBezTo>
                  <a:pt x="3602739" y="230653"/>
                  <a:pt x="3578029" y="205943"/>
                  <a:pt x="3578029" y="175462"/>
                </a:cubicBezTo>
                <a:cubicBezTo>
                  <a:pt x="3578029" y="144981"/>
                  <a:pt x="3602739" y="120271"/>
                  <a:pt x="3633221" y="120271"/>
                </a:cubicBezTo>
                <a:close/>
                <a:moveTo>
                  <a:pt x="3499589" y="120271"/>
                </a:moveTo>
                <a:cubicBezTo>
                  <a:pt x="3530071" y="120271"/>
                  <a:pt x="3554781" y="144981"/>
                  <a:pt x="3554781" y="175462"/>
                </a:cubicBezTo>
                <a:cubicBezTo>
                  <a:pt x="3554781" y="205943"/>
                  <a:pt x="3530071" y="230653"/>
                  <a:pt x="3499589" y="230653"/>
                </a:cubicBezTo>
                <a:cubicBezTo>
                  <a:pt x="3469107" y="230653"/>
                  <a:pt x="3444397" y="205943"/>
                  <a:pt x="3444397" y="175462"/>
                </a:cubicBezTo>
                <a:cubicBezTo>
                  <a:pt x="3444397" y="144981"/>
                  <a:pt x="3469107" y="120271"/>
                  <a:pt x="3499589" y="120271"/>
                </a:cubicBezTo>
                <a:close/>
                <a:moveTo>
                  <a:pt x="3369293" y="120271"/>
                </a:moveTo>
                <a:cubicBezTo>
                  <a:pt x="3399775" y="120271"/>
                  <a:pt x="3424485" y="144981"/>
                  <a:pt x="3424485" y="175462"/>
                </a:cubicBezTo>
                <a:cubicBezTo>
                  <a:pt x="3424485" y="205943"/>
                  <a:pt x="3399775" y="230653"/>
                  <a:pt x="3369293" y="230653"/>
                </a:cubicBezTo>
                <a:cubicBezTo>
                  <a:pt x="3338811" y="230653"/>
                  <a:pt x="3314101" y="205943"/>
                  <a:pt x="3314101" y="175462"/>
                </a:cubicBezTo>
                <a:cubicBezTo>
                  <a:pt x="3314101" y="144981"/>
                  <a:pt x="3338811" y="120271"/>
                  <a:pt x="3369293" y="120271"/>
                </a:cubicBezTo>
                <a:close/>
                <a:moveTo>
                  <a:pt x="3235657" y="120271"/>
                </a:moveTo>
                <a:cubicBezTo>
                  <a:pt x="3266139" y="120271"/>
                  <a:pt x="3290849" y="144981"/>
                  <a:pt x="3290849" y="175462"/>
                </a:cubicBezTo>
                <a:cubicBezTo>
                  <a:pt x="3290849" y="205943"/>
                  <a:pt x="3266139" y="230653"/>
                  <a:pt x="3235657" y="230653"/>
                </a:cubicBezTo>
                <a:cubicBezTo>
                  <a:pt x="3205175" y="230653"/>
                  <a:pt x="3180465" y="205943"/>
                  <a:pt x="3180465" y="175462"/>
                </a:cubicBezTo>
                <a:cubicBezTo>
                  <a:pt x="3180465" y="144981"/>
                  <a:pt x="3205175" y="120271"/>
                  <a:pt x="3235657" y="120271"/>
                </a:cubicBezTo>
                <a:close/>
                <a:moveTo>
                  <a:pt x="3098682" y="120271"/>
                </a:moveTo>
                <a:cubicBezTo>
                  <a:pt x="3129164" y="120271"/>
                  <a:pt x="3153874" y="144981"/>
                  <a:pt x="3153874" y="175462"/>
                </a:cubicBezTo>
                <a:cubicBezTo>
                  <a:pt x="3153874" y="205943"/>
                  <a:pt x="3129164" y="230653"/>
                  <a:pt x="3098682" y="230653"/>
                </a:cubicBezTo>
                <a:cubicBezTo>
                  <a:pt x="3068200" y="230653"/>
                  <a:pt x="3043490" y="205943"/>
                  <a:pt x="3043490" y="175462"/>
                </a:cubicBezTo>
                <a:cubicBezTo>
                  <a:pt x="3043490" y="144981"/>
                  <a:pt x="3068200" y="120271"/>
                  <a:pt x="3098682" y="120271"/>
                </a:cubicBezTo>
                <a:close/>
                <a:moveTo>
                  <a:pt x="2971729" y="120271"/>
                </a:moveTo>
                <a:cubicBezTo>
                  <a:pt x="3002211" y="120271"/>
                  <a:pt x="3026921" y="144981"/>
                  <a:pt x="3026921" y="175462"/>
                </a:cubicBezTo>
                <a:cubicBezTo>
                  <a:pt x="3026921" y="205943"/>
                  <a:pt x="3002211" y="230653"/>
                  <a:pt x="2971729" y="230653"/>
                </a:cubicBezTo>
                <a:cubicBezTo>
                  <a:pt x="2941247" y="230653"/>
                  <a:pt x="2916537" y="205943"/>
                  <a:pt x="2916537" y="175462"/>
                </a:cubicBezTo>
                <a:cubicBezTo>
                  <a:pt x="2916537" y="144981"/>
                  <a:pt x="2941247" y="120271"/>
                  <a:pt x="2971729" y="120271"/>
                </a:cubicBezTo>
                <a:close/>
                <a:moveTo>
                  <a:pt x="2707903" y="120271"/>
                </a:moveTo>
                <a:cubicBezTo>
                  <a:pt x="2738390" y="120271"/>
                  <a:pt x="2763100" y="144981"/>
                  <a:pt x="2763100" y="175462"/>
                </a:cubicBezTo>
                <a:cubicBezTo>
                  <a:pt x="2763100" y="205943"/>
                  <a:pt x="2738390" y="230653"/>
                  <a:pt x="2707903" y="230653"/>
                </a:cubicBezTo>
                <a:cubicBezTo>
                  <a:pt x="2677427" y="230653"/>
                  <a:pt x="2652715" y="205943"/>
                  <a:pt x="2652715" y="175462"/>
                </a:cubicBezTo>
                <a:cubicBezTo>
                  <a:pt x="2652715" y="144981"/>
                  <a:pt x="2677427" y="120271"/>
                  <a:pt x="2707903" y="120271"/>
                </a:cubicBezTo>
                <a:close/>
                <a:moveTo>
                  <a:pt x="2570933" y="120271"/>
                </a:moveTo>
                <a:cubicBezTo>
                  <a:pt x="2601414" y="120271"/>
                  <a:pt x="2626123" y="144981"/>
                  <a:pt x="2626123" y="175462"/>
                </a:cubicBezTo>
                <a:cubicBezTo>
                  <a:pt x="2626123" y="205943"/>
                  <a:pt x="2601414" y="230653"/>
                  <a:pt x="2570933" y="230653"/>
                </a:cubicBezTo>
                <a:cubicBezTo>
                  <a:pt x="2540449" y="230653"/>
                  <a:pt x="2515738" y="205943"/>
                  <a:pt x="2515738" y="175462"/>
                </a:cubicBezTo>
                <a:cubicBezTo>
                  <a:pt x="2515738" y="144981"/>
                  <a:pt x="2540449" y="120271"/>
                  <a:pt x="2570933" y="120271"/>
                </a:cubicBezTo>
                <a:close/>
                <a:moveTo>
                  <a:pt x="2437297" y="120271"/>
                </a:moveTo>
                <a:cubicBezTo>
                  <a:pt x="2467781" y="120271"/>
                  <a:pt x="2492487" y="144981"/>
                  <a:pt x="2492487" y="175462"/>
                </a:cubicBezTo>
                <a:cubicBezTo>
                  <a:pt x="2492487" y="205943"/>
                  <a:pt x="2467781" y="230653"/>
                  <a:pt x="2437297" y="230653"/>
                </a:cubicBezTo>
                <a:cubicBezTo>
                  <a:pt x="2406818" y="230653"/>
                  <a:pt x="2382108" y="205943"/>
                  <a:pt x="2382108" y="175462"/>
                </a:cubicBezTo>
                <a:cubicBezTo>
                  <a:pt x="2382108" y="144981"/>
                  <a:pt x="2406818" y="120271"/>
                  <a:pt x="2437297" y="120271"/>
                </a:cubicBezTo>
                <a:close/>
                <a:moveTo>
                  <a:pt x="2303666" y="120271"/>
                </a:moveTo>
                <a:cubicBezTo>
                  <a:pt x="2334146" y="120271"/>
                  <a:pt x="2358856" y="144981"/>
                  <a:pt x="2358856" y="175462"/>
                </a:cubicBezTo>
                <a:cubicBezTo>
                  <a:pt x="2358856" y="205943"/>
                  <a:pt x="2334146" y="230653"/>
                  <a:pt x="2303666" y="230653"/>
                </a:cubicBezTo>
                <a:cubicBezTo>
                  <a:pt x="2273184" y="230653"/>
                  <a:pt x="2248473" y="205943"/>
                  <a:pt x="2248473" y="175462"/>
                </a:cubicBezTo>
                <a:cubicBezTo>
                  <a:pt x="2248473" y="144981"/>
                  <a:pt x="2273184" y="120271"/>
                  <a:pt x="2303666" y="120271"/>
                </a:cubicBezTo>
                <a:close/>
                <a:moveTo>
                  <a:pt x="2173372" y="120271"/>
                </a:moveTo>
                <a:cubicBezTo>
                  <a:pt x="2203857" y="120271"/>
                  <a:pt x="2228566" y="144981"/>
                  <a:pt x="2228566" y="175462"/>
                </a:cubicBezTo>
                <a:cubicBezTo>
                  <a:pt x="2228566" y="205943"/>
                  <a:pt x="2203857" y="230653"/>
                  <a:pt x="2173372" y="230653"/>
                </a:cubicBezTo>
                <a:cubicBezTo>
                  <a:pt x="2142892" y="230653"/>
                  <a:pt x="2118180" y="205943"/>
                  <a:pt x="2118180" y="175462"/>
                </a:cubicBezTo>
                <a:cubicBezTo>
                  <a:pt x="2118180" y="144981"/>
                  <a:pt x="2142892" y="120271"/>
                  <a:pt x="2173372" y="120271"/>
                </a:cubicBezTo>
                <a:close/>
                <a:moveTo>
                  <a:pt x="7341580" y="0"/>
                </a:moveTo>
                <a:cubicBezTo>
                  <a:pt x="7372062" y="0"/>
                  <a:pt x="7396772" y="24710"/>
                  <a:pt x="7396772" y="55191"/>
                </a:cubicBezTo>
                <a:cubicBezTo>
                  <a:pt x="7396772" y="85672"/>
                  <a:pt x="7372062" y="110382"/>
                  <a:pt x="7341580" y="110382"/>
                </a:cubicBezTo>
                <a:cubicBezTo>
                  <a:pt x="7311098" y="110382"/>
                  <a:pt x="7286388" y="85672"/>
                  <a:pt x="7286388" y="55191"/>
                </a:cubicBezTo>
                <a:cubicBezTo>
                  <a:pt x="7286388" y="24710"/>
                  <a:pt x="7311098" y="0"/>
                  <a:pt x="7341580" y="0"/>
                </a:cubicBezTo>
                <a:close/>
                <a:moveTo>
                  <a:pt x="4294713" y="0"/>
                </a:moveTo>
                <a:cubicBezTo>
                  <a:pt x="4325195" y="0"/>
                  <a:pt x="4349905" y="24710"/>
                  <a:pt x="4349905" y="55191"/>
                </a:cubicBezTo>
                <a:cubicBezTo>
                  <a:pt x="4349905" y="85672"/>
                  <a:pt x="4325195" y="110382"/>
                  <a:pt x="4294713" y="110382"/>
                </a:cubicBezTo>
                <a:cubicBezTo>
                  <a:pt x="4264231" y="110382"/>
                  <a:pt x="4239521" y="85672"/>
                  <a:pt x="4239521" y="55191"/>
                </a:cubicBezTo>
                <a:cubicBezTo>
                  <a:pt x="4239521" y="24710"/>
                  <a:pt x="4264231" y="0"/>
                  <a:pt x="4294713" y="0"/>
                </a:cubicBezTo>
                <a:close/>
                <a:moveTo>
                  <a:pt x="4161077" y="0"/>
                </a:moveTo>
                <a:cubicBezTo>
                  <a:pt x="4191559" y="0"/>
                  <a:pt x="4216269" y="24710"/>
                  <a:pt x="4216269" y="55191"/>
                </a:cubicBezTo>
                <a:cubicBezTo>
                  <a:pt x="4216269" y="85672"/>
                  <a:pt x="4191559" y="110382"/>
                  <a:pt x="4161077" y="110382"/>
                </a:cubicBezTo>
                <a:cubicBezTo>
                  <a:pt x="4130595" y="110382"/>
                  <a:pt x="4105885" y="85672"/>
                  <a:pt x="4105885" y="55191"/>
                </a:cubicBezTo>
                <a:cubicBezTo>
                  <a:pt x="4105885" y="24710"/>
                  <a:pt x="4130595" y="0"/>
                  <a:pt x="4161077" y="0"/>
                </a:cubicBezTo>
                <a:close/>
                <a:moveTo>
                  <a:pt x="4030786" y="0"/>
                </a:moveTo>
                <a:cubicBezTo>
                  <a:pt x="4061268" y="0"/>
                  <a:pt x="4085978" y="24710"/>
                  <a:pt x="4085978" y="55191"/>
                </a:cubicBezTo>
                <a:cubicBezTo>
                  <a:pt x="4085978" y="85672"/>
                  <a:pt x="4061268" y="110382"/>
                  <a:pt x="4030786" y="110382"/>
                </a:cubicBezTo>
                <a:cubicBezTo>
                  <a:pt x="4000304" y="110382"/>
                  <a:pt x="3975594" y="85672"/>
                  <a:pt x="3975594" y="55191"/>
                </a:cubicBezTo>
                <a:cubicBezTo>
                  <a:pt x="3975594" y="24710"/>
                  <a:pt x="4000304" y="0"/>
                  <a:pt x="4030786" y="0"/>
                </a:cubicBezTo>
                <a:close/>
                <a:moveTo>
                  <a:pt x="3897148" y="0"/>
                </a:moveTo>
                <a:cubicBezTo>
                  <a:pt x="3927630" y="0"/>
                  <a:pt x="3952340" y="24710"/>
                  <a:pt x="3952340" y="55191"/>
                </a:cubicBezTo>
                <a:cubicBezTo>
                  <a:pt x="3952340" y="85672"/>
                  <a:pt x="3927630" y="110382"/>
                  <a:pt x="3897148" y="110382"/>
                </a:cubicBezTo>
                <a:cubicBezTo>
                  <a:pt x="3866666" y="110382"/>
                  <a:pt x="3841956" y="85672"/>
                  <a:pt x="3841956" y="55191"/>
                </a:cubicBezTo>
                <a:cubicBezTo>
                  <a:pt x="3841956" y="24710"/>
                  <a:pt x="3866666" y="0"/>
                  <a:pt x="3897148" y="0"/>
                </a:cubicBezTo>
                <a:close/>
                <a:moveTo>
                  <a:pt x="3763514" y="0"/>
                </a:moveTo>
                <a:cubicBezTo>
                  <a:pt x="3793996" y="0"/>
                  <a:pt x="3818706" y="24710"/>
                  <a:pt x="3818706" y="55191"/>
                </a:cubicBezTo>
                <a:cubicBezTo>
                  <a:pt x="3818706" y="85672"/>
                  <a:pt x="3793996" y="110382"/>
                  <a:pt x="3763514" y="110382"/>
                </a:cubicBezTo>
                <a:cubicBezTo>
                  <a:pt x="3733032" y="110382"/>
                  <a:pt x="3708322" y="85672"/>
                  <a:pt x="3708322" y="55191"/>
                </a:cubicBezTo>
                <a:cubicBezTo>
                  <a:pt x="3708322" y="24710"/>
                  <a:pt x="3733032" y="0"/>
                  <a:pt x="3763514" y="0"/>
                </a:cubicBezTo>
                <a:close/>
                <a:moveTo>
                  <a:pt x="3633221" y="0"/>
                </a:moveTo>
                <a:cubicBezTo>
                  <a:pt x="3663703" y="0"/>
                  <a:pt x="3688413" y="24710"/>
                  <a:pt x="3688413" y="55191"/>
                </a:cubicBezTo>
                <a:cubicBezTo>
                  <a:pt x="3688413" y="85672"/>
                  <a:pt x="3663703" y="110382"/>
                  <a:pt x="3633221" y="110382"/>
                </a:cubicBezTo>
                <a:cubicBezTo>
                  <a:pt x="3602739" y="110382"/>
                  <a:pt x="3578029" y="85672"/>
                  <a:pt x="3578029" y="55191"/>
                </a:cubicBezTo>
                <a:cubicBezTo>
                  <a:pt x="3578029" y="24710"/>
                  <a:pt x="3602739" y="0"/>
                  <a:pt x="3633221" y="0"/>
                </a:cubicBezTo>
                <a:close/>
                <a:moveTo>
                  <a:pt x="3499589" y="0"/>
                </a:moveTo>
                <a:cubicBezTo>
                  <a:pt x="3530071" y="0"/>
                  <a:pt x="3554781" y="24710"/>
                  <a:pt x="3554781" y="55191"/>
                </a:cubicBezTo>
                <a:cubicBezTo>
                  <a:pt x="3554781" y="85672"/>
                  <a:pt x="3530071" y="110382"/>
                  <a:pt x="3499589" y="110382"/>
                </a:cubicBezTo>
                <a:cubicBezTo>
                  <a:pt x="3469107" y="110382"/>
                  <a:pt x="3444397" y="85672"/>
                  <a:pt x="3444397" y="55191"/>
                </a:cubicBezTo>
                <a:cubicBezTo>
                  <a:pt x="3444397" y="24710"/>
                  <a:pt x="3469107" y="0"/>
                  <a:pt x="3499589" y="0"/>
                </a:cubicBezTo>
                <a:close/>
                <a:moveTo>
                  <a:pt x="3369293" y="0"/>
                </a:moveTo>
                <a:cubicBezTo>
                  <a:pt x="3399775" y="0"/>
                  <a:pt x="3424485" y="24710"/>
                  <a:pt x="3424485" y="55191"/>
                </a:cubicBezTo>
                <a:cubicBezTo>
                  <a:pt x="3424485" y="85672"/>
                  <a:pt x="3399775" y="110382"/>
                  <a:pt x="3369293" y="110382"/>
                </a:cubicBezTo>
                <a:cubicBezTo>
                  <a:pt x="3338811" y="110382"/>
                  <a:pt x="3314101" y="85672"/>
                  <a:pt x="3314101" y="55191"/>
                </a:cubicBezTo>
                <a:cubicBezTo>
                  <a:pt x="3314101" y="24710"/>
                  <a:pt x="3338811" y="0"/>
                  <a:pt x="3369293" y="0"/>
                </a:cubicBezTo>
                <a:close/>
                <a:moveTo>
                  <a:pt x="3235657" y="0"/>
                </a:moveTo>
                <a:cubicBezTo>
                  <a:pt x="3266139" y="0"/>
                  <a:pt x="3290849" y="24710"/>
                  <a:pt x="3290849" y="55191"/>
                </a:cubicBezTo>
                <a:cubicBezTo>
                  <a:pt x="3290849" y="85672"/>
                  <a:pt x="3266139" y="110382"/>
                  <a:pt x="3235657" y="110382"/>
                </a:cubicBezTo>
                <a:cubicBezTo>
                  <a:pt x="3205175" y="110382"/>
                  <a:pt x="3180465" y="85672"/>
                  <a:pt x="3180465" y="55191"/>
                </a:cubicBezTo>
                <a:cubicBezTo>
                  <a:pt x="3180465" y="24710"/>
                  <a:pt x="3205175" y="0"/>
                  <a:pt x="3235657" y="0"/>
                </a:cubicBezTo>
                <a:close/>
                <a:moveTo>
                  <a:pt x="2834862" y="0"/>
                </a:moveTo>
                <a:cubicBezTo>
                  <a:pt x="2865342" y="0"/>
                  <a:pt x="2890052" y="24710"/>
                  <a:pt x="2890052" y="55191"/>
                </a:cubicBezTo>
                <a:cubicBezTo>
                  <a:pt x="2890052" y="85672"/>
                  <a:pt x="2865342" y="110382"/>
                  <a:pt x="2834862" y="110382"/>
                </a:cubicBezTo>
                <a:cubicBezTo>
                  <a:pt x="2804379" y="110382"/>
                  <a:pt x="2779671" y="85672"/>
                  <a:pt x="2779671" y="55191"/>
                </a:cubicBezTo>
                <a:cubicBezTo>
                  <a:pt x="2779671" y="24710"/>
                  <a:pt x="2804379" y="0"/>
                  <a:pt x="2834862" y="0"/>
                </a:cubicBezTo>
                <a:close/>
                <a:moveTo>
                  <a:pt x="2707903" y="0"/>
                </a:moveTo>
                <a:cubicBezTo>
                  <a:pt x="2738390" y="0"/>
                  <a:pt x="2763100" y="24710"/>
                  <a:pt x="2763100" y="55191"/>
                </a:cubicBezTo>
                <a:cubicBezTo>
                  <a:pt x="2763100" y="85672"/>
                  <a:pt x="2738390" y="110382"/>
                  <a:pt x="2707903" y="110382"/>
                </a:cubicBezTo>
                <a:cubicBezTo>
                  <a:pt x="2677427" y="110382"/>
                  <a:pt x="2652715" y="85672"/>
                  <a:pt x="2652715" y="55191"/>
                </a:cubicBezTo>
                <a:cubicBezTo>
                  <a:pt x="2652715" y="24710"/>
                  <a:pt x="2677427" y="0"/>
                  <a:pt x="2707903" y="0"/>
                </a:cubicBezTo>
                <a:close/>
                <a:moveTo>
                  <a:pt x="2570933" y="0"/>
                </a:moveTo>
                <a:cubicBezTo>
                  <a:pt x="2601414" y="0"/>
                  <a:pt x="2626123" y="24710"/>
                  <a:pt x="2626123" y="55191"/>
                </a:cubicBezTo>
                <a:cubicBezTo>
                  <a:pt x="2626123" y="85672"/>
                  <a:pt x="2601414" y="110382"/>
                  <a:pt x="2570933" y="110382"/>
                </a:cubicBezTo>
                <a:cubicBezTo>
                  <a:pt x="2540449" y="110382"/>
                  <a:pt x="2515738" y="85672"/>
                  <a:pt x="2515738" y="55191"/>
                </a:cubicBezTo>
                <a:cubicBezTo>
                  <a:pt x="2515738" y="24710"/>
                  <a:pt x="2540449" y="0"/>
                  <a:pt x="2570933" y="0"/>
                </a:cubicBezTo>
                <a:close/>
                <a:moveTo>
                  <a:pt x="2437297" y="0"/>
                </a:moveTo>
                <a:cubicBezTo>
                  <a:pt x="2467781" y="0"/>
                  <a:pt x="2492487" y="24710"/>
                  <a:pt x="2492487" y="55191"/>
                </a:cubicBezTo>
                <a:cubicBezTo>
                  <a:pt x="2492487" y="85672"/>
                  <a:pt x="2467781" y="110382"/>
                  <a:pt x="2437297" y="110382"/>
                </a:cubicBezTo>
                <a:cubicBezTo>
                  <a:pt x="2406818" y="110382"/>
                  <a:pt x="2382108" y="85672"/>
                  <a:pt x="2382108" y="55191"/>
                </a:cubicBezTo>
                <a:cubicBezTo>
                  <a:pt x="2382108" y="24710"/>
                  <a:pt x="2406818" y="0"/>
                  <a:pt x="2437297" y="0"/>
                </a:cubicBezTo>
                <a:close/>
              </a:path>
            </a:pathLst>
          </a:custGeom>
          <a:solidFill>
            <a:schemeClr val="bg1"/>
          </a:solidFill>
          <a:ln w="0">
            <a:noFill/>
            <a:prstDash val="solid"/>
            <a:round/>
            <a:headEnd/>
            <a:tailEnd/>
          </a:ln>
        </p:spPr>
        <p:txBody>
          <a:bodyPr vert="horz" wrap="square" lIns="87432" tIns="43716" rIns="87432" bIns="43716" numCol="1" anchor="t" anchorCtr="0" compatLnSpc="1">
            <a:prstTxWarp prst="textNoShape">
              <a:avLst/>
            </a:prstTxWarp>
            <a:noAutofit/>
          </a:bodyPr>
          <a:lstStyle/>
          <a:p>
            <a:pPr>
              <a:defRPr/>
            </a:pPr>
            <a:endParaRPr lang="en-US" sz="1721" dirty="0">
              <a:solidFill>
                <a:srgbClr val="505050"/>
              </a:solidFill>
              <a:latin typeface="Segoe UI"/>
            </a:endParaRPr>
          </a:p>
        </p:txBody>
      </p:sp>
      <p:sp>
        <p:nvSpPr>
          <p:cNvPr id="828" name="Freeform: Shape 827"/>
          <p:cNvSpPr/>
          <p:nvPr/>
        </p:nvSpPr>
        <p:spPr>
          <a:xfrm>
            <a:off x="1630409" y="2983350"/>
            <a:ext cx="640499" cy="296097"/>
          </a:xfrm>
          <a:custGeom>
            <a:avLst/>
            <a:gdLst>
              <a:gd name="connsiteX0" fmla="*/ 333618 w 531187"/>
              <a:gd name="connsiteY0" fmla="*/ 682320 h 835576"/>
              <a:gd name="connsiteX1" fmla="*/ 303480 w 531187"/>
              <a:gd name="connsiteY1" fmla="*/ 696608 h 835576"/>
              <a:gd name="connsiteX2" fmla="*/ 292318 w 531187"/>
              <a:gd name="connsiteY2" fmla="*/ 734224 h 835576"/>
              <a:gd name="connsiteX3" fmla="*/ 303480 w 531187"/>
              <a:gd name="connsiteY3" fmla="*/ 771840 h 835576"/>
              <a:gd name="connsiteX4" fmla="*/ 332725 w 531187"/>
              <a:gd name="connsiteY4" fmla="*/ 785681 h 835576"/>
              <a:gd name="connsiteX5" fmla="*/ 362305 w 531187"/>
              <a:gd name="connsiteY5" fmla="*/ 772287 h 835576"/>
              <a:gd name="connsiteX6" fmla="*/ 373243 w 531187"/>
              <a:gd name="connsiteY6" fmla="*/ 734894 h 835576"/>
              <a:gd name="connsiteX7" fmla="*/ 362639 w 531187"/>
              <a:gd name="connsiteY7" fmla="*/ 696161 h 835576"/>
              <a:gd name="connsiteX8" fmla="*/ 333618 w 531187"/>
              <a:gd name="connsiteY8" fmla="*/ 682320 h 835576"/>
              <a:gd name="connsiteX9" fmla="*/ 435863 w 531187"/>
              <a:gd name="connsiteY9" fmla="*/ 653968 h 835576"/>
              <a:gd name="connsiteX10" fmla="*/ 471917 w 531187"/>
              <a:gd name="connsiteY10" fmla="*/ 653968 h 835576"/>
              <a:gd name="connsiteX11" fmla="*/ 471917 w 531187"/>
              <a:gd name="connsiteY11" fmla="*/ 784788 h 835576"/>
              <a:gd name="connsiteX12" fmla="*/ 531187 w 531187"/>
              <a:gd name="connsiteY12" fmla="*/ 784788 h 835576"/>
              <a:gd name="connsiteX13" fmla="*/ 531187 w 531187"/>
              <a:gd name="connsiteY13" fmla="*/ 814033 h 835576"/>
              <a:gd name="connsiteX14" fmla="*/ 435863 w 531187"/>
              <a:gd name="connsiteY14" fmla="*/ 814033 h 835576"/>
              <a:gd name="connsiteX15" fmla="*/ 435863 w 531187"/>
              <a:gd name="connsiteY15" fmla="*/ 653968 h 835576"/>
              <a:gd name="connsiteX16" fmla="*/ 334623 w 531187"/>
              <a:gd name="connsiteY16" fmla="*/ 651290 h 835576"/>
              <a:gd name="connsiteX17" fmla="*/ 389987 w 531187"/>
              <a:gd name="connsiteY17" fmla="*/ 673725 h 835576"/>
              <a:gd name="connsiteX18" fmla="*/ 411195 w 531187"/>
              <a:gd name="connsiteY18" fmla="*/ 732885 h 835576"/>
              <a:gd name="connsiteX19" fmla="*/ 389205 w 531187"/>
              <a:gd name="connsiteY19" fmla="*/ 793718 h 835576"/>
              <a:gd name="connsiteX20" fmla="*/ 387754 w 531187"/>
              <a:gd name="connsiteY20" fmla="*/ 795225 h 835576"/>
              <a:gd name="connsiteX21" fmla="*/ 386303 w 531187"/>
              <a:gd name="connsiteY21" fmla="*/ 796620 h 835576"/>
              <a:gd name="connsiteX22" fmla="*/ 426822 w 531187"/>
              <a:gd name="connsiteY22" fmla="*/ 835576 h 835576"/>
              <a:gd name="connsiteX23" fmla="*/ 376369 w 531187"/>
              <a:gd name="connsiteY23" fmla="*/ 835576 h 835576"/>
              <a:gd name="connsiteX24" fmla="*/ 355161 w 531187"/>
              <a:gd name="connsiteY24" fmla="*/ 814033 h 835576"/>
              <a:gd name="connsiteX25" fmla="*/ 332055 w 531187"/>
              <a:gd name="connsiteY25" fmla="*/ 816824 h 835576"/>
              <a:gd name="connsiteX26" fmla="*/ 276021 w 531187"/>
              <a:gd name="connsiteY26" fmla="*/ 794499 h 835576"/>
              <a:gd name="connsiteX27" fmla="*/ 254367 w 531187"/>
              <a:gd name="connsiteY27" fmla="*/ 736122 h 835576"/>
              <a:gd name="connsiteX28" fmla="*/ 276356 w 531187"/>
              <a:gd name="connsiteY28" fmla="*/ 674730 h 835576"/>
              <a:gd name="connsiteX29" fmla="*/ 334623 w 531187"/>
              <a:gd name="connsiteY29" fmla="*/ 651290 h 835576"/>
              <a:gd name="connsiteX30" fmla="*/ 195394 w 531187"/>
              <a:gd name="connsiteY30" fmla="*/ 651290 h 835576"/>
              <a:gd name="connsiteX31" fmla="*/ 217551 w 531187"/>
              <a:gd name="connsiteY31" fmla="*/ 652796 h 835576"/>
              <a:gd name="connsiteX32" fmla="*/ 235354 w 531187"/>
              <a:gd name="connsiteY32" fmla="*/ 657429 h 835576"/>
              <a:gd name="connsiteX33" fmla="*/ 235354 w 531187"/>
              <a:gd name="connsiteY33" fmla="*/ 690803 h 835576"/>
              <a:gd name="connsiteX34" fmla="*/ 226592 w 531187"/>
              <a:gd name="connsiteY34" fmla="*/ 685892 h 835576"/>
              <a:gd name="connsiteX35" fmla="*/ 216825 w 531187"/>
              <a:gd name="connsiteY35" fmla="*/ 682376 h 835576"/>
              <a:gd name="connsiteX36" fmla="*/ 206835 w 531187"/>
              <a:gd name="connsiteY36" fmla="*/ 680311 h 835576"/>
              <a:gd name="connsiteX37" fmla="*/ 197403 w 531187"/>
              <a:gd name="connsiteY37" fmla="*/ 679641 h 835576"/>
              <a:gd name="connsiteX38" fmla="*/ 186241 w 531187"/>
              <a:gd name="connsiteY38" fmla="*/ 680813 h 835576"/>
              <a:gd name="connsiteX39" fmla="*/ 177758 w 531187"/>
              <a:gd name="connsiteY39" fmla="*/ 684106 h 835576"/>
              <a:gd name="connsiteX40" fmla="*/ 172400 w 531187"/>
              <a:gd name="connsiteY40" fmla="*/ 689185 h 835576"/>
              <a:gd name="connsiteX41" fmla="*/ 170502 w 531187"/>
              <a:gd name="connsiteY41" fmla="*/ 695826 h 835576"/>
              <a:gd name="connsiteX42" fmla="*/ 172623 w 531187"/>
              <a:gd name="connsiteY42" fmla="*/ 703026 h 835576"/>
              <a:gd name="connsiteX43" fmla="*/ 178651 w 531187"/>
              <a:gd name="connsiteY43" fmla="*/ 709053 h 835576"/>
              <a:gd name="connsiteX44" fmla="*/ 188138 w 531187"/>
              <a:gd name="connsiteY44" fmla="*/ 714635 h 835576"/>
              <a:gd name="connsiteX45" fmla="*/ 200752 w 531187"/>
              <a:gd name="connsiteY45" fmla="*/ 720271 h 835576"/>
              <a:gd name="connsiteX46" fmla="*/ 217997 w 531187"/>
              <a:gd name="connsiteY46" fmla="*/ 728810 h 835576"/>
              <a:gd name="connsiteX47" fmla="*/ 231113 w 531187"/>
              <a:gd name="connsiteY47" fmla="*/ 739024 h 835576"/>
              <a:gd name="connsiteX48" fmla="*/ 239484 w 531187"/>
              <a:gd name="connsiteY48" fmla="*/ 752028 h 835576"/>
              <a:gd name="connsiteX49" fmla="*/ 242386 w 531187"/>
              <a:gd name="connsiteY49" fmla="*/ 769050 h 835576"/>
              <a:gd name="connsiteX50" fmla="*/ 237308 w 531187"/>
              <a:gd name="connsiteY50" fmla="*/ 791541 h 835576"/>
              <a:gd name="connsiteX51" fmla="*/ 223522 w 531187"/>
              <a:gd name="connsiteY51" fmla="*/ 806275 h 835576"/>
              <a:gd name="connsiteX52" fmla="*/ 203263 w 531187"/>
              <a:gd name="connsiteY52" fmla="*/ 814368 h 835576"/>
              <a:gd name="connsiteX53" fmla="*/ 178874 w 531187"/>
              <a:gd name="connsiteY53" fmla="*/ 816824 h 835576"/>
              <a:gd name="connsiteX54" fmla="*/ 153815 w 531187"/>
              <a:gd name="connsiteY54" fmla="*/ 814591 h 835576"/>
              <a:gd name="connsiteX55" fmla="*/ 133221 w 531187"/>
              <a:gd name="connsiteY55" fmla="*/ 807894 h 835576"/>
              <a:gd name="connsiteX56" fmla="*/ 133221 w 531187"/>
              <a:gd name="connsiteY56" fmla="*/ 772175 h 835576"/>
              <a:gd name="connsiteX57" fmla="*/ 154317 w 531187"/>
              <a:gd name="connsiteY57" fmla="*/ 784398 h 835576"/>
              <a:gd name="connsiteX58" fmla="*/ 177311 w 531187"/>
              <a:gd name="connsiteY58" fmla="*/ 788472 h 835576"/>
              <a:gd name="connsiteX59" fmla="*/ 189199 w 531187"/>
              <a:gd name="connsiteY59" fmla="*/ 787244 h 835576"/>
              <a:gd name="connsiteX60" fmla="*/ 197682 w 531187"/>
              <a:gd name="connsiteY60" fmla="*/ 783840 h 835576"/>
              <a:gd name="connsiteX61" fmla="*/ 202761 w 531187"/>
              <a:gd name="connsiteY61" fmla="*/ 778705 h 835576"/>
              <a:gd name="connsiteX62" fmla="*/ 204435 w 531187"/>
              <a:gd name="connsiteY62" fmla="*/ 772287 h 835576"/>
              <a:gd name="connsiteX63" fmla="*/ 201756 w 531187"/>
              <a:gd name="connsiteY63" fmla="*/ 763915 h 835576"/>
              <a:gd name="connsiteX64" fmla="*/ 194445 w 531187"/>
              <a:gd name="connsiteY64" fmla="*/ 757106 h 835576"/>
              <a:gd name="connsiteX65" fmla="*/ 183450 w 531187"/>
              <a:gd name="connsiteY65" fmla="*/ 751079 h 835576"/>
              <a:gd name="connsiteX66" fmla="*/ 169721 w 531187"/>
              <a:gd name="connsiteY66" fmla="*/ 745163 h 835576"/>
              <a:gd name="connsiteX67" fmla="*/ 141760 w 531187"/>
              <a:gd name="connsiteY67" fmla="*/ 726076 h 835576"/>
              <a:gd name="connsiteX68" fmla="*/ 132551 w 531187"/>
              <a:gd name="connsiteY68" fmla="*/ 698840 h 835576"/>
              <a:gd name="connsiteX69" fmla="*/ 137574 w 531187"/>
              <a:gd name="connsiteY69" fmla="*/ 677353 h 835576"/>
              <a:gd name="connsiteX70" fmla="*/ 151248 w 531187"/>
              <a:gd name="connsiteY70" fmla="*/ 662563 h 835576"/>
              <a:gd name="connsiteX71" fmla="*/ 171284 w 531187"/>
              <a:gd name="connsiteY71" fmla="*/ 654024 h 835576"/>
              <a:gd name="connsiteX72" fmla="*/ 195394 w 531187"/>
              <a:gd name="connsiteY72" fmla="*/ 651290 h 835576"/>
              <a:gd name="connsiteX73" fmla="*/ 0 w 531187"/>
              <a:gd name="connsiteY73" fmla="*/ 0 h 835576"/>
              <a:gd name="connsiteX74" fmla="*/ 248557 w 531187"/>
              <a:gd name="connsiteY74" fmla="*/ 591457 h 835576"/>
              <a:gd name="connsiteX75" fmla="*/ 0 w 531187"/>
              <a:gd name="connsiteY75" fmla="*/ 0 h 835576"/>
              <a:gd name="connsiteX0" fmla="*/ 201067 w 398636"/>
              <a:gd name="connsiteY0" fmla="*/ 31030 h 184286"/>
              <a:gd name="connsiteX1" fmla="*/ 170929 w 398636"/>
              <a:gd name="connsiteY1" fmla="*/ 45318 h 184286"/>
              <a:gd name="connsiteX2" fmla="*/ 159767 w 398636"/>
              <a:gd name="connsiteY2" fmla="*/ 82934 h 184286"/>
              <a:gd name="connsiteX3" fmla="*/ 170929 w 398636"/>
              <a:gd name="connsiteY3" fmla="*/ 120550 h 184286"/>
              <a:gd name="connsiteX4" fmla="*/ 200174 w 398636"/>
              <a:gd name="connsiteY4" fmla="*/ 134391 h 184286"/>
              <a:gd name="connsiteX5" fmla="*/ 229754 w 398636"/>
              <a:gd name="connsiteY5" fmla="*/ 120997 h 184286"/>
              <a:gd name="connsiteX6" fmla="*/ 240692 w 398636"/>
              <a:gd name="connsiteY6" fmla="*/ 83604 h 184286"/>
              <a:gd name="connsiteX7" fmla="*/ 230088 w 398636"/>
              <a:gd name="connsiteY7" fmla="*/ 44871 h 184286"/>
              <a:gd name="connsiteX8" fmla="*/ 201067 w 398636"/>
              <a:gd name="connsiteY8" fmla="*/ 31030 h 184286"/>
              <a:gd name="connsiteX9" fmla="*/ 303312 w 398636"/>
              <a:gd name="connsiteY9" fmla="*/ 2678 h 184286"/>
              <a:gd name="connsiteX10" fmla="*/ 339366 w 398636"/>
              <a:gd name="connsiteY10" fmla="*/ 2678 h 184286"/>
              <a:gd name="connsiteX11" fmla="*/ 339366 w 398636"/>
              <a:gd name="connsiteY11" fmla="*/ 133498 h 184286"/>
              <a:gd name="connsiteX12" fmla="*/ 398636 w 398636"/>
              <a:gd name="connsiteY12" fmla="*/ 133498 h 184286"/>
              <a:gd name="connsiteX13" fmla="*/ 398636 w 398636"/>
              <a:gd name="connsiteY13" fmla="*/ 162743 h 184286"/>
              <a:gd name="connsiteX14" fmla="*/ 303312 w 398636"/>
              <a:gd name="connsiteY14" fmla="*/ 162743 h 184286"/>
              <a:gd name="connsiteX15" fmla="*/ 303312 w 398636"/>
              <a:gd name="connsiteY15" fmla="*/ 2678 h 184286"/>
              <a:gd name="connsiteX16" fmla="*/ 202072 w 398636"/>
              <a:gd name="connsiteY16" fmla="*/ 0 h 184286"/>
              <a:gd name="connsiteX17" fmla="*/ 257436 w 398636"/>
              <a:gd name="connsiteY17" fmla="*/ 22435 h 184286"/>
              <a:gd name="connsiteX18" fmla="*/ 278644 w 398636"/>
              <a:gd name="connsiteY18" fmla="*/ 81595 h 184286"/>
              <a:gd name="connsiteX19" fmla="*/ 256654 w 398636"/>
              <a:gd name="connsiteY19" fmla="*/ 142428 h 184286"/>
              <a:gd name="connsiteX20" fmla="*/ 255203 w 398636"/>
              <a:gd name="connsiteY20" fmla="*/ 143935 h 184286"/>
              <a:gd name="connsiteX21" fmla="*/ 253752 w 398636"/>
              <a:gd name="connsiteY21" fmla="*/ 145330 h 184286"/>
              <a:gd name="connsiteX22" fmla="*/ 294271 w 398636"/>
              <a:gd name="connsiteY22" fmla="*/ 184286 h 184286"/>
              <a:gd name="connsiteX23" fmla="*/ 243818 w 398636"/>
              <a:gd name="connsiteY23" fmla="*/ 184286 h 184286"/>
              <a:gd name="connsiteX24" fmla="*/ 222610 w 398636"/>
              <a:gd name="connsiteY24" fmla="*/ 162743 h 184286"/>
              <a:gd name="connsiteX25" fmla="*/ 199504 w 398636"/>
              <a:gd name="connsiteY25" fmla="*/ 165534 h 184286"/>
              <a:gd name="connsiteX26" fmla="*/ 143470 w 398636"/>
              <a:gd name="connsiteY26" fmla="*/ 143209 h 184286"/>
              <a:gd name="connsiteX27" fmla="*/ 121816 w 398636"/>
              <a:gd name="connsiteY27" fmla="*/ 84832 h 184286"/>
              <a:gd name="connsiteX28" fmla="*/ 143805 w 398636"/>
              <a:gd name="connsiteY28" fmla="*/ 23440 h 184286"/>
              <a:gd name="connsiteX29" fmla="*/ 202072 w 398636"/>
              <a:gd name="connsiteY29" fmla="*/ 0 h 184286"/>
              <a:gd name="connsiteX30" fmla="*/ 62843 w 398636"/>
              <a:gd name="connsiteY30" fmla="*/ 0 h 184286"/>
              <a:gd name="connsiteX31" fmla="*/ 85000 w 398636"/>
              <a:gd name="connsiteY31" fmla="*/ 1506 h 184286"/>
              <a:gd name="connsiteX32" fmla="*/ 102803 w 398636"/>
              <a:gd name="connsiteY32" fmla="*/ 6139 h 184286"/>
              <a:gd name="connsiteX33" fmla="*/ 102803 w 398636"/>
              <a:gd name="connsiteY33" fmla="*/ 39513 h 184286"/>
              <a:gd name="connsiteX34" fmla="*/ 94041 w 398636"/>
              <a:gd name="connsiteY34" fmla="*/ 34602 h 184286"/>
              <a:gd name="connsiteX35" fmla="*/ 84274 w 398636"/>
              <a:gd name="connsiteY35" fmla="*/ 31086 h 184286"/>
              <a:gd name="connsiteX36" fmla="*/ 74284 w 398636"/>
              <a:gd name="connsiteY36" fmla="*/ 29021 h 184286"/>
              <a:gd name="connsiteX37" fmla="*/ 64852 w 398636"/>
              <a:gd name="connsiteY37" fmla="*/ 28351 h 184286"/>
              <a:gd name="connsiteX38" fmla="*/ 53690 w 398636"/>
              <a:gd name="connsiteY38" fmla="*/ 29523 h 184286"/>
              <a:gd name="connsiteX39" fmla="*/ 45207 w 398636"/>
              <a:gd name="connsiteY39" fmla="*/ 32816 h 184286"/>
              <a:gd name="connsiteX40" fmla="*/ 39849 w 398636"/>
              <a:gd name="connsiteY40" fmla="*/ 37895 h 184286"/>
              <a:gd name="connsiteX41" fmla="*/ 37951 w 398636"/>
              <a:gd name="connsiteY41" fmla="*/ 44536 h 184286"/>
              <a:gd name="connsiteX42" fmla="*/ 40072 w 398636"/>
              <a:gd name="connsiteY42" fmla="*/ 51736 h 184286"/>
              <a:gd name="connsiteX43" fmla="*/ 46100 w 398636"/>
              <a:gd name="connsiteY43" fmla="*/ 57763 h 184286"/>
              <a:gd name="connsiteX44" fmla="*/ 55587 w 398636"/>
              <a:gd name="connsiteY44" fmla="*/ 63345 h 184286"/>
              <a:gd name="connsiteX45" fmla="*/ 68201 w 398636"/>
              <a:gd name="connsiteY45" fmla="*/ 68981 h 184286"/>
              <a:gd name="connsiteX46" fmla="*/ 85446 w 398636"/>
              <a:gd name="connsiteY46" fmla="*/ 77520 h 184286"/>
              <a:gd name="connsiteX47" fmla="*/ 98562 w 398636"/>
              <a:gd name="connsiteY47" fmla="*/ 87734 h 184286"/>
              <a:gd name="connsiteX48" fmla="*/ 106933 w 398636"/>
              <a:gd name="connsiteY48" fmla="*/ 100738 h 184286"/>
              <a:gd name="connsiteX49" fmla="*/ 109835 w 398636"/>
              <a:gd name="connsiteY49" fmla="*/ 117760 h 184286"/>
              <a:gd name="connsiteX50" fmla="*/ 104757 w 398636"/>
              <a:gd name="connsiteY50" fmla="*/ 140251 h 184286"/>
              <a:gd name="connsiteX51" fmla="*/ 90971 w 398636"/>
              <a:gd name="connsiteY51" fmla="*/ 154985 h 184286"/>
              <a:gd name="connsiteX52" fmla="*/ 70712 w 398636"/>
              <a:gd name="connsiteY52" fmla="*/ 163078 h 184286"/>
              <a:gd name="connsiteX53" fmla="*/ 46323 w 398636"/>
              <a:gd name="connsiteY53" fmla="*/ 165534 h 184286"/>
              <a:gd name="connsiteX54" fmla="*/ 21264 w 398636"/>
              <a:gd name="connsiteY54" fmla="*/ 163301 h 184286"/>
              <a:gd name="connsiteX55" fmla="*/ 670 w 398636"/>
              <a:gd name="connsiteY55" fmla="*/ 156604 h 184286"/>
              <a:gd name="connsiteX56" fmla="*/ 670 w 398636"/>
              <a:gd name="connsiteY56" fmla="*/ 120885 h 184286"/>
              <a:gd name="connsiteX57" fmla="*/ 21766 w 398636"/>
              <a:gd name="connsiteY57" fmla="*/ 133108 h 184286"/>
              <a:gd name="connsiteX58" fmla="*/ 44760 w 398636"/>
              <a:gd name="connsiteY58" fmla="*/ 137182 h 184286"/>
              <a:gd name="connsiteX59" fmla="*/ 56648 w 398636"/>
              <a:gd name="connsiteY59" fmla="*/ 135954 h 184286"/>
              <a:gd name="connsiteX60" fmla="*/ 65131 w 398636"/>
              <a:gd name="connsiteY60" fmla="*/ 132550 h 184286"/>
              <a:gd name="connsiteX61" fmla="*/ 70210 w 398636"/>
              <a:gd name="connsiteY61" fmla="*/ 127415 h 184286"/>
              <a:gd name="connsiteX62" fmla="*/ 71884 w 398636"/>
              <a:gd name="connsiteY62" fmla="*/ 120997 h 184286"/>
              <a:gd name="connsiteX63" fmla="*/ 69205 w 398636"/>
              <a:gd name="connsiteY63" fmla="*/ 112625 h 184286"/>
              <a:gd name="connsiteX64" fmla="*/ 61894 w 398636"/>
              <a:gd name="connsiteY64" fmla="*/ 105816 h 184286"/>
              <a:gd name="connsiteX65" fmla="*/ 50899 w 398636"/>
              <a:gd name="connsiteY65" fmla="*/ 99789 h 184286"/>
              <a:gd name="connsiteX66" fmla="*/ 37170 w 398636"/>
              <a:gd name="connsiteY66" fmla="*/ 93873 h 184286"/>
              <a:gd name="connsiteX67" fmla="*/ 9209 w 398636"/>
              <a:gd name="connsiteY67" fmla="*/ 74786 h 184286"/>
              <a:gd name="connsiteX68" fmla="*/ 0 w 398636"/>
              <a:gd name="connsiteY68" fmla="*/ 47550 h 184286"/>
              <a:gd name="connsiteX69" fmla="*/ 5023 w 398636"/>
              <a:gd name="connsiteY69" fmla="*/ 26063 h 184286"/>
              <a:gd name="connsiteX70" fmla="*/ 18697 w 398636"/>
              <a:gd name="connsiteY70" fmla="*/ 11273 h 184286"/>
              <a:gd name="connsiteX71" fmla="*/ 38733 w 398636"/>
              <a:gd name="connsiteY71" fmla="*/ 2734 h 184286"/>
              <a:gd name="connsiteX72" fmla="*/ 62843 w 398636"/>
              <a:gd name="connsiteY72" fmla="*/ 0 h 184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Lst>
            <a:rect l="l" t="t" r="r" b="b"/>
            <a:pathLst>
              <a:path w="398636" h="184286">
                <a:moveTo>
                  <a:pt x="201067" y="31030"/>
                </a:moveTo>
                <a:cubicBezTo>
                  <a:pt x="188491" y="31030"/>
                  <a:pt x="178445" y="35793"/>
                  <a:pt x="170929" y="45318"/>
                </a:cubicBezTo>
                <a:cubicBezTo>
                  <a:pt x="163488" y="54768"/>
                  <a:pt x="159767" y="67307"/>
                  <a:pt x="159767" y="82934"/>
                </a:cubicBezTo>
                <a:cubicBezTo>
                  <a:pt x="159767" y="98784"/>
                  <a:pt x="163488" y="111323"/>
                  <a:pt x="170929" y="120550"/>
                </a:cubicBezTo>
                <a:cubicBezTo>
                  <a:pt x="178371" y="129778"/>
                  <a:pt x="188119" y="134391"/>
                  <a:pt x="200174" y="134391"/>
                </a:cubicBezTo>
                <a:cubicBezTo>
                  <a:pt x="212601" y="134391"/>
                  <a:pt x="222461" y="129927"/>
                  <a:pt x="229754" y="120997"/>
                </a:cubicBezTo>
                <a:cubicBezTo>
                  <a:pt x="237046" y="111918"/>
                  <a:pt x="240692" y="99454"/>
                  <a:pt x="240692" y="83604"/>
                </a:cubicBezTo>
                <a:cubicBezTo>
                  <a:pt x="240692" y="67084"/>
                  <a:pt x="237158" y="54173"/>
                  <a:pt x="230088" y="44871"/>
                </a:cubicBezTo>
                <a:cubicBezTo>
                  <a:pt x="223094" y="35644"/>
                  <a:pt x="213420" y="31030"/>
                  <a:pt x="201067" y="31030"/>
                </a:cubicBezTo>
                <a:close/>
                <a:moveTo>
                  <a:pt x="303312" y="2678"/>
                </a:moveTo>
                <a:lnTo>
                  <a:pt x="339366" y="2678"/>
                </a:lnTo>
                <a:lnTo>
                  <a:pt x="339366" y="133498"/>
                </a:lnTo>
                <a:lnTo>
                  <a:pt x="398636" y="133498"/>
                </a:lnTo>
                <a:lnTo>
                  <a:pt x="398636" y="162743"/>
                </a:lnTo>
                <a:lnTo>
                  <a:pt x="303312" y="162743"/>
                </a:lnTo>
                <a:lnTo>
                  <a:pt x="303312" y="2678"/>
                </a:lnTo>
                <a:close/>
                <a:moveTo>
                  <a:pt x="202072" y="0"/>
                </a:moveTo>
                <a:cubicBezTo>
                  <a:pt x="224917" y="0"/>
                  <a:pt x="243371" y="7478"/>
                  <a:pt x="257436" y="22435"/>
                </a:cubicBezTo>
                <a:cubicBezTo>
                  <a:pt x="271574" y="37318"/>
                  <a:pt x="278644" y="57038"/>
                  <a:pt x="278644" y="81595"/>
                </a:cubicBezTo>
                <a:cubicBezTo>
                  <a:pt x="278644" y="106672"/>
                  <a:pt x="271314" y="126950"/>
                  <a:pt x="256654" y="142428"/>
                </a:cubicBezTo>
                <a:cubicBezTo>
                  <a:pt x="256133" y="142949"/>
                  <a:pt x="255650" y="143451"/>
                  <a:pt x="255203" y="143935"/>
                </a:cubicBezTo>
                <a:cubicBezTo>
                  <a:pt x="254757" y="144419"/>
                  <a:pt x="254273" y="144884"/>
                  <a:pt x="253752" y="145330"/>
                </a:cubicBezTo>
                <a:lnTo>
                  <a:pt x="294271" y="184286"/>
                </a:lnTo>
                <a:lnTo>
                  <a:pt x="243818" y="184286"/>
                </a:lnTo>
                <a:lnTo>
                  <a:pt x="222610" y="162743"/>
                </a:lnTo>
                <a:cubicBezTo>
                  <a:pt x="215615" y="164603"/>
                  <a:pt x="207913" y="165534"/>
                  <a:pt x="199504" y="165534"/>
                </a:cubicBezTo>
                <a:cubicBezTo>
                  <a:pt x="176585" y="165534"/>
                  <a:pt x="157907" y="158092"/>
                  <a:pt x="143470" y="143209"/>
                </a:cubicBezTo>
                <a:cubicBezTo>
                  <a:pt x="129034" y="128178"/>
                  <a:pt x="121816" y="108719"/>
                  <a:pt x="121816" y="84832"/>
                </a:cubicBezTo>
                <a:cubicBezTo>
                  <a:pt x="121816" y="59605"/>
                  <a:pt x="129146" y="39141"/>
                  <a:pt x="143805" y="23440"/>
                </a:cubicBezTo>
                <a:cubicBezTo>
                  <a:pt x="158391" y="7813"/>
                  <a:pt x="177813" y="0"/>
                  <a:pt x="202072" y="0"/>
                </a:cubicBezTo>
                <a:close/>
                <a:moveTo>
                  <a:pt x="62843" y="0"/>
                </a:moveTo>
                <a:cubicBezTo>
                  <a:pt x="71177" y="0"/>
                  <a:pt x="78563" y="502"/>
                  <a:pt x="85000" y="1506"/>
                </a:cubicBezTo>
                <a:cubicBezTo>
                  <a:pt x="91436" y="2511"/>
                  <a:pt x="97371" y="4055"/>
                  <a:pt x="102803" y="6139"/>
                </a:cubicBezTo>
                <a:lnTo>
                  <a:pt x="102803" y="39513"/>
                </a:lnTo>
                <a:cubicBezTo>
                  <a:pt x="100124" y="37653"/>
                  <a:pt x="97204" y="36016"/>
                  <a:pt x="94041" y="34602"/>
                </a:cubicBezTo>
                <a:cubicBezTo>
                  <a:pt x="90878" y="33188"/>
                  <a:pt x="87623" y="32016"/>
                  <a:pt x="84274" y="31086"/>
                </a:cubicBezTo>
                <a:cubicBezTo>
                  <a:pt x="80925" y="30156"/>
                  <a:pt x="77595" y="29468"/>
                  <a:pt x="74284" y="29021"/>
                </a:cubicBezTo>
                <a:cubicBezTo>
                  <a:pt x="70973" y="28575"/>
                  <a:pt x="67829" y="28351"/>
                  <a:pt x="64852" y="28351"/>
                </a:cubicBezTo>
                <a:cubicBezTo>
                  <a:pt x="60759" y="28351"/>
                  <a:pt x="57039" y="28742"/>
                  <a:pt x="53690" y="29523"/>
                </a:cubicBezTo>
                <a:cubicBezTo>
                  <a:pt x="50341" y="30305"/>
                  <a:pt x="47514" y="31402"/>
                  <a:pt x="45207" y="32816"/>
                </a:cubicBezTo>
                <a:cubicBezTo>
                  <a:pt x="42900" y="34230"/>
                  <a:pt x="41114" y="35923"/>
                  <a:pt x="39849" y="37895"/>
                </a:cubicBezTo>
                <a:cubicBezTo>
                  <a:pt x="38584" y="39867"/>
                  <a:pt x="37951" y="42081"/>
                  <a:pt x="37951" y="44536"/>
                </a:cubicBezTo>
                <a:cubicBezTo>
                  <a:pt x="37951" y="47215"/>
                  <a:pt x="38658" y="49615"/>
                  <a:pt x="40072" y="51736"/>
                </a:cubicBezTo>
                <a:cubicBezTo>
                  <a:pt x="41486" y="53857"/>
                  <a:pt x="43495" y="55866"/>
                  <a:pt x="46100" y="57763"/>
                </a:cubicBezTo>
                <a:cubicBezTo>
                  <a:pt x="48704" y="59661"/>
                  <a:pt x="51867" y="61521"/>
                  <a:pt x="55587" y="63345"/>
                </a:cubicBezTo>
                <a:cubicBezTo>
                  <a:pt x="59308" y="65168"/>
                  <a:pt x="63513" y="67047"/>
                  <a:pt x="68201" y="68981"/>
                </a:cubicBezTo>
                <a:cubicBezTo>
                  <a:pt x="74600" y="71660"/>
                  <a:pt x="80349" y="74507"/>
                  <a:pt x="85446" y="77520"/>
                </a:cubicBezTo>
                <a:cubicBezTo>
                  <a:pt x="90543" y="80534"/>
                  <a:pt x="94915" y="83939"/>
                  <a:pt x="98562" y="87734"/>
                </a:cubicBezTo>
                <a:cubicBezTo>
                  <a:pt x="102208" y="91529"/>
                  <a:pt x="104998" y="95863"/>
                  <a:pt x="106933" y="100738"/>
                </a:cubicBezTo>
                <a:cubicBezTo>
                  <a:pt x="108868" y="105612"/>
                  <a:pt x="109835" y="111286"/>
                  <a:pt x="109835" y="117760"/>
                </a:cubicBezTo>
                <a:cubicBezTo>
                  <a:pt x="109835" y="126690"/>
                  <a:pt x="108142" y="134187"/>
                  <a:pt x="104757" y="140251"/>
                </a:cubicBezTo>
                <a:cubicBezTo>
                  <a:pt x="101371" y="146316"/>
                  <a:pt x="96776" y="151228"/>
                  <a:pt x="90971" y="154985"/>
                </a:cubicBezTo>
                <a:cubicBezTo>
                  <a:pt x="85167" y="158743"/>
                  <a:pt x="78414" y="161441"/>
                  <a:pt x="70712" y="163078"/>
                </a:cubicBezTo>
                <a:cubicBezTo>
                  <a:pt x="63010" y="164715"/>
                  <a:pt x="54881" y="165534"/>
                  <a:pt x="46323" y="165534"/>
                </a:cubicBezTo>
                <a:cubicBezTo>
                  <a:pt x="37542" y="165534"/>
                  <a:pt x="29189" y="164790"/>
                  <a:pt x="21264" y="163301"/>
                </a:cubicBezTo>
                <a:cubicBezTo>
                  <a:pt x="13339" y="161813"/>
                  <a:pt x="6474" y="159581"/>
                  <a:pt x="670" y="156604"/>
                </a:cubicBezTo>
                <a:lnTo>
                  <a:pt x="670" y="120885"/>
                </a:lnTo>
                <a:cubicBezTo>
                  <a:pt x="7144" y="126317"/>
                  <a:pt x="14176" y="130392"/>
                  <a:pt x="21766" y="133108"/>
                </a:cubicBezTo>
                <a:cubicBezTo>
                  <a:pt x="29357" y="135824"/>
                  <a:pt x="37021" y="137182"/>
                  <a:pt x="44760" y="137182"/>
                </a:cubicBezTo>
                <a:cubicBezTo>
                  <a:pt x="49299" y="137182"/>
                  <a:pt x="53262" y="136773"/>
                  <a:pt x="56648" y="135954"/>
                </a:cubicBezTo>
                <a:cubicBezTo>
                  <a:pt x="60034" y="135136"/>
                  <a:pt x="62861" y="134001"/>
                  <a:pt x="65131" y="132550"/>
                </a:cubicBezTo>
                <a:cubicBezTo>
                  <a:pt x="67401" y="131099"/>
                  <a:pt x="69094" y="129387"/>
                  <a:pt x="70210" y="127415"/>
                </a:cubicBezTo>
                <a:cubicBezTo>
                  <a:pt x="71326" y="125443"/>
                  <a:pt x="71884" y="123304"/>
                  <a:pt x="71884" y="120997"/>
                </a:cubicBezTo>
                <a:cubicBezTo>
                  <a:pt x="71884" y="117871"/>
                  <a:pt x="70991" y="115081"/>
                  <a:pt x="69205" y="112625"/>
                </a:cubicBezTo>
                <a:cubicBezTo>
                  <a:pt x="67419" y="110170"/>
                  <a:pt x="64982" y="107900"/>
                  <a:pt x="61894" y="105816"/>
                </a:cubicBezTo>
                <a:cubicBezTo>
                  <a:pt x="58806" y="103733"/>
                  <a:pt x="55141" y="101724"/>
                  <a:pt x="50899" y="99789"/>
                </a:cubicBezTo>
                <a:cubicBezTo>
                  <a:pt x="46658" y="97854"/>
                  <a:pt x="42081" y="95882"/>
                  <a:pt x="37170" y="93873"/>
                </a:cubicBezTo>
                <a:cubicBezTo>
                  <a:pt x="24668" y="88664"/>
                  <a:pt x="15348" y="82302"/>
                  <a:pt x="9209" y="74786"/>
                </a:cubicBezTo>
                <a:cubicBezTo>
                  <a:pt x="3070" y="67270"/>
                  <a:pt x="0" y="58191"/>
                  <a:pt x="0" y="47550"/>
                </a:cubicBezTo>
                <a:cubicBezTo>
                  <a:pt x="0" y="39216"/>
                  <a:pt x="1674" y="32053"/>
                  <a:pt x="5023" y="26063"/>
                </a:cubicBezTo>
                <a:cubicBezTo>
                  <a:pt x="8372" y="20073"/>
                  <a:pt x="12930" y="15143"/>
                  <a:pt x="18697" y="11273"/>
                </a:cubicBezTo>
                <a:cubicBezTo>
                  <a:pt x="24464" y="7404"/>
                  <a:pt x="31142" y="4557"/>
                  <a:pt x="38733" y="2734"/>
                </a:cubicBezTo>
                <a:cubicBezTo>
                  <a:pt x="46323" y="911"/>
                  <a:pt x="54360" y="0"/>
                  <a:pt x="62843" y="0"/>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721" dirty="0">
              <a:solidFill>
                <a:srgbClr val="FFFFFF"/>
              </a:solidFill>
              <a:latin typeface="Segoe UI"/>
            </a:endParaRPr>
          </a:p>
        </p:txBody>
      </p:sp>
      <p:pic>
        <p:nvPicPr>
          <p:cNvPr id="829" name="Picture 2" descr="https://c2.staticflickr.com/4/3701/19224697601_d03ecccf71_o.png"/>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13945" r="13945"/>
          <a:stretch/>
        </p:blipFill>
        <p:spPr bwMode="auto">
          <a:xfrm>
            <a:off x="10507658" y="2748435"/>
            <a:ext cx="529822" cy="734744"/>
          </a:xfrm>
          <a:prstGeom prst="rect">
            <a:avLst/>
          </a:prstGeom>
          <a:noFill/>
          <a:extLst>
            <a:ext uri="{909E8E84-426E-40DD-AFC4-6F175D3DCCD1}">
              <a14:hiddenFill xmlns:a14="http://schemas.microsoft.com/office/drawing/2010/main">
                <a:solidFill>
                  <a:srgbClr val="FFFFFF"/>
                </a:solidFill>
              </a14:hiddenFill>
            </a:ext>
          </a:extLst>
        </p:spPr>
      </p:pic>
      <p:sp>
        <p:nvSpPr>
          <p:cNvPr id="830" name="Freeform: Shape 28"/>
          <p:cNvSpPr/>
          <p:nvPr/>
        </p:nvSpPr>
        <p:spPr>
          <a:xfrm>
            <a:off x="5787188" y="2528716"/>
            <a:ext cx="691164" cy="595869"/>
          </a:xfrm>
          <a:custGeom>
            <a:avLst/>
            <a:gdLst>
              <a:gd name="connsiteX0" fmla="*/ 4283739 w 6912012"/>
              <a:gd name="connsiteY0" fmla="*/ 3558282 h 5959009"/>
              <a:gd name="connsiteX1" fmla="*/ 4283739 w 6912012"/>
              <a:gd name="connsiteY1" fmla="*/ 4359666 h 5959009"/>
              <a:gd name="connsiteX2" fmla="*/ 5085123 w 6912012"/>
              <a:gd name="connsiteY2" fmla="*/ 4359666 h 5959009"/>
              <a:gd name="connsiteX3" fmla="*/ 5085123 w 6912012"/>
              <a:gd name="connsiteY3" fmla="*/ 3558282 h 5959009"/>
              <a:gd name="connsiteX4" fmla="*/ 3285434 w 6912012"/>
              <a:gd name="connsiteY4" fmla="*/ 3558282 h 5959009"/>
              <a:gd name="connsiteX5" fmla="*/ 3285434 w 6912012"/>
              <a:gd name="connsiteY5" fmla="*/ 4359666 h 5959009"/>
              <a:gd name="connsiteX6" fmla="*/ 4086818 w 6912012"/>
              <a:gd name="connsiteY6" fmla="*/ 4359666 h 5959009"/>
              <a:gd name="connsiteX7" fmla="*/ 4086818 w 6912012"/>
              <a:gd name="connsiteY7" fmla="*/ 3558282 h 5959009"/>
              <a:gd name="connsiteX8" fmla="*/ 2287129 w 6912012"/>
              <a:gd name="connsiteY8" fmla="*/ 3558282 h 5959009"/>
              <a:gd name="connsiteX9" fmla="*/ 2287129 w 6912012"/>
              <a:gd name="connsiteY9" fmla="*/ 4359666 h 5959009"/>
              <a:gd name="connsiteX10" fmla="*/ 3088513 w 6912012"/>
              <a:gd name="connsiteY10" fmla="*/ 4359666 h 5959009"/>
              <a:gd name="connsiteX11" fmla="*/ 3088513 w 6912012"/>
              <a:gd name="connsiteY11" fmla="*/ 3558282 h 5959009"/>
              <a:gd name="connsiteX12" fmla="*/ 4283739 w 6912012"/>
              <a:gd name="connsiteY12" fmla="*/ 2561689 h 5959009"/>
              <a:gd name="connsiteX13" fmla="*/ 4283739 w 6912012"/>
              <a:gd name="connsiteY13" fmla="*/ 3363073 h 5959009"/>
              <a:gd name="connsiteX14" fmla="*/ 5085123 w 6912012"/>
              <a:gd name="connsiteY14" fmla="*/ 3363073 h 5959009"/>
              <a:gd name="connsiteX15" fmla="*/ 5085123 w 6912012"/>
              <a:gd name="connsiteY15" fmla="*/ 2561689 h 5959009"/>
              <a:gd name="connsiteX16" fmla="*/ 3285434 w 6912012"/>
              <a:gd name="connsiteY16" fmla="*/ 2561689 h 5959009"/>
              <a:gd name="connsiteX17" fmla="*/ 3285434 w 6912012"/>
              <a:gd name="connsiteY17" fmla="*/ 3363073 h 5959009"/>
              <a:gd name="connsiteX18" fmla="*/ 4086818 w 6912012"/>
              <a:gd name="connsiteY18" fmla="*/ 3363073 h 5959009"/>
              <a:gd name="connsiteX19" fmla="*/ 4086818 w 6912012"/>
              <a:gd name="connsiteY19" fmla="*/ 2561689 h 5959009"/>
              <a:gd name="connsiteX20" fmla="*/ 2287129 w 6912012"/>
              <a:gd name="connsiteY20" fmla="*/ 2561689 h 5959009"/>
              <a:gd name="connsiteX21" fmla="*/ 2287129 w 6912012"/>
              <a:gd name="connsiteY21" fmla="*/ 3363073 h 5959009"/>
              <a:gd name="connsiteX22" fmla="*/ 3088513 w 6912012"/>
              <a:gd name="connsiteY22" fmla="*/ 3363073 h 5959009"/>
              <a:gd name="connsiteX23" fmla="*/ 3088513 w 6912012"/>
              <a:gd name="connsiteY23" fmla="*/ 2561689 h 5959009"/>
              <a:gd name="connsiteX24" fmla="*/ 4283739 w 6912012"/>
              <a:gd name="connsiteY24" fmla="*/ 1565096 h 5959009"/>
              <a:gd name="connsiteX25" fmla="*/ 4283739 w 6912012"/>
              <a:gd name="connsiteY25" fmla="*/ 2366480 h 5959009"/>
              <a:gd name="connsiteX26" fmla="*/ 5085123 w 6912012"/>
              <a:gd name="connsiteY26" fmla="*/ 2366480 h 5959009"/>
              <a:gd name="connsiteX27" fmla="*/ 5085123 w 6912012"/>
              <a:gd name="connsiteY27" fmla="*/ 1565096 h 5959009"/>
              <a:gd name="connsiteX28" fmla="*/ 3285434 w 6912012"/>
              <a:gd name="connsiteY28" fmla="*/ 1565096 h 5959009"/>
              <a:gd name="connsiteX29" fmla="*/ 3285434 w 6912012"/>
              <a:gd name="connsiteY29" fmla="*/ 2366480 h 5959009"/>
              <a:gd name="connsiteX30" fmla="*/ 4086818 w 6912012"/>
              <a:gd name="connsiteY30" fmla="*/ 2366480 h 5959009"/>
              <a:gd name="connsiteX31" fmla="*/ 4086818 w 6912012"/>
              <a:gd name="connsiteY31" fmla="*/ 1565096 h 5959009"/>
              <a:gd name="connsiteX32" fmla="*/ 2287129 w 6912012"/>
              <a:gd name="connsiteY32" fmla="*/ 1565096 h 5959009"/>
              <a:gd name="connsiteX33" fmla="*/ 2287129 w 6912012"/>
              <a:gd name="connsiteY33" fmla="*/ 2366480 h 5959009"/>
              <a:gd name="connsiteX34" fmla="*/ 3088513 w 6912012"/>
              <a:gd name="connsiteY34" fmla="*/ 2366480 h 5959009"/>
              <a:gd name="connsiteX35" fmla="*/ 3088513 w 6912012"/>
              <a:gd name="connsiteY35" fmla="*/ 1565096 h 5959009"/>
              <a:gd name="connsiteX36" fmla="*/ 1826890 w 6912012"/>
              <a:gd name="connsiteY36" fmla="*/ 1539635 h 5959009"/>
              <a:gd name="connsiteX37" fmla="*/ 1826890 w 6912012"/>
              <a:gd name="connsiteY37" fmla="*/ 4787206 h 5959009"/>
              <a:gd name="connsiteX38" fmla="*/ 5085123 w 6912012"/>
              <a:gd name="connsiteY38" fmla="*/ 4787206 h 5959009"/>
              <a:gd name="connsiteX39" fmla="*/ 5085123 w 6912012"/>
              <a:gd name="connsiteY39" fmla="*/ 4567677 h 5959009"/>
              <a:gd name="connsiteX40" fmla="*/ 2046419 w 6912012"/>
              <a:gd name="connsiteY40" fmla="*/ 4567677 h 5959009"/>
              <a:gd name="connsiteX41" fmla="*/ 2046419 w 6912012"/>
              <a:gd name="connsiteY41" fmla="*/ 1539635 h 5959009"/>
              <a:gd name="connsiteX42" fmla="*/ 1743189 w 6912012"/>
              <a:gd name="connsiteY42" fmla="*/ 0 h 5959009"/>
              <a:gd name="connsiteX43" fmla="*/ 5168823 w 6912012"/>
              <a:gd name="connsiteY43" fmla="*/ 0 h 5959009"/>
              <a:gd name="connsiteX44" fmla="*/ 6912012 w 6912012"/>
              <a:gd name="connsiteY44" fmla="*/ 2979505 h 5959009"/>
              <a:gd name="connsiteX45" fmla="*/ 5168823 w 6912012"/>
              <a:gd name="connsiteY45" fmla="*/ 5959009 h 5959009"/>
              <a:gd name="connsiteX46" fmla="*/ 1743189 w 6912012"/>
              <a:gd name="connsiteY46" fmla="*/ 5959009 h 5959009"/>
              <a:gd name="connsiteX47" fmla="*/ 0 w 6912012"/>
              <a:gd name="connsiteY47" fmla="*/ 2979505 h 59590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6912012" h="5959009">
                <a:moveTo>
                  <a:pt x="4283739" y="3558282"/>
                </a:moveTo>
                <a:lnTo>
                  <a:pt x="4283739" y="4359666"/>
                </a:lnTo>
                <a:lnTo>
                  <a:pt x="5085123" y="4359666"/>
                </a:lnTo>
                <a:lnTo>
                  <a:pt x="5085123" y="3558282"/>
                </a:lnTo>
                <a:close/>
                <a:moveTo>
                  <a:pt x="3285434" y="3558282"/>
                </a:moveTo>
                <a:lnTo>
                  <a:pt x="3285434" y="4359666"/>
                </a:lnTo>
                <a:lnTo>
                  <a:pt x="4086818" y="4359666"/>
                </a:lnTo>
                <a:lnTo>
                  <a:pt x="4086818" y="3558282"/>
                </a:lnTo>
                <a:close/>
                <a:moveTo>
                  <a:pt x="2287129" y="3558282"/>
                </a:moveTo>
                <a:lnTo>
                  <a:pt x="2287129" y="4359666"/>
                </a:lnTo>
                <a:lnTo>
                  <a:pt x="3088513" y="4359666"/>
                </a:lnTo>
                <a:lnTo>
                  <a:pt x="3088513" y="3558282"/>
                </a:lnTo>
                <a:close/>
                <a:moveTo>
                  <a:pt x="4283739" y="2561689"/>
                </a:moveTo>
                <a:lnTo>
                  <a:pt x="4283739" y="3363073"/>
                </a:lnTo>
                <a:lnTo>
                  <a:pt x="5085123" y="3363073"/>
                </a:lnTo>
                <a:lnTo>
                  <a:pt x="5085123" y="2561689"/>
                </a:lnTo>
                <a:close/>
                <a:moveTo>
                  <a:pt x="3285434" y="2561689"/>
                </a:moveTo>
                <a:lnTo>
                  <a:pt x="3285434" y="3363073"/>
                </a:lnTo>
                <a:lnTo>
                  <a:pt x="4086818" y="3363073"/>
                </a:lnTo>
                <a:lnTo>
                  <a:pt x="4086818" y="2561689"/>
                </a:lnTo>
                <a:close/>
                <a:moveTo>
                  <a:pt x="2287129" y="2561689"/>
                </a:moveTo>
                <a:lnTo>
                  <a:pt x="2287129" y="3363073"/>
                </a:lnTo>
                <a:lnTo>
                  <a:pt x="3088513" y="3363073"/>
                </a:lnTo>
                <a:lnTo>
                  <a:pt x="3088513" y="2561689"/>
                </a:lnTo>
                <a:close/>
                <a:moveTo>
                  <a:pt x="4283739" y="1565096"/>
                </a:moveTo>
                <a:lnTo>
                  <a:pt x="4283739" y="2366480"/>
                </a:lnTo>
                <a:lnTo>
                  <a:pt x="5085123" y="2366480"/>
                </a:lnTo>
                <a:lnTo>
                  <a:pt x="5085123" y="1565096"/>
                </a:lnTo>
                <a:close/>
                <a:moveTo>
                  <a:pt x="3285434" y="1565096"/>
                </a:moveTo>
                <a:lnTo>
                  <a:pt x="3285434" y="2366480"/>
                </a:lnTo>
                <a:lnTo>
                  <a:pt x="4086818" y="2366480"/>
                </a:lnTo>
                <a:lnTo>
                  <a:pt x="4086818" y="1565096"/>
                </a:lnTo>
                <a:close/>
                <a:moveTo>
                  <a:pt x="2287129" y="1565096"/>
                </a:moveTo>
                <a:lnTo>
                  <a:pt x="2287129" y="2366480"/>
                </a:lnTo>
                <a:lnTo>
                  <a:pt x="3088513" y="2366480"/>
                </a:lnTo>
                <a:lnTo>
                  <a:pt x="3088513" y="1565096"/>
                </a:lnTo>
                <a:close/>
                <a:moveTo>
                  <a:pt x="1826890" y="1539635"/>
                </a:moveTo>
                <a:lnTo>
                  <a:pt x="1826890" y="4787206"/>
                </a:lnTo>
                <a:lnTo>
                  <a:pt x="5085123" y="4787206"/>
                </a:lnTo>
                <a:lnTo>
                  <a:pt x="5085123" y="4567677"/>
                </a:lnTo>
                <a:lnTo>
                  <a:pt x="2046419" y="4567677"/>
                </a:lnTo>
                <a:lnTo>
                  <a:pt x="2046419" y="1539635"/>
                </a:lnTo>
                <a:close/>
                <a:moveTo>
                  <a:pt x="1743189" y="0"/>
                </a:moveTo>
                <a:lnTo>
                  <a:pt x="5168823" y="0"/>
                </a:lnTo>
                <a:lnTo>
                  <a:pt x="6912012" y="2979505"/>
                </a:lnTo>
                <a:lnTo>
                  <a:pt x="5168823" y="5959009"/>
                </a:lnTo>
                <a:lnTo>
                  <a:pt x="1743189" y="5959009"/>
                </a:lnTo>
                <a:lnTo>
                  <a:pt x="0" y="2979505"/>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721" dirty="0">
              <a:solidFill>
                <a:srgbClr val="FFFFFF"/>
              </a:solidFill>
              <a:latin typeface="Segoe UI"/>
            </a:endParaRPr>
          </a:p>
        </p:txBody>
      </p:sp>
      <p:pic>
        <p:nvPicPr>
          <p:cNvPr id="839" name="Picture 838" descr="https://upload.wikimedia.org/wikipedia/en/thumb/5/54/Gremlin_%28programming_language%29.png/383px-Gremlin_%28programming_language%29.png"/>
          <p:cNvPicPr>
            <a:picLocks noChangeAspect="1" noChangeArrowheads="1"/>
          </p:cNvPicPr>
          <p:nvPr/>
        </p:nvPicPr>
        <p:blipFill>
          <a:blip r:embed="rId4" cstate="print">
            <a:extLst>
              <a:ext uri="{28A0092B-C50C-407E-A947-70E740481C1C}">
                <a14:useLocalDpi xmlns:a14="http://schemas.microsoft.com/office/drawing/2010/main" val="0"/>
              </a:ext>
            </a:extLst>
          </a:blip>
          <a:stretch>
            <a:fillRect/>
          </a:stretch>
        </p:blipFill>
        <p:spPr bwMode="auto">
          <a:xfrm>
            <a:off x="8172315" y="2544284"/>
            <a:ext cx="1491643" cy="580301"/>
          </a:xfrm>
          <a:prstGeom prst="rect">
            <a:avLst/>
          </a:prstGeom>
          <a:extLst>
            <a:ext uri="{909E8E84-426E-40DD-AFC4-6F175D3DCCD1}">
              <a14:hiddenFill xmlns:a14="http://schemas.microsoft.com/office/drawing/2010/main">
                <a:solidFill>
                  <a:srgbClr val="FFFFFF"/>
                </a:solidFill>
              </a14:hiddenFill>
            </a:ext>
          </a:extLst>
        </p:spPr>
      </p:pic>
      <p:pic>
        <p:nvPicPr>
          <p:cNvPr id="840" name="Picture 4" descr="File:MongoDB-Logo.sv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3345350" y="2667252"/>
            <a:ext cx="1495752" cy="405868"/>
          </a:xfrm>
          <a:prstGeom prst="rect">
            <a:avLst/>
          </a:prstGeom>
          <a:noFill/>
          <a:extLst>
            <a:ext uri="{909E8E84-426E-40DD-AFC4-6F175D3DCCD1}">
              <a14:hiddenFill xmlns:a14="http://schemas.microsoft.com/office/drawing/2010/main">
                <a:solidFill>
                  <a:srgbClr val="FFFFFF"/>
                </a:solidFill>
              </a14:hiddenFill>
            </a:ext>
          </a:extLst>
        </p:spPr>
      </p:pic>
      <p:grpSp>
        <p:nvGrpSpPr>
          <p:cNvPr id="865" name="Group 864"/>
          <p:cNvGrpSpPr/>
          <p:nvPr/>
        </p:nvGrpSpPr>
        <p:grpSpPr>
          <a:xfrm>
            <a:off x="8770181" y="3776880"/>
            <a:ext cx="560601" cy="360629"/>
            <a:chOff x="7117181" y="5146654"/>
            <a:chExt cx="663064" cy="426544"/>
          </a:xfrm>
          <a:solidFill>
            <a:srgbClr val="59B4D9"/>
          </a:solidFill>
        </p:grpSpPr>
        <p:sp>
          <p:nvSpPr>
            <p:cNvPr id="866" name="Oval 865"/>
            <p:cNvSpPr/>
            <p:nvPr/>
          </p:nvSpPr>
          <p:spPr bwMode="auto">
            <a:xfrm rot="715722">
              <a:off x="7117181" y="5146654"/>
              <a:ext cx="124646" cy="124646"/>
            </a:xfrm>
            <a:prstGeom prst="ellipse">
              <a:avLst/>
            </a:prstGeom>
            <a:solidFill>
              <a:schemeClr val="accent1"/>
            </a:solidFill>
            <a:ln w="3175" cap="flat" cmpd="sng" algn="ctr">
              <a:noFill/>
              <a:prstDash val="solid"/>
              <a:miter lim="800000"/>
              <a:headEnd type="none" w="med" len="med"/>
              <a:tailEnd type="none" w="med" len="med"/>
            </a:ln>
            <a:effectLst/>
          </p:spPr>
          <p:txBody>
            <a:bodyPr vert="horz" wrap="square" lIns="0" tIns="43716" rIns="0" bIns="43716" numCol="1" rtlCol="0" anchor="ctr" anchorCtr="0" compatLnSpc="1">
              <a:prstTxWarp prst="textNoShape">
                <a:avLst/>
              </a:prstTxWarp>
            </a:bodyPr>
            <a:lstStyle/>
            <a:p>
              <a:pPr algn="ctr" defTabSz="874064" fontAlgn="base">
                <a:spcBef>
                  <a:spcPct val="0"/>
                </a:spcBef>
                <a:spcAft>
                  <a:spcPct val="0"/>
                </a:spcAft>
                <a:defRPr/>
              </a:pPr>
              <a:endParaRPr lang="en-US" sz="1875" kern="0" dirty="0">
                <a:gradFill>
                  <a:gsLst>
                    <a:gs pos="0">
                      <a:srgbClr val="FFFFFF"/>
                    </a:gs>
                    <a:gs pos="100000">
                      <a:srgbClr val="FFFFFF"/>
                    </a:gs>
                  </a:gsLst>
                  <a:lin ang="5400000" scaled="0"/>
                </a:gradFill>
                <a:latin typeface="Segoe UI"/>
              </a:endParaRPr>
            </a:p>
          </p:txBody>
        </p:sp>
        <p:sp>
          <p:nvSpPr>
            <p:cNvPr id="867" name="Oval 866"/>
            <p:cNvSpPr/>
            <p:nvPr/>
          </p:nvSpPr>
          <p:spPr bwMode="auto">
            <a:xfrm>
              <a:off x="7476127" y="5224668"/>
              <a:ext cx="124646" cy="124646"/>
            </a:xfrm>
            <a:prstGeom prst="ellipse">
              <a:avLst/>
            </a:prstGeom>
            <a:solidFill>
              <a:schemeClr val="accent1"/>
            </a:solidFill>
            <a:ln w="3175" cap="flat" cmpd="sng" algn="ctr">
              <a:noFill/>
              <a:prstDash val="solid"/>
              <a:miter lim="800000"/>
              <a:headEnd type="none" w="med" len="med"/>
              <a:tailEnd type="none" w="med" len="med"/>
            </a:ln>
            <a:effectLst/>
          </p:spPr>
          <p:txBody>
            <a:bodyPr vert="horz" wrap="square" lIns="0" tIns="43716" rIns="0" bIns="43716" numCol="1" rtlCol="0" anchor="ctr" anchorCtr="0" compatLnSpc="1">
              <a:prstTxWarp prst="textNoShape">
                <a:avLst/>
              </a:prstTxWarp>
            </a:bodyPr>
            <a:lstStyle/>
            <a:p>
              <a:pPr algn="ctr" defTabSz="874064" fontAlgn="base">
                <a:spcBef>
                  <a:spcPct val="0"/>
                </a:spcBef>
                <a:spcAft>
                  <a:spcPct val="0"/>
                </a:spcAft>
                <a:defRPr/>
              </a:pPr>
              <a:endParaRPr lang="en-US" sz="1875" kern="0" dirty="0">
                <a:gradFill>
                  <a:gsLst>
                    <a:gs pos="0">
                      <a:srgbClr val="FFFFFF"/>
                    </a:gs>
                    <a:gs pos="100000">
                      <a:srgbClr val="FFFFFF"/>
                    </a:gs>
                  </a:gsLst>
                  <a:lin ang="5400000" scaled="0"/>
                </a:gradFill>
                <a:latin typeface="Segoe UI"/>
              </a:endParaRPr>
            </a:p>
          </p:txBody>
        </p:sp>
        <p:sp>
          <p:nvSpPr>
            <p:cNvPr id="868" name="Oval 867"/>
            <p:cNvSpPr/>
            <p:nvPr/>
          </p:nvSpPr>
          <p:spPr bwMode="auto">
            <a:xfrm>
              <a:off x="7296654" y="5448552"/>
              <a:ext cx="124646" cy="124646"/>
            </a:xfrm>
            <a:prstGeom prst="ellipse">
              <a:avLst/>
            </a:prstGeom>
            <a:solidFill>
              <a:schemeClr val="accent1"/>
            </a:solidFill>
            <a:ln w="3175" cap="flat" cmpd="sng" algn="ctr">
              <a:noFill/>
              <a:prstDash val="solid"/>
              <a:miter lim="800000"/>
              <a:headEnd type="none" w="med" len="med"/>
              <a:tailEnd type="none" w="med" len="med"/>
            </a:ln>
            <a:effectLst/>
          </p:spPr>
          <p:txBody>
            <a:bodyPr vert="horz" wrap="square" lIns="0" tIns="43716" rIns="0" bIns="43716" numCol="1" rtlCol="0" anchor="ctr" anchorCtr="0" compatLnSpc="1">
              <a:prstTxWarp prst="textNoShape">
                <a:avLst/>
              </a:prstTxWarp>
            </a:bodyPr>
            <a:lstStyle/>
            <a:p>
              <a:pPr algn="ctr" defTabSz="874064" fontAlgn="base">
                <a:spcBef>
                  <a:spcPct val="0"/>
                </a:spcBef>
                <a:spcAft>
                  <a:spcPct val="0"/>
                </a:spcAft>
                <a:defRPr/>
              </a:pPr>
              <a:endParaRPr lang="en-US" sz="1875" kern="0" dirty="0">
                <a:gradFill>
                  <a:gsLst>
                    <a:gs pos="0">
                      <a:srgbClr val="FFFFFF"/>
                    </a:gs>
                    <a:gs pos="100000">
                      <a:srgbClr val="FFFFFF"/>
                    </a:gs>
                  </a:gsLst>
                  <a:lin ang="5400000" scaled="0"/>
                </a:gradFill>
                <a:latin typeface="Segoe UI"/>
              </a:endParaRPr>
            </a:p>
          </p:txBody>
        </p:sp>
        <p:sp>
          <p:nvSpPr>
            <p:cNvPr id="869" name="Oval 868"/>
            <p:cNvSpPr/>
            <p:nvPr/>
          </p:nvSpPr>
          <p:spPr bwMode="auto">
            <a:xfrm>
              <a:off x="7655599" y="5448552"/>
              <a:ext cx="124646" cy="124646"/>
            </a:xfrm>
            <a:prstGeom prst="ellipse">
              <a:avLst/>
            </a:prstGeom>
            <a:solidFill>
              <a:schemeClr val="accent1"/>
            </a:solidFill>
            <a:ln w="3175" cap="flat" cmpd="sng" algn="ctr">
              <a:noFill/>
              <a:prstDash val="solid"/>
              <a:miter lim="800000"/>
              <a:headEnd type="none" w="med" len="med"/>
              <a:tailEnd type="none" w="med" len="med"/>
            </a:ln>
            <a:effectLst/>
          </p:spPr>
          <p:txBody>
            <a:bodyPr vert="horz" wrap="square" lIns="0" tIns="43716" rIns="0" bIns="43716" numCol="1" rtlCol="0" anchor="ctr" anchorCtr="0" compatLnSpc="1">
              <a:prstTxWarp prst="textNoShape">
                <a:avLst/>
              </a:prstTxWarp>
            </a:bodyPr>
            <a:lstStyle/>
            <a:p>
              <a:pPr algn="ctr" defTabSz="874064" fontAlgn="base">
                <a:spcBef>
                  <a:spcPct val="0"/>
                </a:spcBef>
                <a:spcAft>
                  <a:spcPct val="0"/>
                </a:spcAft>
                <a:defRPr/>
              </a:pPr>
              <a:endParaRPr lang="en-US" sz="1875" kern="0" dirty="0">
                <a:gradFill>
                  <a:gsLst>
                    <a:gs pos="0">
                      <a:srgbClr val="FFFFFF"/>
                    </a:gs>
                    <a:gs pos="100000">
                      <a:srgbClr val="FFFFFF"/>
                    </a:gs>
                  </a:gsLst>
                  <a:lin ang="5400000" scaled="0"/>
                </a:gradFill>
                <a:latin typeface="Segoe UI"/>
              </a:endParaRPr>
            </a:p>
          </p:txBody>
        </p:sp>
        <p:cxnSp>
          <p:nvCxnSpPr>
            <p:cNvPr id="870" name="Straight Connector 869"/>
            <p:cNvCxnSpPr>
              <a:cxnSpLocks/>
            </p:cNvCxnSpPr>
            <p:nvPr/>
          </p:nvCxnSpPr>
          <p:spPr>
            <a:xfrm>
              <a:off x="7240481" y="5221859"/>
              <a:ext cx="235646" cy="65132"/>
            </a:xfrm>
            <a:prstGeom prst="line">
              <a:avLst/>
            </a:prstGeom>
            <a:grpFill/>
            <a:ln w="12700" cap="flat" cmpd="sng" algn="ctr">
              <a:solidFill>
                <a:schemeClr val="tx2"/>
              </a:solidFill>
              <a:prstDash val="sysDot"/>
              <a:miter lim="800000"/>
              <a:headEnd type="none"/>
              <a:tailEnd type="none"/>
            </a:ln>
            <a:effectLst/>
          </p:spPr>
        </p:cxnSp>
        <p:cxnSp>
          <p:nvCxnSpPr>
            <p:cNvPr id="871" name="Straight Connector 870"/>
            <p:cNvCxnSpPr>
              <a:cxnSpLocks/>
            </p:cNvCxnSpPr>
            <p:nvPr/>
          </p:nvCxnSpPr>
          <p:spPr>
            <a:xfrm>
              <a:off x="7421300" y="5510875"/>
              <a:ext cx="234299" cy="0"/>
            </a:xfrm>
            <a:prstGeom prst="line">
              <a:avLst/>
            </a:prstGeom>
            <a:grpFill/>
            <a:ln w="12700" cap="flat" cmpd="sng" algn="ctr">
              <a:solidFill>
                <a:schemeClr val="tx2"/>
              </a:solidFill>
              <a:prstDash val="sysDot"/>
              <a:miter lim="800000"/>
              <a:headEnd type="none"/>
              <a:tailEnd type="none"/>
            </a:ln>
            <a:effectLst/>
          </p:spPr>
        </p:cxnSp>
        <p:cxnSp>
          <p:nvCxnSpPr>
            <p:cNvPr id="872" name="Straight Connector 871"/>
            <p:cNvCxnSpPr>
              <a:cxnSpLocks/>
            </p:cNvCxnSpPr>
            <p:nvPr/>
          </p:nvCxnSpPr>
          <p:spPr>
            <a:xfrm>
              <a:off x="7582519" y="5331060"/>
              <a:ext cx="91334" cy="135746"/>
            </a:xfrm>
            <a:prstGeom prst="line">
              <a:avLst/>
            </a:prstGeom>
            <a:grpFill/>
            <a:ln w="12700" cap="flat" cmpd="sng" algn="ctr">
              <a:solidFill>
                <a:schemeClr val="tx2"/>
              </a:solidFill>
              <a:prstDash val="sysDot"/>
              <a:miter lim="800000"/>
              <a:headEnd type="none"/>
              <a:tailEnd type="none"/>
            </a:ln>
            <a:effectLst/>
          </p:spPr>
        </p:cxnSp>
        <p:cxnSp>
          <p:nvCxnSpPr>
            <p:cNvPr id="873" name="Straight Connector 872"/>
            <p:cNvCxnSpPr>
              <a:cxnSpLocks/>
            </p:cNvCxnSpPr>
            <p:nvPr/>
          </p:nvCxnSpPr>
          <p:spPr>
            <a:xfrm flipV="1">
              <a:off x="7403046" y="5331060"/>
              <a:ext cx="91335" cy="135746"/>
            </a:xfrm>
            <a:prstGeom prst="line">
              <a:avLst/>
            </a:prstGeom>
            <a:grpFill/>
            <a:ln w="12700" cap="flat" cmpd="sng" algn="ctr">
              <a:solidFill>
                <a:schemeClr val="tx2"/>
              </a:solidFill>
              <a:prstDash val="sysDot"/>
              <a:miter lim="800000"/>
              <a:headEnd type="none"/>
              <a:tailEnd type="none"/>
            </a:ln>
            <a:effectLst/>
          </p:spPr>
        </p:cxnSp>
      </p:grpSp>
      <p:grpSp>
        <p:nvGrpSpPr>
          <p:cNvPr id="874" name="Group 873"/>
          <p:cNvGrpSpPr/>
          <p:nvPr/>
        </p:nvGrpSpPr>
        <p:grpSpPr>
          <a:xfrm>
            <a:off x="6964059" y="3496220"/>
            <a:ext cx="477324" cy="452574"/>
            <a:chOff x="7128988" y="4166153"/>
            <a:chExt cx="604908" cy="573541"/>
          </a:xfrm>
        </p:grpSpPr>
        <p:cxnSp>
          <p:nvCxnSpPr>
            <p:cNvPr id="875" name="Straight Connector 874"/>
            <p:cNvCxnSpPr>
              <a:cxnSpLocks/>
            </p:cNvCxnSpPr>
            <p:nvPr/>
          </p:nvCxnSpPr>
          <p:spPr>
            <a:xfrm>
              <a:off x="7128988" y="4451736"/>
              <a:ext cx="238107" cy="72556"/>
            </a:xfrm>
            <a:prstGeom prst="line">
              <a:avLst/>
            </a:prstGeom>
            <a:solidFill>
              <a:srgbClr val="B8D432"/>
            </a:solidFill>
            <a:ln w="12700" cap="flat" cmpd="sng" algn="ctr">
              <a:solidFill>
                <a:schemeClr val="tx2"/>
              </a:solidFill>
              <a:prstDash val="sysDot"/>
              <a:miter lim="800000"/>
              <a:headEnd type="none"/>
              <a:tailEnd type="none"/>
            </a:ln>
            <a:effectLst/>
          </p:spPr>
        </p:cxnSp>
        <p:cxnSp>
          <p:nvCxnSpPr>
            <p:cNvPr id="876" name="Straight Connector 875"/>
            <p:cNvCxnSpPr>
              <a:cxnSpLocks/>
            </p:cNvCxnSpPr>
            <p:nvPr/>
          </p:nvCxnSpPr>
          <p:spPr>
            <a:xfrm flipV="1">
              <a:off x="7128988" y="4379180"/>
              <a:ext cx="233873" cy="72556"/>
            </a:xfrm>
            <a:prstGeom prst="line">
              <a:avLst/>
            </a:prstGeom>
            <a:solidFill>
              <a:srgbClr val="B8D432"/>
            </a:solidFill>
            <a:ln w="12700" cap="flat" cmpd="sng" algn="ctr">
              <a:solidFill>
                <a:schemeClr val="tx2"/>
              </a:solidFill>
              <a:prstDash val="sysDot"/>
              <a:miter lim="800000"/>
              <a:headEnd type="none"/>
              <a:tailEnd type="none"/>
            </a:ln>
            <a:effectLst/>
          </p:spPr>
        </p:cxnSp>
        <p:sp>
          <p:nvSpPr>
            <p:cNvPr id="877" name="Oval 876"/>
            <p:cNvSpPr/>
            <p:nvPr/>
          </p:nvSpPr>
          <p:spPr bwMode="auto">
            <a:xfrm>
              <a:off x="7128988" y="4383154"/>
              <a:ext cx="137163" cy="137163"/>
            </a:xfrm>
            <a:prstGeom prst="ellipse">
              <a:avLst/>
            </a:prstGeom>
            <a:solidFill>
              <a:schemeClr val="accent1"/>
            </a:solidFill>
            <a:ln w="12700" cap="flat" cmpd="sng" algn="ctr">
              <a:noFill/>
              <a:prstDash val="solid"/>
              <a:miter lim="800000"/>
              <a:headEnd type="none" w="med" len="med"/>
              <a:tailEnd type="none" w="med" len="med"/>
            </a:ln>
            <a:effectLst/>
          </p:spPr>
          <p:txBody>
            <a:bodyPr vert="horz" wrap="square" lIns="0" tIns="43716" rIns="0" bIns="43716" numCol="1" rtlCol="0" anchor="ctr" anchorCtr="0" compatLnSpc="1">
              <a:prstTxWarp prst="textNoShape">
                <a:avLst/>
              </a:prstTxWarp>
            </a:bodyPr>
            <a:lstStyle/>
            <a:p>
              <a:pPr algn="ctr" defTabSz="874064" fontAlgn="base">
                <a:spcBef>
                  <a:spcPct val="0"/>
                </a:spcBef>
                <a:spcAft>
                  <a:spcPct val="0"/>
                </a:spcAft>
                <a:defRPr/>
              </a:pPr>
              <a:endParaRPr lang="en-US" sz="1875" kern="0" dirty="0">
                <a:solidFill>
                  <a:srgbClr val="FFFFFF"/>
                </a:solidFill>
                <a:latin typeface="Segoe UI"/>
              </a:endParaRPr>
            </a:p>
          </p:txBody>
        </p:sp>
        <p:cxnSp>
          <p:nvCxnSpPr>
            <p:cNvPr id="878" name="Straight Connector 877"/>
            <p:cNvCxnSpPr>
              <a:cxnSpLocks/>
            </p:cNvCxnSpPr>
            <p:nvPr/>
          </p:nvCxnSpPr>
          <p:spPr>
            <a:xfrm>
              <a:off x="7367095" y="4524292"/>
              <a:ext cx="241432" cy="108368"/>
            </a:xfrm>
            <a:prstGeom prst="line">
              <a:avLst/>
            </a:prstGeom>
            <a:solidFill>
              <a:srgbClr val="B8D432"/>
            </a:solidFill>
            <a:ln w="12700" cap="flat" cmpd="sng" algn="ctr">
              <a:solidFill>
                <a:schemeClr val="tx2"/>
              </a:solidFill>
              <a:prstDash val="sysDot"/>
              <a:miter lim="800000"/>
              <a:headEnd type="none"/>
              <a:tailEnd type="none"/>
            </a:ln>
            <a:effectLst/>
          </p:spPr>
        </p:cxnSp>
        <p:cxnSp>
          <p:nvCxnSpPr>
            <p:cNvPr id="879" name="Straight Connector 878"/>
            <p:cNvCxnSpPr>
              <a:cxnSpLocks/>
            </p:cNvCxnSpPr>
            <p:nvPr/>
          </p:nvCxnSpPr>
          <p:spPr>
            <a:xfrm>
              <a:off x="7367095" y="4524292"/>
              <a:ext cx="229638" cy="1361"/>
            </a:xfrm>
            <a:prstGeom prst="line">
              <a:avLst/>
            </a:prstGeom>
            <a:solidFill>
              <a:srgbClr val="B8D432"/>
            </a:solidFill>
            <a:ln w="12700" cap="flat" cmpd="sng" algn="ctr">
              <a:solidFill>
                <a:schemeClr val="tx2"/>
              </a:solidFill>
              <a:prstDash val="sysDot"/>
              <a:miter lim="800000"/>
              <a:headEnd type="none"/>
              <a:tailEnd type="none"/>
            </a:ln>
            <a:effectLst/>
          </p:spPr>
        </p:cxnSp>
        <p:sp>
          <p:nvSpPr>
            <p:cNvPr id="880" name="Oval 879"/>
            <p:cNvSpPr/>
            <p:nvPr/>
          </p:nvSpPr>
          <p:spPr bwMode="auto">
            <a:xfrm rot="20946206">
              <a:off x="7596733" y="4602531"/>
              <a:ext cx="137163" cy="137163"/>
            </a:xfrm>
            <a:prstGeom prst="ellipse">
              <a:avLst/>
            </a:prstGeom>
            <a:solidFill>
              <a:schemeClr val="accent1"/>
            </a:solidFill>
            <a:ln w="12700" cap="flat" cmpd="sng" algn="ctr">
              <a:noFill/>
              <a:prstDash val="solid"/>
              <a:miter lim="800000"/>
              <a:headEnd type="none" w="med" len="med"/>
              <a:tailEnd type="none" w="med" len="med"/>
            </a:ln>
            <a:effectLst/>
          </p:spPr>
          <p:txBody>
            <a:bodyPr vert="horz" wrap="square" lIns="0" tIns="43716" rIns="0" bIns="43716" numCol="1" rtlCol="0" anchor="ctr" anchorCtr="0" compatLnSpc="1">
              <a:prstTxWarp prst="textNoShape">
                <a:avLst/>
              </a:prstTxWarp>
            </a:bodyPr>
            <a:lstStyle/>
            <a:p>
              <a:pPr algn="ctr" defTabSz="874064" fontAlgn="base">
                <a:spcBef>
                  <a:spcPct val="0"/>
                </a:spcBef>
                <a:spcAft>
                  <a:spcPct val="0"/>
                </a:spcAft>
                <a:defRPr/>
              </a:pPr>
              <a:endParaRPr lang="en-US" sz="1875" kern="0" dirty="0">
                <a:solidFill>
                  <a:srgbClr val="FFFFFF"/>
                </a:solidFill>
                <a:latin typeface="Segoe UI"/>
              </a:endParaRPr>
            </a:p>
          </p:txBody>
        </p:sp>
        <p:sp>
          <p:nvSpPr>
            <p:cNvPr id="881" name="Oval 880"/>
            <p:cNvSpPr/>
            <p:nvPr/>
          </p:nvSpPr>
          <p:spPr bwMode="auto">
            <a:xfrm>
              <a:off x="7596733" y="4457071"/>
              <a:ext cx="137163" cy="137163"/>
            </a:xfrm>
            <a:prstGeom prst="ellipse">
              <a:avLst/>
            </a:prstGeom>
            <a:solidFill>
              <a:schemeClr val="accent1"/>
            </a:solidFill>
            <a:ln w="12700" cap="flat" cmpd="sng" algn="ctr">
              <a:noFill/>
              <a:prstDash val="solid"/>
              <a:miter lim="800000"/>
              <a:headEnd type="none" w="med" len="med"/>
              <a:tailEnd type="none" w="med" len="med"/>
            </a:ln>
            <a:effectLst/>
          </p:spPr>
          <p:txBody>
            <a:bodyPr vert="horz" wrap="square" lIns="0" tIns="43716" rIns="0" bIns="43716" numCol="1" rtlCol="0" anchor="ctr" anchorCtr="0" compatLnSpc="1">
              <a:prstTxWarp prst="textNoShape">
                <a:avLst/>
              </a:prstTxWarp>
            </a:bodyPr>
            <a:lstStyle/>
            <a:p>
              <a:pPr algn="ctr" defTabSz="874064" fontAlgn="base">
                <a:spcBef>
                  <a:spcPct val="0"/>
                </a:spcBef>
                <a:spcAft>
                  <a:spcPct val="0"/>
                </a:spcAft>
                <a:defRPr/>
              </a:pPr>
              <a:endParaRPr lang="en-US" sz="1875" kern="0" dirty="0">
                <a:solidFill>
                  <a:srgbClr val="FFFFFF"/>
                </a:solidFill>
                <a:latin typeface="Segoe UI"/>
              </a:endParaRPr>
            </a:p>
          </p:txBody>
        </p:sp>
        <p:cxnSp>
          <p:nvCxnSpPr>
            <p:cNvPr id="882" name="Straight Connector 881"/>
            <p:cNvCxnSpPr>
              <a:cxnSpLocks/>
            </p:cNvCxnSpPr>
            <p:nvPr/>
          </p:nvCxnSpPr>
          <p:spPr>
            <a:xfrm>
              <a:off x="7362861" y="4379181"/>
              <a:ext cx="233872" cy="1013"/>
            </a:xfrm>
            <a:prstGeom prst="line">
              <a:avLst/>
            </a:prstGeom>
            <a:solidFill>
              <a:srgbClr val="B8D432"/>
            </a:solidFill>
            <a:ln w="12700" cap="flat" cmpd="sng" algn="ctr">
              <a:solidFill>
                <a:schemeClr val="tx2"/>
              </a:solidFill>
              <a:prstDash val="sysDot"/>
              <a:miter lim="800000"/>
              <a:headEnd type="none"/>
              <a:tailEnd type="none"/>
            </a:ln>
            <a:effectLst/>
          </p:spPr>
        </p:cxnSp>
        <p:sp>
          <p:nvSpPr>
            <p:cNvPr id="883" name="Oval 882"/>
            <p:cNvSpPr/>
            <p:nvPr/>
          </p:nvSpPr>
          <p:spPr bwMode="auto">
            <a:xfrm>
              <a:off x="7367095" y="4455710"/>
              <a:ext cx="137163" cy="137163"/>
            </a:xfrm>
            <a:prstGeom prst="ellipse">
              <a:avLst/>
            </a:prstGeom>
            <a:solidFill>
              <a:schemeClr val="accent1"/>
            </a:solidFill>
            <a:ln w="12700" cap="flat" cmpd="sng" algn="ctr">
              <a:noFill/>
              <a:prstDash val="solid"/>
              <a:miter lim="800000"/>
              <a:headEnd type="none" w="med" len="med"/>
              <a:tailEnd type="none" w="med" len="med"/>
            </a:ln>
            <a:effectLst/>
          </p:spPr>
          <p:txBody>
            <a:bodyPr vert="horz" wrap="square" lIns="0" tIns="43716" rIns="0" bIns="43716" numCol="1" rtlCol="0" anchor="ctr" anchorCtr="0" compatLnSpc="1">
              <a:prstTxWarp prst="textNoShape">
                <a:avLst/>
              </a:prstTxWarp>
            </a:bodyPr>
            <a:lstStyle/>
            <a:p>
              <a:pPr algn="ctr" defTabSz="874064" fontAlgn="base">
                <a:spcBef>
                  <a:spcPct val="0"/>
                </a:spcBef>
                <a:spcAft>
                  <a:spcPct val="0"/>
                </a:spcAft>
                <a:defRPr/>
              </a:pPr>
              <a:endParaRPr lang="en-US" sz="1875" kern="0" dirty="0">
                <a:solidFill>
                  <a:srgbClr val="FFFFFF"/>
                </a:solidFill>
                <a:latin typeface="Segoe UI"/>
              </a:endParaRPr>
            </a:p>
          </p:txBody>
        </p:sp>
        <p:cxnSp>
          <p:nvCxnSpPr>
            <p:cNvPr id="884" name="Straight Connector 883"/>
            <p:cNvCxnSpPr>
              <a:cxnSpLocks/>
            </p:cNvCxnSpPr>
            <p:nvPr/>
          </p:nvCxnSpPr>
          <p:spPr>
            <a:xfrm flipV="1">
              <a:off x="7362861" y="4277619"/>
              <a:ext cx="248934" cy="101562"/>
            </a:xfrm>
            <a:prstGeom prst="line">
              <a:avLst/>
            </a:prstGeom>
            <a:solidFill>
              <a:srgbClr val="B8D432"/>
            </a:solidFill>
            <a:ln w="12700" cap="flat" cmpd="sng" algn="ctr">
              <a:solidFill>
                <a:schemeClr val="tx2"/>
              </a:solidFill>
              <a:prstDash val="sysDot"/>
              <a:miter lim="800000"/>
              <a:headEnd type="none"/>
              <a:tailEnd type="none"/>
            </a:ln>
            <a:effectLst/>
          </p:spPr>
        </p:cxnSp>
        <p:sp>
          <p:nvSpPr>
            <p:cNvPr id="885" name="Oval 884"/>
            <p:cNvSpPr/>
            <p:nvPr/>
          </p:nvSpPr>
          <p:spPr bwMode="auto">
            <a:xfrm>
              <a:off x="7362861" y="4310599"/>
              <a:ext cx="137163" cy="137163"/>
            </a:xfrm>
            <a:prstGeom prst="ellipse">
              <a:avLst/>
            </a:prstGeom>
            <a:solidFill>
              <a:schemeClr val="accent1"/>
            </a:solidFill>
            <a:ln w="12700" cap="flat" cmpd="sng" algn="ctr">
              <a:noFill/>
              <a:prstDash val="solid"/>
              <a:miter lim="800000"/>
              <a:headEnd type="none" w="med" len="med"/>
              <a:tailEnd type="none" w="med" len="med"/>
            </a:ln>
            <a:effectLst/>
          </p:spPr>
          <p:txBody>
            <a:bodyPr vert="horz" wrap="square" lIns="0" tIns="43716" rIns="0" bIns="43716" numCol="1" rtlCol="0" anchor="ctr" anchorCtr="0" compatLnSpc="1">
              <a:prstTxWarp prst="textNoShape">
                <a:avLst/>
              </a:prstTxWarp>
            </a:bodyPr>
            <a:lstStyle/>
            <a:p>
              <a:pPr algn="ctr" defTabSz="874064" fontAlgn="base">
                <a:spcBef>
                  <a:spcPct val="0"/>
                </a:spcBef>
                <a:spcAft>
                  <a:spcPct val="0"/>
                </a:spcAft>
                <a:defRPr/>
              </a:pPr>
              <a:endParaRPr lang="en-US" sz="1875" kern="0" dirty="0">
                <a:solidFill>
                  <a:srgbClr val="FFFFFF"/>
                </a:solidFill>
                <a:latin typeface="Segoe UI"/>
              </a:endParaRPr>
            </a:p>
          </p:txBody>
        </p:sp>
        <p:sp>
          <p:nvSpPr>
            <p:cNvPr id="886" name="Oval 885"/>
            <p:cNvSpPr/>
            <p:nvPr/>
          </p:nvSpPr>
          <p:spPr bwMode="auto">
            <a:xfrm>
              <a:off x="7596733" y="4311612"/>
              <a:ext cx="137163" cy="137163"/>
            </a:xfrm>
            <a:prstGeom prst="ellipse">
              <a:avLst/>
            </a:prstGeom>
            <a:solidFill>
              <a:schemeClr val="accent1"/>
            </a:solidFill>
            <a:ln w="12700" cap="flat" cmpd="sng" algn="ctr">
              <a:noFill/>
              <a:prstDash val="solid"/>
              <a:miter lim="800000"/>
              <a:headEnd type="none" w="med" len="med"/>
              <a:tailEnd type="none" w="med" len="med"/>
            </a:ln>
            <a:effectLst/>
          </p:spPr>
          <p:txBody>
            <a:bodyPr vert="horz" wrap="square" lIns="0" tIns="43716" rIns="0" bIns="43716" numCol="1" rtlCol="0" anchor="ctr" anchorCtr="0" compatLnSpc="1">
              <a:prstTxWarp prst="textNoShape">
                <a:avLst/>
              </a:prstTxWarp>
            </a:bodyPr>
            <a:lstStyle/>
            <a:p>
              <a:pPr algn="ctr" defTabSz="874064" fontAlgn="base">
                <a:spcBef>
                  <a:spcPct val="0"/>
                </a:spcBef>
                <a:spcAft>
                  <a:spcPct val="0"/>
                </a:spcAft>
                <a:defRPr/>
              </a:pPr>
              <a:endParaRPr lang="en-US" sz="1875" kern="0" dirty="0">
                <a:solidFill>
                  <a:srgbClr val="FFFFFF"/>
                </a:solidFill>
                <a:latin typeface="Segoe UI"/>
              </a:endParaRPr>
            </a:p>
          </p:txBody>
        </p:sp>
        <p:sp>
          <p:nvSpPr>
            <p:cNvPr id="887" name="Oval 886"/>
            <p:cNvSpPr/>
            <p:nvPr/>
          </p:nvSpPr>
          <p:spPr bwMode="auto">
            <a:xfrm rot="377738">
              <a:off x="7596733" y="4166153"/>
              <a:ext cx="137163" cy="137163"/>
            </a:xfrm>
            <a:prstGeom prst="ellipse">
              <a:avLst/>
            </a:prstGeom>
            <a:solidFill>
              <a:schemeClr val="accent1"/>
            </a:solidFill>
            <a:ln w="12700" cap="flat" cmpd="sng" algn="ctr">
              <a:noFill/>
              <a:prstDash val="solid"/>
              <a:miter lim="800000"/>
              <a:headEnd type="none" w="med" len="med"/>
              <a:tailEnd type="none" w="med" len="med"/>
            </a:ln>
            <a:effectLst/>
          </p:spPr>
          <p:txBody>
            <a:bodyPr vert="horz" wrap="square" lIns="0" tIns="43716" rIns="0" bIns="43716" numCol="1" rtlCol="0" anchor="ctr" anchorCtr="0" compatLnSpc="1">
              <a:prstTxWarp prst="textNoShape">
                <a:avLst/>
              </a:prstTxWarp>
            </a:bodyPr>
            <a:lstStyle/>
            <a:p>
              <a:pPr algn="ctr" defTabSz="874064" fontAlgn="base">
                <a:spcBef>
                  <a:spcPct val="0"/>
                </a:spcBef>
                <a:spcAft>
                  <a:spcPct val="0"/>
                </a:spcAft>
                <a:defRPr/>
              </a:pPr>
              <a:endParaRPr lang="en-US" sz="1875" kern="0" dirty="0">
                <a:solidFill>
                  <a:srgbClr val="FFFFFF"/>
                </a:solidFill>
                <a:latin typeface="Segoe UI"/>
              </a:endParaRPr>
            </a:p>
          </p:txBody>
        </p:sp>
      </p:grpSp>
      <p:sp>
        <p:nvSpPr>
          <p:cNvPr id="889" name="TextBox 888"/>
          <p:cNvSpPr txBox="1"/>
          <p:nvPr/>
        </p:nvSpPr>
        <p:spPr>
          <a:xfrm>
            <a:off x="4562596" y="3885502"/>
            <a:ext cx="957955" cy="246862"/>
          </a:xfrm>
          <a:prstGeom prst="rect">
            <a:avLst/>
          </a:prstGeom>
          <a:noFill/>
        </p:spPr>
        <p:txBody>
          <a:bodyPr wrap="none" lIns="0" rtlCol="0">
            <a:spAutoFit/>
          </a:bodyPr>
          <a:lstStyle/>
          <a:p>
            <a:pPr algn="ctr">
              <a:defRPr/>
            </a:pPr>
            <a:r>
              <a:rPr lang="en-US" sz="1004" dirty="0">
                <a:solidFill>
                  <a:srgbClr val="0078D7"/>
                </a:solidFill>
                <a:latin typeface="Segoe UI Semibold" panose="020B0702040204020203" pitchFamily="34" charset="0"/>
                <a:cs typeface="Segoe UI Semibold" panose="020B0702040204020203" pitchFamily="34" charset="0"/>
              </a:rPr>
              <a:t>Column-family</a:t>
            </a:r>
          </a:p>
        </p:txBody>
      </p:sp>
      <p:sp>
        <p:nvSpPr>
          <p:cNvPr id="890" name="TextBox 889"/>
          <p:cNvSpPr txBox="1"/>
          <p:nvPr/>
        </p:nvSpPr>
        <p:spPr>
          <a:xfrm>
            <a:off x="6918336" y="3957205"/>
            <a:ext cx="703078" cy="246862"/>
          </a:xfrm>
          <a:prstGeom prst="rect">
            <a:avLst/>
          </a:prstGeom>
          <a:noFill/>
        </p:spPr>
        <p:txBody>
          <a:bodyPr wrap="none" lIns="0" rtlCol="0">
            <a:spAutoFit/>
          </a:bodyPr>
          <a:lstStyle/>
          <a:p>
            <a:pPr algn="ctr">
              <a:defRPr/>
            </a:pPr>
            <a:r>
              <a:rPr lang="en-US" sz="1004" dirty="0">
                <a:solidFill>
                  <a:srgbClr val="0078D7"/>
                </a:solidFill>
                <a:latin typeface="Segoe UI Semibold" panose="020B0702040204020203" pitchFamily="34" charset="0"/>
                <a:cs typeface="Segoe UI Semibold" panose="020B0702040204020203" pitchFamily="34" charset="0"/>
              </a:rPr>
              <a:t>Document</a:t>
            </a:r>
          </a:p>
        </p:txBody>
      </p:sp>
      <p:sp>
        <p:nvSpPr>
          <p:cNvPr id="891" name="TextBox 890"/>
          <p:cNvSpPr txBox="1"/>
          <p:nvPr/>
        </p:nvSpPr>
        <p:spPr>
          <a:xfrm>
            <a:off x="8927622" y="4232863"/>
            <a:ext cx="449803" cy="246862"/>
          </a:xfrm>
          <a:prstGeom prst="rect">
            <a:avLst/>
          </a:prstGeom>
          <a:noFill/>
        </p:spPr>
        <p:txBody>
          <a:bodyPr wrap="none" lIns="0" rtlCol="0">
            <a:spAutoFit/>
          </a:bodyPr>
          <a:lstStyle/>
          <a:p>
            <a:pPr algn="ctr">
              <a:defRPr/>
            </a:pPr>
            <a:r>
              <a:rPr lang="en-US" sz="1004" dirty="0">
                <a:solidFill>
                  <a:srgbClr val="0078D7"/>
                </a:solidFill>
                <a:latin typeface="Segoe UI Semibold" panose="020B0702040204020203" pitchFamily="34" charset="0"/>
                <a:cs typeface="Segoe UI Semibold" panose="020B0702040204020203" pitchFamily="34" charset="0"/>
              </a:rPr>
              <a:t>Graph</a:t>
            </a:r>
          </a:p>
        </p:txBody>
      </p:sp>
      <p:sp>
        <p:nvSpPr>
          <p:cNvPr id="893" name="TextBox 892"/>
          <p:cNvSpPr txBox="1"/>
          <p:nvPr/>
        </p:nvSpPr>
        <p:spPr>
          <a:xfrm>
            <a:off x="1173714" y="5268342"/>
            <a:ext cx="1931940" cy="268856"/>
          </a:xfrm>
          <a:prstGeom prst="rect">
            <a:avLst/>
          </a:prstGeom>
          <a:noFill/>
        </p:spPr>
        <p:txBody>
          <a:bodyPr wrap="none" rtlCol="0">
            <a:spAutoFit/>
          </a:bodyPr>
          <a:lstStyle/>
          <a:p>
            <a:pPr algn="ctr" defTabSz="819582">
              <a:defRPr/>
            </a:pPr>
            <a:r>
              <a:rPr lang="en-US" sz="1147" kern="0" dirty="0">
                <a:solidFill>
                  <a:srgbClr val="002050"/>
                </a:solidFill>
                <a:latin typeface="Segoe UI"/>
                <a:cs typeface="Segoe UI Light" panose="020B0502040204020203" pitchFamily="34" charset="0"/>
              </a:rPr>
              <a:t>Turnkey global distribution</a:t>
            </a:r>
          </a:p>
        </p:txBody>
      </p:sp>
      <p:sp>
        <p:nvSpPr>
          <p:cNvPr id="894" name="TextBox 893"/>
          <p:cNvSpPr txBox="1"/>
          <p:nvPr/>
        </p:nvSpPr>
        <p:spPr>
          <a:xfrm>
            <a:off x="2938155" y="4735801"/>
            <a:ext cx="1776743" cy="441427"/>
          </a:xfrm>
          <a:prstGeom prst="rect">
            <a:avLst/>
          </a:prstGeom>
          <a:noFill/>
        </p:spPr>
        <p:txBody>
          <a:bodyPr wrap="none" rtlCol="0">
            <a:spAutoFit/>
          </a:bodyPr>
          <a:lstStyle/>
          <a:p>
            <a:pPr algn="ctr" defTabSz="819582">
              <a:defRPr/>
            </a:pPr>
            <a:r>
              <a:rPr lang="en-US" sz="1147" kern="0" dirty="0">
                <a:solidFill>
                  <a:srgbClr val="002050"/>
                </a:solidFill>
                <a:latin typeface="Segoe UI"/>
                <a:cs typeface="Segoe UI Light" panose="020B0502040204020203" pitchFamily="34" charset="0"/>
              </a:rPr>
              <a:t>Elastic scale out </a:t>
            </a:r>
          </a:p>
          <a:p>
            <a:pPr algn="ctr" defTabSz="819582">
              <a:defRPr/>
            </a:pPr>
            <a:r>
              <a:rPr lang="en-US" sz="1147" kern="0" dirty="0">
                <a:solidFill>
                  <a:srgbClr val="002050"/>
                </a:solidFill>
                <a:latin typeface="Segoe UI"/>
                <a:cs typeface="Segoe UI Light" panose="020B0502040204020203" pitchFamily="34" charset="0"/>
              </a:rPr>
              <a:t>of storage &amp; throughput</a:t>
            </a:r>
          </a:p>
        </p:txBody>
      </p:sp>
      <p:sp>
        <p:nvSpPr>
          <p:cNvPr id="895" name="TextBox 894"/>
          <p:cNvSpPr txBox="1"/>
          <p:nvPr/>
        </p:nvSpPr>
        <p:spPr>
          <a:xfrm>
            <a:off x="4586520" y="4618778"/>
            <a:ext cx="3092514" cy="268856"/>
          </a:xfrm>
          <a:prstGeom prst="rect">
            <a:avLst/>
          </a:prstGeom>
          <a:noFill/>
        </p:spPr>
        <p:txBody>
          <a:bodyPr wrap="none" rtlCol="0">
            <a:spAutoFit/>
          </a:bodyPr>
          <a:lstStyle/>
          <a:p>
            <a:pPr algn="ctr" defTabSz="819582">
              <a:defRPr/>
            </a:pPr>
            <a:r>
              <a:rPr lang="en-US" sz="1147" kern="0" dirty="0">
                <a:solidFill>
                  <a:srgbClr val="002050"/>
                </a:solidFill>
                <a:latin typeface="Segoe UI"/>
                <a:cs typeface="Segoe UI Light" panose="020B0502040204020203" pitchFamily="34" charset="0"/>
              </a:rPr>
              <a:t>Guaranteed low latency at the 99</a:t>
            </a:r>
            <a:r>
              <a:rPr lang="en-US" sz="1147" kern="0" baseline="30000" dirty="0">
                <a:solidFill>
                  <a:srgbClr val="002050"/>
                </a:solidFill>
                <a:latin typeface="Segoe UI"/>
                <a:cs typeface="Segoe UI Light" panose="020B0502040204020203" pitchFamily="34" charset="0"/>
              </a:rPr>
              <a:t>th</a:t>
            </a:r>
            <a:r>
              <a:rPr lang="en-US" sz="1147" kern="0" dirty="0">
                <a:solidFill>
                  <a:srgbClr val="002050"/>
                </a:solidFill>
                <a:latin typeface="Segoe UI"/>
                <a:cs typeface="Segoe UI Light" panose="020B0502040204020203" pitchFamily="34" charset="0"/>
              </a:rPr>
              <a:t> percentile</a:t>
            </a:r>
          </a:p>
        </p:txBody>
      </p:sp>
      <p:sp>
        <p:nvSpPr>
          <p:cNvPr id="896" name="TextBox 895"/>
          <p:cNvSpPr txBox="1"/>
          <p:nvPr/>
        </p:nvSpPr>
        <p:spPr>
          <a:xfrm>
            <a:off x="9738861" y="5268343"/>
            <a:ext cx="1537600" cy="268856"/>
          </a:xfrm>
          <a:prstGeom prst="rect">
            <a:avLst/>
          </a:prstGeom>
          <a:noFill/>
        </p:spPr>
        <p:txBody>
          <a:bodyPr wrap="none" rtlCol="0">
            <a:spAutoFit/>
          </a:bodyPr>
          <a:lstStyle/>
          <a:p>
            <a:pPr algn="ctr" defTabSz="819582">
              <a:defRPr/>
            </a:pPr>
            <a:r>
              <a:rPr lang="en-US" sz="1147" kern="0" dirty="0">
                <a:solidFill>
                  <a:srgbClr val="002050"/>
                </a:solidFill>
                <a:latin typeface="Segoe UI"/>
                <a:cs typeface="Segoe UI Light" panose="020B0502040204020203" pitchFamily="34" charset="0"/>
              </a:rPr>
              <a:t>Comprehensive SLAs</a:t>
            </a:r>
          </a:p>
        </p:txBody>
      </p:sp>
      <p:sp>
        <p:nvSpPr>
          <p:cNvPr id="897" name="TextBox 896"/>
          <p:cNvSpPr txBox="1"/>
          <p:nvPr/>
        </p:nvSpPr>
        <p:spPr>
          <a:xfrm>
            <a:off x="7306714" y="4859122"/>
            <a:ext cx="2584362" cy="268856"/>
          </a:xfrm>
          <a:prstGeom prst="rect">
            <a:avLst/>
          </a:prstGeom>
          <a:noFill/>
        </p:spPr>
        <p:txBody>
          <a:bodyPr wrap="none" rtlCol="0">
            <a:spAutoFit/>
          </a:bodyPr>
          <a:lstStyle/>
          <a:p>
            <a:pPr algn="ctr" defTabSz="819582">
              <a:defRPr/>
            </a:pPr>
            <a:r>
              <a:rPr lang="en-US" sz="1147" kern="0" dirty="0">
                <a:solidFill>
                  <a:srgbClr val="002050"/>
                </a:solidFill>
                <a:latin typeface="Segoe UI"/>
                <a:cs typeface="Segoe UI Light" panose="020B0502040204020203" pitchFamily="34" charset="0"/>
              </a:rPr>
              <a:t>Five well-defined consistency models</a:t>
            </a:r>
          </a:p>
        </p:txBody>
      </p:sp>
      <p:grpSp>
        <p:nvGrpSpPr>
          <p:cNvPr id="905" name="Group 3"/>
          <p:cNvGrpSpPr/>
          <p:nvPr/>
        </p:nvGrpSpPr>
        <p:grpSpPr>
          <a:xfrm>
            <a:off x="2450688" y="5930088"/>
            <a:ext cx="719897" cy="719896"/>
            <a:chOff x="-4594157" y="2516834"/>
            <a:chExt cx="1070585" cy="1070585"/>
          </a:xfrm>
        </p:grpSpPr>
        <p:sp>
          <p:nvSpPr>
            <p:cNvPr id="906" name="Freeform: Shape 411"/>
            <p:cNvSpPr/>
            <p:nvPr/>
          </p:nvSpPr>
          <p:spPr>
            <a:xfrm>
              <a:off x="-4158004" y="3347237"/>
              <a:ext cx="192371" cy="192371"/>
            </a:xfrm>
            <a:custGeom>
              <a:avLst/>
              <a:gdLst>
                <a:gd name="connsiteX0" fmla="*/ 33738 w 67473"/>
                <a:gd name="connsiteY0" fmla="*/ 0 h 67473"/>
                <a:gd name="connsiteX1" fmla="*/ 67473 w 67473"/>
                <a:gd name="connsiteY1" fmla="*/ 33736 h 67473"/>
                <a:gd name="connsiteX2" fmla="*/ 33738 w 67473"/>
                <a:gd name="connsiteY2" fmla="*/ 67473 h 67473"/>
                <a:gd name="connsiteX3" fmla="*/ 0 w 67473"/>
                <a:gd name="connsiteY3" fmla="*/ 33736 h 67473"/>
                <a:gd name="connsiteX4" fmla="*/ 33738 w 67473"/>
                <a:gd name="connsiteY4" fmla="*/ 0 h 6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473" h="67473">
                  <a:moveTo>
                    <a:pt x="33738" y="0"/>
                  </a:moveTo>
                  <a:cubicBezTo>
                    <a:pt x="52370" y="0"/>
                    <a:pt x="67473" y="15104"/>
                    <a:pt x="67473" y="33736"/>
                  </a:cubicBezTo>
                  <a:cubicBezTo>
                    <a:pt x="67473" y="52368"/>
                    <a:pt x="52370" y="67473"/>
                    <a:pt x="33738" y="67473"/>
                  </a:cubicBezTo>
                  <a:cubicBezTo>
                    <a:pt x="15105" y="67473"/>
                    <a:pt x="0" y="52368"/>
                    <a:pt x="0" y="33736"/>
                  </a:cubicBezTo>
                  <a:cubicBezTo>
                    <a:pt x="0" y="15104"/>
                    <a:pt x="15105" y="0"/>
                    <a:pt x="33738" y="0"/>
                  </a:cubicBezTo>
                  <a:close/>
                </a:path>
              </a:pathLst>
            </a:custGeom>
            <a:solidFill>
              <a:schemeClr val="tx2"/>
            </a:solidFill>
            <a:ln w="12700" cap="flat" cmpd="sng" algn="ctr">
              <a:noFill/>
              <a:prstDash val="solid"/>
              <a:miter lim="800000"/>
            </a:ln>
            <a:effectLst/>
          </p:spPr>
          <p:txBody>
            <a:bodyPr rtlCol="0" anchor="ctr"/>
            <a:lstStyle/>
            <a:p>
              <a:pPr algn="ctr">
                <a:defRPr/>
              </a:pPr>
              <a:endParaRPr lang="en-US" sz="1721" kern="0">
                <a:solidFill>
                  <a:srgbClr val="FFFFFF"/>
                </a:solidFill>
                <a:latin typeface="Segoe UI"/>
              </a:endParaRPr>
            </a:p>
          </p:txBody>
        </p:sp>
        <p:grpSp>
          <p:nvGrpSpPr>
            <p:cNvPr id="907" name="Group 5"/>
            <p:cNvGrpSpPr/>
            <p:nvPr/>
          </p:nvGrpSpPr>
          <p:grpSpPr>
            <a:xfrm>
              <a:off x="-4594157" y="2516834"/>
              <a:ext cx="1070585" cy="1070585"/>
              <a:chOff x="10232415" y="2527090"/>
              <a:chExt cx="1070585" cy="1070585"/>
            </a:xfrm>
          </p:grpSpPr>
          <p:sp>
            <p:nvSpPr>
              <p:cNvPr id="908" name="Oval 6"/>
              <p:cNvSpPr/>
              <p:nvPr/>
            </p:nvSpPr>
            <p:spPr>
              <a:xfrm>
                <a:off x="10627604" y="2770027"/>
                <a:ext cx="274303" cy="274303"/>
              </a:xfrm>
              <a:prstGeom prst="ellipse">
                <a:avLst/>
              </a:prstGeom>
              <a:solidFill>
                <a:srgbClr val="FFFFFF"/>
              </a:solidFill>
              <a:ln w="12700" cap="flat" cmpd="sng" algn="ctr">
                <a:noFill/>
                <a:prstDash val="solid"/>
                <a:miter lim="800000"/>
              </a:ln>
              <a:effectLst/>
            </p:spPr>
            <p:txBody>
              <a:bodyPr rtlCol="0" anchor="ctr"/>
              <a:lstStyle/>
              <a:p>
                <a:pPr algn="ctr">
                  <a:defRPr/>
                </a:pPr>
                <a:endParaRPr lang="en-US" sz="1721" kern="0">
                  <a:solidFill>
                    <a:srgbClr val="FFFFFF"/>
                  </a:solidFill>
                  <a:latin typeface="Segoe UI"/>
                </a:endParaRPr>
              </a:p>
            </p:txBody>
          </p:sp>
          <p:pic>
            <p:nvPicPr>
              <p:cNvPr id="909" name="Graphic 908" descr="Marker"/>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232415" y="2527090"/>
                <a:ext cx="1070585" cy="1070585"/>
              </a:xfrm>
              <a:prstGeom prst="rect">
                <a:avLst/>
              </a:prstGeom>
            </p:spPr>
          </p:pic>
        </p:grpSp>
      </p:grpSp>
      <p:grpSp>
        <p:nvGrpSpPr>
          <p:cNvPr id="910" name="Group 14"/>
          <p:cNvGrpSpPr/>
          <p:nvPr/>
        </p:nvGrpSpPr>
        <p:grpSpPr>
          <a:xfrm>
            <a:off x="7278910" y="6046244"/>
            <a:ext cx="719897" cy="719896"/>
            <a:chOff x="-4594157" y="2516834"/>
            <a:chExt cx="1070585" cy="1070585"/>
          </a:xfrm>
        </p:grpSpPr>
        <p:sp>
          <p:nvSpPr>
            <p:cNvPr id="911" name="Freeform: Shape 411"/>
            <p:cNvSpPr/>
            <p:nvPr/>
          </p:nvSpPr>
          <p:spPr>
            <a:xfrm>
              <a:off x="-4158004" y="3347237"/>
              <a:ext cx="192371" cy="192371"/>
            </a:xfrm>
            <a:custGeom>
              <a:avLst/>
              <a:gdLst>
                <a:gd name="connsiteX0" fmla="*/ 33738 w 67473"/>
                <a:gd name="connsiteY0" fmla="*/ 0 h 67473"/>
                <a:gd name="connsiteX1" fmla="*/ 67473 w 67473"/>
                <a:gd name="connsiteY1" fmla="*/ 33736 h 67473"/>
                <a:gd name="connsiteX2" fmla="*/ 33738 w 67473"/>
                <a:gd name="connsiteY2" fmla="*/ 67473 h 67473"/>
                <a:gd name="connsiteX3" fmla="*/ 0 w 67473"/>
                <a:gd name="connsiteY3" fmla="*/ 33736 h 67473"/>
                <a:gd name="connsiteX4" fmla="*/ 33738 w 67473"/>
                <a:gd name="connsiteY4" fmla="*/ 0 h 6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473" h="67473">
                  <a:moveTo>
                    <a:pt x="33738" y="0"/>
                  </a:moveTo>
                  <a:cubicBezTo>
                    <a:pt x="52370" y="0"/>
                    <a:pt x="67473" y="15104"/>
                    <a:pt x="67473" y="33736"/>
                  </a:cubicBezTo>
                  <a:cubicBezTo>
                    <a:pt x="67473" y="52368"/>
                    <a:pt x="52370" y="67473"/>
                    <a:pt x="33738" y="67473"/>
                  </a:cubicBezTo>
                  <a:cubicBezTo>
                    <a:pt x="15105" y="67473"/>
                    <a:pt x="0" y="52368"/>
                    <a:pt x="0" y="33736"/>
                  </a:cubicBezTo>
                  <a:cubicBezTo>
                    <a:pt x="0" y="15104"/>
                    <a:pt x="15105" y="0"/>
                    <a:pt x="33738" y="0"/>
                  </a:cubicBezTo>
                  <a:close/>
                </a:path>
              </a:pathLst>
            </a:custGeom>
            <a:solidFill>
              <a:schemeClr val="tx2"/>
            </a:solidFill>
            <a:ln w="12700" cap="flat" cmpd="sng" algn="ctr">
              <a:noFill/>
              <a:prstDash val="solid"/>
              <a:miter lim="800000"/>
            </a:ln>
            <a:effectLst/>
          </p:spPr>
          <p:txBody>
            <a:bodyPr rtlCol="0" anchor="ctr"/>
            <a:lstStyle/>
            <a:p>
              <a:pPr algn="ctr">
                <a:defRPr/>
              </a:pPr>
              <a:endParaRPr lang="en-US" sz="1721" kern="0">
                <a:solidFill>
                  <a:srgbClr val="FFFFFF"/>
                </a:solidFill>
                <a:latin typeface="Segoe UI"/>
              </a:endParaRPr>
            </a:p>
          </p:txBody>
        </p:sp>
        <p:grpSp>
          <p:nvGrpSpPr>
            <p:cNvPr id="912" name="Group 16"/>
            <p:cNvGrpSpPr/>
            <p:nvPr/>
          </p:nvGrpSpPr>
          <p:grpSpPr>
            <a:xfrm>
              <a:off x="-4594157" y="2516834"/>
              <a:ext cx="1070585" cy="1070585"/>
              <a:chOff x="10232415" y="2527090"/>
              <a:chExt cx="1070585" cy="1070585"/>
            </a:xfrm>
          </p:grpSpPr>
          <p:sp>
            <p:nvSpPr>
              <p:cNvPr id="913" name="Oval 17"/>
              <p:cNvSpPr/>
              <p:nvPr/>
            </p:nvSpPr>
            <p:spPr>
              <a:xfrm>
                <a:off x="10627604" y="2770027"/>
                <a:ext cx="274303" cy="274303"/>
              </a:xfrm>
              <a:prstGeom prst="ellipse">
                <a:avLst/>
              </a:prstGeom>
              <a:solidFill>
                <a:srgbClr val="FFFFFF"/>
              </a:solidFill>
              <a:ln w="12700" cap="flat" cmpd="sng" algn="ctr">
                <a:noFill/>
                <a:prstDash val="solid"/>
                <a:miter lim="800000"/>
              </a:ln>
              <a:effectLst/>
            </p:spPr>
            <p:txBody>
              <a:bodyPr rtlCol="0" anchor="ctr"/>
              <a:lstStyle/>
              <a:p>
                <a:pPr algn="ctr">
                  <a:defRPr/>
                </a:pPr>
                <a:endParaRPr lang="en-US" sz="1721" kern="0">
                  <a:solidFill>
                    <a:srgbClr val="FFFFFF"/>
                  </a:solidFill>
                  <a:latin typeface="Segoe UI"/>
                </a:endParaRPr>
              </a:p>
            </p:txBody>
          </p:sp>
          <p:pic>
            <p:nvPicPr>
              <p:cNvPr id="914" name="Graphic 913" descr="Marker"/>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232415" y="2527090"/>
                <a:ext cx="1070585" cy="1070585"/>
              </a:xfrm>
              <a:prstGeom prst="rect">
                <a:avLst/>
              </a:prstGeom>
            </p:spPr>
          </p:pic>
        </p:grpSp>
      </p:grpSp>
      <p:grpSp>
        <p:nvGrpSpPr>
          <p:cNvPr id="915" name="Group 24"/>
          <p:cNvGrpSpPr/>
          <p:nvPr/>
        </p:nvGrpSpPr>
        <p:grpSpPr>
          <a:xfrm>
            <a:off x="6251004" y="5701466"/>
            <a:ext cx="719897" cy="719896"/>
            <a:chOff x="-4594157" y="2516834"/>
            <a:chExt cx="1070585" cy="1070585"/>
          </a:xfrm>
        </p:grpSpPr>
        <p:sp>
          <p:nvSpPr>
            <p:cNvPr id="916" name="Freeform: Shape 411"/>
            <p:cNvSpPr/>
            <p:nvPr/>
          </p:nvSpPr>
          <p:spPr>
            <a:xfrm>
              <a:off x="-4158004" y="3347237"/>
              <a:ext cx="192371" cy="192371"/>
            </a:xfrm>
            <a:custGeom>
              <a:avLst/>
              <a:gdLst>
                <a:gd name="connsiteX0" fmla="*/ 33738 w 67473"/>
                <a:gd name="connsiteY0" fmla="*/ 0 h 67473"/>
                <a:gd name="connsiteX1" fmla="*/ 67473 w 67473"/>
                <a:gd name="connsiteY1" fmla="*/ 33736 h 67473"/>
                <a:gd name="connsiteX2" fmla="*/ 33738 w 67473"/>
                <a:gd name="connsiteY2" fmla="*/ 67473 h 67473"/>
                <a:gd name="connsiteX3" fmla="*/ 0 w 67473"/>
                <a:gd name="connsiteY3" fmla="*/ 33736 h 67473"/>
                <a:gd name="connsiteX4" fmla="*/ 33738 w 67473"/>
                <a:gd name="connsiteY4" fmla="*/ 0 h 6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473" h="67473">
                  <a:moveTo>
                    <a:pt x="33738" y="0"/>
                  </a:moveTo>
                  <a:cubicBezTo>
                    <a:pt x="52370" y="0"/>
                    <a:pt x="67473" y="15104"/>
                    <a:pt x="67473" y="33736"/>
                  </a:cubicBezTo>
                  <a:cubicBezTo>
                    <a:pt x="67473" y="52368"/>
                    <a:pt x="52370" y="67473"/>
                    <a:pt x="33738" y="67473"/>
                  </a:cubicBezTo>
                  <a:cubicBezTo>
                    <a:pt x="15105" y="67473"/>
                    <a:pt x="0" y="52368"/>
                    <a:pt x="0" y="33736"/>
                  </a:cubicBezTo>
                  <a:cubicBezTo>
                    <a:pt x="0" y="15104"/>
                    <a:pt x="15105" y="0"/>
                    <a:pt x="33738" y="0"/>
                  </a:cubicBezTo>
                  <a:close/>
                </a:path>
              </a:pathLst>
            </a:custGeom>
            <a:solidFill>
              <a:schemeClr val="tx2"/>
            </a:solidFill>
            <a:ln w="12700" cap="flat" cmpd="sng" algn="ctr">
              <a:noFill/>
              <a:prstDash val="solid"/>
              <a:miter lim="800000"/>
            </a:ln>
            <a:effectLst/>
          </p:spPr>
          <p:txBody>
            <a:bodyPr rtlCol="0" anchor="ctr"/>
            <a:lstStyle/>
            <a:p>
              <a:pPr algn="ctr">
                <a:defRPr/>
              </a:pPr>
              <a:endParaRPr lang="en-US" sz="1721" kern="0">
                <a:solidFill>
                  <a:srgbClr val="FFFFFF"/>
                </a:solidFill>
                <a:latin typeface="Segoe UI"/>
              </a:endParaRPr>
            </a:p>
          </p:txBody>
        </p:sp>
        <p:grpSp>
          <p:nvGrpSpPr>
            <p:cNvPr id="917" name="Group 26"/>
            <p:cNvGrpSpPr/>
            <p:nvPr/>
          </p:nvGrpSpPr>
          <p:grpSpPr>
            <a:xfrm>
              <a:off x="-4594157" y="2516834"/>
              <a:ext cx="1070585" cy="1070585"/>
              <a:chOff x="10232415" y="2527090"/>
              <a:chExt cx="1070585" cy="1070585"/>
            </a:xfrm>
          </p:grpSpPr>
          <p:sp>
            <p:nvSpPr>
              <p:cNvPr id="918" name="Oval 27"/>
              <p:cNvSpPr/>
              <p:nvPr/>
            </p:nvSpPr>
            <p:spPr>
              <a:xfrm>
                <a:off x="10627604" y="2770027"/>
                <a:ext cx="274303" cy="274303"/>
              </a:xfrm>
              <a:prstGeom prst="ellipse">
                <a:avLst/>
              </a:prstGeom>
              <a:solidFill>
                <a:srgbClr val="FFFFFF"/>
              </a:solidFill>
              <a:ln w="12700" cap="flat" cmpd="sng" algn="ctr">
                <a:noFill/>
                <a:prstDash val="solid"/>
                <a:miter lim="800000"/>
              </a:ln>
              <a:effectLst/>
            </p:spPr>
            <p:txBody>
              <a:bodyPr rtlCol="0" anchor="ctr"/>
              <a:lstStyle/>
              <a:p>
                <a:pPr algn="ctr">
                  <a:defRPr/>
                </a:pPr>
                <a:endParaRPr lang="en-US" sz="1721" kern="0">
                  <a:solidFill>
                    <a:srgbClr val="FFFFFF"/>
                  </a:solidFill>
                  <a:latin typeface="Segoe UI"/>
                </a:endParaRPr>
              </a:p>
            </p:txBody>
          </p:sp>
          <p:pic>
            <p:nvPicPr>
              <p:cNvPr id="919" name="Graphic 918" descr="Marker"/>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232415" y="2527090"/>
                <a:ext cx="1070585" cy="1070585"/>
              </a:xfrm>
              <a:prstGeom prst="rect">
                <a:avLst/>
              </a:prstGeom>
            </p:spPr>
          </p:pic>
        </p:grpSp>
      </p:grpSp>
      <p:grpSp>
        <p:nvGrpSpPr>
          <p:cNvPr id="920" name="Group 900"/>
          <p:cNvGrpSpPr/>
          <p:nvPr/>
        </p:nvGrpSpPr>
        <p:grpSpPr>
          <a:xfrm>
            <a:off x="9294772" y="5701466"/>
            <a:ext cx="719897" cy="719896"/>
            <a:chOff x="-4594157" y="2516834"/>
            <a:chExt cx="1070585" cy="1070585"/>
          </a:xfrm>
        </p:grpSpPr>
        <p:sp>
          <p:nvSpPr>
            <p:cNvPr id="921" name="Freeform: Shape 411"/>
            <p:cNvSpPr/>
            <p:nvPr/>
          </p:nvSpPr>
          <p:spPr>
            <a:xfrm>
              <a:off x="-4158004" y="3347237"/>
              <a:ext cx="192371" cy="192371"/>
            </a:xfrm>
            <a:custGeom>
              <a:avLst/>
              <a:gdLst>
                <a:gd name="connsiteX0" fmla="*/ 33738 w 67473"/>
                <a:gd name="connsiteY0" fmla="*/ 0 h 67473"/>
                <a:gd name="connsiteX1" fmla="*/ 67473 w 67473"/>
                <a:gd name="connsiteY1" fmla="*/ 33736 h 67473"/>
                <a:gd name="connsiteX2" fmla="*/ 33738 w 67473"/>
                <a:gd name="connsiteY2" fmla="*/ 67473 h 67473"/>
                <a:gd name="connsiteX3" fmla="*/ 0 w 67473"/>
                <a:gd name="connsiteY3" fmla="*/ 33736 h 67473"/>
                <a:gd name="connsiteX4" fmla="*/ 33738 w 67473"/>
                <a:gd name="connsiteY4" fmla="*/ 0 h 6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473" h="67473">
                  <a:moveTo>
                    <a:pt x="33738" y="0"/>
                  </a:moveTo>
                  <a:cubicBezTo>
                    <a:pt x="52370" y="0"/>
                    <a:pt x="67473" y="15104"/>
                    <a:pt x="67473" y="33736"/>
                  </a:cubicBezTo>
                  <a:cubicBezTo>
                    <a:pt x="67473" y="52368"/>
                    <a:pt x="52370" y="67473"/>
                    <a:pt x="33738" y="67473"/>
                  </a:cubicBezTo>
                  <a:cubicBezTo>
                    <a:pt x="15105" y="67473"/>
                    <a:pt x="0" y="52368"/>
                    <a:pt x="0" y="33736"/>
                  </a:cubicBezTo>
                  <a:cubicBezTo>
                    <a:pt x="0" y="15104"/>
                    <a:pt x="15105" y="0"/>
                    <a:pt x="33738" y="0"/>
                  </a:cubicBezTo>
                  <a:close/>
                </a:path>
              </a:pathLst>
            </a:custGeom>
            <a:solidFill>
              <a:schemeClr val="tx2"/>
            </a:solidFill>
            <a:ln w="12700" cap="flat" cmpd="sng" algn="ctr">
              <a:noFill/>
              <a:prstDash val="solid"/>
              <a:miter lim="800000"/>
            </a:ln>
            <a:effectLst/>
          </p:spPr>
          <p:txBody>
            <a:bodyPr rtlCol="0" anchor="ctr"/>
            <a:lstStyle/>
            <a:p>
              <a:pPr algn="ctr">
                <a:defRPr/>
              </a:pPr>
              <a:endParaRPr lang="en-US" sz="1721" kern="0">
                <a:solidFill>
                  <a:srgbClr val="FFFFFF"/>
                </a:solidFill>
                <a:latin typeface="Segoe UI"/>
              </a:endParaRPr>
            </a:p>
          </p:txBody>
        </p:sp>
        <p:grpSp>
          <p:nvGrpSpPr>
            <p:cNvPr id="922" name="Group 902"/>
            <p:cNvGrpSpPr/>
            <p:nvPr/>
          </p:nvGrpSpPr>
          <p:grpSpPr>
            <a:xfrm>
              <a:off x="-4594157" y="2516834"/>
              <a:ext cx="1070585" cy="1070585"/>
              <a:chOff x="10232415" y="2527090"/>
              <a:chExt cx="1070585" cy="1070585"/>
            </a:xfrm>
          </p:grpSpPr>
          <p:sp>
            <p:nvSpPr>
              <p:cNvPr id="923" name="Oval 903"/>
              <p:cNvSpPr/>
              <p:nvPr/>
            </p:nvSpPr>
            <p:spPr>
              <a:xfrm>
                <a:off x="10627604" y="2770027"/>
                <a:ext cx="274303" cy="274303"/>
              </a:xfrm>
              <a:prstGeom prst="ellipse">
                <a:avLst/>
              </a:prstGeom>
              <a:solidFill>
                <a:srgbClr val="FFFFFF"/>
              </a:solidFill>
              <a:ln w="12700" cap="flat" cmpd="sng" algn="ctr">
                <a:noFill/>
                <a:prstDash val="solid"/>
                <a:miter lim="800000"/>
              </a:ln>
              <a:effectLst/>
            </p:spPr>
            <p:txBody>
              <a:bodyPr rtlCol="0" anchor="ctr"/>
              <a:lstStyle/>
              <a:p>
                <a:pPr algn="ctr">
                  <a:defRPr/>
                </a:pPr>
                <a:endParaRPr lang="en-US" sz="1721" kern="0">
                  <a:solidFill>
                    <a:srgbClr val="FFFFFF"/>
                  </a:solidFill>
                  <a:latin typeface="Segoe UI"/>
                </a:endParaRPr>
              </a:p>
            </p:txBody>
          </p:sp>
          <p:pic>
            <p:nvPicPr>
              <p:cNvPr id="924" name="Graphic 923" descr="Marker"/>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232415" y="2527090"/>
                <a:ext cx="1070585" cy="1070585"/>
              </a:xfrm>
              <a:prstGeom prst="rect">
                <a:avLst/>
              </a:prstGeom>
            </p:spPr>
          </p:pic>
        </p:grpSp>
      </p:grpSp>
      <p:sp>
        <p:nvSpPr>
          <p:cNvPr id="9" name="Freeform: Shape 8"/>
          <p:cNvSpPr/>
          <p:nvPr/>
        </p:nvSpPr>
        <p:spPr>
          <a:xfrm>
            <a:off x="382528" y="4337164"/>
            <a:ext cx="11664481" cy="992212"/>
          </a:xfrm>
          <a:custGeom>
            <a:avLst/>
            <a:gdLst>
              <a:gd name="connsiteX0" fmla="*/ 0 w 12162971"/>
              <a:gd name="connsiteY0" fmla="*/ 1240986 h 1240986"/>
              <a:gd name="connsiteX1" fmla="*/ 6146800 w 12162971"/>
              <a:gd name="connsiteY1" fmla="*/ 15 h 1240986"/>
              <a:gd name="connsiteX2" fmla="*/ 12162971 w 12162971"/>
              <a:gd name="connsiteY2" fmla="*/ 1211958 h 1240986"/>
              <a:gd name="connsiteX0" fmla="*/ 0 w 12162971"/>
              <a:gd name="connsiteY0" fmla="*/ 1240986 h 1240986"/>
              <a:gd name="connsiteX1" fmla="*/ 6146800 w 12162971"/>
              <a:gd name="connsiteY1" fmla="*/ 15 h 1240986"/>
              <a:gd name="connsiteX2" fmla="*/ 12162971 w 12162971"/>
              <a:gd name="connsiteY2" fmla="*/ 1211958 h 1240986"/>
              <a:gd name="connsiteX0" fmla="*/ 0 w 12162971"/>
              <a:gd name="connsiteY0" fmla="*/ 1240986 h 1240986"/>
              <a:gd name="connsiteX1" fmla="*/ 6146800 w 12162971"/>
              <a:gd name="connsiteY1" fmla="*/ 15 h 1240986"/>
              <a:gd name="connsiteX2" fmla="*/ 12162971 w 12162971"/>
              <a:gd name="connsiteY2" fmla="*/ 1211958 h 1240986"/>
              <a:gd name="connsiteX0" fmla="*/ 0 w 12162971"/>
              <a:gd name="connsiteY0" fmla="*/ 1240986 h 1240986"/>
              <a:gd name="connsiteX1" fmla="*/ 6146800 w 12162971"/>
              <a:gd name="connsiteY1" fmla="*/ 15 h 1240986"/>
              <a:gd name="connsiteX2" fmla="*/ 12162971 w 12162971"/>
              <a:gd name="connsiteY2" fmla="*/ 1211958 h 1240986"/>
            </a:gdLst>
            <a:ahLst/>
            <a:cxnLst>
              <a:cxn ang="0">
                <a:pos x="connsiteX0" y="connsiteY0"/>
              </a:cxn>
              <a:cxn ang="0">
                <a:pos x="connsiteX1" y="connsiteY1"/>
              </a:cxn>
              <a:cxn ang="0">
                <a:pos x="connsiteX2" y="connsiteY2"/>
              </a:cxn>
            </a:cxnLst>
            <a:rect l="l" t="t" r="r" b="b"/>
            <a:pathLst>
              <a:path w="12162971" h="1240986">
                <a:moveTo>
                  <a:pt x="0" y="1240986"/>
                </a:moveTo>
                <a:cubicBezTo>
                  <a:pt x="231019" y="1123662"/>
                  <a:pt x="2820610" y="4853"/>
                  <a:pt x="6146800" y="15"/>
                </a:cubicBezTo>
                <a:cubicBezTo>
                  <a:pt x="9472990" y="-4823"/>
                  <a:pt x="11957352" y="1121244"/>
                  <a:pt x="12162971" y="1211958"/>
                </a:cubicBezTo>
              </a:path>
            </a:pathLst>
          </a:custGeom>
          <a:noFill/>
          <a:ln>
            <a:solidFill>
              <a:schemeClr val="accent1"/>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721">
              <a:solidFill>
                <a:srgbClr val="FFFFFF"/>
              </a:solidFill>
              <a:latin typeface="Segoe UI"/>
            </a:endParaRPr>
          </a:p>
        </p:txBody>
      </p:sp>
      <p:sp>
        <p:nvSpPr>
          <p:cNvPr id="928" name="Freeform: Shape 927"/>
          <p:cNvSpPr/>
          <p:nvPr/>
        </p:nvSpPr>
        <p:spPr>
          <a:xfrm>
            <a:off x="382528" y="3288873"/>
            <a:ext cx="11664481" cy="975314"/>
          </a:xfrm>
          <a:custGeom>
            <a:avLst/>
            <a:gdLst>
              <a:gd name="connsiteX0" fmla="*/ 0 w 12162971"/>
              <a:gd name="connsiteY0" fmla="*/ 1240986 h 1240986"/>
              <a:gd name="connsiteX1" fmla="*/ 6146800 w 12162971"/>
              <a:gd name="connsiteY1" fmla="*/ 15 h 1240986"/>
              <a:gd name="connsiteX2" fmla="*/ 12162971 w 12162971"/>
              <a:gd name="connsiteY2" fmla="*/ 1211958 h 1240986"/>
              <a:gd name="connsiteX0" fmla="*/ 0 w 12162971"/>
              <a:gd name="connsiteY0" fmla="*/ 1240986 h 1240986"/>
              <a:gd name="connsiteX1" fmla="*/ 6146800 w 12162971"/>
              <a:gd name="connsiteY1" fmla="*/ 15 h 1240986"/>
              <a:gd name="connsiteX2" fmla="*/ 12162971 w 12162971"/>
              <a:gd name="connsiteY2" fmla="*/ 1211958 h 1240986"/>
              <a:gd name="connsiteX0" fmla="*/ 0 w 12162971"/>
              <a:gd name="connsiteY0" fmla="*/ 1240986 h 1240986"/>
              <a:gd name="connsiteX1" fmla="*/ 6146800 w 12162971"/>
              <a:gd name="connsiteY1" fmla="*/ 15 h 1240986"/>
              <a:gd name="connsiteX2" fmla="*/ 12162971 w 12162971"/>
              <a:gd name="connsiteY2" fmla="*/ 1211958 h 1240986"/>
              <a:gd name="connsiteX0" fmla="*/ 0 w 12162971"/>
              <a:gd name="connsiteY0" fmla="*/ 1240986 h 1240986"/>
              <a:gd name="connsiteX1" fmla="*/ 6146800 w 12162971"/>
              <a:gd name="connsiteY1" fmla="*/ 15 h 1240986"/>
              <a:gd name="connsiteX2" fmla="*/ 12162971 w 12162971"/>
              <a:gd name="connsiteY2" fmla="*/ 1211958 h 1240986"/>
            </a:gdLst>
            <a:ahLst/>
            <a:cxnLst>
              <a:cxn ang="0">
                <a:pos x="connsiteX0" y="connsiteY0"/>
              </a:cxn>
              <a:cxn ang="0">
                <a:pos x="connsiteX1" y="connsiteY1"/>
              </a:cxn>
              <a:cxn ang="0">
                <a:pos x="connsiteX2" y="connsiteY2"/>
              </a:cxn>
            </a:cxnLst>
            <a:rect l="l" t="t" r="r" b="b"/>
            <a:pathLst>
              <a:path w="12162971" h="1240986">
                <a:moveTo>
                  <a:pt x="0" y="1240986"/>
                </a:moveTo>
                <a:cubicBezTo>
                  <a:pt x="231019" y="1123662"/>
                  <a:pt x="2820610" y="4853"/>
                  <a:pt x="6146800" y="15"/>
                </a:cubicBezTo>
                <a:cubicBezTo>
                  <a:pt x="9472990" y="-4823"/>
                  <a:pt x="11957352" y="1121244"/>
                  <a:pt x="12162971" y="1211958"/>
                </a:cubicBezTo>
              </a:path>
            </a:pathLst>
          </a:custGeom>
          <a:noFill/>
          <a:ln>
            <a:solidFill>
              <a:schemeClr val="accent1"/>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721">
              <a:solidFill>
                <a:srgbClr val="FFFFFF"/>
              </a:solidFill>
              <a:latin typeface="Segoe UI"/>
            </a:endParaRPr>
          </a:p>
        </p:txBody>
      </p:sp>
      <p:sp>
        <p:nvSpPr>
          <p:cNvPr id="3" name="TextBox 2"/>
          <p:cNvSpPr txBox="1"/>
          <p:nvPr/>
        </p:nvSpPr>
        <p:spPr>
          <a:xfrm>
            <a:off x="6538287" y="2665512"/>
            <a:ext cx="1073371" cy="357149"/>
          </a:xfrm>
          <a:prstGeom prst="rect">
            <a:avLst/>
          </a:prstGeom>
          <a:noFill/>
        </p:spPr>
        <p:txBody>
          <a:bodyPr wrap="none" rtlCol="0">
            <a:spAutoFit/>
          </a:bodyPr>
          <a:lstStyle/>
          <a:p>
            <a:r>
              <a:rPr lang="en-US" sz="1721" dirty="0">
                <a:solidFill>
                  <a:srgbClr val="000000"/>
                </a:solidFill>
                <a:latin typeface="Segoe UI"/>
              </a:rPr>
              <a:t>Table API</a:t>
            </a:r>
          </a:p>
        </p:txBody>
      </p:sp>
      <p:grpSp>
        <p:nvGrpSpPr>
          <p:cNvPr id="93" name="Group 92"/>
          <p:cNvGrpSpPr/>
          <p:nvPr/>
        </p:nvGrpSpPr>
        <p:grpSpPr>
          <a:xfrm>
            <a:off x="4662206" y="3661977"/>
            <a:ext cx="620512" cy="119182"/>
            <a:chOff x="4937947" y="5178778"/>
            <a:chExt cx="733930" cy="124646"/>
          </a:xfrm>
        </p:grpSpPr>
        <p:cxnSp>
          <p:nvCxnSpPr>
            <p:cNvPr id="94" name="Straight Connector 93"/>
            <p:cNvCxnSpPr>
              <a:cxnSpLocks/>
            </p:cNvCxnSpPr>
            <p:nvPr/>
          </p:nvCxnSpPr>
          <p:spPr>
            <a:xfrm>
              <a:off x="5062593" y="5241101"/>
              <a:ext cx="187117" cy="0"/>
            </a:xfrm>
            <a:prstGeom prst="line">
              <a:avLst/>
            </a:prstGeom>
            <a:noFill/>
            <a:ln w="12700" cap="flat" cmpd="sng" algn="ctr">
              <a:solidFill>
                <a:schemeClr val="tx2"/>
              </a:solidFill>
              <a:prstDash val="sysDot"/>
              <a:miter lim="800000"/>
              <a:headEnd type="none"/>
              <a:tailEnd type="none"/>
            </a:ln>
            <a:effectLst/>
          </p:spPr>
        </p:cxnSp>
        <p:sp>
          <p:nvSpPr>
            <p:cNvPr id="95" name="Oval 94"/>
            <p:cNvSpPr/>
            <p:nvPr/>
          </p:nvSpPr>
          <p:spPr bwMode="auto">
            <a:xfrm>
              <a:off x="4937947" y="5178778"/>
              <a:ext cx="124646" cy="124646"/>
            </a:xfrm>
            <a:prstGeom prst="ellipse">
              <a:avLst/>
            </a:prstGeom>
            <a:solidFill>
              <a:schemeClr val="tx2"/>
            </a:solidFill>
            <a:ln w="3175" cap="flat" cmpd="sng" algn="ctr">
              <a:noFill/>
              <a:prstDash val="solid"/>
              <a:miter lim="800000"/>
              <a:headEnd type="none" w="med" len="med"/>
              <a:tailEnd type="none" w="med" len="med"/>
            </a:ln>
            <a:effectLst/>
          </p:spPr>
          <p:txBody>
            <a:bodyPr vert="horz" wrap="square" lIns="0" tIns="43716" rIns="0" bIns="43716" numCol="1" rtlCol="0" anchor="ctr" anchorCtr="0" compatLnSpc="1">
              <a:prstTxWarp prst="textNoShape">
                <a:avLst/>
              </a:prstTxWarp>
            </a:bodyPr>
            <a:lstStyle/>
            <a:p>
              <a:pPr algn="ctr" defTabSz="874064" fontAlgn="base">
                <a:spcBef>
                  <a:spcPct val="0"/>
                </a:spcBef>
                <a:spcAft>
                  <a:spcPct val="0"/>
                </a:spcAft>
                <a:defRPr/>
              </a:pPr>
              <a:endParaRPr lang="en-US" sz="1875" kern="0" dirty="0">
                <a:gradFill>
                  <a:gsLst>
                    <a:gs pos="0">
                      <a:srgbClr val="FFFFFF"/>
                    </a:gs>
                    <a:gs pos="100000">
                      <a:srgbClr val="FFFFFF"/>
                    </a:gs>
                  </a:gsLst>
                  <a:lin ang="5400000" scaled="0"/>
                </a:gradFill>
                <a:latin typeface="Segoe UI"/>
              </a:endParaRPr>
            </a:p>
          </p:txBody>
        </p:sp>
        <p:sp>
          <p:nvSpPr>
            <p:cNvPr id="96" name="Oval 95"/>
            <p:cNvSpPr/>
            <p:nvPr/>
          </p:nvSpPr>
          <p:spPr bwMode="auto">
            <a:xfrm>
              <a:off x="5249710" y="5184430"/>
              <a:ext cx="113342" cy="113342"/>
            </a:xfrm>
            <a:prstGeom prst="ellipse">
              <a:avLst/>
            </a:prstGeom>
            <a:noFill/>
            <a:ln w="38100" cap="flat" cmpd="sng" algn="ctr">
              <a:solidFill>
                <a:schemeClr val="accent1"/>
              </a:solidFill>
              <a:prstDash val="solid"/>
              <a:miter lim="800000"/>
              <a:headEnd type="none" w="med" len="med"/>
              <a:tailEnd type="none" w="med" len="med"/>
            </a:ln>
            <a:effectLst/>
          </p:spPr>
          <p:txBody>
            <a:bodyPr vert="horz" wrap="square" lIns="0" tIns="43716" rIns="0" bIns="43716" numCol="1" rtlCol="0" anchor="ctr" anchorCtr="0" compatLnSpc="1">
              <a:prstTxWarp prst="textNoShape">
                <a:avLst/>
              </a:prstTxWarp>
            </a:bodyPr>
            <a:lstStyle/>
            <a:p>
              <a:pPr algn="ctr" defTabSz="874064" fontAlgn="base">
                <a:spcBef>
                  <a:spcPct val="0"/>
                </a:spcBef>
                <a:spcAft>
                  <a:spcPct val="0"/>
                </a:spcAft>
                <a:defRPr/>
              </a:pPr>
              <a:endParaRPr lang="en-US" sz="1875" kern="0" dirty="0">
                <a:gradFill>
                  <a:gsLst>
                    <a:gs pos="0">
                      <a:srgbClr val="FFFFFF"/>
                    </a:gs>
                    <a:gs pos="100000">
                      <a:srgbClr val="FFFFFF"/>
                    </a:gs>
                  </a:gsLst>
                  <a:lin ang="5400000" scaled="0"/>
                </a:gradFill>
                <a:latin typeface="Segoe UI"/>
              </a:endParaRPr>
            </a:p>
          </p:txBody>
        </p:sp>
        <p:sp>
          <p:nvSpPr>
            <p:cNvPr id="97" name="Oval 96"/>
            <p:cNvSpPr/>
            <p:nvPr/>
          </p:nvSpPr>
          <p:spPr bwMode="auto">
            <a:xfrm>
              <a:off x="5404122" y="5184430"/>
              <a:ext cx="113342" cy="113342"/>
            </a:xfrm>
            <a:prstGeom prst="ellipse">
              <a:avLst/>
            </a:prstGeom>
            <a:noFill/>
            <a:ln w="38100" cap="flat" cmpd="sng" algn="ctr">
              <a:solidFill>
                <a:schemeClr val="accent1"/>
              </a:solidFill>
              <a:prstDash val="solid"/>
              <a:miter lim="800000"/>
              <a:headEnd type="none" w="med" len="med"/>
              <a:tailEnd type="none" w="med" len="med"/>
            </a:ln>
            <a:effectLst/>
          </p:spPr>
          <p:txBody>
            <a:bodyPr vert="horz" wrap="square" lIns="0" tIns="43716" rIns="0" bIns="43716" numCol="1" rtlCol="0" anchor="ctr" anchorCtr="0" compatLnSpc="1">
              <a:prstTxWarp prst="textNoShape">
                <a:avLst/>
              </a:prstTxWarp>
            </a:bodyPr>
            <a:lstStyle/>
            <a:p>
              <a:pPr algn="ctr" defTabSz="874064" fontAlgn="base">
                <a:spcBef>
                  <a:spcPct val="0"/>
                </a:spcBef>
                <a:spcAft>
                  <a:spcPct val="0"/>
                </a:spcAft>
                <a:defRPr/>
              </a:pPr>
              <a:endParaRPr lang="en-US" sz="1875" kern="0" dirty="0">
                <a:gradFill>
                  <a:gsLst>
                    <a:gs pos="0">
                      <a:srgbClr val="FFFFFF"/>
                    </a:gs>
                    <a:gs pos="100000">
                      <a:srgbClr val="FFFFFF"/>
                    </a:gs>
                  </a:gsLst>
                  <a:lin ang="5400000" scaled="0"/>
                </a:gradFill>
                <a:latin typeface="Segoe UI"/>
              </a:endParaRPr>
            </a:p>
          </p:txBody>
        </p:sp>
        <p:sp>
          <p:nvSpPr>
            <p:cNvPr id="98" name="Oval 97"/>
            <p:cNvSpPr/>
            <p:nvPr/>
          </p:nvSpPr>
          <p:spPr bwMode="auto">
            <a:xfrm>
              <a:off x="5558535" y="5184430"/>
              <a:ext cx="113342" cy="113342"/>
            </a:xfrm>
            <a:prstGeom prst="ellipse">
              <a:avLst/>
            </a:prstGeom>
            <a:noFill/>
            <a:ln w="38100" cap="flat" cmpd="sng" algn="ctr">
              <a:solidFill>
                <a:schemeClr val="accent1"/>
              </a:solidFill>
              <a:prstDash val="solid"/>
              <a:miter lim="800000"/>
              <a:headEnd type="none" w="med" len="med"/>
              <a:tailEnd type="none" w="med" len="med"/>
            </a:ln>
            <a:effectLst/>
          </p:spPr>
          <p:txBody>
            <a:bodyPr vert="horz" wrap="square" lIns="0" tIns="43716" rIns="0" bIns="43716" numCol="1" rtlCol="0" anchor="ctr" anchorCtr="0" compatLnSpc="1">
              <a:prstTxWarp prst="textNoShape">
                <a:avLst/>
              </a:prstTxWarp>
            </a:bodyPr>
            <a:lstStyle/>
            <a:p>
              <a:pPr algn="ctr" defTabSz="874064" fontAlgn="base">
                <a:spcBef>
                  <a:spcPct val="0"/>
                </a:spcBef>
                <a:spcAft>
                  <a:spcPct val="0"/>
                </a:spcAft>
                <a:defRPr/>
              </a:pPr>
              <a:endParaRPr lang="en-US" sz="1875" kern="0" dirty="0">
                <a:gradFill>
                  <a:gsLst>
                    <a:gs pos="0">
                      <a:srgbClr val="FFFFFF"/>
                    </a:gs>
                    <a:gs pos="100000">
                      <a:srgbClr val="FFFFFF"/>
                    </a:gs>
                  </a:gsLst>
                  <a:lin ang="5400000" scaled="0"/>
                </a:gradFill>
                <a:latin typeface="Segoe UI"/>
              </a:endParaRPr>
            </a:p>
          </p:txBody>
        </p:sp>
      </p:grpSp>
      <p:grpSp>
        <p:nvGrpSpPr>
          <p:cNvPr id="118" name="Group 117"/>
          <p:cNvGrpSpPr/>
          <p:nvPr/>
        </p:nvGrpSpPr>
        <p:grpSpPr>
          <a:xfrm>
            <a:off x="2801107" y="3746839"/>
            <a:ext cx="693699" cy="744789"/>
            <a:chOff x="4511512" y="6316301"/>
            <a:chExt cx="670057" cy="1619425"/>
          </a:xfrm>
        </p:grpSpPr>
        <p:grpSp>
          <p:nvGrpSpPr>
            <p:cNvPr id="119" name="Group 118"/>
            <p:cNvGrpSpPr/>
            <p:nvPr/>
          </p:nvGrpSpPr>
          <p:grpSpPr>
            <a:xfrm>
              <a:off x="4511512" y="6316301"/>
              <a:ext cx="617679" cy="892977"/>
              <a:chOff x="4066669" y="5178779"/>
              <a:chExt cx="1357897" cy="892977"/>
            </a:xfrm>
          </p:grpSpPr>
          <p:cxnSp>
            <p:nvCxnSpPr>
              <p:cNvPr id="121" name="Straight Connector 120"/>
              <p:cNvCxnSpPr>
                <a:cxnSpLocks/>
              </p:cNvCxnSpPr>
              <p:nvPr/>
            </p:nvCxnSpPr>
            <p:spPr>
              <a:xfrm>
                <a:off x="4308965" y="5299925"/>
                <a:ext cx="895279" cy="0"/>
              </a:xfrm>
              <a:prstGeom prst="line">
                <a:avLst/>
              </a:prstGeom>
              <a:noFill/>
              <a:ln w="12700" cap="flat" cmpd="sng" algn="ctr">
                <a:solidFill>
                  <a:schemeClr val="tx2"/>
                </a:solidFill>
                <a:prstDash val="sysDot"/>
                <a:miter lim="800000"/>
                <a:headEnd type="none"/>
                <a:tailEnd type="none"/>
              </a:ln>
              <a:effectLst/>
            </p:spPr>
          </p:cxnSp>
          <p:sp>
            <p:nvSpPr>
              <p:cNvPr id="122" name="Oval 121"/>
              <p:cNvSpPr/>
              <p:nvPr/>
            </p:nvSpPr>
            <p:spPr bwMode="auto">
              <a:xfrm>
                <a:off x="4066669" y="5178779"/>
                <a:ext cx="242296" cy="242297"/>
              </a:xfrm>
              <a:prstGeom prst="ellipse">
                <a:avLst/>
              </a:prstGeom>
              <a:solidFill>
                <a:schemeClr val="tx2"/>
              </a:solidFill>
              <a:ln w="3175" cap="flat" cmpd="sng" algn="ctr">
                <a:noFill/>
                <a:prstDash val="solid"/>
                <a:miter lim="800000"/>
                <a:headEnd type="none" w="med" len="med"/>
                <a:tailEnd type="none" w="med" len="med"/>
              </a:ln>
              <a:effectLst/>
            </p:spPr>
            <p:txBody>
              <a:bodyPr vert="horz" wrap="square" lIns="0" tIns="43716" rIns="0" bIns="43716" numCol="1" rtlCol="0" anchor="ctr" anchorCtr="0" compatLnSpc="1">
                <a:prstTxWarp prst="textNoShape">
                  <a:avLst/>
                </a:prstTxWarp>
              </a:bodyPr>
              <a:lstStyle/>
              <a:p>
                <a:pPr algn="ctr" defTabSz="874064" fontAlgn="base">
                  <a:spcBef>
                    <a:spcPct val="0"/>
                  </a:spcBef>
                  <a:spcAft>
                    <a:spcPct val="0"/>
                  </a:spcAft>
                  <a:defRPr/>
                </a:pPr>
                <a:endParaRPr lang="en-US" sz="1875" kern="0" dirty="0">
                  <a:gradFill>
                    <a:gsLst>
                      <a:gs pos="0">
                        <a:srgbClr val="FFFFFF"/>
                      </a:gs>
                      <a:gs pos="100000">
                        <a:srgbClr val="FFFFFF"/>
                      </a:gs>
                    </a:gsLst>
                    <a:lin ang="5400000" scaled="0"/>
                  </a:gradFill>
                  <a:latin typeface="Segoe UI"/>
                </a:endParaRPr>
              </a:p>
            </p:txBody>
          </p:sp>
          <p:sp>
            <p:nvSpPr>
              <p:cNvPr id="123" name="Oval 122"/>
              <p:cNvSpPr/>
              <p:nvPr/>
            </p:nvSpPr>
            <p:spPr bwMode="auto">
              <a:xfrm>
                <a:off x="5204244" y="5189764"/>
                <a:ext cx="220322" cy="220322"/>
              </a:xfrm>
              <a:prstGeom prst="ellipse">
                <a:avLst/>
              </a:prstGeom>
              <a:noFill/>
              <a:ln w="38100" cap="flat" cmpd="sng" algn="ctr">
                <a:solidFill>
                  <a:schemeClr val="accent1"/>
                </a:solidFill>
                <a:prstDash val="solid"/>
                <a:miter lim="800000"/>
                <a:headEnd type="none" w="med" len="med"/>
                <a:tailEnd type="none" w="med" len="med"/>
              </a:ln>
              <a:effectLst/>
            </p:spPr>
            <p:txBody>
              <a:bodyPr vert="horz" wrap="square" lIns="0" tIns="43716" rIns="0" bIns="43716" numCol="1" rtlCol="0" anchor="ctr" anchorCtr="0" compatLnSpc="1">
                <a:prstTxWarp prst="textNoShape">
                  <a:avLst/>
                </a:prstTxWarp>
              </a:bodyPr>
              <a:lstStyle/>
              <a:p>
                <a:pPr algn="ctr" defTabSz="874064" fontAlgn="base">
                  <a:spcBef>
                    <a:spcPct val="0"/>
                  </a:spcBef>
                  <a:spcAft>
                    <a:spcPct val="0"/>
                  </a:spcAft>
                  <a:defRPr/>
                </a:pPr>
                <a:endParaRPr lang="en-US" sz="1875" kern="0" dirty="0">
                  <a:gradFill>
                    <a:gsLst>
                      <a:gs pos="0">
                        <a:srgbClr val="FFFFFF"/>
                      </a:gs>
                      <a:gs pos="100000">
                        <a:srgbClr val="FFFFFF"/>
                      </a:gs>
                    </a:gsLst>
                    <a:lin ang="5400000" scaled="0"/>
                  </a:gradFill>
                  <a:latin typeface="Segoe UI"/>
                </a:endParaRPr>
              </a:p>
            </p:txBody>
          </p:sp>
          <p:cxnSp>
            <p:nvCxnSpPr>
              <p:cNvPr id="124" name="Straight Connector 123"/>
              <p:cNvCxnSpPr>
                <a:cxnSpLocks/>
              </p:cNvCxnSpPr>
              <p:nvPr/>
            </p:nvCxnSpPr>
            <p:spPr>
              <a:xfrm>
                <a:off x="4308965" y="5620439"/>
                <a:ext cx="895279" cy="0"/>
              </a:xfrm>
              <a:prstGeom prst="line">
                <a:avLst/>
              </a:prstGeom>
              <a:noFill/>
              <a:ln w="12700" cap="flat" cmpd="sng" algn="ctr">
                <a:solidFill>
                  <a:schemeClr val="tx2"/>
                </a:solidFill>
                <a:prstDash val="sysDot"/>
                <a:miter lim="800000"/>
                <a:headEnd type="none"/>
                <a:tailEnd type="none"/>
              </a:ln>
              <a:effectLst/>
            </p:spPr>
          </p:cxnSp>
          <p:sp>
            <p:nvSpPr>
              <p:cNvPr id="125" name="Oval 124"/>
              <p:cNvSpPr/>
              <p:nvPr/>
            </p:nvSpPr>
            <p:spPr bwMode="auto">
              <a:xfrm>
                <a:off x="4066669" y="5499293"/>
                <a:ext cx="242296" cy="242297"/>
              </a:xfrm>
              <a:prstGeom prst="ellipse">
                <a:avLst/>
              </a:prstGeom>
              <a:solidFill>
                <a:schemeClr val="tx2"/>
              </a:solidFill>
              <a:ln w="3175" cap="flat" cmpd="sng" algn="ctr">
                <a:noFill/>
                <a:prstDash val="solid"/>
                <a:miter lim="800000"/>
                <a:headEnd type="none" w="med" len="med"/>
                <a:tailEnd type="none" w="med" len="med"/>
              </a:ln>
              <a:effectLst/>
            </p:spPr>
            <p:txBody>
              <a:bodyPr vert="horz" wrap="square" lIns="0" tIns="43716" rIns="0" bIns="43716" numCol="1" rtlCol="0" anchor="ctr" anchorCtr="0" compatLnSpc="1">
                <a:prstTxWarp prst="textNoShape">
                  <a:avLst/>
                </a:prstTxWarp>
              </a:bodyPr>
              <a:lstStyle/>
              <a:p>
                <a:pPr algn="ctr" defTabSz="874064" fontAlgn="base">
                  <a:spcBef>
                    <a:spcPct val="0"/>
                  </a:spcBef>
                  <a:spcAft>
                    <a:spcPct val="0"/>
                  </a:spcAft>
                  <a:defRPr/>
                </a:pPr>
                <a:endParaRPr lang="en-US" sz="1875" kern="0" dirty="0">
                  <a:gradFill>
                    <a:gsLst>
                      <a:gs pos="0">
                        <a:srgbClr val="FFFFFF"/>
                      </a:gs>
                      <a:gs pos="100000">
                        <a:srgbClr val="FFFFFF"/>
                      </a:gs>
                    </a:gsLst>
                    <a:lin ang="5400000" scaled="0"/>
                  </a:gradFill>
                  <a:latin typeface="Segoe UI"/>
                </a:endParaRPr>
              </a:p>
            </p:txBody>
          </p:sp>
          <p:sp>
            <p:nvSpPr>
              <p:cNvPr id="126" name="Oval 125"/>
              <p:cNvSpPr/>
              <p:nvPr/>
            </p:nvSpPr>
            <p:spPr bwMode="auto">
              <a:xfrm>
                <a:off x="5204244" y="5510278"/>
                <a:ext cx="220322" cy="220322"/>
              </a:xfrm>
              <a:prstGeom prst="ellipse">
                <a:avLst/>
              </a:prstGeom>
              <a:noFill/>
              <a:ln w="38100" cap="flat" cmpd="sng" algn="ctr">
                <a:solidFill>
                  <a:schemeClr val="accent1"/>
                </a:solidFill>
                <a:prstDash val="solid"/>
                <a:miter lim="800000"/>
                <a:headEnd type="none" w="med" len="med"/>
                <a:tailEnd type="none" w="med" len="med"/>
              </a:ln>
              <a:effectLst/>
            </p:spPr>
            <p:txBody>
              <a:bodyPr vert="horz" wrap="square" lIns="0" tIns="43716" rIns="0" bIns="43716" numCol="1" rtlCol="0" anchor="ctr" anchorCtr="0" compatLnSpc="1">
                <a:prstTxWarp prst="textNoShape">
                  <a:avLst/>
                </a:prstTxWarp>
              </a:bodyPr>
              <a:lstStyle/>
              <a:p>
                <a:pPr algn="ctr" defTabSz="874064" fontAlgn="base">
                  <a:spcBef>
                    <a:spcPct val="0"/>
                  </a:spcBef>
                  <a:spcAft>
                    <a:spcPct val="0"/>
                  </a:spcAft>
                  <a:defRPr/>
                </a:pPr>
                <a:endParaRPr lang="en-US" sz="1875" kern="0" dirty="0">
                  <a:gradFill>
                    <a:gsLst>
                      <a:gs pos="0">
                        <a:srgbClr val="FFFFFF"/>
                      </a:gs>
                      <a:gs pos="100000">
                        <a:srgbClr val="FFFFFF"/>
                      </a:gs>
                    </a:gsLst>
                    <a:lin ang="5400000" scaled="0"/>
                  </a:gradFill>
                  <a:latin typeface="Segoe UI"/>
                </a:endParaRPr>
              </a:p>
            </p:txBody>
          </p:sp>
          <p:cxnSp>
            <p:nvCxnSpPr>
              <p:cNvPr id="127" name="Straight Connector 126"/>
              <p:cNvCxnSpPr>
                <a:cxnSpLocks/>
              </p:cNvCxnSpPr>
              <p:nvPr/>
            </p:nvCxnSpPr>
            <p:spPr>
              <a:xfrm>
                <a:off x="4308965" y="5950606"/>
                <a:ext cx="895279" cy="0"/>
              </a:xfrm>
              <a:prstGeom prst="line">
                <a:avLst/>
              </a:prstGeom>
              <a:noFill/>
              <a:ln w="12700" cap="flat" cmpd="sng" algn="ctr">
                <a:solidFill>
                  <a:schemeClr val="tx2"/>
                </a:solidFill>
                <a:prstDash val="sysDot"/>
                <a:miter lim="800000"/>
                <a:headEnd type="none"/>
                <a:tailEnd type="none"/>
              </a:ln>
              <a:effectLst/>
            </p:spPr>
          </p:cxnSp>
          <p:sp>
            <p:nvSpPr>
              <p:cNvPr id="128" name="Oval 127"/>
              <p:cNvSpPr/>
              <p:nvPr/>
            </p:nvSpPr>
            <p:spPr bwMode="auto">
              <a:xfrm>
                <a:off x="4066669" y="5829459"/>
                <a:ext cx="242296" cy="242297"/>
              </a:xfrm>
              <a:prstGeom prst="ellipse">
                <a:avLst/>
              </a:prstGeom>
              <a:solidFill>
                <a:schemeClr val="tx2"/>
              </a:solidFill>
              <a:ln w="3175" cap="flat" cmpd="sng" algn="ctr">
                <a:noFill/>
                <a:prstDash val="solid"/>
                <a:miter lim="800000"/>
                <a:headEnd type="none" w="med" len="med"/>
                <a:tailEnd type="none" w="med" len="med"/>
              </a:ln>
              <a:effectLst/>
            </p:spPr>
            <p:txBody>
              <a:bodyPr vert="horz" wrap="square" lIns="0" tIns="43716" rIns="0" bIns="43716" numCol="1" rtlCol="0" anchor="ctr" anchorCtr="0" compatLnSpc="1">
                <a:prstTxWarp prst="textNoShape">
                  <a:avLst/>
                </a:prstTxWarp>
              </a:bodyPr>
              <a:lstStyle/>
              <a:p>
                <a:pPr algn="ctr" defTabSz="874064" fontAlgn="base">
                  <a:spcBef>
                    <a:spcPct val="0"/>
                  </a:spcBef>
                  <a:spcAft>
                    <a:spcPct val="0"/>
                  </a:spcAft>
                  <a:defRPr/>
                </a:pPr>
                <a:endParaRPr lang="en-US" sz="1875" kern="0" dirty="0">
                  <a:gradFill>
                    <a:gsLst>
                      <a:gs pos="0">
                        <a:srgbClr val="FFFFFF"/>
                      </a:gs>
                      <a:gs pos="100000">
                        <a:srgbClr val="FFFFFF"/>
                      </a:gs>
                    </a:gsLst>
                    <a:lin ang="5400000" scaled="0"/>
                  </a:gradFill>
                  <a:latin typeface="Segoe UI"/>
                </a:endParaRPr>
              </a:p>
            </p:txBody>
          </p:sp>
          <p:sp>
            <p:nvSpPr>
              <p:cNvPr id="129" name="Oval 128"/>
              <p:cNvSpPr/>
              <p:nvPr/>
            </p:nvSpPr>
            <p:spPr bwMode="auto">
              <a:xfrm>
                <a:off x="5204244" y="5840445"/>
                <a:ext cx="220322" cy="220322"/>
              </a:xfrm>
              <a:prstGeom prst="ellipse">
                <a:avLst/>
              </a:prstGeom>
              <a:noFill/>
              <a:ln w="38100" cap="flat" cmpd="sng" algn="ctr">
                <a:solidFill>
                  <a:schemeClr val="accent1"/>
                </a:solidFill>
                <a:prstDash val="solid"/>
                <a:miter lim="800000"/>
                <a:headEnd type="none" w="med" len="med"/>
                <a:tailEnd type="none" w="med" len="med"/>
              </a:ln>
              <a:effectLst/>
            </p:spPr>
            <p:txBody>
              <a:bodyPr vert="horz" wrap="square" lIns="0" tIns="43716" rIns="0" bIns="43716" numCol="1" rtlCol="0" anchor="ctr" anchorCtr="0" compatLnSpc="1">
                <a:prstTxWarp prst="textNoShape">
                  <a:avLst/>
                </a:prstTxWarp>
              </a:bodyPr>
              <a:lstStyle/>
              <a:p>
                <a:pPr algn="ctr" defTabSz="874064" fontAlgn="base">
                  <a:spcBef>
                    <a:spcPct val="0"/>
                  </a:spcBef>
                  <a:spcAft>
                    <a:spcPct val="0"/>
                  </a:spcAft>
                  <a:defRPr/>
                </a:pPr>
                <a:endParaRPr lang="en-US" sz="1875" kern="0" dirty="0">
                  <a:gradFill>
                    <a:gsLst>
                      <a:gs pos="0">
                        <a:srgbClr val="FFFFFF"/>
                      </a:gs>
                      <a:gs pos="100000">
                        <a:srgbClr val="FFFFFF"/>
                      </a:gs>
                    </a:gsLst>
                    <a:lin ang="5400000" scaled="0"/>
                  </a:gradFill>
                  <a:latin typeface="Segoe UI"/>
                </a:endParaRPr>
              </a:p>
            </p:txBody>
          </p:sp>
        </p:grpSp>
        <p:sp>
          <p:nvSpPr>
            <p:cNvPr id="120" name="TextBox 119"/>
            <p:cNvSpPr txBox="1"/>
            <p:nvPr/>
          </p:nvSpPr>
          <p:spPr>
            <a:xfrm>
              <a:off x="4536517" y="7398964"/>
              <a:ext cx="645052" cy="536762"/>
            </a:xfrm>
            <a:prstGeom prst="rect">
              <a:avLst/>
            </a:prstGeom>
            <a:noFill/>
          </p:spPr>
          <p:txBody>
            <a:bodyPr wrap="none" lIns="0" rtlCol="0">
              <a:spAutoFit/>
            </a:bodyPr>
            <a:lstStyle/>
            <a:p>
              <a:pPr algn="ctr">
                <a:defRPr/>
              </a:pPr>
              <a:r>
                <a:rPr lang="en-US" sz="1004" dirty="0">
                  <a:solidFill>
                    <a:srgbClr val="0078D7"/>
                  </a:solidFill>
                  <a:latin typeface="Segoe UI Semibold" panose="020B0702040204020203" pitchFamily="34" charset="0"/>
                  <a:cs typeface="Segoe UI Semibold" panose="020B0702040204020203" pitchFamily="34" charset="0"/>
                </a:rPr>
                <a:t>Key-value</a:t>
              </a:r>
            </a:p>
          </p:txBody>
        </p:sp>
      </p:grpSp>
      <p:sp>
        <p:nvSpPr>
          <p:cNvPr id="84" name="Title 10"/>
          <p:cNvSpPr>
            <a:spLocks noGrp="1"/>
          </p:cNvSpPr>
          <p:nvPr>
            <p:ph type="title"/>
          </p:nvPr>
        </p:nvSpPr>
        <p:spPr>
          <a:xfrm>
            <a:off x="566600" y="283716"/>
            <a:ext cx="11132341" cy="877351"/>
          </a:xfrm>
        </p:spPr>
        <p:txBody>
          <a:bodyPr>
            <a:noAutofit/>
          </a:bodyPr>
          <a:lstStyle/>
          <a:p>
            <a:pPr algn="ctr"/>
            <a:r>
              <a:rPr lang="en-US" dirty="0">
                <a:solidFill>
                  <a:schemeClr val="accent1"/>
                </a:solidFill>
              </a:rPr>
              <a:t>Azure Cosmos DB</a:t>
            </a:r>
            <a:br>
              <a:rPr lang="en-US" dirty="0">
                <a:solidFill>
                  <a:schemeClr val="accent1"/>
                </a:solidFill>
              </a:rPr>
            </a:br>
            <a:r>
              <a:rPr lang="en-US" sz="2295" dirty="0">
                <a:solidFill>
                  <a:schemeClr val="accent1"/>
                </a:solidFill>
              </a:rPr>
              <a:t>A globally distributed, massively scalable, multi-model database service</a:t>
            </a:r>
          </a:p>
        </p:txBody>
      </p:sp>
      <p:sp>
        <p:nvSpPr>
          <p:cNvPr id="82" name="Freeform: Shape 81">
            <a:extLst>
              <a:ext uri="{FF2B5EF4-FFF2-40B4-BE49-F238E27FC236}">
                <a16:creationId xmlns:a16="http://schemas.microsoft.com/office/drawing/2014/main" id="{E3BC5004-545A-408F-A807-CC56FD5B1E43}"/>
              </a:ext>
            </a:extLst>
          </p:cNvPr>
          <p:cNvSpPr/>
          <p:nvPr/>
        </p:nvSpPr>
        <p:spPr>
          <a:xfrm>
            <a:off x="1614912" y="2998307"/>
            <a:ext cx="640499" cy="296097"/>
          </a:xfrm>
          <a:custGeom>
            <a:avLst/>
            <a:gdLst>
              <a:gd name="connsiteX0" fmla="*/ 333618 w 531187"/>
              <a:gd name="connsiteY0" fmla="*/ 682320 h 835576"/>
              <a:gd name="connsiteX1" fmla="*/ 303480 w 531187"/>
              <a:gd name="connsiteY1" fmla="*/ 696608 h 835576"/>
              <a:gd name="connsiteX2" fmla="*/ 292318 w 531187"/>
              <a:gd name="connsiteY2" fmla="*/ 734224 h 835576"/>
              <a:gd name="connsiteX3" fmla="*/ 303480 w 531187"/>
              <a:gd name="connsiteY3" fmla="*/ 771840 h 835576"/>
              <a:gd name="connsiteX4" fmla="*/ 332725 w 531187"/>
              <a:gd name="connsiteY4" fmla="*/ 785681 h 835576"/>
              <a:gd name="connsiteX5" fmla="*/ 362305 w 531187"/>
              <a:gd name="connsiteY5" fmla="*/ 772287 h 835576"/>
              <a:gd name="connsiteX6" fmla="*/ 373243 w 531187"/>
              <a:gd name="connsiteY6" fmla="*/ 734894 h 835576"/>
              <a:gd name="connsiteX7" fmla="*/ 362639 w 531187"/>
              <a:gd name="connsiteY7" fmla="*/ 696161 h 835576"/>
              <a:gd name="connsiteX8" fmla="*/ 333618 w 531187"/>
              <a:gd name="connsiteY8" fmla="*/ 682320 h 835576"/>
              <a:gd name="connsiteX9" fmla="*/ 435863 w 531187"/>
              <a:gd name="connsiteY9" fmla="*/ 653968 h 835576"/>
              <a:gd name="connsiteX10" fmla="*/ 471917 w 531187"/>
              <a:gd name="connsiteY10" fmla="*/ 653968 h 835576"/>
              <a:gd name="connsiteX11" fmla="*/ 471917 w 531187"/>
              <a:gd name="connsiteY11" fmla="*/ 784788 h 835576"/>
              <a:gd name="connsiteX12" fmla="*/ 531187 w 531187"/>
              <a:gd name="connsiteY12" fmla="*/ 784788 h 835576"/>
              <a:gd name="connsiteX13" fmla="*/ 531187 w 531187"/>
              <a:gd name="connsiteY13" fmla="*/ 814033 h 835576"/>
              <a:gd name="connsiteX14" fmla="*/ 435863 w 531187"/>
              <a:gd name="connsiteY14" fmla="*/ 814033 h 835576"/>
              <a:gd name="connsiteX15" fmla="*/ 435863 w 531187"/>
              <a:gd name="connsiteY15" fmla="*/ 653968 h 835576"/>
              <a:gd name="connsiteX16" fmla="*/ 334623 w 531187"/>
              <a:gd name="connsiteY16" fmla="*/ 651290 h 835576"/>
              <a:gd name="connsiteX17" fmla="*/ 389987 w 531187"/>
              <a:gd name="connsiteY17" fmla="*/ 673725 h 835576"/>
              <a:gd name="connsiteX18" fmla="*/ 411195 w 531187"/>
              <a:gd name="connsiteY18" fmla="*/ 732885 h 835576"/>
              <a:gd name="connsiteX19" fmla="*/ 389205 w 531187"/>
              <a:gd name="connsiteY19" fmla="*/ 793718 h 835576"/>
              <a:gd name="connsiteX20" fmla="*/ 387754 w 531187"/>
              <a:gd name="connsiteY20" fmla="*/ 795225 h 835576"/>
              <a:gd name="connsiteX21" fmla="*/ 386303 w 531187"/>
              <a:gd name="connsiteY21" fmla="*/ 796620 h 835576"/>
              <a:gd name="connsiteX22" fmla="*/ 426822 w 531187"/>
              <a:gd name="connsiteY22" fmla="*/ 835576 h 835576"/>
              <a:gd name="connsiteX23" fmla="*/ 376369 w 531187"/>
              <a:gd name="connsiteY23" fmla="*/ 835576 h 835576"/>
              <a:gd name="connsiteX24" fmla="*/ 355161 w 531187"/>
              <a:gd name="connsiteY24" fmla="*/ 814033 h 835576"/>
              <a:gd name="connsiteX25" fmla="*/ 332055 w 531187"/>
              <a:gd name="connsiteY25" fmla="*/ 816824 h 835576"/>
              <a:gd name="connsiteX26" fmla="*/ 276021 w 531187"/>
              <a:gd name="connsiteY26" fmla="*/ 794499 h 835576"/>
              <a:gd name="connsiteX27" fmla="*/ 254367 w 531187"/>
              <a:gd name="connsiteY27" fmla="*/ 736122 h 835576"/>
              <a:gd name="connsiteX28" fmla="*/ 276356 w 531187"/>
              <a:gd name="connsiteY28" fmla="*/ 674730 h 835576"/>
              <a:gd name="connsiteX29" fmla="*/ 334623 w 531187"/>
              <a:gd name="connsiteY29" fmla="*/ 651290 h 835576"/>
              <a:gd name="connsiteX30" fmla="*/ 195394 w 531187"/>
              <a:gd name="connsiteY30" fmla="*/ 651290 h 835576"/>
              <a:gd name="connsiteX31" fmla="*/ 217551 w 531187"/>
              <a:gd name="connsiteY31" fmla="*/ 652796 h 835576"/>
              <a:gd name="connsiteX32" fmla="*/ 235354 w 531187"/>
              <a:gd name="connsiteY32" fmla="*/ 657429 h 835576"/>
              <a:gd name="connsiteX33" fmla="*/ 235354 w 531187"/>
              <a:gd name="connsiteY33" fmla="*/ 690803 h 835576"/>
              <a:gd name="connsiteX34" fmla="*/ 226592 w 531187"/>
              <a:gd name="connsiteY34" fmla="*/ 685892 h 835576"/>
              <a:gd name="connsiteX35" fmla="*/ 216825 w 531187"/>
              <a:gd name="connsiteY35" fmla="*/ 682376 h 835576"/>
              <a:gd name="connsiteX36" fmla="*/ 206835 w 531187"/>
              <a:gd name="connsiteY36" fmla="*/ 680311 h 835576"/>
              <a:gd name="connsiteX37" fmla="*/ 197403 w 531187"/>
              <a:gd name="connsiteY37" fmla="*/ 679641 h 835576"/>
              <a:gd name="connsiteX38" fmla="*/ 186241 w 531187"/>
              <a:gd name="connsiteY38" fmla="*/ 680813 h 835576"/>
              <a:gd name="connsiteX39" fmla="*/ 177758 w 531187"/>
              <a:gd name="connsiteY39" fmla="*/ 684106 h 835576"/>
              <a:gd name="connsiteX40" fmla="*/ 172400 w 531187"/>
              <a:gd name="connsiteY40" fmla="*/ 689185 h 835576"/>
              <a:gd name="connsiteX41" fmla="*/ 170502 w 531187"/>
              <a:gd name="connsiteY41" fmla="*/ 695826 h 835576"/>
              <a:gd name="connsiteX42" fmla="*/ 172623 w 531187"/>
              <a:gd name="connsiteY42" fmla="*/ 703026 h 835576"/>
              <a:gd name="connsiteX43" fmla="*/ 178651 w 531187"/>
              <a:gd name="connsiteY43" fmla="*/ 709053 h 835576"/>
              <a:gd name="connsiteX44" fmla="*/ 188138 w 531187"/>
              <a:gd name="connsiteY44" fmla="*/ 714635 h 835576"/>
              <a:gd name="connsiteX45" fmla="*/ 200752 w 531187"/>
              <a:gd name="connsiteY45" fmla="*/ 720271 h 835576"/>
              <a:gd name="connsiteX46" fmla="*/ 217997 w 531187"/>
              <a:gd name="connsiteY46" fmla="*/ 728810 h 835576"/>
              <a:gd name="connsiteX47" fmla="*/ 231113 w 531187"/>
              <a:gd name="connsiteY47" fmla="*/ 739024 h 835576"/>
              <a:gd name="connsiteX48" fmla="*/ 239484 w 531187"/>
              <a:gd name="connsiteY48" fmla="*/ 752028 h 835576"/>
              <a:gd name="connsiteX49" fmla="*/ 242386 w 531187"/>
              <a:gd name="connsiteY49" fmla="*/ 769050 h 835576"/>
              <a:gd name="connsiteX50" fmla="*/ 237308 w 531187"/>
              <a:gd name="connsiteY50" fmla="*/ 791541 h 835576"/>
              <a:gd name="connsiteX51" fmla="*/ 223522 w 531187"/>
              <a:gd name="connsiteY51" fmla="*/ 806275 h 835576"/>
              <a:gd name="connsiteX52" fmla="*/ 203263 w 531187"/>
              <a:gd name="connsiteY52" fmla="*/ 814368 h 835576"/>
              <a:gd name="connsiteX53" fmla="*/ 178874 w 531187"/>
              <a:gd name="connsiteY53" fmla="*/ 816824 h 835576"/>
              <a:gd name="connsiteX54" fmla="*/ 153815 w 531187"/>
              <a:gd name="connsiteY54" fmla="*/ 814591 h 835576"/>
              <a:gd name="connsiteX55" fmla="*/ 133221 w 531187"/>
              <a:gd name="connsiteY55" fmla="*/ 807894 h 835576"/>
              <a:gd name="connsiteX56" fmla="*/ 133221 w 531187"/>
              <a:gd name="connsiteY56" fmla="*/ 772175 h 835576"/>
              <a:gd name="connsiteX57" fmla="*/ 154317 w 531187"/>
              <a:gd name="connsiteY57" fmla="*/ 784398 h 835576"/>
              <a:gd name="connsiteX58" fmla="*/ 177311 w 531187"/>
              <a:gd name="connsiteY58" fmla="*/ 788472 h 835576"/>
              <a:gd name="connsiteX59" fmla="*/ 189199 w 531187"/>
              <a:gd name="connsiteY59" fmla="*/ 787244 h 835576"/>
              <a:gd name="connsiteX60" fmla="*/ 197682 w 531187"/>
              <a:gd name="connsiteY60" fmla="*/ 783840 h 835576"/>
              <a:gd name="connsiteX61" fmla="*/ 202761 w 531187"/>
              <a:gd name="connsiteY61" fmla="*/ 778705 h 835576"/>
              <a:gd name="connsiteX62" fmla="*/ 204435 w 531187"/>
              <a:gd name="connsiteY62" fmla="*/ 772287 h 835576"/>
              <a:gd name="connsiteX63" fmla="*/ 201756 w 531187"/>
              <a:gd name="connsiteY63" fmla="*/ 763915 h 835576"/>
              <a:gd name="connsiteX64" fmla="*/ 194445 w 531187"/>
              <a:gd name="connsiteY64" fmla="*/ 757106 h 835576"/>
              <a:gd name="connsiteX65" fmla="*/ 183450 w 531187"/>
              <a:gd name="connsiteY65" fmla="*/ 751079 h 835576"/>
              <a:gd name="connsiteX66" fmla="*/ 169721 w 531187"/>
              <a:gd name="connsiteY66" fmla="*/ 745163 h 835576"/>
              <a:gd name="connsiteX67" fmla="*/ 141760 w 531187"/>
              <a:gd name="connsiteY67" fmla="*/ 726076 h 835576"/>
              <a:gd name="connsiteX68" fmla="*/ 132551 w 531187"/>
              <a:gd name="connsiteY68" fmla="*/ 698840 h 835576"/>
              <a:gd name="connsiteX69" fmla="*/ 137574 w 531187"/>
              <a:gd name="connsiteY69" fmla="*/ 677353 h 835576"/>
              <a:gd name="connsiteX70" fmla="*/ 151248 w 531187"/>
              <a:gd name="connsiteY70" fmla="*/ 662563 h 835576"/>
              <a:gd name="connsiteX71" fmla="*/ 171284 w 531187"/>
              <a:gd name="connsiteY71" fmla="*/ 654024 h 835576"/>
              <a:gd name="connsiteX72" fmla="*/ 195394 w 531187"/>
              <a:gd name="connsiteY72" fmla="*/ 651290 h 835576"/>
              <a:gd name="connsiteX73" fmla="*/ 0 w 531187"/>
              <a:gd name="connsiteY73" fmla="*/ 0 h 835576"/>
              <a:gd name="connsiteX74" fmla="*/ 248557 w 531187"/>
              <a:gd name="connsiteY74" fmla="*/ 591457 h 835576"/>
              <a:gd name="connsiteX75" fmla="*/ 0 w 531187"/>
              <a:gd name="connsiteY75" fmla="*/ 0 h 835576"/>
              <a:gd name="connsiteX0" fmla="*/ 201067 w 398636"/>
              <a:gd name="connsiteY0" fmla="*/ 31030 h 184286"/>
              <a:gd name="connsiteX1" fmla="*/ 170929 w 398636"/>
              <a:gd name="connsiteY1" fmla="*/ 45318 h 184286"/>
              <a:gd name="connsiteX2" fmla="*/ 159767 w 398636"/>
              <a:gd name="connsiteY2" fmla="*/ 82934 h 184286"/>
              <a:gd name="connsiteX3" fmla="*/ 170929 w 398636"/>
              <a:gd name="connsiteY3" fmla="*/ 120550 h 184286"/>
              <a:gd name="connsiteX4" fmla="*/ 200174 w 398636"/>
              <a:gd name="connsiteY4" fmla="*/ 134391 h 184286"/>
              <a:gd name="connsiteX5" fmla="*/ 229754 w 398636"/>
              <a:gd name="connsiteY5" fmla="*/ 120997 h 184286"/>
              <a:gd name="connsiteX6" fmla="*/ 240692 w 398636"/>
              <a:gd name="connsiteY6" fmla="*/ 83604 h 184286"/>
              <a:gd name="connsiteX7" fmla="*/ 230088 w 398636"/>
              <a:gd name="connsiteY7" fmla="*/ 44871 h 184286"/>
              <a:gd name="connsiteX8" fmla="*/ 201067 w 398636"/>
              <a:gd name="connsiteY8" fmla="*/ 31030 h 184286"/>
              <a:gd name="connsiteX9" fmla="*/ 303312 w 398636"/>
              <a:gd name="connsiteY9" fmla="*/ 2678 h 184286"/>
              <a:gd name="connsiteX10" fmla="*/ 339366 w 398636"/>
              <a:gd name="connsiteY10" fmla="*/ 2678 h 184286"/>
              <a:gd name="connsiteX11" fmla="*/ 339366 w 398636"/>
              <a:gd name="connsiteY11" fmla="*/ 133498 h 184286"/>
              <a:gd name="connsiteX12" fmla="*/ 398636 w 398636"/>
              <a:gd name="connsiteY12" fmla="*/ 133498 h 184286"/>
              <a:gd name="connsiteX13" fmla="*/ 398636 w 398636"/>
              <a:gd name="connsiteY13" fmla="*/ 162743 h 184286"/>
              <a:gd name="connsiteX14" fmla="*/ 303312 w 398636"/>
              <a:gd name="connsiteY14" fmla="*/ 162743 h 184286"/>
              <a:gd name="connsiteX15" fmla="*/ 303312 w 398636"/>
              <a:gd name="connsiteY15" fmla="*/ 2678 h 184286"/>
              <a:gd name="connsiteX16" fmla="*/ 202072 w 398636"/>
              <a:gd name="connsiteY16" fmla="*/ 0 h 184286"/>
              <a:gd name="connsiteX17" fmla="*/ 257436 w 398636"/>
              <a:gd name="connsiteY17" fmla="*/ 22435 h 184286"/>
              <a:gd name="connsiteX18" fmla="*/ 278644 w 398636"/>
              <a:gd name="connsiteY18" fmla="*/ 81595 h 184286"/>
              <a:gd name="connsiteX19" fmla="*/ 256654 w 398636"/>
              <a:gd name="connsiteY19" fmla="*/ 142428 h 184286"/>
              <a:gd name="connsiteX20" fmla="*/ 255203 w 398636"/>
              <a:gd name="connsiteY20" fmla="*/ 143935 h 184286"/>
              <a:gd name="connsiteX21" fmla="*/ 253752 w 398636"/>
              <a:gd name="connsiteY21" fmla="*/ 145330 h 184286"/>
              <a:gd name="connsiteX22" fmla="*/ 294271 w 398636"/>
              <a:gd name="connsiteY22" fmla="*/ 184286 h 184286"/>
              <a:gd name="connsiteX23" fmla="*/ 243818 w 398636"/>
              <a:gd name="connsiteY23" fmla="*/ 184286 h 184286"/>
              <a:gd name="connsiteX24" fmla="*/ 222610 w 398636"/>
              <a:gd name="connsiteY24" fmla="*/ 162743 h 184286"/>
              <a:gd name="connsiteX25" fmla="*/ 199504 w 398636"/>
              <a:gd name="connsiteY25" fmla="*/ 165534 h 184286"/>
              <a:gd name="connsiteX26" fmla="*/ 143470 w 398636"/>
              <a:gd name="connsiteY26" fmla="*/ 143209 h 184286"/>
              <a:gd name="connsiteX27" fmla="*/ 121816 w 398636"/>
              <a:gd name="connsiteY27" fmla="*/ 84832 h 184286"/>
              <a:gd name="connsiteX28" fmla="*/ 143805 w 398636"/>
              <a:gd name="connsiteY28" fmla="*/ 23440 h 184286"/>
              <a:gd name="connsiteX29" fmla="*/ 202072 w 398636"/>
              <a:gd name="connsiteY29" fmla="*/ 0 h 184286"/>
              <a:gd name="connsiteX30" fmla="*/ 62843 w 398636"/>
              <a:gd name="connsiteY30" fmla="*/ 0 h 184286"/>
              <a:gd name="connsiteX31" fmla="*/ 85000 w 398636"/>
              <a:gd name="connsiteY31" fmla="*/ 1506 h 184286"/>
              <a:gd name="connsiteX32" fmla="*/ 102803 w 398636"/>
              <a:gd name="connsiteY32" fmla="*/ 6139 h 184286"/>
              <a:gd name="connsiteX33" fmla="*/ 102803 w 398636"/>
              <a:gd name="connsiteY33" fmla="*/ 39513 h 184286"/>
              <a:gd name="connsiteX34" fmla="*/ 94041 w 398636"/>
              <a:gd name="connsiteY34" fmla="*/ 34602 h 184286"/>
              <a:gd name="connsiteX35" fmla="*/ 84274 w 398636"/>
              <a:gd name="connsiteY35" fmla="*/ 31086 h 184286"/>
              <a:gd name="connsiteX36" fmla="*/ 74284 w 398636"/>
              <a:gd name="connsiteY36" fmla="*/ 29021 h 184286"/>
              <a:gd name="connsiteX37" fmla="*/ 64852 w 398636"/>
              <a:gd name="connsiteY37" fmla="*/ 28351 h 184286"/>
              <a:gd name="connsiteX38" fmla="*/ 53690 w 398636"/>
              <a:gd name="connsiteY38" fmla="*/ 29523 h 184286"/>
              <a:gd name="connsiteX39" fmla="*/ 45207 w 398636"/>
              <a:gd name="connsiteY39" fmla="*/ 32816 h 184286"/>
              <a:gd name="connsiteX40" fmla="*/ 39849 w 398636"/>
              <a:gd name="connsiteY40" fmla="*/ 37895 h 184286"/>
              <a:gd name="connsiteX41" fmla="*/ 37951 w 398636"/>
              <a:gd name="connsiteY41" fmla="*/ 44536 h 184286"/>
              <a:gd name="connsiteX42" fmla="*/ 40072 w 398636"/>
              <a:gd name="connsiteY42" fmla="*/ 51736 h 184286"/>
              <a:gd name="connsiteX43" fmla="*/ 46100 w 398636"/>
              <a:gd name="connsiteY43" fmla="*/ 57763 h 184286"/>
              <a:gd name="connsiteX44" fmla="*/ 55587 w 398636"/>
              <a:gd name="connsiteY44" fmla="*/ 63345 h 184286"/>
              <a:gd name="connsiteX45" fmla="*/ 68201 w 398636"/>
              <a:gd name="connsiteY45" fmla="*/ 68981 h 184286"/>
              <a:gd name="connsiteX46" fmla="*/ 85446 w 398636"/>
              <a:gd name="connsiteY46" fmla="*/ 77520 h 184286"/>
              <a:gd name="connsiteX47" fmla="*/ 98562 w 398636"/>
              <a:gd name="connsiteY47" fmla="*/ 87734 h 184286"/>
              <a:gd name="connsiteX48" fmla="*/ 106933 w 398636"/>
              <a:gd name="connsiteY48" fmla="*/ 100738 h 184286"/>
              <a:gd name="connsiteX49" fmla="*/ 109835 w 398636"/>
              <a:gd name="connsiteY49" fmla="*/ 117760 h 184286"/>
              <a:gd name="connsiteX50" fmla="*/ 104757 w 398636"/>
              <a:gd name="connsiteY50" fmla="*/ 140251 h 184286"/>
              <a:gd name="connsiteX51" fmla="*/ 90971 w 398636"/>
              <a:gd name="connsiteY51" fmla="*/ 154985 h 184286"/>
              <a:gd name="connsiteX52" fmla="*/ 70712 w 398636"/>
              <a:gd name="connsiteY52" fmla="*/ 163078 h 184286"/>
              <a:gd name="connsiteX53" fmla="*/ 46323 w 398636"/>
              <a:gd name="connsiteY53" fmla="*/ 165534 h 184286"/>
              <a:gd name="connsiteX54" fmla="*/ 21264 w 398636"/>
              <a:gd name="connsiteY54" fmla="*/ 163301 h 184286"/>
              <a:gd name="connsiteX55" fmla="*/ 670 w 398636"/>
              <a:gd name="connsiteY55" fmla="*/ 156604 h 184286"/>
              <a:gd name="connsiteX56" fmla="*/ 670 w 398636"/>
              <a:gd name="connsiteY56" fmla="*/ 120885 h 184286"/>
              <a:gd name="connsiteX57" fmla="*/ 21766 w 398636"/>
              <a:gd name="connsiteY57" fmla="*/ 133108 h 184286"/>
              <a:gd name="connsiteX58" fmla="*/ 44760 w 398636"/>
              <a:gd name="connsiteY58" fmla="*/ 137182 h 184286"/>
              <a:gd name="connsiteX59" fmla="*/ 56648 w 398636"/>
              <a:gd name="connsiteY59" fmla="*/ 135954 h 184286"/>
              <a:gd name="connsiteX60" fmla="*/ 65131 w 398636"/>
              <a:gd name="connsiteY60" fmla="*/ 132550 h 184286"/>
              <a:gd name="connsiteX61" fmla="*/ 70210 w 398636"/>
              <a:gd name="connsiteY61" fmla="*/ 127415 h 184286"/>
              <a:gd name="connsiteX62" fmla="*/ 71884 w 398636"/>
              <a:gd name="connsiteY62" fmla="*/ 120997 h 184286"/>
              <a:gd name="connsiteX63" fmla="*/ 69205 w 398636"/>
              <a:gd name="connsiteY63" fmla="*/ 112625 h 184286"/>
              <a:gd name="connsiteX64" fmla="*/ 61894 w 398636"/>
              <a:gd name="connsiteY64" fmla="*/ 105816 h 184286"/>
              <a:gd name="connsiteX65" fmla="*/ 50899 w 398636"/>
              <a:gd name="connsiteY65" fmla="*/ 99789 h 184286"/>
              <a:gd name="connsiteX66" fmla="*/ 37170 w 398636"/>
              <a:gd name="connsiteY66" fmla="*/ 93873 h 184286"/>
              <a:gd name="connsiteX67" fmla="*/ 9209 w 398636"/>
              <a:gd name="connsiteY67" fmla="*/ 74786 h 184286"/>
              <a:gd name="connsiteX68" fmla="*/ 0 w 398636"/>
              <a:gd name="connsiteY68" fmla="*/ 47550 h 184286"/>
              <a:gd name="connsiteX69" fmla="*/ 5023 w 398636"/>
              <a:gd name="connsiteY69" fmla="*/ 26063 h 184286"/>
              <a:gd name="connsiteX70" fmla="*/ 18697 w 398636"/>
              <a:gd name="connsiteY70" fmla="*/ 11273 h 184286"/>
              <a:gd name="connsiteX71" fmla="*/ 38733 w 398636"/>
              <a:gd name="connsiteY71" fmla="*/ 2734 h 184286"/>
              <a:gd name="connsiteX72" fmla="*/ 62843 w 398636"/>
              <a:gd name="connsiteY72" fmla="*/ 0 h 184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Lst>
            <a:rect l="l" t="t" r="r" b="b"/>
            <a:pathLst>
              <a:path w="398636" h="184286">
                <a:moveTo>
                  <a:pt x="201067" y="31030"/>
                </a:moveTo>
                <a:cubicBezTo>
                  <a:pt x="188491" y="31030"/>
                  <a:pt x="178445" y="35793"/>
                  <a:pt x="170929" y="45318"/>
                </a:cubicBezTo>
                <a:cubicBezTo>
                  <a:pt x="163488" y="54768"/>
                  <a:pt x="159767" y="67307"/>
                  <a:pt x="159767" y="82934"/>
                </a:cubicBezTo>
                <a:cubicBezTo>
                  <a:pt x="159767" y="98784"/>
                  <a:pt x="163488" y="111323"/>
                  <a:pt x="170929" y="120550"/>
                </a:cubicBezTo>
                <a:cubicBezTo>
                  <a:pt x="178371" y="129778"/>
                  <a:pt x="188119" y="134391"/>
                  <a:pt x="200174" y="134391"/>
                </a:cubicBezTo>
                <a:cubicBezTo>
                  <a:pt x="212601" y="134391"/>
                  <a:pt x="222461" y="129927"/>
                  <a:pt x="229754" y="120997"/>
                </a:cubicBezTo>
                <a:cubicBezTo>
                  <a:pt x="237046" y="111918"/>
                  <a:pt x="240692" y="99454"/>
                  <a:pt x="240692" y="83604"/>
                </a:cubicBezTo>
                <a:cubicBezTo>
                  <a:pt x="240692" y="67084"/>
                  <a:pt x="237158" y="54173"/>
                  <a:pt x="230088" y="44871"/>
                </a:cubicBezTo>
                <a:cubicBezTo>
                  <a:pt x="223094" y="35644"/>
                  <a:pt x="213420" y="31030"/>
                  <a:pt x="201067" y="31030"/>
                </a:cubicBezTo>
                <a:close/>
                <a:moveTo>
                  <a:pt x="303312" y="2678"/>
                </a:moveTo>
                <a:lnTo>
                  <a:pt x="339366" y="2678"/>
                </a:lnTo>
                <a:lnTo>
                  <a:pt x="339366" y="133498"/>
                </a:lnTo>
                <a:lnTo>
                  <a:pt x="398636" y="133498"/>
                </a:lnTo>
                <a:lnTo>
                  <a:pt x="398636" y="162743"/>
                </a:lnTo>
                <a:lnTo>
                  <a:pt x="303312" y="162743"/>
                </a:lnTo>
                <a:lnTo>
                  <a:pt x="303312" y="2678"/>
                </a:lnTo>
                <a:close/>
                <a:moveTo>
                  <a:pt x="202072" y="0"/>
                </a:moveTo>
                <a:cubicBezTo>
                  <a:pt x="224917" y="0"/>
                  <a:pt x="243371" y="7478"/>
                  <a:pt x="257436" y="22435"/>
                </a:cubicBezTo>
                <a:cubicBezTo>
                  <a:pt x="271574" y="37318"/>
                  <a:pt x="278644" y="57038"/>
                  <a:pt x="278644" y="81595"/>
                </a:cubicBezTo>
                <a:cubicBezTo>
                  <a:pt x="278644" y="106672"/>
                  <a:pt x="271314" y="126950"/>
                  <a:pt x="256654" y="142428"/>
                </a:cubicBezTo>
                <a:cubicBezTo>
                  <a:pt x="256133" y="142949"/>
                  <a:pt x="255650" y="143451"/>
                  <a:pt x="255203" y="143935"/>
                </a:cubicBezTo>
                <a:cubicBezTo>
                  <a:pt x="254757" y="144419"/>
                  <a:pt x="254273" y="144884"/>
                  <a:pt x="253752" y="145330"/>
                </a:cubicBezTo>
                <a:lnTo>
                  <a:pt x="294271" y="184286"/>
                </a:lnTo>
                <a:lnTo>
                  <a:pt x="243818" y="184286"/>
                </a:lnTo>
                <a:lnTo>
                  <a:pt x="222610" y="162743"/>
                </a:lnTo>
                <a:cubicBezTo>
                  <a:pt x="215615" y="164603"/>
                  <a:pt x="207913" y="165534"/>
                  <a:pt x="199504" y="165534"/>
                </a:cubicBezTo>
                <a:cubicBezTo>
                  <a:pt x="176585" y="165534"/>
                  <a:pt x="157907" y="158092"/>
                  <a:pt x="143470" y="143209"/>
                </a:cubicBezTo>
                <a:cubicBezTo>
                  <a:pt x="129034" y="128178"/>
                  <a:pt x="121816" y="108719"/>
                  <a:pt x="121816" y="84832"/>
                </a:cubicBezTo>
                <a:cubicBezTo>
                  <a:pt x="121816" y="59605"/>
                  <a:pt x="129146" y="39141"/>
                  <a:pt x="143805" y="23440"/>
                </a:cubicBezTo>
                <a:cubicBezTo>
                  <a:pt x="158391" y="7813"/>
                  <a:pt x="177813" y="0"/>
                  <a:pt x="202072" y="0"/>
                </a:cubicBezTo>
                <a:close/>
                <a:moveTo>
                  <a:pt x="62843" y="0"/>
                </a:moveTo>
                <a:cubicBezTo>
                  <a:pt x="71177" y="0"/>
                  <a:pt x="78563" y="502"/>
                  <a:pt x="85000" y="1506"/>
                </a:cubicBezTo>
                <a:cubicBezTo>
                  <a:pt x="91436" y="2511"/>
                  <a:pt x="97371" y="4055"/>
                  <a:pt x="102803" y="6139"/>
                </a:cubicBezTo>
                <a:lnTo>
                  <a:pt x="102803" y="39513"/>
                </a:lnTo>
                <a:cubicBezTo>
                  <a:pt x="100124" y="37653"/>
                  <a:pt x="97204" y="36016"/>
                  <a:pt x="94041" y="34602"/>
                </a:cubicBezTo>
                <a:cubicBezTo>
                  <a:pt x="90878" y="33188"/>
                  <a:pt x="87623" y="32016"/>
                  <a:pt x="84274" y="31086"/>
                </a:cubicBezTo>
                <a:cubicBezTo>
                  <a:pt x="80925" y="30156"/>
                  <a:pt x="77595" y="29468"/>
                  <a:pt x="74284" y="29021"/>
                </a:cubicBezTo>
                <a:cubicBezTo>
                  <a:pt x="70973" y="28575"/>
                  <a:pt x="67829" y="28351"/>
                  <a:pt x="64852" y="28351"/>
                </a:cubicBezTo>
                <a:cubicBezTo>
                  <a:pt x="60759" y="28351"/>
                  <a:pt x="57039" y="28742"/>
                  <a:pt x="53690" y="29523"/>
                </a:cubicBezTo>
                <a:cubicBezTo>
                  <a:pt x="50341" y="30305"/>
                  <a:pt x="47514" y="31402"/>
                  <a:pt x="45207" y="32816"/>
                </a:cubicBezTo>
                <a:cubicBezTo>
                  <a:pt x="42900" y="34230"/>
                  <a:pt x="41114" y="35923"/>
                  <a:pt x="39849" y="37895"/>
                </a:cubicBezTo>
                <a:cubicBezTo>
                  <a:pt x="38584" y="39867"/>
                  <a:pt x="37951" y="42081"/>
                  <a:pt x="37951" y="44536"/>
                </a:cubicBezTo>
                <a:cubicBezTo>
                  <a:pt x="37951" y="47215"/>
                  <a:pt x="38658" y="49615"/>
                  <a:pt x="40072" y="51736"/>
                </a:cubicBezTo>
                <a:cubicBezTo>
                  <a:pt x="41486" y="53857"/>
                  <a:pt x="43495" y="55866"/>
                  <a:pt x="46100" y="57763"/>
                </a:cubicBezTo>
                <a:cubicBezTo>
                  <a:pt x="48704" y="59661"/>
                  <a:pt x="51867" y="61521"/>
                  <a:pt x="55587" y="63345"/>
                </a:cubicBezTo>
                <a:cubicBezTo>
                  <a:pt x="59308" y="65168"/>
                  <a:pt x="63513" y="67047"/>
                  <a:pt x="68201" y="68981"/>
                </a:cubicBezTo>
                <a:cubicBezTo>
                  <a:pt x="74600" y="71660"/>
                  <a:pt x="80349" y="74507"/>
                  <a:pt x="85446" y="77520"/>
                </a:cubicBezTo>
                <a:cubicBezTo>
                  <a:pt x="90543" y="80534"/>
                  <a:pt x="94915" y="83939"/>
                  <a:pt x="98562" y="87734"/>
                </a:cubicBezTo>
                <a:cubicBezTo>
                  <a:pt x="102208" y="91529"/>
                  <a:pt x="104998" y="95863"/>
                  <a:pt x="106933" y="100738"/>
                </a:cubicBezTo>
                <a:cubicBezTo>
                  <a:pt x="108868" y="105612"/>
                  <a:pt x="109835" y="111286"/>
                  <a:pt x="109835" y="117760"/>
                </a:cubicBezTo>
                <a:cubicBezTo>
                  <a:pt x="109835" y="126690"/>
                  <a:pt x="108142" y="134187"/>
                  <a:pt x="104757" y="140251"/>
                </a:cubicBezTo>
                <a:cubicBezTo>
                  <a:pt x="101371" y="146316"/>
                  <a:pt x="96776" y="151228"/>
                  <a:pt x="90971" y="154985"/>
                </a:cubicBezTo>
                <a:cubicBezTo>
                  <a:pt x="85167" y="158743"/>
                  <a:pt x="78414" y="161441"/>
                  <a:pt x="70712" y="163078"/>
                </a:cubicBezTo>
                <a:cubicBezTo>
                  <a:pt x="63010" y="164715"/>
                  <a:pt x="54881" y="165534"/>
                  <a:pt x="46323" y="165534"/>
                </a:cubicBezTo>
                <a:cubicBezTo>
                  <a:pt x="37542" y="165534"/>
                  <a:pt x="29189" y="164790"/>
                  <a:pt x="21264" y="163301"/>
                </a:cubicBezTo>
                <a:cubicBezTo>
                  <a:pt x="13339" y="161813"/>
                  <a:pt x="6474" y="159581"/>
                  <a:pt x="670" y="156604"/>
                </a:cubicBezTo>
                <a:lnTo>
                  <a:pt x="670" y="120885"/>
                </a:lnTo>
                <a:cubicBezTo>
                  <a:pt x="7144" y="126317"/>
                  <a:pt x="14176" y="130392"/>
                  <a:pt x="21766" y="133108"/>
                </a:cubicBezTo>
                <a:cubicBezTo>
                  <a:pt x="29357" y="135824"/>
                  <a:pt x="37021" y="137182"/>
                  <a:pt x="44760" y="137182"/>
                </a:cubicBezTo>
                <a:cubicBezTo>
                  <a:pt x="49299" y="137182"/>
                  <a:pt x="53262" y="136773"/>
                  <a:pt x="56648" y="135954"/>
                </a:cubicBezTo>
                <a:cubicBezTo>
                  <a:pt x="60034" y="135136"/>
                  <a:pt x="62861" y="134001"/>
                  <a:pt x="65131" y="132550"/>
                </a:cubicBezTo>
                <a:cubicBezTo>
                  <a:pt x="67401" y="131099"/>
                  <a:pt x="69094" y="129387"/>
                  <a:pt x="70210" y="127415"/>
                </a:cubicBezTo>
                <a:cubicBezTo>
                  <a:pt x="71326" y="125443"/>
                  <a:pt x="71884" y="123304"/>
                  <a:pt x="71884" y="120997"/>
                </a:cubicBezTo>
                <a:cubicBezTo>
                  <a:pt x="71884" y="117871"/>
                  <a:pt x="70991" y="115081"/>
                  <a:pt x="69205" y="112625"/>
                </a:cubicBezTo>
                <a:cubicBezTo>
                  <a:pt x="67419" y="110170"/>
                  <a:pt x="64982" y="107900"/>
                  <a:pt x="61894" y="105816"/>
                </a:cubicBezTo>
                <a:cubicBezTo>
                  <a:pt x="58806" y="103733"/>
                  <a:pt x="55141" y="101724"/>
                  <a:pt x="50899" y="99789"/>
                </a:cubicBezTo>
                <a:cubicBezTo>
                  <a:pt x="46658" y="97854"/>
                  <a:pt x="42081" y="95882"/>
                  <a:pt x="37170" y="93873"/>
                </a:cubicBezTo>
                <a:cubicBezTo>
                  <a:pt x="24668" y="88664"/>
                  <a:pt x="15348" y="82302"/>
                  <a:pt x="9209" y="74786"/>
                </a:cubicBezTo>
                <a:cubicBezTo>
                  <a:pt x="3070" y="67270"/>
                  <a:pt x="0" y="58191"/>
                  <a:pt x="0" y="47550"/>
                </a:cubicBezTo>
                <a:cubicBezTo>
                  <a:pt x="0" y="39216"/>
                  <a:pt x="1674" y="32053"/>
                  <a:pt x="5023" y="26063"/>
                </a:cubicBezTo>
                <a:cubicBezTo>
                  <a:pt x="8372" y="20073"/>
                  <a:pt x="12930" y="15143"/>
                  <a:pt x="18697" y="11273"/>
                </a:cubicBezTo>
                <a:cubicBezTo>
                  <a:pt x="24464" y="7404"/>
                  <a:pt x="31142" y="4557"/>
                  <a:pt x="38733" y="2734"/>
                </a:cubicBezTo>
                <a:cubicBezTo>
                  <a:pt x="46323" y="911"/>
                  <a:pt x="54360" y="0"/>
                  <a:pt x="62843" y="0"/>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721" dirty="0">
              <a:solidFill>
                <a:srgbClr val="FFFFFF"/>
              </a:solidFill>
              <a:latin typeface="Segoe UI"/>
            </a:endParaRPr>
          </a:p>
        </p:txBody>
      </p:sp>
      <p:pic>
        <p:nvPicPr>
          <p:cNvPr id="83" name="Picture 2" descr="https://c2.staticflickr.com/4/3701/19224697601_d03ecccf71_o.png">
            <a:extLst>
              <a:ext uri="{FF2B5EF4-FFF2-40B4-BE49-F238E27FC236}">
                <a16:creationId xmlns:a16="http://schemas.microsoft.com/office/drawing/2014/main" id="{B6AA3347-D42A-45AB-9E2F-26C956B52698}"/>
              </a:ext>
            </a:extLst>
          </p:cNvPr>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13945" r="13945"/>
          <a:stretch/>
        </p:blipFill>
        <p:spPr bwMode="auto">
          <a:xfrm>
            <a:off x="10492161" y="2763393"/>
            <a:ext cx="529822" cy="734744"/>
          </a:xfrm>
          <a:prstGeom prst="rect">
            <a:avLst/>
          </a:prstGeom>
          <a:noFill/>
          <a:extLst>
            <a:ext uri="{909E8E84-426E-40DD-AFC4-6F175D3DCCD1}">
              <a14:hiddenFill xmlns:a14="http://schemas.microsoft.com/office/drawing/2010/main">
                <a:solidFill>
                  <a:srgbClr val="FFFFFF"/>
                </a:solidFill>
              </a14:hiddenFill>
            </a:ext>
          </a:extLst>
        </p:spPr>
      </p:pic>
      <p:sp>
        <p:nvSpPr>
          <p:cNvPr id="85" name="Freeform: Shape 28">
            <a:extLst>
              <a:ext uri="{FF2B5EF4-FFF2-40B4-BE49-F238E27FC236}">
                <a16:creationId xmlns:a16="http://schemas.microsoft.com/office/drawing/2014/main" id="{7C4CCB38-7A27-4504-966E-819BAF51A976}"/>
              </a:ext>
            </a:extLst>
          </p:cNvPr>
          <p:cNvSpPr/>
          <p:nvPr/>
        </p:nvSpPr>
        <p:spPr>
          <a:xfrm>
            <a:off x="5771691" y="2543673"/>
            <a:ext cx="691164" cy="595869"/>
          </a:xfrm>
          <a:custGeom>
            <a:avLst/>
            <a:gdLst>
              <a:gd name="connsiteX0" fmla="*/ 4283739 w 6912012"/>
              <a:gd name="connsiteY0" fmla="*/ 3558282 h 5959009"/>
              <a:gd name="connsiteX1" fmla="*/ 4283739 w 6912012"/>
              <a:gd name="connsiteY1" fmla="*/ 4359666 h 5959009"/>
              <a:gd name="connsiteX2" fmla="*/ 5085123 w 6912012"/>
              <a:gd name="connsiteY2" fmla="*/ 4359666 h 5959009"/>
              <a:gd name="connsiteX3" fmla="*/ 5085123 w 6912012"/>
              <a:gd name="connsiteY3" fmla="*/ 3558282 h 5959009"/>
              <a:gd name="connsiteX4" fmla="*/ 3285434 w 6912012"/>
              <a:gd name="connsiteY4" fmla="*/ 3558282 h 5959009"/>
              <a:gd name="connsiteX5" fmla="*/ 3285434 w 6912012"/>
              <a:gd name="connsiteY5" fmla="*/ 4359666 h 5959009"/>
              <a:gd name="connsiteX6" fmla="*/ 4086818 w 6912012"/>
              <a:gd name="connsiteY6" fmla="*/ 4359666 h 5959009"/>
              <a:gd name="connsiteX7" fmla="*/ 4086818 w 6912012"/>
              <a:gd name="connsiteY7" fmla="*/ 3558282 h 5959009"/>
              <a:gd name="connsiteX8" fmla="*/ 2287129 w 6912012"/>
              <a:gd name="connsiteY8" fmla="*/ 3558282 h 5959009"/>
              <a:gd name="connsiteX9" fmla="*/ 2287129 w 6912012"/>
              <a:gd name="connsiteY9" fmla="*/ 4359666 h 5959009"/>
              <a:gd name="connsiteX10" fmla="*/ 3088513 w 6912012"/>
              <a:gd name="connsiteY10" fmla="*/ 4359666 h 5959009"/>
              <a:gd name="connsiteX11" fmla="*/ 3088513 w 6912012"/>
              <a:gd name="connsiteY11" fmla="*/ 3558282 h 5959009"/>
              <a:gd name="connsiteX12" fmla="*/ 4283739 w 6912012"/>
              <a:gd name="connsiteY12" fmla="*/ 2561689 h 5959009"/>
              <a:gd name="connsiteX13" fmla="*/ 4283739 w 6912012"/>
              <a:gd name="connsiteY13" fmla="*/ 3363073 h 5959009"/>
              <a:gd name="connsiteX14" fmla="*/ 5085123 w 6912012"/>
              <a:gd name="connsiteY14" fmla="*/ 3363073 h 5959009"/>
              <a:gd name="connsiteX15" fmla="*/ 5085123 w 6912012"/>
              <a:gd name="connsiteY15" fmla="*/ 2561689 h 5959009"/>
              <a:gd name="connsiteX16" fmla="*/ 3285434 w 6912012"/>
              <a:gd name="connsiteY16" fmla="*/ 2561689 h 5959009"/>
              <a:gd name="connsiteX17" fmla="*/ 3285434 w 6912012"/>
              <a:gd name="connsiteY17" fmla="*/ 3363073 h 5959009"/>
              <a:gd name="connsiteX18" fmla="*/ 4086818 w 6912012"/>
              <a:gd name="connsiteY18" fmla="*/ 3363073 h 5959009"/>
              <a:gd name="connsiteX19" fmla="*/ 4086818 w 6912012"/>
              <a:gd name="connsiteY19" fmla="*/ 2561689 h 5959009"/>
              <a:gd name="connsiteX20" fmla="*/ 2287129 w 6912012"/>
              <a:gd name="connsiteY20" fmla="*/ 2561689 h 5959009"/>
              <a:gd name="connsiteX21" fmla="*/ 2287129 w 6912012"/>
              <a:gd name="connsiteY21" fmla="*/ 3363073 h 5959009"/>
              <a:gd name="connsiteX22" fmla="*/ 3088513 w 6912012"/>
              <a:gd name="connsiteY22" fmla="*/ 3363073 h 5959009"/>
              <a:gd name="connsiteX23" fmla="*/ 3088513 w 6912012"/>
              <a:gd name="connsiteY23" fmla="*/ 2561689 h 5959009"/>
              <a:gd name="connsiteX24" fmla="*/ 4283739 w 6912012"/>
              <a:gd name="connsiteY24" fmla="*/ 1565096 h 5959009"/>
              <a:gd name="connsiteX25" fmla="*/ 4283739 w 6912012"/>
              <a:gd name="connsiteY25" fmla="*/ 2366480 h 5959009"/>
              <a:gd name="connsiteX26" fmla="*/ 5085123 w 6912012"/>
              <a:gd name="connsiteY26" fmla="*/ 2366480 h 5959009"/>
              <a:gd name="connsiteX27" fmla="*/ 5085123 w 6912012"/>
              <a:gd name="connsiteY27" fmla="*/ 1565096 h 5959009"/>
              <a:gd name="connsiteX28" fmla="*/ 3285434 w 6912012"/>
              <a:gd name="connsiteY28" fmla="*/ 1565096 h 5959009"/>
              <a:gd name="connsiteX29" fmla="*/ 3285434 w 6912012"/>
              <a:gd name="connsiteY29" fmla="*/ 2366480 h 5959009"/>
              <a:gd name="connsiteX30" fmla="*/ 4086818 w 6912012"/>
              <a:gd name="connsiteY30" fmla="*/ 2366480 h 5959009"/>
              <a:gd name="connsiteX31" fmla="*/ 4086818 w 6912012"/>
              <a:gd name="connsiteY31" fmla="*/ 1565096 h 5959009"/>
              <a:gd name="connsiteX32" fmla="*/ 2287129 w 6912012"/>
              <a:gd name="connsiteY32" fmla="*/ 1565096 h 5959009"/>
              <a:gd name="connsiteX33" fmla="*/ 2287129 w 6912012"/>
              <a:gd name="connsiteY33" fmla="*/ 2366480 h 5959009"/>
              <a:gd name="connsiteX34" fmla="*/ 3088513 w 6912012"/>
              <a:gd name="connsiteY34" fmla="*/ 2366480 h 5959009"/>
              <a:gd name="connsiteX35" fmla="*/ 3088513 w 6912012"/>
              <a:gd name="connsiteY35" fmla="*/ 1565096 h 5959009"/>
              <a:gd name="connsiteX36" fmla="*/ 1826890 w 6912012"/>
              <a:gd name="connsiteY36" fmla="*/ 1539635 h 5959009"/>
              <a:gd name="connsiteX37" fmla="*/ 1826890 w 6912012"/>
              <a:gd name="connsiteY37" fmla="*/ 4787206 h 5959009"/>
              <a:gd name="connsiteX38" fmla="*/ 5085123 w 6912012"/>
              <a:gd name="connsiteY38" fmla="*/ 4787206 h 5959009"/>
              <a:gd name="connsiteX39" fmla="*/ 5085123 w 6912012"/>
              <a:gd name="connsiteY39" fmla="*/ 4567677 h 5959009"/>
              <a:gd name="connsiteX40" fmla="*/ 2046419 w 6912012"/>
              <a:gd name="connsiteY40" fmla="*/ 4567677 h 5959009"/>
              <a:gd name="connsiteX41" fmla="*/ 2046419 w 6912012"/>
              <a:gd name="connsiteY41" fmla="*/ 1539635 h 5959009"/>
              <a:gd name="connsiteX42" fmla="*/ 1743189 w 6912012"/>
              <a:gd name="connsiteY42" fmla="*/ 0 h 5959009"/>
              <a:gd name="connsiteX43" fmla="*/ 5168823 w 6912012"/>
              <a:gd name="connsiteY43" fmla="*/ 0 h 5959009"/>
              <a:gd name="connsiteX44" fmla="*/ 6912012 w 6912012"/>
              <a:gd name="connsiteY44" fmla="*/ 2979505 h 5959009"/>
              <a:gd name="connsiteX45" fmla="*/ 5168823 w 6912012"/>
              <a:gd name="connsiteY45" fmla="*/ 5959009 h 5959009"/>
              <a:gd name="connsiteX46" fmla="*/ 1743189 w 6912012"/>
              <a:gd name="connsiteY46" fmla="*/ 5959009 h 5959009"/>
              <a:gd name="connsiteX47" fmla="*/ 0 w 6912012"/>
              <a:gd name="connsiteY47" fmla="*/ 2979505 h 59590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6912012" h="5959009">
                <a:moveTo>
                  <a:pt x="4283739" y="3558282"/>
                </a:moveTo>
                <a:lnTo>
                  <a:pt x="4283739" y="4359666"/>
                </a:lnTo>
                <a:lnTo>
                  <a:pt x="5085123" y="4359666"/>
                </a:lnTo>
                <a:lnTo>
                  <a:pt x="5085123" y="3558282"/>
                </a:lnTo>
                <a:close/>
                <a:moveTo>
                  <a:pt x="3285434" y="3558282"/>
                </a:moveTo>
                <a:lnTo>
                  <a:pt x="3285434" y="4359666"/>
                </a:lnTo>
                <a:lnTo>
                  <a:pt x="4086818" y="4359666"/>
                </a:lnTo>
                <a:lnTo>
                  <a:pt x="4086818" y="3558282"/>
                </a:lnTo>
                <a:close/>
                <a:moveTo>
                  <a:pt x="2287129" y="3558282"/>
                </a:moveTo>
                <a:lnTo>
                  <a:pt x="2287129" y="4359666"/>
                </a:lnTo>
                <a:lnTo>
                  <a:pt x="3088513" y="4359666"/>
                </a:lnTo>
                <a:lnTo>
                  <a:pt x="3088513" y="3558282"/>
                </a:lnTo>
                <a:close/>
                <a:moveTo>
                  <a:pt x="4283739" y="2561689"/>
                </a:moveTo>
                <a:lnTo>
                  <a:pt x="4283739" y="3363073"/>
                </a:lnTo>
                <a:lnTo>
                  <a:pt x="5085123" y="3363073"/>
                </a:lnTo>
                <a:lnTo>
                  <a:pt x="5085123" y="2561689"/>
                </a:lnTo>
                <a:close/>
                <a:moveTo>
                  <a:pt x="3285434" y="2561689"/>
                </a:moveTo>
                <a:lnTo>
                  <a:pt x="3285434" y="3363073"/>
                </a:lnTo>
                <a:lnTo>
                  <a:pt x="4086818" y="3363073"/>
                </a:lnTo>
                <a:lnTo>
                  <a:pt x="4086818" y="2561689"/>
                </a:lnTo>
                <a:close/>
                <a:moveTo>
                  <a:pt x="2287129" y="2561689"/>
                </a:moveTo>
                <a:lnTo>
                  <a:pt x="2287129" y="3363073"/>
                </a:lnTo>
                <a:lnTo>
                  <a:pt x="3088513" y="3363073"/>
                </a:lnTo>
                <a:lnTo>
                  <a:pt x="3088513" y="2561689"/>
                </a:lnTo>
                <a:close/>
                <a:moveTo>
                  <a:pt x="4283739" y="1565096"/>
                </a:moveTo>
                <a:lnTo>
                  <a:pt x="4283739" y="2366480"/>
                </a:lnTo>
                <a:lnTo>
                  <a:pt x="5085123" y="2366480"/>
                </a:lnTo>
                <a:lnTo>
                  <a:pt x="5085123" y="1565096"/>
                </a:lnTo>
                <a:close/>
                <a:moveTo>
                  <a:pt x="3285434" y="1565096"/>
                </a:moveTo>
                <a:lnTo>
                  <a:pt x="3285434" y="2366480"/>
                </a:lnTo>
                <a:lnTo>
                  <a:pt x="4086818" y="2366480"/>
                </a:lnTo>
                <a:lnTo>
                  <a:pt x="4086818" y="1565096"/>
                </a:lnTo>
                <a:close/>
                <a:moveTo>
                  <a:pt x="2287129" y="1565096"/>
                </a:moveTo>
                <a:lnTo>
                  <a:pt x="2287129" y="2366480"/>
                </a:lnTo>
                <a:lnTo>
                  <a:pt x="3088513" y="2366480"/>
                </a:lnTo>
                <a:lnTo>
                  <a:pt x="3088513" y="1565096"/>
                </a:lnTo>
                <a:close/>
                <a:moveTo>
                  <a:pt x="1826890" y="1539635"/>
                </a:moveTo>
                <a:lnTo>
                  <a:pt x="1826890" y="4787206"/>
                </a:lnTo>
                <a:lnTo>
                  <a:pt x="5085123" y="4787206"/>
                </a:lnTo>
                <a:lnTo>
                  <a:pt x="5085123" y="4567677"/>
                </a:lnTo>
                <a:lnTo>
                  <a:pt x="2046419" y="4567677"/>
                </a:lnTo>
                <a:lnTo>
                  <a:pt x="2046419" y="1539635"/>
                </a:lnTo>
                <a:close/>
                <a:moveTo>
                  <a:pt x="1743189" y="0"/>
                </a:moveTo>
                <a:lnTo>
                  <a:pt x="5168823" y="0"/>
                </a:lnTo>
                <a:lnTo>
                  <a:pt x="6912012" y="2979505"/>
                </a:lnTo>
                <a:lnTo>
                  <a:pt x="5168823" y="5959009"/>
                </a:lnTo>
                <a:lnTo>
                  <a:pt x="1743189" y="5959009"/>
                </a:lnTo>
                <a:lnTo>
                  <a:pt x="0" y="2979505"/>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721" dirty="0">
              <a:solidFill>
                <a:srgbClr val="FFFFFF"/>
              </a:solidFill>
              <a:latin typeface="Segoe UI"/>
            </a:endParaRPr>
          </a:p>
        </p:txBody>
      </p:sp>
    </p:spTree>
    <p:extLst>
      <p:ext uri="{BB962C8B-B14F-4D97-AF65-F5344CB8AC3E}">
        <p14:creationId xmlns:p14="http://schemas.microsoft.com/office/powerpoint/2010/main" val="3026660586"/>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0" name="Freeform 6">
            <a:extLst>
              <a:ext uri="{FF2B5EF4-FFF2-40B4-BE49-F238E27FC236}">
                <a16:creationId xmlns:a16="http://schemas.microsoft.com/office/drawing/2014/main" id="{89476262-8193-47C8-9A9B-A810C9FEE580}"/>
              </a:ext>
            </a:extLst>
          </p:cNvPr>
          <p:cNvSpPr>
            <a:spLocks noEditPoints="1"/>
          </p:cNvSpPr>
          <p:nvPr/>
        </p:nvSpPr>
        <p:spPr bwMode="auto">
          <a:xfrm>
            <a:off x="1855504" y="2199140"/>
            <a:ext cx="8906608" cy="4143153"/>
          </a:xfrm>
          <a:custGeom>
            <a:avLst/>
            <a:gdLst>
              <a:gd name="T0" fmla="*/ 2843 w 3260"/>
              <a:gd name="T1" fmla="*/ 1040 h 1694"/>
              <a:gd name="T2" fmla="*/ 2706 w 3260"/>
              <a:gd name="T3" fmla="*/ 1121 h 1694"/>
              <a:gd name="T4" fmla="*/ 3101 w 3260"/>
              <a:gd name="T5" fmla="*/ 1119 h 1694"/>
              <a:gd name="T6" fmla="*/ 1330 w 3260"/>
              <a:gd name="T7" fmla="*/ 153 h 1694"/>
              <a:gd name="T8" fmla="*/ 1357 w 3260"/>
              <a:gd name="T9" fmla="*/ 41 h 1694"/>
              <a:gd name="T10" fmla="*/ 1093 w 3260"/>
              <a:gd name="T11" fmla="*/ 175 h 1694"/>
              <a:gd name="T12" fmla="*/ 1115 w 3260"/>
              <a:gd name="T13" fmla="*/ 313 h 1694"/>
              <a:gd name="T14" fmla="*/ 1909 w 3260"/>
              <a:gd name="T15" fmla="*/ 55 h 1694"/>
              <a:gd name="T16" fmla="*/ 590 w 3260"/>
              <a:gd name="T17" fmla="*/ 24 h 1694"/>
              <a:gd name="T18" fmla="*/ 897 w 3260"/>
              <a:gd name="T19" fmla="*/ 944 h 1694"/>
              <a:gd name="T20" fmla="*/ 622 w 3260"/>
              <a:gd name="T21" fmla="*/ 717 h 1694"/>
              <a:gd name="T22" fmla="*/ 934 w 3260"/>
              <a:gd name="T23" fmla="*/ 526 h 1694"/>
              <a:gd name="T24" fmla="*/ 900 w 3260"/>
              <a:gd name="T25" fmla="*/ 310 h 1694"/>
              <a:gd name="T26" fmla="*/ 808 w 3260"/>
              <a:gd name="T27" fmla="*/ 172 h 1694"/>
              <a:gd name="T28" fmla="*/ 687 w 3260"/>
              <a:gd name="T29" fmla="*/ 121 h 1694"/>
              <a:gd name="T30" fmla="*/ 152 w 3260"/>
              <a:gd name="T31" fmla="*/ 11 h 1694"/>
              <a:gd name="T32" fmla="*/ 118 w 3260"/>
              <a:gd name="T33" fmla="*/ 222 h 1694"/>
              <a:gd name="T34" fmla="*/ 327 w 3260"/>
              <a:gd name="T35" fmla="*/ 321 h 1694"/>
              <a:gd name="T36" fmla="*/ 406 w 3260"/>
              <a:gd name="T37" fmla="*/ 761 h 1694"/>
              <a:gd name="T38" fmla="*/ 749 w 3260"/>
              <a:gd name="T39" fmla="*/ 1186 h 1694"/>
              <a:gd name="T40" fmla="*/ 886 w 3260"/>
              <a:gd name="T41" fmla="*/ 1643 h 1694"/>
              <a:gd name="T42" fmla="*/ 3236 w 3260"/>
              <a:gd name="T43" fmla="*/ 1515 h 1694"/>
              <a:gd name="T44" fmla="*/ 2763 w 3260"/>
              <a:gd name="T45" fmla="*/ 958 h 1694"/>
              <a:gd name="T46" fmla="*/ 2590 w 3260"/>
              <a:gd name="T47" fmla="*/ 854 h 1694"/>
              <a:gd name="T48" fmla="*/ 2698 w 3260"/>
              <a:gd name="T49" fmla="*/ 572 h 1694"/>
              <a:gd name="T50" fmla="*/ 2898 w 3260"/>
              <a:gd name="T51" fmla="*/ 132 h 1694"/>
              <a:gd name="T52" fmla="*/ 2300 w 3260"/>
              <a:gd name="T53" fmla="*/ 3 h 1694"/>
              <a:gd name="T54" fmla="*/ 1991 w 3260"/>
              <a:gd name="T55" fmla="*/ 151 h 1694"/>
              <a:gd name="T56" fmla="*/ 1720 w 3260"/>
              <a:gd name="T57" fmla="*/ 141 h 1694"/>
              <a:gd name="T58" fmla="*/ 1548 w 3260"/>
              <a:gd name="T59" fmla="*/ 310 h 1694"/>
              <a:gd name="T60" fmla="*/ 1697 w 3260"/>
              <a:gd name="T61" fmla="*/ 325 h 1694"/>
              <a:gd name="T62" fmla="*/ 1491 w 3260"/>
              <a:gd name="T63" fmla="*/ 562 h 1694"/>
              <a:gd name="T64" fmla="*/ 1768 w 3260"/>
              <a:gd name="T65" fmla="*/ 594 h 1694"/>
              <a:gd name="T66" fmla="*/ 1719 w 3260"/>
              <a:gd name="T67" fmla="*/ 686 h 1694"/>
              <a:gd name="T68" fmla="*/ 1682 w 3260"/>
              <a:gd name="T69" fmla="*/ 1394 h 1694"/>
              <a:gd name="T70" fmla="*/ 1850 w 3260"/>
              <a:gd name="T71" fmla="*/ 731 h 1694"/>
              <a:gd name="T72" fmla="*/ 2233 w 3260"/>
              <a:gd name="T73" fmla="*/ 809 h 1694"/>
              <a:gd name="T74" fmla="*/ 2002 w 3260"/>
              <a:gd name="T75" fmla="*/ 527 h 1694"/>
              <a:gd name="T76" fmla="*/ 2891 w 3260"/>
              <a:gd name="T77" fmla="*/ 1163 h 1694"/>
              <a:gd name="T78" fmla="*/ 2926 w 3260"/>
              <a:gd name="T79" fmla="*/ 1501 h 1694"/>
              <a:gd name="T80" fmla="*/ 293 w 3260"/>
              <a:gd name="T81" fmla="*/ 349 h 1694"/>
              <a:gd name="T82" fmla="*/ 2003 w 3260"/>
              <a:gd name="T83" fmla="*/ 1218 h 1694"/>
              <a:gd name="T84" fmla="*/ 1312 w 3260"/>
              <a:gd name="T85" fmla="*/ 233 h 1694"/>
              <a:gd name="T86" fmla="*/ 131 w 3260"/>
              <a:gd name="T87" fmla="*/ 226 h 1694"/>
              <a:gd name="T88" fmla="*/ 2836 w 3260"/>
              <a:gd name="T89" fmla="*/ 628 h 1694"/>
              <a:gd name="T90" fmla="*/ 2925 w 3260"/>
              <a:gd name="T91" fmla="*/ 1111 h 1694"/>
              <a:gd name="T92" fmla="*/ 2830 w 3260"/>
              <a:gd name="T93" fmla="*/ 367 h 1694"/>
              <a:gd name="T94" fmla="*/ 2757 w 3260"/>
              <a:gd name="T95" fmla="*/ 892 h 1694"/>
              <a:gd name="T96" fmla="*/ 2695 w 3260"/>
              <a:gd name="T97" fmla="*/ 1047 h 1694"/>
              <a:gd name="T98" fmla="*/ 2553 w 3260"/>
              <a:gd name="T99" fmla="*/ 1023 h 1694"/>
              <a:gd name="T100" fmla="*/ 1684 w 3260"/>
              <a:gd name="T101" fmla="*/ 276 h 1694"/>
              <a:gd name="T102" fmla="*/ 1744 w 3260"/>
              <a:gd name="T103" fmla="*/ 617 h 1694"/>
              <a:gd name="T104" fmla="*/ 1659 w 3260"/>
              <a:gd name="T105" fmla="*/ 156 h 1694"/>
              <a:gd name="T106" fmla="*/ 1937 w 3260"/>
              <a:gd name="T107" fmla="*/ 121 h 1694"/>
              <a:gd name="T108" fmla="*/ 940 w 3260"/>
              <a:gd name="T109" fmla="*/ 505 h 1694"/>
              <a:gd name="T110" fmla="*/ 175 w 3260"/>
              <a:gd name="T111" fmla="*/ 174 h 1694"/>
              <a:gd name="T112" fmla="*/ 1009 w 3260"/>
              <a:gd name="T113" fmla="*/ 1028 h 1694"/>
              <a:gd name="T114" fmla="*/ 1009 w 3260"/>
              <a:gd name="T115" fmla="*/ 492 h 1694"/>
              <a:gd name="T116" fmla="*/ 1464 w 3260"/>
              <a:gd name="T117" fmla="*/ 394 h 1694"/>
              <a:gd name="T118" fmla="*/ 930 w 3260"/>
              <a:gd name="T119" fmla="*/ 34 h 1694"/>
              <a:gd name="T120" fmla="*/ 884 w 3260"/>
              <a:gd name="T121" fmla="*/ 92 h 1694"/>
              <a:gd name="T122" fmla="*/ 956 w 3260"/>
              <a:gd name="T123" fmla="*/ 188 h 1694"/>
              <a:gd name="T124" fmla="*/ 950 w 3260"/>
              <a:gd name="T125" fmla="*/ 104 h 16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260" h="1694">
                <a:moveTo>
                  <a:pt x="2796" y="665"/>
                </a:moveTo>
                <a:cubicBezTo>
                  <a:pt x="2795" y="664"/>
                  <a:pt x="2795" y="664"/>
                  <a:pt x="2795" y="664"/>
                </a:cubicBezTo>
                <a:cubicBezTo>
                  <a:pt x="2794" y="665"/>
                  <a:pt x="2794" y="665"/>
                  <a:pt x="2794" y="665"/>
                </a:cubicBezTo>
                <a:cubicBezTo>
                  <a:pt x="2795" y="666"/>
                  <a:pt x="2795" y="666"/>
                  <a:pt x="2795" y="666"/>
                </a:cubicBezTo>
                <a:lnTo>
                  <a:pt x="2796" y="665"/>
                </a:lnTo>
                <a:close/>
                <a:moveTo>
                  <a:pt x="2760" y="1091"/>
                </a:moveTo>
                <a:cubicBezTo>
                  <a:pt x="2759" y="1090"/>
                  <a:pt x="2759" y="1090"/>
                  <a:pt x="2759" y="1090"/>
                </a:cubicBezTo>
                <a:cubicBezTo>
                  <a:pt x="2758" y="1089"/>
                  <a:pt x="2758" y="1089"/>
                  <a:pt x="2758" y="1089"/>
                </a:cubicBezTo>
                <a:cubicBezTo>
                  <a:pt x="2759" y="1088"/>
                  <a:pt x="2759" y="1088"/>
                  <a:pt x="2759" y="1088"/>
                </a:cubicBezTo>
                <a:cubicBezTo>
                  <a:pt x="2760" y="1087"/>
                  <a:pt x="2760" y="1087"/>
                  <a:pt x="2760" y="1087"/>
                </a:cubicBezTo>
                <a:cubicBezTo>
                  <a:pt x="2761" y="1086"/>
                  <a:pt x="2761" y="1086"/>
                  <a:pt x="2761" y="1086"/>
                </a:cubicBezTo>
                <a:cubicBezTo>
                  <a:pt x="2761" y="1087"/>
                  <a:pt x="2761" y="1087"/>
                  <a:pt x="2761" y="1087"/>
                </a:cubicBezTo>
                <a:cubicBezTo>
                  <a:pt x="2761" y="1086"/>
                  <a:pt x="2761" y="1086"/>
                  <a:pt x="2761" y="1086"/>
                </a:cubicBezTo>
                <a:cubicBezTo>
                  <a:pt x="2760" y="1085"/>
                  <a:pt x="2760" y="1085"/>
                  <a:pt x="2760" y="1085"/>
                </a:cubicBezTo>
                <a:cubicBezTo>
                  <a:pt x="2760" y="1083"/>
                  <a:pt x="2760" y="1083"/>
                  <a:pt x="2760" y="1083"/>
                </a:cubicBezTo>
                <a:cubicBezTo>
                  <a:pt x="2759" y="1083"/>
                  <a:pt x="2759" y="1083"/>
                  <a:pt x="2759" y="1083"/>
                </a:cubicBezTo>
                <a:cubicBezTo>
                  <a:pt x="2758" y="1084"/>
                  <a:pt x="2758" y="1084"/>
                  <a:pt x="2758" y="1084"/>
                </a:cubicBezTo>
                <a:cubicBezTo>
                  <a:pt x="2758" y="1087"/>
                  <a:pt x="2758" y="1087"/>
                  <a:pt x="2758" y="1087"/>
                </a:cubicBezTo>
                <a:cubicBezTo>
                  <a:pt x="2757" y="1090"/>
                  <a:pt x="2757" y="1090"/>
                  <a:pt x="2757" y="1090"/>
                </a:cubicBezTo>
                <a:cubicBezTo>
                  <a:pt x="2755" y="1093"/>
                  <a:pt x="2755" y="1093"/>
                  <a:pt x="2755" y="1093"/>
                </a:cubicBezTo>
                <a:cubicBezTo>
                  <a:pt x="2755" y="1095"/>
                  <a:pt x="2755" y="1095"/>
                  <a:pt x="2755" y="1095"/>
                </a:cubicBezTo>
                <a:cubicBezTo>
                  <a:pt x="2756" y="1095"/>
                  <a:pt x="2756" y="1095"/>
                  <a:pt x="2756" y="1095"/>
                </a:cubicBezTo>
                <a:cubicBezTo>
                  <a:pt x="2758" y="1095"/>
                  <a:pt x="2758" y="1095"/>
                  <a:pt x="2758" y="1095"/>
                </a:cubicBezTo>
                <a:cubicBezTo>
                  <a:pt x="2759" y="1093"/>
                  <a:pt x="2759" y="1093"/>
                  <a:pt x="2759" y="1093"/>
                </a:cubicBezTo>
                <a:cubicBezTo>
                  <a:pt x="2760" y="1092"/>
                  <a:pt x="2760" y="1092"/>
                  <a:pt x="2760" y="1092"/>
                </a:cubicBezTo>
                <a:cubicBezTo>
                  <a:pt x="2761" y="1091"/>
                  <a:pt x="2761" y="1091"/>
                  <a:pt x="2761" y="1091"/>
                </a:cubicBezTo>
                <a:lnTo>
                  <a:pt x="2760" y="1091"/>
                </a:lnTo>
                <a:close/>
                <a:moveTo>
                  <a:pt x="2801" y="1122"/>
                </a:moveTo>
                <a:cubicBezTo>
                  <a:pt x="2800" y="1121"/>
                  <a:pt x="2800" y="1121"/>
                  <a:pt x="2800" y="1121"/>
                </a:cubicBezTo>
                <a:cubicBezTo>
                  <a:pt x="2799" y="1122"/>
                  <a:pt x="2799" y="1122"/>
                  <a:pt x="2799" y="1122"/>
                </a:cubicBezTo>
                <a:cubicBezTo>
                  <a:pt x="2800" y="1123"/>
                  <a:pt x="2800" y="1123"/>
                  <a:pt x="2800" y="1123"/>
                </a:cubicBezTo>
                <a:lnTo>
                  <a:pt x="2801" y="1122"/>
                </a:lnTo>
                <a:close/>
                <a:moveTo>
                  <a:pt x="2756" y="1128"/>
                </a:moveTo>
                <a:cubicBezTo>
                  <a:pt x="2757" y="1127"/>
                  <a:pt x="2757" y="1127"/>
                  <a:pt x="2757" y="1127"/>
                </a:cubicBezTo>
                <a:cubicBezTo>
                  <a:pt x="2759" y="1126"/>
                  <a:pt x="2759" y="1126"/>
                  <a:pt x="2759" y="1126"/>
                </a:cubicBezTo>
                <a:cubicBezTo>
                  <a:pt x="2757" y="1126"/>
                  <a:pt x="2757" y="1126"/>
                  <a:pt x="2757" y="1126"/>
                </a:cubicBezTo>
                <a:lnTo>
                  <a:pt x="2756" y="1128"/>
                </a:lnTo>
                <a:close/>
                <a:moveTo>
                  <a:pt x="2759" y="1143"/>
                </a:moveTo>
                <a:cubicBezTo>
                  <a:pt x="2758" y="1145"/>
                  <a:pt x="2758" y="1145"/>
                  <a:pt x="2758" y="1145"/>
                </a:cubicBezTo>
                <a:cubicBezTo>
                  <a:pt x="2759" y="1145"/>
                  <a:pt x="2759" y="1145"/>
                  <a:pt x="2759" y="1145"/>
                </a:cubicBezTo>
                <a:cubicBezTo>
                  <a:pt x="2760" y="1143"/>
                  <a:pt x="2760" y="1143"/>
                  <a:pt x="2760" y="1143"/>
                </a:cubicBezTo>
                <a:lnTo>
                  <a:pt x="2759" y="1143"/>
                </a:lnTo>
                <a:close/>
                <a:moveTo>
                  <a:pt x="2759" y="1150"/>
                </a:moveTo>
                <a:cubicBezTo>
                  <a:pt x="2760" y="1148"/>
                  <a:pt x="2760" y="1148"/>
                  <a:pt x="2760" y="1148"/>
                </a:cubicBezTo>
                <a:cubicBezTo>
                  <a:pt x="2759" y="1147"/>
                  <a:pt x="2759" y="1147"/>
                  <a:pt x="2759" y="1147"/>
                </a:cubicBezTo>
                <a:cubicBezTo>
                  <a:pt x="2757" y="1148"/>
                  <a:pt x="2757" y="1148"/>
                  <a:pt x="2757" y="1148"/>
                </a:cubicBezTo>
                <a:cubicBezTo>
                  <a:pt x="2758" y="1148"/>
                  <a:pt x="2758" y="1148"/>
                  <a:pt x="2758" y="1148"/>
                </a:cubicBezTo>
                <a:cubicBezTo>
                  <a:pt x="2755" y="1150"/>
                  <a:pt x="2755" y="1150"/>
                  <a:pt x="2755" y="1150"/>
                </a:cubicBezTo>
                <a:cubicBezTo>
                  <a:pt x="2753" y="1151"/>
                  <a:pt x="2753" y="1151"/>
                  <a:pt x="2753" y="1151"/>
                </a:cubicBezTo>
                <a:cubicBezTo>
                  <a:pt x="2755" y="1152"/>
                  <a:pt x="2755" y="1152"/>
                  <a:pt x="2755" y="1152"/>
                </a:cubicBezTo>
                <a:lnTo>
                  <a:pt x="2759" y="1150"/>
                </a:lnTo>
                <a:close/>
                <a:moveTo>
                  <a:pt x="2829" y="645"/>
                </a:moveTo>
                <a:cubicBezTo>
                  <a:pt x="2832" y="646"/>
                  <a:pt x="2832" y="646"/>
                  <a:pt x="2832" y="646"/>
                </a:cubicBezTo>
                <a:cubicBezTo>
                  <a:pt x="2833" y="648"/>
                  <a:pt x="2833" y="648"/>
                  <a:pt x="2833" y="648"/>
                </a:cubicBezTo>
                <a:cubicBezTo>
                  <a:pt x="2834" y="647"/>
                  <a:pt x="2834" y="647"/>
                  <a:pt x="2834" y="647"/>
                </a:cubicBezTo>
                <a:cubicBezTo>
                  <a:pt x="2835" y="644"/>
                  <a:pt x="2835" y="644"/>
                  <a:pt x="2835" y="644"/>
                </a:cubicBezTo>
                <a:cubicBezTo>
                  <a:pt x="2837" y="642"/>
                  <a:pt x="2837" y="642"/>
                  <a:pt x="2837" y="642"/>
                </a:cubicBezTo>
                <a:cubicBezTo>
                  <a:pt x="2838" y="640"/>
                  <a:pt x="2838" y="640"/>
                  <a:pt x="2838" y="640"/>
                </a:cubicBezTo>
                <a:cubicBezTo>
                  <a:pt x="2837" y="640"/>
                  <a:pt x="2837" y="640"/>
                  <a:pt x="2837" y="640"/>
                </a:cubicBezTo>
                <a:cubicBezTo>
                  <a:pt x="2836" y="638"/>
                  <a:pt x="2836" y="638"/>
                  <a:pt x="2836" y="638"/>
                </a:cubicBezTo>
                <a:cubicBezTo>
                  <a:pt x="2834" y="636"/>
                  <a:pt x="2834" y="636"/>
                  <a:pt x="2834" y="636"/>
                </a:cubicBezTo>
                <a:cubicBezTo>
                  <a:pt x="2833" y="636"/>
                  <a:pt x="2833" y="636"/>
                  <a:pt x="2833" y="636"/>
                </a:cubicBezTo>
                <a:cubicBezTo>
                  <a:pt x="2831" y="635"/>
                  <a:pt x="2831" y="635"/>
                  <a:pt x="2831" y="635"/>
                </a:cubicBezTo>
                <a:cubicBezTo>
                  <a:pt x="2829" y="635"/>
                  <a:pt x="2829" y="635"/>
                  <a:pt x="2829" y="635"/>
                </a:cubicBezTo>
                <a:cubicBezTo>
                  <a:pt x="2826" y="637"/>
                  <a:pt x="2826" y="637"/>
                  <a:pt x="2826" y="637"/>
                </a:cubicBezTo>
                <a:cubicBezTo>
                  <a:pt x="2826" y="638"/>
                  <a:pt x="2826" y="638"/>
                  <a:pt x="2826" y="638"/>
                </a:cubicBezTo>
                <a:cubicBezTo>
                  <a:pt x="2825" y="640"/>
                  <a:pt x="2825" y="640"/>
                  <a:pt x="2825" y="640"/>
                </a:cubicBezTo>
                <a:cubicBezTo>
                  <a:pt x="2823" y="640"/>
                  <a:pt x="2823" y="640"/>
                  <a:pt x="2823" y="640"/>
                </a:cubicBezTo>
                <a:cubicBezTo>
                  <a:pt x="2822" y="642"/>
                  <a:pt x="2822" y="642"/>
                  <a:pt x="2822" y="642"/>
                </a:cubicBezTo>
                <a:cubicBezTo>
                  <a:pt x="2821" y="641"/>
                  <a:pt x="2821" y="641"/>
                  <a:pt x="2821" y="641"/>
                </a:cubicBezTo>
                <a:cubicBezTo>
                  <a:pt x="2820" y="639"/>
                  <a:pt x="2820" y="639"/>
                  <a:pt x="2820" y="639"/>
                </a:cubicBezTo>
                <a:cubicBezTo>
                  <a:pt x="2819" y="639"/>
                  <a:pt x="2819" y="639"/>
                  <a:pt x="2819" y="639"/>
                </a:cubicBezTo>
                <a:cubicBezTo>
                  <a:pt x="2816" y="642"/>
                  <a:pt x="2816" y="642"/>
                  <a:pt x="2816" y="642"/>
                </a:cubicBezTo>
                <a:cubicBezTo>
                  <a:pt x="2816" y="643"/>
                  <a:pt x="2816" y="643"/>
                  <a:pt x="2816" y="643"/>
                </a:cubicBezTo>
                <a:cubicBezTo>
                  <a:pt x="2814" y="645"/>
                  <a:pt x="2814" y="645"/>
                  <a:pt x="2814" y="645"/>
                </a:cubicBezTo>
                <a:cubicBezTo>
                  <a:pt x="2814" y="647"/>
                  <a:pt x="2814" y="647"/>
                  <a:pt x="2814" y="647"/>
                </a:cubicBezTo>
                <a:cubicBezTo>
                  <a:pt x="2817" y="647"/>
                  <a:pt x="2817" y="647"/>
                  <a:pt x="2817" y="647"/>
                </a:cubicBezTo>
                <a:cubicBezTo>
                  <a:pt x="2817" y="649"/>
                  <a:pt x="2817" y="649"/>
                  <a:pt x="2817" y="649"/>
                </a:cubicBezTo>
                <a:cubicBezTo>
                  <a:pt x="2817" y="650"/>
                  <a:pt x="2817" y="650"/>
                  <a:pt x="2817" y="650"/>
                </a:cubicBezTo>
                <a:cubicBezTo>
                  <a:pt x="2817" y="651"/>
                  <a:pt x="2817" y="651"/>
                  <a:pt x="2817" y="651"/>
                </a:cubicBezTo>
                <a:cubicBezTo>
                  <a:pt x="2818" y="653"/>
                  <a:pt x="2818" y="653"/>
                  <a:pt x="2818" y="653"/>
                </a:cubicBezTo>
                <a:cubicBezTo>
                  <a:pt x="2821" y="654"/>
                  <a:pt x="2821" y="654"/>
                  <a:pt x="2821" y="654"/>
                </a:cubicBezTo>
                <a:cubicBezTo>
                  <a:pt x="2821" y="655"/>
                  <a:pt x="2821" y="655"/>
                  <a:pt x="2821" y="655"/>
                </a:cubicBezTo>
                <a:cubicBezTo>
                  <a:pt x="2821" y="655"/>
                  <a:pt x="2821" y="655"/>
                  <a:pt x="2821" y="655"/>
                </a:cubicBezTo>
                <a:cubicBezTo>
                  <a:pt x="2822" y="655"/>
                  <a:pt x="2822" y="655"/>
                  <a:pt x="2822" y="655"/>
                </a:cubicBezTo>
                <a:cubicBezTo>
                  <a:pt x="2823" y="655"/>
                  <a:pt x="2823" y="655"/>
                  <a:pt x="2823" y="655"/>
                </a:cubicBezTo>
                <a:cubicBezTo>
                  <a:pt x="2824" y="655"/>
                  <a:pt x="2824" y="655"/>
                  <a:pt x="2824" y="655"/>
                </a:cubicBezTo>
                <a:cubicBezTo>
                  <a:pt x="2824" y="654"/>
                  <a:pt x="2824" y="654"/>
                  <a:pt x="2824" y="654"/>
                </a:cubicBezTo>
                <a:cubicBezTo>
                  <a:pt x="2822" y="652"/>
                  <a:pt x="2822" y="652"/>
                  <a:pt x="2822" y="652"/>
                </a:cubicBezTo>
                <a:cubicBezTo>
                  <a:pt x="2823" y="650"/>
                  <a:pt x="2823" y="650"/>
                  <a:pt x="2823" y="650"/>
                </a:cubicBezTo>
                <a:cubicBezTo>
                  <a:pt x="2824" y="647"/>
                  <a:pt x="2824" y="647"/>
                  <a:pt x="2824" y="647"/>
                </a:cubicBezTo>
                <a:cubicBezTo>
                  <a:pt x="2826" y="645"/>
                  <a:pt x="2826" y="645"/>
                  <a:pt x="2826" y="645"/>
                </a:cubicBezTo>
                <a:cubicBezTo>
                  <a:pt x="2827" y="644"/>
                  <a:pt x="2827" y="644"/>
                  <a:pt x="2827" y="644"/>
                </a:cubicBezTo>
                <a:lnTo>
                  <a:pt x="2829" y="645"/>
                </a:lnTo>
                <a:close/>
                <a:moveTo>
                  <a:pt x="2719" y="1139"/>
                </a:moveTo>
                <a:cubicBezTo>
                  <a:pt x="2721" y="1139"/>
                  <a:pt x="2721" y="1139"/>
                  <a:pt x="2721" y="1139"/>
                </a:cubicBezTo>
                <a:cubicBezTo>
                  <a:pt x="2723" y="1141"/>
                  <a:pt x="2723" y="1141"/>
                  <a:pt x="2723" y="1141"/>
                </a:cubicBezTo>
                <a:cubicBezTo>
                  <a:pt x="2725" y="1141"/>
                  <a:pt x="2725" y="1141"/>
                  <a:pt x="2725" y="1141"/>
                </a:cubicBezTo>
                <a:cubicBezTo>
                  <a:pt x="2726" y="1144"/>
                  <a:pt x="2726" y="1144"/>
                  <a:pt x="2726" y="1144"/>
                </a:cubicBezTo>
                <a:cubicBezTo>
                  <a:pt x="2729" y="1145"/>
                  <a:pt x="2729" y="1145"/>
                  <a:pt x="2729" y="1145"/>
                </a:cubicBezTo>
                <a:cubicBezTo>
                  <a:pt x="2732" y="1144"/>
                  <a:pt x="2732" y="1144"/>
                  <a:pt x="2732" y="1144"/>
                </a:cubicBezTo>
                <a:cubicBezTo>
                  <a:pt x="2734" y="1143"/>
                  <a:pt x="2734" y="1143"/>
                  <a:pt x="2734" y="1143"/>
                </a:cubicBezTo>
                <a:cubicBezTo>
                  <a:pt x="2734" y="1142"/>
                  <a:pt x="2734" y="1142"/>
                  <a:pt x="2734" y="1142"/>
                </a:cubicBezTo>
                <a:cubicBezTo>
                  <a:pt x="2732" y="1140"/>
                  <a:pt x="2732" y="1140"/>
                  <a:pt x="2732" y="1140"/>
                </a:cubicBezTo>
                <a:cubicBezTo>
                  <a:pt x="2731" y="1137"/>
                  <a:pt x="2731" y="1137"/>
                  <a:pt x="2731" y="1137"/>
                </a:cubicBezTo>
                <a:cubicBezTo>
                  <a:pt x="2729" y="1137"/>
                  <a:pt x="2729" y="1137"/>
                  <a:pt x="2729" y="1137"/>
                </a:cubicBezTo>
                <a:cubicBezTo>
                  <a:pt x="2728" y="1136"/>
                  <a:pt x="2728" y="1136"/>
                  <a:pt x="2728" y="1136"/>
                </a:cubicBezTo>
                <a:cubicBezTo>
                  <a:pt x="2726" y="1134"/>
                  <a:pt x="2726" y="1134"/>
                  <a:pt x="2726" y="1134"/>
                </a:cubicBezTo>
                <a:cubicBezTo>
                  <a:pt x="2724" y="1136"/>
                  <a:pt x="2724" y="1136"/>
                  <a:pt x="2724" y="1136"/>
                </a:cubicBezTo>
                <a:cubicBezTo>
                  <a:pt x="2722" y="1136"/>
                  <a:pt x="2722" y="1136"/>
                  <a:pt x="2722" y="1136"/>
                </a:cubicBezTo>
                <a:cubicBezTo>
                  <a:pt x="2719" y="1133"/>
                  <a:pt x="2719" y="1133"/>
                  <a:pt x="2719" y="1133"/>
                </a:cubicBezTo>
                <a:cubicBezTo>
                  <a:pt x="2715" y="1136"/>
                  <a:pt x="2715" y="1136"/>
                  <a:pt x="2715" y="1136"/>
                </a:cubicBezTo>
                <a:cubicBezTo>
                  <a:pt x="2715" y="1137"/>
                  <a:pt x="2715" y="1137"/>
                  <a:pt x="2715" y="1137"/>
                </a:cubicBezTo>
                <a:cubicBezTo>
                  <a:pt x="2716" y="1139"/>
                  <a:pt x="2716" y="1139"/>
                  <a:pt x="2716" y="1139"/>
                </a:cubicBezTo>
                <a:lnTo>
                  <a:pt x="2719" y="1139"/>
                </a:lnTo>
                <a:close/>
                <a:moveTo>
                  <a:pt x="2833" y="633"/>
                </a:moveTo>
                <a:cubicBezTo>
                  <a:pt x="2833" y="632"/>
                  <a:pt x="2833" y="632"/>
                  <a:pt x="2833" y="632"/>
                </a:cubicBezTo>
                <a:cubicBezTo>
                  <a:pt x="2831" y="632"/>
                  <a:pt x="2831" y="632"/>
                  <a:pt x="2831" y="632"/>
                </a:cubicBezTo>
                <a:cubicBezTo>
                  <a:pt x="2830" y="634"/>
                  <a:pt x="2830" y="634"/>
                  <a:pt x="2830" y="634"/>
                </a:cubicBezTo>
                <a:cubicBezTo>
                  <a:pt x="2831" y="634"/>
                  <a:pt x="2831" y="634"/>
                  <a:pt x="2831" y="634"/>
                </a:cubicBezTo>
                <a:lnTo>
                  <a:pt x="2833" y="633"/>
                </a:lnTo>
                <a:close/>
                <a:moveTo>
                  <a:pt x="2810" y="685"/>
                </a:moveTo>
                <a:cubicBezTo>
                  <a:pt x="2810" y="683"/>
                  <a:pt x="2810" y="683"/>
                  <a:pt x="2810" y="683"/>
                </a:cubicBezTo>
                <a:cubicBezTo>
                  <a:pt x="2809" y="682"/>
                  <a:pt x="2809" y="682"/>
                  <a:pt x="2809" y="682"/>
                </a:cubicBezTo>
                <a:cubicBezTo>
                  <a:pt x="2809" y="684"/>
                  <a:pt x="2809" y="684"/>
                  <a:pt x="2809" y="684"/>
                </a:cubicBezTo>
                <a:cubicBezTo>
                  <a:pt x="2809" y="687"/>
                  <a:pt x="2809" y="687"/>
                  <a:pt x="2809" y="687"/>
                </a:cubicBezTo>
                <a:cubicBezTo>
                  <a:pt x="2810" y="687"/>
                  <a:pt x="2810" y="687"/>
                  <a:pt x="2810" y="687"/>
                </a:cubicBezTo>
                <a:lnTo>
                  <a:pt x="2810" y="685"/>
                </a:lnTo>
                <a:close/>
                <a:moveTo>
                  <a:pt x="2803" y="1044"/>
                </a:moveTo>
                <a:cubicBezTo>
                  <a:pt x="2802" y="1044"/>
                  <a:pt x="2802" y="1044"/>
                  <a:pt x="2802" y="1044"/>
                </a:cubicBezTo>
                <a:cubicBezTo>
                  <a:pt x="2801" y="1045"/>
                  <a:pt x="2801" y="1045"/>
                  <a:pt x="2801" y="1045"/>
                </a:cubicBezTo>
                <a:cubicBezTo>
                  <a:pt x="2803" y="1046"/>
                  <a:pt x="2803" y="1046"/>
                  <a:pt x="2803" y="1046"/>
                </a:cubicBezTo>
                <a:lnTo>
                  <a:pt x="2803" y="1044"/>
                </a:lnTo>
                <a:close/>
                <a:moveTo>
                  <a:pt x="2818" y="1026"/>
                </a:moveTo>
                <a:cubicBezTo>
                  <a:pt x="2819" y="1022"/>
                  <a:pt x="2819" y="1022"/>
                  <a:pt x="2819" y="1022"/>
                </a:cubicBezTo>
                <a:cubicBezTo>
                  <a:pt x="2819" y="1021"/>
                  <a:pt x="2819" y="1021"/>
                  <a:pt x="2819" y="1021"/>
                </a:cubicBezTo>
                <a:cubicBezTo>
                  <a:pt x="2818" y="1019"/>
                  <a:pt x="2818" y="1019"/>
                  <a:pt x="2818" y="1019"/>
                </a:cubicBezTo>
                <a:cubicBezTo>
                  <a:pt x="2815" y="1021"/>
                  <a:pt x="2815" y="1021"/>
                  <a:pt x="2815" y="1021"/>
                </a:cubicBezTo>
                <a:cubicBezTo>
                  <a:pt x="2812" y="1022"/>
                  <a:pt x="2812" y="1022"/>
                  <a:pt x="2812" y="1022"/>
                </a:cubicBezTo>
                <a:cubicBezTo>
                  <a:pt x="2812" y="1024"/>
                  <a:pt x="2812" y="1024"/>
                  <a:pt x="2812" y="1024"/>
                </a:cubicBezTo>
                <a:cubicBezTo>
                  <a:pt x="2813" y="1024"/>
                  <a:pt x="2813" y="1024"/>
                  <a:pt x="2813" y="1024"/>
                </a:cubicBezTo>
                <a:cubicBezTo>
                  <a:pt x="2812" y="1025"/>
                  <a:pt x="2812" y="1025"/>
                  <a:pt x="2812" y="1025"/>
                </a:cubicBezTo>
                <a:cubicBezTo>
                  <a:pt x="2810" y="1025"/>
                  <a:pt x="2810" y="1025"/>
                  <a:pt x="2810" y="1025"/>
                </a:cubicBezTo>
                <a:cubicBezTo>
                  <a:pt x="2809" y="1027"/>
                  <a:pt x="2809" y="1027"/>
                  <a:pt x="2809" y="1027"/>
                </a:cubicBezTo>
                <a:cubicBezTo>
                  <a:pt x="2808" y="1027"/>
                  <a:pt x="2808" y="1027"/>
                  <a:pt x="2808" y="1027"/>
                </a:cubicBezTo>
                <a:cubicBezTo>
                  <a:pt x="2807" y="1026"/>
                  <a:pt x="2807" y="1026"/>
                  <a:pt x="2807" y="1026"/>
                </a:cubicBezTo>
                <a:cubicBezTo>
                  <a:pt x="2809" y="1024"/>
                  <a:pt x="2809" y="1024"/>
                  <a:pt x="2809" y="1024"/>
                </a:cubicBezTo>
                <a:cubicBezTo>
                  <a:pt x="2810" y="1024"/>
                  <a:pt x="2810" y="1024"/>
                  <a:pt x="2810" y="1024"/>
                </a:cubicBezTo>
                <a:cubicBezTo>
                  <a:pt x="2811" y="1021"/>
                  <a:pt x="2811" y="1021"/>
                  <a:pt x="2811" y="1021"/>
                </a:cubicBezTo>
                <a:cubicBezTo>
                  <a:pt x="2811" y="1018"/>
                  <a:pt x="2811" y="1018"/>
                  <a:pt x="2811" y="1018"/>
                </a:cubicBezTo>
                <a:cubicBezTo>
                  <a:pt x="2809" y="1018"/>
                  <a:pt x="2809" y="1018"/>
                  <a:pt x="2809" y="1018"/>
                </a:cubicBezTo>
                <a:cubicBezTo>
                  <a:pt x="2809" y="1017"/>
                  <a:pt x="2809" y="1017"/>
                  <a:pt x="2809" y="1017"/>
                </a:cubicBezTo>
                <a:cubicBezTo>
                  <a:pt x="2811" y="1015"/>
                  <a:pt x="2811" y="1015"/>
                  <a:pt x="2811" y="1015"/>
                </a:cubicBezTo>
                <a:cubicBezTo>
                  <a:pt x="2811" y="1013"/>
                  <a:pt x="2811" y="1013"/>
                  <a:pt x="2811" y="1013"/>
                </a:cubicBezTo>
                <a:cubicBezTo>
                  <a:pt x="2810" y="1014"/>
                  <a:pt x="2810" y="1014"/>
                  <a:pt x="2810" y="1014"/>
                </a:cubicBezTo>
                <a:cubicBezTo>
                  <a:pt x="2807" y="1017"/>
                  <a:pt x="2807" y="1017"/>
                  <a:pt x="2807" y="1017"/>
                </a:cubicBezTo>
                <a:cubicBezTo>
                  <a:pt x="2806" y="1019"/>
                  <a:pt x="2806" y="1019"/>
                  <a:pt x="2806" y="1019"/>
                </a:cubicBezTo>
                <a:cubicBezTo>
                  <a:pt x="2806" y="1022"/>
                  <a:pt x="2806" y="1022"/>
                  <a:pt x="2806" y="1022"/>
                </a:cubicBezTo>
                <a:cubicBezTo>
                  <a:pt x="2805" y="1023"/>
                  <a:pt x="2805" y="1023"/>
                  <a:pt x="2805" y="1023"/>
                </a:cubicBezTo>
                <a:cubicBezTo>
                  <a:pt x="2804" y="1025"/>
                  <a:pt x="2804" y="1025"/>
                  <a:pt x="2804" y="1025"/>
                </a:cubicBezTo>
                <a:cubicBezTo>
                  <a:pt x="2805" y="1027"/>
                  <a:pt x="2805" y="1027"/>
                  <a:pt x="2805" y="1027"/>
                </a:cubicBezTo>
                <a:cubicBezTo>
                  <a:pt x="2807" y="1029"/>
                  <a:pt x="2807" y="1029"/>
                  <a:pt x="2807" y="1029"/>
                </a:cubicBezTo>
                <a:cubicBezTo>
                  <a:pt x="2806" y="1030"/>
                  <a:pt x="2806" y="1030"/>
                  <a:pt x="2806" y="1030"/>
                </a:cubicBezTo>
                <a:cubicBezTo>
                  <a:pt x="2805" y="1032"/>
                  <a:pt x="2805" y="1032"/>
                  <a:pt x="2805" y="1032"/>
                </a:cubicBezTo>
                <a:cubicBezTo>
                  <a:pt x="2807" y="1034"/>
                  <a:pt x="2807" y="1034"/>
                  <a:pt x="2807" y="1034"/>
                </a:cubicBezTo>
                <a:cubicBezTo>
                  <a:pt x="2807" y="1035"/>
                  <a:pt x="2807" y="1035"/>
                  <a:pt x="2807" y="1035"/>
                </a:cubicBezTo>
                <a:cubicBezTo>
                  <a:pt x="2808" y="1036"/>
                  <a:pt x="2808" y="1036"/>
                  <a:pt x="2808" y="1036"/>
                </a:cubicBezTo>
                <a:cubicBezTo>
                  <a:pt x="2807" y="1038"/>
                  <a:pt x="2807" y="1038"/>
                  <a:pt x="2807" y="1038"/>
                </a:cubicBezTo>
                <a:cubicBezTo>
                  <a:pt x="2808" y="1041"/>
                  <a:pt x="2808" y="1041"/>
                  <a:pt x="2808" y="1041"/>
                </a:cubicBezTo>
                <a:cubicBezTo>
                  <a:pt x="2810" y="1042"/>
                  <a:pt x="2810" y="1042"/>
                  <a:pt x="2810" y="1042"/>
                </a:cubicBezTo>
                <a:cubicBezTo>
                  <a:pt x="2812" y="1045"/>
                  <a:pt x="2812" y="1045"/>
                  <a:pt x="2812" y="1045"/>
                </a:cubicBezTo>
                <a:cubicBezTo>
                  <a:pt x="2813" y="1046"/>
                  <a:pt x="2813" y="1046"/>
                  <a:pt x="2813" y="1046"/>
                </a:cubicBezTo>
                <a:cubicBezTo>
                  <a:pt x="2814" y="1048"/>
                  <a:pt x="2814" y="1048"/>
                  <a:pt x="2814" y="1048"/>
                </a:cubicBezTo>
                <a:cubicBezTo>
                  <a:pt x="2814" y="1046"/>
                  <a:pt x="2814" y="1046"/>
                  <a:pt x="2814" y="1046"/>
                </a:cubicBezTo>
                <a:cubicBezTo>
                  <a:pt x="2815" y="1046"/>
                  <a:pt x="2815" y="1046"/>
                  <a:pt x="2815" y="1046"/>
                </a:cubicBezTo>
                <a:cubicBezTo>
                  <a:pt x="2814" y="1045"/>
                  <a:pt x="2814" y="1045"/>
                  <a:pt x="2814" y="1045"/>
                </a:cubicBezTo>
                <a:cubicBezTo>
                  <a:pt x="2812" y="1043"/>
                  <a:pt x="2812" y="1043"/>
                  <a:pt x="2812" y="1043"/>
                </a:cubicBezTo>
                <a:cubicBezTo>
                  <a:pt x="2811" y="1040"/>
                  <a:pt x="2811" y="1040"/>
                  <a:pt x="2811" y="1040"/>
                </a:cubicBezTo>
                <a:cubicBezTo>
                  <a:pt x="2809" y="1037"/>
                  <a:pt x="2809" y="1037"/>
                  <a:pt x="2809" y="1037"/>
                </a:cubicBezTo>
                <a:cubicBezTo>
                  <a:pt x="2809" y="1033"/>
                  <a:pt x="2809" y="1033"/>
                  <a:pt x="2809" y="1033"/>
                </a:cubicBezTo>
                <a:cubicBezTo>
                  <a:pt x="2811" y="1032"/>
                  <a:pt x="2811" y="1032"/>
                  <a:pt x="2811" y="1032"/>
                </a:cubicBezTo>
                <a:cubicBezTo>
                  <a:pt x="2813" y="1033"/>
                  <a:pt x="2813" y="1033"/>
                  <a:pt x="2813" y="1033"/>
                </a:cubicBezTo>
                <a:cubicBezTo>
                  <a:pt x="2816" y="1033"/>
                  <a:pt x="2816" y="1033"/>
                  <a:pt x="2816" y="1033"/>
                </a:cubicBezTo>
                <a:cubicBezTo>
                  <a:pt x="2817" y="1034"/>
                  <a:pt x="2817" y="1034"/>
                  <a:pt x="2817" y="1034"/>
                </a:cubicBezTo>
                <a:cubicBezTo>
                  <a:pt x="2819" y="1034"/>
                  <a:pt x="2819" y="1034"/>
                  <a:pt x="2819" y="1034"/>
                </a:cubicBezTo>
                <a:cubicBezTo>
                  <a:pt x="2818" y="1033"/>
                  <a:pt x="2818" y="1033"/>
                  <a:pt x="2818" y="1033"/>
                </a:cubicBezTo>
                <a:cubicBezTo>
                  <a:pt x="2818" y="1032"/>
                  <a:pt x="2818" y="1032"/>
                  <a:pt x="2818" y="1032"/>
                </a:cubicBezTo>
                <a:cubicBezTo>
                  <a:pt x="2815" y="1030"/>
                  <a:pt x="2815" y="1030"/>
                  <a:pt x="2815" y="1030"/>
                </a:cubicBezTo>
                <a:cubicBezTo>
                  <a:pt x="2814" y="1030"/>
                  <a:pt x="2814" y="1030"/>
                  <a:pt x="2814" y="1030"/>
                </a:cubicBezTo>
                <a:cubicBezTo>
                  <a:pt x="2813" y="1028"/>
                  <a:pt x="2813" y="1028"/>
                  <a:pt x="2813" y="1028"/>
                </a:cubicBezTo>
                <a:cubicBezTo>
                  <a:pt x="2814" y="1027"/>
                  <a:pt x="2814" y="1027"/>
                  <a:pt x="2814" y="1027"/>
                </a:cubicBezTo>
                <a:lnTo>
                  <a:pt x="2818" y="1026"/>
                </a:lnTo>
                <a:close/>
                <a:moveTo>
                  <a:pt x="2802" y="1114"/>
                </a:moveTo>
                <a:cubicBezTo>
                  <a:pt x="2801" y="1115"/>
                  <a:pt x="2801" y="1115"/>
                  <a:pt x="2801" y="1115"/>
                </a:cubicBezTo>
                <a:cubicBezTo>
                  <a:pt x="2801" y="1116"/>
                  <a:pt x="2801" y="1116"/>
                  <a:pt x="2801" y="1116"/>
                </a:cubicBezTo>
                <a:cubicBezTo>
                  <a:pt x="2803" y="1115"/>
                  <a:pt x="2803" y="1115"/>
                  <a:pt x="2803" y="1115"/>
                </a:cubicBezTo>
                <a:lnTo>
                  <a:pt x="2802" y="1114"/>
                </a:lnTo>
                <a:close/>
                <a:moveTo>
                  <a:pt x="2805" y="1122"/>
                </a:moveTo>
                <a:cubicBezTo>
                  <a:pt x="2803" y="1123"/>
                  <a:pt x="2803" y="1123"/>
                  <a:pt x="2803" y="1123"/>
                </a:cubicBezTo>
                <a:cubicBezTo>
                  <a:pt x="2805" y="1123"/>
                  <a:pt x="2805" y="1123"/>
                  <a:pt x="2805" y="1123"/>
                </a:cubicBezTo>
                <a:lnTo>
                  <a:pt x="2805" y="1122"/>
                </a:lnTo>
                <a:close/>
                <a:moveTo>
                  <a:pt x="2745" y="1041"/>
                </a:moveTo>
                <a:cubicBezTo>
                  <a:pt x="2746" y="1042"/>
                  <a:pt x="2746" y="1042"/>
                  <a:pt x="2746" y="1042"/>
                </a:cubicBezTo>
                <a:cubicBezTo>
                  <a:pt x="2748" y="1042"/>
                  <a:pt x="2748" y="1042"/>
                  <a:pt x="2748" y="1042"/>
                </a:cubicBezTo>
                <a:cubicBezTo>
                  <a:pt x="2746" y="1041"/>
                  <a:pt x="2746" y="1041"/>
                  <a:pt x="2746" y="1041"/>
                </a:cubicBezTo>
                <a:lnTo>
                  <a:pt x="2745" y="1041"/>
                </a:lnTo>
                <a:close/>
                <a:moveTo>
                  <a:pt x="2761" y="1058"/>
                </a:moveTo>
                <a:cubicBezTo>
                  <a:pt x="2761" y="1058"/>
                  <a:pt x="2761" y="1056"/>
                  <a:pt x="2761" y="1056"/>
                </a:cubicBezTo>
                <a:cubicBezTo>
                  <a:pt x="2760" y="1057"/>
                  <a:pt x="2760" y="1057"/>
                  <a:pt x="2760" y="1057"/>
                </a:cubicBezTo>
                <a:lnTo>
                  <a:pt x="2761" y="1058"/>
                </a:lnTo>
                <a:close/>
                <a:moveTo>
                  <a:pt x="2766" y="1055"/>
                </a:moveTo>
                <a:cubicBezTo>
                  <a:pt x="2766" y="1053"/>
                  <a:pt x="2766" y="1053"/>
                  <a:pt x="2766" y="1053"/>
                </a:cubicBezTo>
                <a:cubicBezTo>
                  <a:pt x="2765" y="1054"/>
                  <a:pt x="2765" y="1054"/>
                  <a:pt x="2765" y="1054"/>
                </a:cubicBezTo>
                <a:lnTo>
                  <a:pt x="2766" y="1055"/>
                </a:lnTo>
                <a:close/>
                <a:moveTo>
                  <a:pt x="2763" y="1052"/>
                </a:moveTo>
                <a:cubicBezTo>
                  <a:pt x="2763" y="1053"/>
                  <a:pt x="2763" y="1053"/>
                  <a:pt x="2763" y="1053"/>
                </a:cubicBezTo>
                <a:cubicBezTo>
                  <a:pt x="2765" y="1053"/>
                  <a:pt x="2765" y="1053"/>
                  <a:pt x="2765" y="1053"/>
                </a:cubicBezTo>
                <a:cubicBezTo>
                  <a:pt x="2766" y="1051"/>
                  <a:pt x="2766" y="1051"/>
                  <a:pt x="2766" y="1051"/>
                </a:cubicBezTo>
                <a:cubicBezTo>
                  <a:pt x="2764" y="1050"/>
                  <a:pt x="2764" y="1050"/>
                  <a:pt x="2764" y="1050"/>
                </a:cubicBezTo>
                <a:cubicBezTo>
                  <a:pt x="2763" y="1051"/>
                  <a:pt x="2763" y="1051"/>
                  <a:pt x="2763" y="1051"/>
                </a:cubicBezTo>
                <a:cubicBezTo>
                  <a:pt x="2762" y="1052"/>
                  <a:pt x="2762" y="1052"/>
                  <a:pt x="2762" y="1052"/>
                </a:cubicBezTo>
                <a:cubicBezTo>
                  <a:pt x="2763" y="1050"/>
                  <a:pt x="2763" y="1050"/>
                  <a:pt x="2763" y="1050"/>
                </a:cubicBezTo>
                <a:cubicBezTo>
                  <a:pt x="2762" y="1050"/>
                  <a:pt x="2762" y="1050"/>
                  <a:pt x="2762" y="1050"/>
                </a:cubicBezTo>
                <a:cubicBezTo>
                  <a:pt x="2760" y="1049"/>
                  <a:pt x="2760" y="1049"/>
                  <a:pt x="2760" y="1049"/>
                </a:cubicBezTo>
                <a:cubicBezTo>
                  <a:pt x="2757" y="1051"/>
                  <a:pt x="2757" y="1051"/>
                  <a:pt x="2757" y="1051"/>
                </a:cubicBezTo>
                <a:cubicBezTo>
                  <a:pt x="2757" y="1053"/>
                  <a:pt x="2757" y="1053"/>
                  <a:pt x="2757" y="1053"/>
                </a:cubicBezTo>
                <a:cubicBezTo>
                  <a:pt x="2759" y="1054"/>
                  <a:pt x="2759" y="1054"/>
                  <a:pt x="2759" y="1054"/>
                </a:cubicBezTo>
                <a:cubicBezTo>
                  <a:pt x="2760" y="1053"/>
                  <a:pt x="2760" y="1053"/>
                  <a:pt x="2760" y="1053"/>
                </a:cubicBezTo>
                <a:cubicBezTo>
                  <a:pt x="2762" y="1054"/>
                  <a:pt x="2762" y="1054"/>
                  <a:pt x="2762" y="1054"/>
                </a:cubicBezTo>
                <a:lnTo>
                  <a:pt x="2763" y="1052"/>
                </a:lnTo>
                <a:close/>
                <a:moveTo>
                  <a:pt x="2781" y="1056"/>
                </a:moveTo>
                <a:cubicBezTo>
                  <a:pt x="2783" y="1057"/>
                  <a:pt x="2783" y="1057"/>
                  <a:pt x="2783" y="1057"/>
                </a:cubicBezTo>
                <a:cubicBezTo>
                  <a:pt x="2783" y="1055"/>
                  <a:pt x="2783" y="1055"/>
                  <a:pt x="2783" y="1055"/>
                </a:cubicBezTo>
                <a:cubicBezTo>
                  <a:pt x="2781" y="1054"/>
                  <a:pt x="2781" y="1054"/>
                  <a:pt x="2781" y="1054"/>
                </a:cubicBezTo>
                <a:cubicBezTo>
                  <a:pt x="2780" y="1055"/>
                  <a:pt x="2780" y="1055"/>
                  <a:pt x="2780" y="1055"/>
                </a:cubicBezTo>
                <a:cubicBezTo>
                  <a:pt x="2779" y="1055"/>
                  <a:pt x="2779" y="1055"/>
                  <a:pt x="2779" y="1055"/>
                </a:cubicBezTo>
                <a:cubicBezTo>
                  <a:pt x="2777" y="1054"/>
                  <a:pt x="2777" y="1054"/>
                  <a:pt x="2777" y="1054"/>
                </a:cubicBezTo>
                <a:cubicBezTo>
                  <a:pt x="2775" y="1055"/>
                  <a:pt x="2775" y="1055"/>
                  <a:pt x="2775" y="1055"/>
                </a:cubicBezTo>
                <a:cubicBezTo>
                  <a:pt x="2775" y="1054"/>
                  <a:pt x="2775" y="1054"/>
                  <a:pt x="2775" y="1054"/>
                </a:cubicBezTo>
                <a:cubicBezTo>
                  <a:pt x="2773" y="1056"/>
                  <a:pt x="2773" y="1056"/>
                  <a:pt x="2773" y="1056"/>
                </a:cubicBezTo>
                <a:cubicBezTo>
                  <a:pt x="2773" y="1057"/>
                  <a:pt x="2773" y="1057"/>
                  <a:pt x="2773" y="1057"/>
                </a:cubicBezTo>
                <a:cubicBezTo>
                  <a:pt x="2774" y="1058"/>
                  <a:pt x="2774" y="1058"/>
                  <a:pt x="2774" y="1058"/>
                </a:cubicBezTo>
                <a:cubicBezTo>
                  <a:pt x="2776" y="1058"/>
                  <a:pt x="2776" y="1058"/>
                  <a:pt x="2776" y="1058"/>
                </a:cubicBezTo>
                <a:cubicBezTo>
                  <a:pt x="2778" y="1057"/>
                  <a:pt x="2778" y="1057"/>
                  <a:pt x="2778" y="1057"/>
                </a:cubicBezTo>
                <a:cubicBezTo>
                  <a:pt x="2779" y="1057"/>
                  <a:pt x="2779" y="1057"/>
                  <a:pt x="2779" y="1057"/>
                </a:cubicBezTo>
                <a:lnTo>
                  <a:pt x="2781" y="1056"/>
                </a:lnTo>
                <a:close/>
                <a:moveTo>
                  <a:pt x="2762" y="1056"/>
                </a:moveTo>
                <a:cubicBezTo>
                  <a:pt x="2764" y="1056"/>
                  <a:pt x="2764" y="1056"/>
                  <a:pt x="2764" y="1056"/>
                </a:cubicBezTo>
                <a:cubicBezTo>
                  <a:pt x="2763" y="1055"/>
                  <a:pt x="2763" y="1055"/>
                  <a:pt x="2763" y="1055"/>
                </a:cubicBezTo>
                <a:lnTo>
                  <a:pt x="2762" y="1056"/>
                </a:lnTo>
                <a:close/>
                <a:moveTo>
                  <a:pt x="2761" y="1127"/>
                </a:moveTo>
                <a:cubicBezTo>
                  <a:pt x="2763" y="1127"/>
                  <a:pt x="2763" y="1127"/>
                  <a:pt x="2763" y="1127"/>
                </a:cubicBezTo>
                <a:cubicBezTo>
                  <a:pt x="2764" y="1126"/>
                  <a:pt x="2764" y="1126"/>
                  <a:pt x="2764" y="1126"/>
                </a:cubicBezTo>
                <a:cubicBezTo>
                  <a:pt x="2766" y="1124"/>
                  <a:pt x="2766" y="1124"/>
                  <a:pt x="2766" y="1124"/>
                </a:cubicBezTo>
                <a:cubicBezTo>
                  <a:pt x="2766" y="1123"/>
                  <a:pt x="2766" y="1123"/>
                  <a:pt x="2766" y="1123"/>
                </a:cubicBezTo>
                <a:cubicBezTo>
                  <a:pt x="2764" y="1124"/>
                  <a:pt x="2764" y="1124"/>
                  <a:pt x="2764" y="1124"/>
                </a:cubicBezTo>
                <a:cubicBezTo>
                  <a:pt x="2763" y="1124"/>
                  <a:pt x="2763" y="1124"/>
                  <a:pt x="2763" y="1124"/>
                </a:cubicBezTo>
                <a:cubicBezTo>
                  <a:pt x="2762" y="1124"/>
                  <a:pt x="2762" y="1124"/>
                  <a:pt x="2762" y="1124"/>
                </a:cubicBezTo>
                <a:cubicBezTo>
                  <a:pt x="2762" y="1125"/>
                  <a:pt x="2762" y="1125"/>
                  <a:pt x="2762" y="1125"/>
                </a:cubicBezTo>
                <a:cubicBezTo>
                  <a:pt x="2760" y="1126"/>
                  <a:pt x="2760" y="1126"/>
                  <a:pt x="2760" y="1126"/>
                </a:cubicBezTo>
                <a:lnTo>
                  <a:pt x="2761" y="1127"/>
                </a:lnTo>
                <a:close/>
                <a:moveTo>
                  <a:pt x="2768" y="1125"/>
                </a:moveTo>
                <a:cubicBezTo>
                  <a:pt x="2767" y="1126"/>
                  <a:pt x="2767" y="1126"/>
                  <a:pt x="2767" y="1126"/>
                </a:cubicBezTo>
                <a:cubicBezTo>
                  <a:pt x="2768" y="1126"/>
                  <a:pt x="2768" y="1126"/>
                  <a:pt x="2768" y="1126"/>
                </a:cubicBezTo>
                <a:cubicBezTo>
                  <a:pt x="2769" y="1127"/>
                  <a:pt x="2769" y="1127"/>
                  <a:pt x="2769" y="1127"/>
                </a:cubicBezTo>
                <a:cubicBezTo>
                  <a:pt x="2771" y="1125"/>
                  <a:pt x="2771" y="1125"/>
                  <a:pt x="2771" y="1125"/>
                </a:cubicBezTo>
                <a:cubicBezTo>
                  <a:pt x="2770" y="1124"/>
                  <a:pt x="2770" y="1124"/>
                  <a:pt x="2770" y="1124"/>
                </a:cubicBezTo>
                <a:cubicBezTo>
                  <a:pt x="2769" y="1125"/>
                  <a:pt x="2769" y="1125"/>
                  <a:pt x="2769" y="1125"/>
                </a:cubicBezTo>
                <a:lnTo>
                  <a:pt x="2768" y="1125"/>
                </a:lnTo>
                <a:close/>
                <a:moveTo>
                  <a:pt x="2722" y="1129"/>
                </a:moveTo>
                <a:cubicBezTo>
                  <a:pt x="2723" y="1129"/>
                  <a:pt x="2723" y="1129"/>
                  <a:pt x="2723" y="1129"/>
                </a:cubicBezTo>
                <a:cubicBezTo>
                  <a:pt x="2723" y="1128"/>
                  <a:pt x="2723" y="1128"/>
                  <a:pt x="2723" y="1128"/>
                </a:cubicBezTo>
                <a:cubicBezTo>
                  <a:pt x="2723" y="1127"/>
                  <a:pt x="2723" y="1127"/>
                  <a:pt x="2723" y="1127"/>
                </a:cubicBezTo>
                <a:lnTo>
                  <a:pt x="2722" y="1129"/>
                </a:lnTo>
                <a:close/>
                <a:moveTo>
                  <a:pt x="2734" y="1100"/>
                </a:moveTo>
                <a:cubicBezTo>
                  <a:pt x="2733" y="1097"/>
                  <a:pt x="2733" y="1097"/>
                  <a:pt x="2733" y="1097"/>
                </a:cubicBezTo>
                <a:cubicBezTo>
                  <a:pt x="2732" y="1098"/>
                  <a:pt x="2732" y="1098"/>
                  <a:pt x="2732" y="1098"/>
                </a:cubicBezTo>
                <a:cubicBezTo>
                  <a:pt x="2732" y="1100"/>
                  <a:pt x="2732" y="1100"/>
                  <a:pt x="2732" y="1100"/>
                </a:cubicBezTo>
                <a:cubicBezTo>
                  <a:pt x="2731" y="1101"/>
                  <a:pt x="2731" y="1101"/>
                  <a:pt x="2731" y="1101"/>
                </a:cubicBezTo>
                <a:cubicBezTo>
                  <a:pt x="2732" y="1102"/>
                  <a:pt x="2732" y="1102"/>
                  <a:pt x="2732" y="1102"/>
                </a:cubicBezTo>
                <a:cubicBezTo>
                  <a:pt x="2733" y="1104"/>
                  <a:pt x="2733" y="1104"/>
                  <a:pt x="2733" y="1104"/>
                </a:cubicBezTo>
                <a:cubicBezTo>
                  <a:pt x="2733" y="1102"/>
                  <a:pt x="2733" y="1102"/>
                  <a:pt x="2733" y="1102"/>
                </a:cubicBezTo>
                <a:lnTo>
                  <a:pt x="2734" y="1100"/>
                </a:lnTo>
                <a:close/>
                <a:moveTo>
                  <a:pt x="2748" y="1040"/>
                </a:moveTo>
                <a:cubicBezTo>
                  <a:pt x="2748" y="1040"/>
                  <a:pt x="2747" y="1041"/>
                  <a:pt x="2747" y="1041"/>
                </a:cubicBezTo>
                <a:cubicBezTo>
                  <a:pt x="2748" y="1041"/>
                  <a:pt x="2748" y="1041"/>
                  <a:pt x="2748" y="1041"/>
                </a:cubicBezTo>
                <a:lnTo>
                  <a:pt x="2748" y="1040"/>
                </a:lnTo>
                <a:close/>
                <a:moveTo>
                  <a:pt x="2735" y="1111"/>
                </a:moveTo>
                <a:cubicBezTo>
                  <a:pt x="2733" y="1110"/>
                  <a:pt x="2733" y="1110"/>
                  <a:pt x="2733" y="1110"/>
                </a:cubicBezTo>
                <a:cubicBezTo>
                  <a:pt x="2733" y="1111"/>
                  <a:pt x="2733" y="1111"/>
                  <a:pt x="2733" y="1111"/>
                </a:cubicBezTo>
                <a:cubicBezTo>
                  <a:pt x="2734" y="1112"/>
                  <a:pt x="2734" y="1112"/>
                  <a:pt x="2734" y="1112"/>
                </a:cubicBezTo>
                <a:lnTo>
                  <a:pt x="2735" y="1111"/>
                </a:lnTo>
                <a:close/>
                <a:moveTo>
                  <a:pt x="2719" y="1128"/>
                </a:moveTo>
                <a:cubicBezTo>
                  <a:pt x="2720" y="1129"/>
                  <a:pt x="2720" y="1129"/>
                  <a:pt x="2720" y="1129"/>
                </a:cubicBezTo>
                <a:cubicBezTo>
                  <a:pt x="2721" y="1127"/>
                  <a:pt x="2721" y="1127"/>
                  <a:pt x="2721" y="1127"/>
                </a:cubicBezTo>
                <a:cubicBezTo>
                  <a:pt x="2722" y="1126"/>
                  <a:pt x="2722" y="1126"/>
                  <a:pt x="2722" y="1126"/>
                </a:cubicBezTo>
                <a:cubicBezTo>
                  <a:pt x="2720" y="1125"/>
                  <a:pt x="2720" y="1125"/>
                  <a:pt x="2720" y="1125"/>
                </a:cubicBezTo>
                <a:lnTo>
                  <a:pt x="2719" y="1128"/>
                </a:lnTo>
                <a:close/>
                <a:moveTo>
                  <a:pt x="2838" y="631"/>
                </a:moveTo>
                <a:cubicBezTo>
                  <a:pt x="2837" y="631"/>
                  <a:pt x="2837" y="631"/>
                  <a:pt x="2837" y="631"/>
                </a:cubicBezTo>
                <a:cubicBezTo>
                  <a:pt x="2836" y="632"/>
                  <a:pt x="2836" y="632"/>
                  <a:pt x="2836" y="632"/>
                </a:cubicBezTo>
                <a:cubicBezTo>
                  <a:pt x="2836" y="633"/>
                  <a:pt x="2836" y="633"/>
                  <a:pt x="2836" y="633"/>
                </a:cubicBezTo>
                <a:cubicBezTo>
                  <a:pt x="2837" y="636"/>
                  <a:pt x="2837" y="636"/>
                  <a:pt x="2837" y="636"/>
                </a:cubicBezTo>
                <a:cubicBezTo>
                  <a:pt x="2838" y="635"/>
                  <a:pt x="2838" y="635"/>
                  <a:pt x="2838" y="635"/>
                </a:cubicBezTo>
                <a:cubicBezTo>
                  <a:pt x="2838" y="634"/>
                  <a:pt x="2838" y="634"/>
                  <a:pt x="2838" y="634"/>
                </a:cubicBezTo>
                <a:cubicBezTo>
                  <a:pt x="2838" y="633"/>
                  <a:pt x="2838" y="633"/>
                  <a:pt x="2838" y="633"/>
                </a:cubicBezTo>
                <a:cubicBezTo>
                  <a:pt x="2838" y="632"/>
                  <a:pt x="2838" y="632"/>
                  <a:pt x="2838" y="632"/>
                </a:cubicBezTo>
                <a:lnTo>
                  <a:pt x="2838" y="631"/>
                </a:lnTo>
                <a:close/>
                <a:moveTo>
                  <a:pt x="2746" y="1090"/>
                </a:moveTo>
                <a:cubicBezTo>
                  <a:pt x="2746" y="1091"/>
                  <a:pt x="2746" y="1091"/>
                  <a:pt x="2746" y="1091"/>
                </a:cubicBezTo>
                <a:cubicBezTo>
                  <a:pt x="2746" y="1091"/>
                  <a:pt x="2746" y="1091"/>
                  <a:pt x="2746" y="1091"/>
                </a:cubicBezTo>
                <a:cubicBezTo>
                  <a:pt x="2746" y="1094"/>
                  <a:pt x="2746" y="1094"/>
                  <a:pt x="2746" y="1094"/>
                </a:cubicBezTo>
                <a:cubicBezTo>
                  <a:pt x="2747" y="1094"/>
                  <a:pt x="2747" y="1094"/>
                  <a:pt x="2747" y="1094"/>
                </a:cubicBezTo>
                <a:cubicBezTo>
                  <a:pt x="2749" y="1093"/>
                  <a:pt x="2749" y="1093"/>
                  <a:pt x="2749" y="1093"/>
                </a:cubicBezTo>
                <a:cubicBezTo>
                  <a:pt x="2748" y="1091"/>
                  <a:pt x="2748" y="1091"/>
                  <a:pt x="2748" y="1091"/>
                </a:cubicBezTo>
                <a:cubicBezTo>
                  <a:pt x="2747" y="1089"/>
                  <a:pt x="2747" y="1089"/>
                  <a:pt x="2747" y="1089"/>
                </a:cubicBezTo>
                <a:cubicBezTo>
                  <a:pt x="2747" y="1089"/>
                  <a:pt x="2746" y="1090"/>
                  <a:pt x="2746" y="1090"/>
                </a:cubicBezTo>
                <a:close/>
                <a:moveTo>
                  <a:pt x="2751" y="1092"/>
                </a:moveTo>
                <a:cubicBezTo>
                  <a:pt x="2752" y="1093"/>
                  <a:pt x="2752" y="1093"/>
                  <a:pt x="2752" y="1093"/>
                </a:cubicBezTo>
                <a:cubicBezTo>
                  <a:pt x="2753" y="1092"/>
                  <a:pt x="2753" y="1092"/>
                  <a:pt x="2753" y="1092"/>
                </a:cubicBezTo>
                <a:cubicBezTo>
                  <a:pt x="2754" y="1092"/>
                  <a:pt x="2754" y="1092"/>
                  <a:pt x="2754" y="1092"/>
                </a:cubicBezTo>
                <a:cubicBezTo>
                  <a:pt x="2754" y="1091"/>
                  <a:pt x="2754" y="1091"/>
                  <a:pt x="2754" y="1091"/>
                </a:cubicBezTo>
                <a:cubicBezTo>
                  <a:pt x="2755" y="1090"/>
                  <a:pt x="2755" y="1090"/>
                  <a:pt x="2755" y="1090"/>
                </a:cubicBezTo>
                <a:cubicBezTo>
                  <a:pt x="2756" y="1088"/>
                  <a:pt x="2756" y="1088"/>
                  <a:pt x="2756" y="1088"/>
                </a:cubicBezTo>
                <a:cubicBezTo>
                  <a:pt x="2756" y="1087"/>
                  <a:pt x="2756" y="1087"/>
                  <a:pt x="2756" y="1087"/>
                </a:cubicBezTo>
                <a:cubicBezTo>
                  <a:pt x="2755" y="1086"/>
                  <a:pt x="2755" y="1086"/>
                  <a:pt x="2755" y="1086"/>
                </a:cubicBezTo>
                <a:cubicBezTo>
                  <a:pt x="2753" y="1086"/>
                  <a:pt x="2753" y="1086"/>
                  <a:pt x="2753" y="1086"/>
                </a:cubicBezTo>
                <a:cubicBezTo>
                  <a:pt x="2752" y="1088"/>
                  <a:pt x="2752" y="1088"/>
                  <a:pt x="2752" y="1088"/>
                </a:cubicBezTo>
                <a:cubicBezTo>
                  <a:pt x="2753" y="1089"/>
                  <a:pt x="2753" y="1089"/>
                  <a:pt x="2753" y="1089"/>
                </a:cubicBezTo>
                <a:cubicBezTo>
                  <a:pt x="2751" y="1091"/>
                  <a:pt x="2751" y="1091"/>
                  <a:pt x="2751" y="1091"/>
                </a:cubicBezTo>
                <a:cubicBezTo>
                  <a:pt x="2751" y="1091"/>
                  <a:pt x="2751" y="1092"/>
                  <a:pt x="2751" y="1092"/>
                </a:cubicBezTo>
                <a:close/>
                <a:moveTo>
                  <a:pt x="2816" y="1015"/>
                </a:moveTo>
                <a:cubicBezTo>
                  <a:pt x="2817" y="1014"/>
                  <a:pt x="2817" y="1014"/>
                  <a:pt x="2817" y="1014"/>
                </a:cubicBezTo>
                <a:cubicBezTo>
                  <a:pt x="2817" y="1012"/>
                  <a:pt x="2817" y="1012"/>
                  <a:pt x="2817" y="1012"/>
                </a:cubicBezTo>
                <a:cubicBezTo>
                  <a:pt x="2816" y="1011"/>
                  <a:pt x="2816" y="1011"/>
                  <a:pt x="2816" y="1011"/>
                </a:cubicBezTo>
                <a:cubicBezTo>
                  <a:pt x="2814" y="1012"/>
                  <a:pt x="2814" y="1012"/>
                  <a:pt x="2814" y="1012"/>
                </a:cubicBezTo>
                <a:cubicBezTo>
                  <a:pt x="2813" y="1013"/>
                  <a:pt x="2813" y="1013"/>
                  <a:pt x="2813" y="1013"/>
                </a:cubicBezTo>
                <a:cubicBezTo>
                  <a:pt x="2813" y="1016"/>
                  <a:pt x="2813" y="1016"/>
                  <a:pt x="2813" y="1016"/>
                </a:cubicBezTo>
                <a:cubicBezTo>
                  <a:pt x="2815" y="1015"/>
                  <a:pt x="2815" y="1015"/>
                  <a:pt x="2815" y="1015"/>
                </a:cubicBezTo>
                <a:lnTo>
                  <a:pt x="2816" y="1015"/>
                </a:lnTo>
                <a:close/>
                <a:moveTo>
                  <a:pt x="2826" y="1120"/>
                </a:moveTo>
                <a:cubicBezTo>
                  <a:pt x="2828" y="1120"/>
                  <a:pt x="2828" y="1120"/>
                  <a:pt x="2828" y="1120"/>
                </a:cubicBezTo>
                <a:cubicBezTo>
                  <a:pt x="2828" y="1118"/>
                  <a:pt x="2828" y="1118"/>
                  <a:pt x="2828" y="1118"/>
                </a:cubicBezTo>
                <a:cubicBezTo>
                  <a:pt x="2826" y="1117"/>
                  <a:pt x="2826" y="1117"/>
                  <a:pt x="2826" y="1117"/>
                </a:cubicBezTo>
                <a:cubicBezTo>
                  <a:pt x="2825" y="1118"/>
                  <a:pt x="2825" y="1118"/>
                  <a:pt x="2825" y="1118"/>
                </a:cubicBezTo>
                <a:cubicBezTo>
                  <a:pt x="2825" y="1119"/>
                  <a:pt x="2825" y="1119"/>
                  <a:pt x="2825" y="1119"/>
                </a:cubicBezTo>
                <a:lnTo>
                  <a:pt x="2826" y="1120"/>
                </a:lnTo>
                <a:close/>
                <a:moveTo>
                  <a:pt x="2828" y="1121"/>
                </a:moveTo>
                <a:cubicBezTo>
                  <a:pt x="2826" y="1122"/>
                  <a:pt x="2826" y="1122"/>
                  <a:pt x="2826" y="1122"/>
                </a:cubicBezTo>
                <a:cubicBezTo>
                  <a:pt x="2828" y="1122"/>
                  <a:pt x="2828" y="1122"/>
                  <a:pt x="2828" y="1122"/>
                </a:cubicBezTo>
                <a:lnTo>
                  <a:pt x="2828" y="1121"/>
                </a:lnTo>
                <a:close/>
                <a:moveTo>
                  <a:pt x="2831" y="1160"/>
                </a:moveTo>
                <a:cubicBezTo>
                  <a:pt x="2833" y="1161"/>
                  <a:pt x="2833" y="1161"/>
                  <a:pt x="2833" y="1161"/>
                </a:cubicBezTo>
                <a:cubicBezTo>
                  <a:pt x="2833" y="1160"/>
                  <a:pt x="2833" y="1160"/>
                  <a:pt x="2833" y="1160"/>
                </a:cubicBezTo>
                <a:cubicBezTo>
                  <a:pt x="2831" y="1159"/>
                  <a:pt x="2831" y="1159"/>
                  <a:pt x="2831" y="1159"/>
                </a:cubicBezTo>
                <a:cubicBezTo>
                  <a:pt x="2831" y="1156"/>
                  <a:pt x="2831" y="1156"/>
                  <a:pt x="2831" y="1156"/>
                </a:cubicBezTo>
                <a:cubicBezTo>
                  <a:pt x="2829" y="1156"/>
                  <a:pt x="2829" y="1156"/>
                  <a:pt x="2829" y="1156"/>
                </a:cubicBezTo>
                <a:cubicBezTo>
                  <a:pt x="2829" y="1157"/>
                  <a:pt x="2829" y="1157"/>
                  <a:pt x="2829" y="1157"/>
                </a:cubicBezTo>
                <a:cubicBezTo>
                  <a:pt x="2829" y="1158"/>
                  <a:pt x="2829" y="1158"/>
                  <a:pt x="2829" y="1158"/>
                </a:cubicBezTo>
                <a:cubicBezTo>
                  <a:pt x="2830" y="1158"/>
                  <a:pt x="2830" y="1158"/>
                  <a:pt x="2830" y="1158"/>
                </a:cubicBezTo>
                <a:cubicBezTo>
                  <a:pt x="2830" y="1159"/>
                  <a:pt x="2830" y="1159"/>
                  <a:pt x="2830" y="1159"/>
                </a:cubicBezTo>
                <a:cubicBezTo>
                  <a:pt x="2829" y="1158"/>
                  <a:pt x="2829" y="1158"/>
                  <a:pt x="2829" y="1158"/>
                </a:cubicBezTo>
                <a:cubicBezTo>
                  <a:pt x="2828" y="1158"/>
                  <a:pt x="2828" y="1158"/>
                  <a:pt x="2828" y="1158"/>
                </a:cubicBezTo>
                <a:cubicBezTo>
                  <a:pt x="2828" y="1160"/>
                  <a:pt x="2828" y="1160"/>
                  <a:pt x="2828" y="1160"/>
                </a:cubicBezTo>
                <a:cubicBezTo>
                  <a:pt x="2830" y="1160"/>
                  <a:pt x="2830" y="1160"/>
                  <a:pt x="2830" y="1160"/>
                </a:cubicBezTo>
                <a:lnTo>
                  <a:pt x="2831" y="1160"/>
                </a:lnTo>
                <a:close/>
                <a:moveTo>
                  <a:pt x="2809" y="1124"/>
                </a:moveTo>
                <a:cubicBezTo>
                  <a:pt x="2811" y="1123"/>
                  <a:pt x="2811" y="1123"/>
                  <a:pt x="2811" y="1123"/>
                </a:cubicBezTo>
                <a:cubicBezTo>
                  <a:pt x="2811" y="1122"/>
                  <a:pt x="2811" y="1122"/>
                  <a:pt x="2811" y="1122"/>
                </a:cubicBezTo>
                <a:cubicBezTo>
                  <a:pt x="2809" y="1122"/>
                  <a:pt x="2809" y="1122"/>
                  <a:pt x="2809" y="1122"/>
                </a:cubicBezTo>
                <a:cubicBezTo>
                  <a:pt x="2806" y="1122"/>
                  <a:pt x="2806" y="1122"/>
                  <a:pt x="2806" y="1122"/>
                </a:cubicBezTo>
                <a:cubicBezTo>
                  <a:pt x="2807" y="1123"/>
                  <a:pt x="2807" y="1123"/>
                  <a:pt x="2807" y="1123"/>
                </a:cubicBezTo>
                <a:lnTo>
                  <a:pt x="2809" y="1124"/>
                </a:lnTo>
                <a:close/>
                <a:moveTo>
                  <a:pt x="2837" y="1163"/>
                </a:moveTo>
                <a:cubicBezTo>
                  <a:pt x="2841" y="1159"/>
                  <a:pt x="2841" y="1159"/>
                  <a:pt x="2841" y="1159"/>
                </a:cubicBezTo>
                <a:cubicBezTo>
                  <a:pt x="2842" y="1159"/>
                  <a:pt x="2842" y="1159"/>
                  <a:pt x="2842" y="1159"/>
                </a:cubicBezTo>
                <a:cubicBezTo>
                  <a:pt x="2842" y="1158"/>
                  <a:pt x="2842" y="1158"/>
                  <a:pt x="2842" y="1158"/>
                </a:cubicBezTo>
                <a:cubicBezTo>
                  <a:pt x="2843" y="1157"/>
                  <a:pt x="2843" y="1157"/>
                  <a:pt x="2843" y="1157"/>
                </a:cubicBezTo>
                <a:cubicBezTo>
                  <a:pt x="2842" y="1157"/>
                  <a:pt x="2842" y="1157"/>
                  <a:pt x="2842" y="1157"/>
                </a:cubicBezTo>
                <a:cubicBezTo>
                  <a:pt x="2841" y="1155"/>
                  <a:pt x="2841" y="1155"/>
                  <a:pt x="2841" y="1155"/>
                </a:cubicBezTo>
                <a:cubicBezTo>
                  <a:pt x="2841" y="1155"/>
                  <a:pt x="2841" y="1155"/>
                  <a:pt x="2841" y="1155"/>
                </a:cubicBezTo>
                <a:cubicBezTo>
                  <a:pt x="2839" y="1156"/>
                  <a:pt x="2839" y="1156"/>
                  <a:pt x="2839" y="1156"/>
                </a:cubicBezTo>
                <a:cubicBezTo>
                  <a:pt x="2837" y="1156"/>
                  <a:pt x="2837" y="1156"/>
                  <a:pt x="2837" y="1156"/>
                </a:cubicBezTo>
                <a:cubicBezTo>
                  <a:pt x="2835" y="1157"/>
                  <a:pt x="2835" y="1157"/>
                  <a:pt x="2835" y="1157"/>
                </a:cubicBezTo>
                <a:cubicBezTo>
                  <a:pt x="2834" y="1157"/>
                  <a:pt x="2834" y="1157"/>
                  <a:pt x="2834" y="1157"/>
                </a:cubicBezTo>
                <a:cubicBezTo>
                  <a:pt x="2834" y="1156"/>
                  <a:pt x="2834" y="1156"/>
                  <a:pt x="2834" y="1156"/>
                </a:cubicBezTo>
                <a:cubicBezTo>
                  <a:pt x="2833" y="1156"/>
                  <a:pt x="2833" y="1156"/>
                  <a:pt x="2833" y="1156"/>
                </a:cubicBezTo>
                <a:cubicBezTo>
                  <a:pt x="2832" y="1155"/>
                  <a:pt x="2832" y="1155"/>
                  <a:pt x="2832" y="1155"/>
                </a:cubicBezTo>
                <a:cubicBezTo>
                  <a:pt x="2831" y="1155"/>
                  <a:pt x="2831" y="1155"/>
                  <a:pt x="2831" y="1155"/>
                </a:cubicBezTo>
                <a:cubicBezTo>
                  <a:pt x="2831" y="1155"/>
                  <a:pt x="2831" y="1155"/>
                  <a:pt x="2831" y="1155"/>
                </a:cubicBezTo>
                <a:cubicBezTo>
                  <a:pt x="2832" y="1158"/>
                  <a:pt x="2832" y="1158"/>
                  <a:pt x="2832" y="1158"/>
                </a:cubicBezTo>
                <a:cubicBezTo>
                  <a:pt x="2833" y="1160"/>
                  <a:pt x="2833" y="1160"/>
                  <a:pt x="2833" y="1160"/>
                </a:cubicBezTo>
                <a:cubicBezTo>
                  <a:pt x="2835" y="1161"/>
                  <a:pt x="2835" y="1161"/>
                  <a:pt x="2835" y="1161"/>
                </a:cubicBezTo>
                <a:lnTo>
                  <a:pt x="2837" y="1163"/>
                </a:lnTo>
                <a:close/>
                <a:moveTo>
                  <a:pt x="2831" y="1102"/>
                </a:moveTo>
                <a:cubicBezTo>
                  <a:pt x="2830" y="1101"/>
                  <a:pt x="2830" y="1101"/>
                  <a:pt x="2830" y="1101"/>
                </a:cubicBezTo>
                <a:cubicBezTo>
                  <a:pt x="2829" y="1103"/>
                  <a:pt x="2829" y="1103"/>
                  <a:pt x="2829" y="1103"/>
                </a:cubicBezTo>
                <a:lnTo>
                  <a:pt x="2831" y="1102"/>
                </a:lnTo>
                <a:close/>
                <a:moveTo>
                  <a:pt x="2825" y="1106"/>
                </a:moveTo>
                <a:cubicBezTo>
                  <a:pt x="2824" y="1107"/>
                  <a:pt x="2824" y="1107"/>
                  <a:pt x="2824" y="1107"/>
                </a:cubicBezTo>
                <a:cubicBezTo>
                  <a:pt x="2825" y="1107"/>
                  <a:pt x="2825" y="1107"/>
                  <a:pt x="2825" y="1107"/>
                </a:cubicBezTo>
                <a:lnTo>
                  <a:pt x="2825" y="1106"/>
                </a:lnTo>
                <a:close/>
                <a:moveTo>
                  <a:pt x="2812" y="1076"/>
                </a:moveTo>
                <a:cubicBezTo>
                  <a:pt x="2813" y="1074"/>
                  <a:pt x="2813" y="1074"/>
                  <a:pt x="2813" y="1074"/>
                </a:cubicBezTo>
                <a:cubicBezTo>
                  <a:pt x="2812" y="1074"/>
                  <a:pt x="2812" y="1074"/>
                  <a:pt x="2812" y="1074"/>
                </a:cubicBezTo>
                <a:cubicBezTo>
                  <a:pt x="2811" y="1074"/>
                  <a:pt x="2811" y="1074"/>
                  <a:pt x="2811" y="1074"/>
                </a:cubicBezTo>
                <a:cubicBezTo>
                  <a:pt x="2809" y="1075"/>
                  <a:pt x="2809" y="1075"/>
                  <a:pt x="2809" y="1075"/>
                </a:cubicBezTo>
                <a:cubicBezTo>
                  <a:pt x="2810" y="1076"/>
                  <a:pt x="2810" y="1076"/>
                  <a:pt x="2810" y="1076"/>
                </a:cubicBezTo>
                <a:cubicBezTo>
                  <a:pt x="2812" y="1075"/>
                  <a:pt x="2812" y="1075"/>
                  <a:pt x="2812" y="1075"/>
                </a:cubicBezTo>
                <a:lnTo>
                  <a:pt x="2812" y="1076"/>
                </a:lnTo>
                <a:close/>
                <a:moveTo>
                  <a:pt x="2860" y="584"/>
                </a:moveTo>
                <a:cubicBezTo>
                  <a:pt x="2860" y="583"/>
                  <a:pt x="2860" y="583"/>
                  <a:pt x="2860" y="583"/>
                </a:cubicBezTo>
                <a:cubicBezTo>
                  <a:pt x="2861" y="582"/>
                  <a:pt x="2861" y="582"/>
                  <a:pt x="2861" y="582"/>
                </a:cubicBezTo>
                <a:cubicBezTo>
                  <a:pt x="2862" y="580"/>
                  <a:pt x="2862" y="580"/>
                  <a:pt x="2862" y="580"/>
                </a:cubicBezTo>
                <a:cubicBezTo>
                  <a:pt x="2862" y="579"/>
                  <a:pt x="2862" y="579"/>
                  <a:pt x="2862" y="579"/>
                </a:cubicBezTo>
                <a:cubicBezTo>
                  <a:pt x="2860" y="579"/>
                  <a:pt x="2860" y="579"/>
                  <a:pt x="2860" y="579"/>
                </a:cubicBezTo>
                <a:cubicBezTo>
                  <a:pt x="2860" y="577"/>
                  <a:pt x="2860" y="577"/>
                  <a:pt x="2860" y="577"/>
                </a:cubicBezTo>
                <a:cubicBezTo>
                  <a:pt x="2860" y="576"/>
                  <a:pt x="2860" y="576"/>
                  <a:pt x="2860" y="576"/>
                </a:cubicBezTo>
                <a:cubicBezTo>
                  <a:pt x="2859" y="576"/>
                  <a:pt x="2859" y="576"/>
                  <a:pt x="2859" y="576"/>
                </a:cubicBezTo>
                <a:cubicBezTo>
                  <a:pt x="2858" y="580"/>
                  <a:pt x="2858" y="580"/>
                  <a:pt x="2858" y="580"/>
                </a:cubicBezTo>
                <a:cubicBezTo>
                  <a:pt x="2859" y="581"/>
                  <a:pt x="2859" y="581"/>
                  <a:pt x="2859" y="581"/>
                </a:cubicBezTo>
                <a:cubicBezTo>
                  <a:pt x="2860" y="580"/>
                  <a:pt x="2860" y="580"/>
                  <a:pt x="2860" y="580"/>
                </a:cubicBezTo>
                <a:cubicBezTo>
                  <a:pt x="2860" y="581"/>
                  <a:pt x="2860" y="581"/>
                  <a:pt x="2860" y="581"/>
                </a:cubicBezTo>
                <a:cubicBezTo>
                  <a:pt x="2860" y="582"/>
                  <a:pt x="2860" y="582"/>
                  <a:pt x="2860" y="582"/>
                </a:cubicBezTo>
                <a:lnTo>
                  <a:pt x="2860" y="584"/>
                </a:lnTo>
                <a:close/>
                <a:moveTo>
                  <a:pt x="2906" y="479"/>
                </a:moveTo>
                <a:cubicBezTo>
                  <a:pt x="2907" y="479"/>
                  <a:pt x="2907" y="479"/>
                  <a:pt x="2907" y="479"/>
                </a:cubicBezTo>
                <a:cubicBezTo>
                  <a:pt x="2910" y="476"/>
                  <a:pt x="2910" y="476"/>
                  <a:pt x="2910" y="476"/>
                </a:cubicBezTo>
                <a:cubicBezTo>
                  <a:pt x="2910" y="474"/>
                  <a:pt x="2910" y="474"/>
                  <a:pt x="2910" y="474"/>
                </a:cubicBezTo>
                <a:cubicBezTo>
                  <a:pt x="2910" y="474"/>
                  <a:pt x="2910" y="474"/>
                  <a:pt x="2910" y="474"/>
                </a:cubicBezTo>
                <a:cubicBezTo>
                  <a:pt x="2908" y="475"/>
                  <a:pt x="2908" y="475"/>
                  <a:pt x="2908" y="475"/>
                </a:cubicBezTo>
                <a:cubicBezTo>
                  <a:pt x="2907" y="474"/>
                  <a:pt x="2907" y="474"/>
                  <a:pt x="2907" y="474"/>
                </a:cubicBezTo>
                <a:cubicBezTo>
                  <a:pt x="2906" y="473"/>
                  <a:pt x="2906" y="473"/>
                  <a:pt x="2906" y="473"/>
                </a:cubicBezTo>
                <a:cubicBezTo>
                  <a:pt x="2905" y="474"/>
                  <a:pt x="2905" y="474"/>
                  <a:pt x="2905" y="474"/>
                </a:cubicBezTo>
                <a:cubicBezTo>
                  <a:pt x="2905" y="476"/>
                  <a:pt x="2905" y="476"/>
                  <a:pt x="2905" y="476"/>
                </a:cubicBezTo>
                <a:cubicBezTo>
                  <a:pt x="2905" y="479"/>
                  <a:pt x="2905" y="479"/>
                  <a:pt x="2905" y="479"/>
                </a:cubicBezTo>
                <a:cubicBezTo>
                  <a:pt x="2904" y="482"/>
                  <a:pt x="2904" y="482"/>
                  <a:pt x="2904" y="482"/>
                </a:cubicBezTo>
                <a:cubicBezTo>
                  <a:pt x="2903" y="483"/>
                  <a:pt x="2903" y="483"/>
                  <a:pt x="2903" y="483"/>
                </a:cubicBezTo>
                <a:cubicBezTo>
                  <a:pt x="2904" y="485"/>
                  <a:pt x="2904" y="485"/>
                  <a:pt x="2904" y="485"/>
                </a:cubicBezTo>
                <a:cubicBezTo>
                  <a:pt x="2905" y="487"/>
                  <a:pt x="2905" y="487"/>
                  <a:pt x="2905" y="487"/>
                </a:cubicBezTo>
                <a:cubicBezTo>
                  <a:pt x="2905" y="487"/>
                  <a:pt x="2906" y="484"/>
                  <a:pt x="2906" y="484"/>
                </a:cubicBezTo>
                <a:lnTo>
                  <a:pt x="2906" y="479"/>
                </a:lnTo>
                <a:close/>
                <a:moveTo>
                  <a:pt x="2850" y="515"/>
                </a:moveTo>
                <a:cubicBezTo>
                  <a:pt x="2850" y="517"/>
                  <a:pt x="2850" y="517"/>
                  <a:pt x="2850" y="517"/>
                </a:cubicBezTo>
                <a:cubicBezTo>
                  <a:pt x="2851" y="518"/>
                  <a:pt x="2851" y="518"/>
                  <a:pt x="2851" y="518"/>
                </a:cubicBezTo>
                <a:cubicBezTo>
                  <a:pt x="2852" y="517"/>
                  <a:pt x="2852" y="517"/>
                  <a:pt x="2852" y="517"/>
                </a:cubicBezTo>
                <a:cubicBezTo>
                  <a:pt x="2852" y="515"/>
                  <a:pt x="2852" y="515"/>
                  <a:pt x="2852" y="515"/>
                </a:cubicBezTo>
                <a:cubicBezTo>
                  <a:pt x="2852" y="513"/>
                  <a:pt x="2852" y="513"/>
                  <a:pt x="2852" y="513"/>
                </a:cubicBezTo>
                <a:cubicBezTo>
                  <a:pt x="2851" y="514"/>
                  <a:pt x="2851" y="514"/>
                  <a:pt x="2851" y="514"/>
                </a:cubicBezTo>
                <a:lnTo>
                  <a:pt x="2850" y="515"/>
                </a:lnTo>
                <a:close/>
                <a:moveTo>
                  <a:pt x="2887" y="1054"/>
                </a:moveTo>
                <a:cubicBezTo>
                  <a:pt x="2890" y="1055"/>
                  <a:pt x="2890" y="1055"/>
                  <a:pt x="2890" y="1055"/>
                </a:cubicBezTo>
                <a:cubicBezTo>
                  <a:pt x="2895" y="1056"/>
                  <a:pt x="2895" y="1056"/>
                  <a:pt x="2895" y="1056"/>
                </a:cubicBezTo>
                <a:cubicBezTo>
                  <a:pt x="2899" y="1055"/>
                  <a:pt x="2899" y="1055"/>
                  <a:pt x="2899" y="1055"/>
                </a:cubicBezTo>
                <a:cubicBezTo>
                  <a:pt x="2900" y="1055"/>
                  <a:pt x="2900" y="1055"/>
                  <a:pt x="2900" y="1055"/>
                </a:cubicBezTo>
                <a:cubicBezTo>
                  <a:pt x="2897" y="1054"/>
                  <a:pt x="2897" y="1054"/>
                  <a:pt x="2897" y="1054"/>
                </a:cubicBezTo>
                <a:cubicBezTo>
                  <a:pt x="2895" y="1054"/>
                  <a:pt x="2895" y="1054"/>
                  <a:pt x="2895" y="1054"/>
                </a:cubicBezTo>
                <a:cubicBezTo>
                  <a:pt x="2892" y="1053"/>
                  <a:pt x="2892" y="1053"/>
                  <a:pt x="2892" y="1053"/>
                </a:cubicBezTo>
                <a:cubicBezTo>
                  <a:pt x="2890" y="1054"/>
                  <a:pt x="2890" y="1054"/>
                  <a:pt x="2890" y="1054"/>
                </a:cubicBezTo>
                <a:cubicBezTo>
                  <a:pt x="2886" y="1053"/>
                  <a:pt x="2886" y="1053"/>
                  <a:pt x="2886" y="1053"/>
                </a:cubicBezTo>
                <a:cubicBezTo>
                  <a:pt x="2886" y="1053"/>
                  <a:pt x="2887" y="1054"/>
                  <a:pt x="2887" y="1054"/>
                </a:cubicBezTo>
                <a:close/>
                <a:moveTo>
                  <a:pt x="2883" y="1053"/>
                </a:moveTo>
                <a:cubicBezTo>
                  <a:pt x="2885" y="1052"/>
                  <a:pt x="2885" y="1052"/>
                  <a:pt x="2885" y="1052"/>
                </a:cubicBezTo>
                <a:cubicBezTo>
                  <a:pt x="2882" y="1052"/>
                  <a:pt x="2882" y="1052"/>
                  <a:pt x="2882" y="1052"/>
                </a:cubicBezTo>
                <a:lnTo>
                  <a:pt x="2883" y="1053"/>
                </a:lnTo>
                <a:close/>
                <a:moveTo>
                  <a:pt x="2879" y="1046"/>
                </a:moveTo>
                <a:cubicBezTo>
                  <a:pt x="2880" y="1048"/>
                  <a:pt x="2880" y="1048"/>
                  <a:pt x="2880" y="1048"/>
                </a:cubicBezTo>
                <a:cubicBezTo>
                  <a:pt x="2881" y="1047"/>
                  <a:pt x="2881" y="1047"/>
                  <a:pt x="2881" y="1047"/>
                </a:cubicBezTo>
                <a:cubicBezTo>
                  <a:pt x="2880" y="1046"/>
                  <a:pt x="2880" y="1046"/>
                  <a:pt x="2880" y="1046"/>
                </a:cubicBezTo>
                <a:lnTo>
                  <a:pt x="2879" y="1046"/>
                </a:lnTo>
                <a:close/>
                <a:moveTo>
                  <a:pt x="2892" y="1048"/>
                </a:moveTo>
                <a:cubicBezTo>
                  <a:pt x="2892" y="1048"/>
                  <a:pt x="2892" y="1048"/>
                  <a:pt x="2892" y="1048"/>
                </a:cubicBezTo>
                <a:cubicBezTo>
                  <a:pt x="2893" y="1048"/>
                  <a:pt x="2893" y="1048"/>
                  <a:pt x="2893" y="1048"/>
                </a:cubicBezTo>
                <a:cubicBezTo>
                  <a:pt x="2896" y="1048"/>
                  <a:pt x="2896" y="1048"/>
                  <a:pt x="2896" y="1048"/>
                </a:cubicBezTo>
                <a:cubicBezTo>
                  <a:pt x="2895" y="1047"/>
                  <a:pt x="2895" y="1047"/>
                  <a:pt x="2895" y="1047"/>
                </a:cubicBezTo>
                <a:cubicBezTo>
                  <a:pt x="2893" y="1046"/>
                  <a:pt x="2893" y="1046"/>
                  <a:pt x="2893" y="1046"/>
                </a:cubicBezTo>
                <a:cubicBezTo>
                  <a:pt x="2892" y="1044"/>
                  <a:pt x="2892" y="1044"/>
                  <a:pt x="2892" y="1044"/>
                </a:cubicBezTo>
                <a:cubicBezTo>
                  <a:pt x="2890" y="1043"/>
                  <a:pt x="2890" y="1043"/>
                  <a:pt x="2890" y="1043"/>
                </a:cubicBezTo>
                <a:cubicBezTo>
                  <a:pt x="2889" y="1043"/>
                  <a:pt x="2889" y="1043"/>
                  <a:pt x="2889" y="1043"/>
                </a:cubicBezTo>
                <a:cubicBezTo>
                  <a:pt x="2886" y="1043"/>
                  <a:pt x="2886" y="1043"/>
                  <a:pt x="2886" y="1043"/>
                </a:cubicBezTo>
                <a:cubicBezTo>
                  <a:pt x="2886" y="1043"/>
                  <a:pt x="2886" y="1043"/>
                  <a:pt x="2886" y="1043"/>
                </a:cubicBezTo>
                <a:cubicBezTo>
                  <a:pt x="2888" y="1045"/>
                  <a:pt x="2888" y="1045"/>
                  <a:pt x="2888" y="1045"/>
                </a:cubicBezTo>
                <a:cubicBezTo>
                  <a:pt x="2888" y="1044"/>
                  <a:pt x="2888" y="1044"/>
                  <a:pt x="2888" y="1044"/>
                </a:cubicBezTo>
                <a:cubicBezTo>
                  <a:pt x="2889" y="1044"/>
                  <a:pt x="2889" y="1044"/>
                  <a:pt x="2889" y="1044"/>
                </a:cubicBezTo>
                <a:cubicBezTo>
                  <a:pt x="2891" y="1046"/>
                  <a:pt x="2891" y="1046"/>
                  <a:pt x="2891" y="1046"/>
                </a:cubicBezTo>
                <a:cubicBezTo>
                  <a:pt x="2890" y="1048"/>
                  <a:pt x="2890" y="1048"/>
                  <a:pt x="2890" y="1048"/>
                </a:cubicBezTo>
                <a:lnTo>
                  <a:pt x="2892" y="1048"/>
                </a:lnTo>
                <a:close/>
                <a:moveTo>
                  <a:pt x="2839" y="1114"/>
                </a:moveTo>
                <a:cubicBezTo>
                  <a:pt x="2840" y="1114"/>
                  <a:pt x="2840" y="1114"/>
                  <a:pt x="2840" y="1114"/>
                </a:cubicBezTo>
                <a:cubicBezTo>
                  <a:pt x="2841" y="1114"/>
                  <a:pt x="2841" y="1114"/>
                  <a:pt x="2841" y="1114"/>
                </a:cubicBezTo>
                <a:cubicBezTo>
                  <a:pt x="2841" y="1114"/>
                  <a:pt x="2841" y="1114"/>
                  <a:pt x="2841" y="1114"/>
                </a:cubicBezTo>
                <a:lnTo>
                  <a:pt x="2839" y="1114"/>
                </a:lnTo>
                <a:close/>
                <a:moveTo>
                  <a:pt x="2832" y="1058"/>
                </a:moveTo>
                <a:cubicBezTo>
                  <a:pt x="2835" y="1057"/>
                  <a:pt x="2835" y="1057"/>
                  <a:pt x="2835" y="1057"/>
                </a:cubicBezTo>
                <a:cubicBezTo>
                  <a:pt x="2834" y="1057"/>
                  <a:pt x="2834" y="1057"/>
                  <a:pt x="2834" y="1057"/>
                </a:cubicBezTo>
                <a:cubicBezTo>
                  <a:pt x="2834" y="1055"/>
                  <a:pt x="2834" y="1055"/>
                  <a:pt x="2834" y="1055"/>
                </a:cubicBezTo>
                <a:cubicBezTo>
                  <a:pt x="2833" y="1054"/>
                  <a:pt x="2833" y="1054"/>
                  <a:pt x="2833" y="1054"/>
                </a:cubicBezTo>
                <a:cubicBezTo>
                  <a:pt x="2829" y="1055"/>
                  <a:pt x="2829" y="1055"/>
                  <a:pt x="2829" y="1055"/>
                </a:cubicBezTo>
                <a:cubicBezTo>
                  <a:pt x="2828" y="1056"/>
                  <a:pt x="2828" y="1056"/>
                  <a:pt x="2828" y="1056"/>
                </a:cubicBezTo>
                <a:cubicBezTo>
                  <a:pt x="2829" y="1057"/>
                  <a:pt x="2829" y="1057"/>
                  <a:pt x="2829" y="1057"/>
                </a:cubicBezTo>
                <a:lnTo>
                  <a:pt x="2832" y="1058"/>
                </a:lnTo>
                <a:close/>
                <a:moveTo>
                  <a:pt x="2843" y="1040"/>
                </a:moveTo>
                <a:cubicBezTo>
                  <a:pt x="2844" y="1040"/>
                  <a:pt x="2844" y="1040"/>
                  <a:pt x="2844" y="1040"/>
                </a:cubicBezTo>
                <a:cubicBezTo>
                  <a:pt x="2846" y="1040"/>
                  <a:pt x="2846" y="1040"/>
                  <a:pt x="2846" y="1040"/>
                </a:cubicBezTo>
                <a:cubicBezTo>
                  <a:pt x="2845" y="1038"/>
                  <a:pt x="2845" y="1038"/>
                  <a:pt x="2845" y="1038"/>
                </a:cubicBezTo>
                <a:cubicBezTo>
                  <a:pt x="2843" y="1037"/>
                  <a:pt x="2843" y="1037"/>
                  <a:pt x="2843" y="1037"/>
                </a:cubicBezTo>
                <a:cubicBezTo>
                  <a:pt x="2840" y="1037"/>
                  <a:pt x="2840" y="1037"/>
                  <a:pt x="2840" y="1037"/>
                </a:cubicBezTo>
                <a:cubicBezTo>
                  <a:pt x="2838" y="1038"/>
                  <a:pt x="2838" y="1038"/>
                  <a:pt x="2838" y="1038"/>
                </a:cubicBezTo>
                <a:cubicBezTo>
                  <a:pt x="2836" y="1038"/>
                  <a:pt x="2836" y="1038"/>
                  <a:pt x="2836" y="1038"/>
                </a:cubicBezTo>
                <a:cubicBezTo>
                  <a:pt x="2835" y="1038"/>
                  <a:pt x="2835" y="1038"/>
                  <a:pt x="2835" y="1038"/>
                </a:cubicBezTo>
                <a:cubicBezTo>
                  <a:pt x="2836" y="1039"/>
                  <a:pt x="2836" y="1039"/>
                  <a:pt x="2836" y="1039"/>
                </a:cubicBezTo>
                <a:cubicBezTo>
                  <a:pt x="2835" y="1039"/>
                  <a:pt x="2835" y="1039"/>
                  <a:pt x="2835" y="1039"/>
                </a:cubicBezTo>
                <a:cubicBezTo>
                  <a:pt x="2838" y="1040"/>
                  <a:pt x="2838" y="1040"/>
                  <a:pt x="2838" y="1040"/>
                </a:cubicBezTo>
                <a:cubicBezTo>
                  <a:pt x="2839" y="1041"/>
                  <a:pt x="2839" y="1041"/>
                  <a:pt x="2839" y="1041"/>
                </a:cubicBezTo>
                <a:cubicBezTo>
                  <a:pt x="2841" y="1040"/>
                  <a:pt x="2841" y="1040"/>
                  <a:pt x="2841" y="1040"/>
                </a:cubicBezTo>
                <a:cubicBezTo>
                  <a:pt x="2841" y="1040"/>
                  <a:pt x="2841" y="1040"/>
                  <a:pt x="2841" y="1040"/>
                </a:cubicBezTo>
                <a:cubicBezTo>
                  <a:pt x="2839" y="1039"/>
                  <a:pt x="2839" y="1039"/>
                  <a:pt x="2839" y="1039"/>
                </a:cubicBezTo>
                <a:cubicBezTo>
                  <a:pt x="2839" y="1039"/>
                  <a:pt x="2839" y="1039"/>
                  <a:pt x="2839" y="1039"/>
                </a:cubicBezTo>
                <a:cubicBezTo>
                  <a:pt x="2840" y="1038"/>
                  <a:pt x="2840" y="1038"/>
                  <a:pt x="2840" y="1038"/>
                </a:cubicBezTo>
                <a:lnTo>
                  <a:pt x="2843" y="1040"/>
                </a:lnTo>
                <a:close/>
                <a:moveTo>
                  <a:pt x="2836" y="1045"/>
                </a:moveTo>
                <a:cubicBezTo>
                  <a:pt x="2837" y="1046"/>
                  <a:pt x="2837" y="1046"/>
                  <a:pt x="2837" y="1046"/>
                </a:cubicBezTo>
                <a:cubicBezTo>
                  <a:pt x="2840" y="1046"/>
                  <a:pt x="2840" y="1046"/>
                  <a:pt x="2840" y="1046"/>
                </a:cubicBezTo>
                <a:cubicBezTo>
                  <a:pt x="2837" y="1045"/>
                  <a:pt x="2837" y="1045"/>
                  <a:pt x="2837" y="1045"/>
                </a:cubicBezTo>
                <a:lnTo>
                  <a:pt x="2836" y="1045"/>
                </a:lnTo>
                <a:close/>
                <a:moveTo>
                  <a:pt x="2841" y="1044"/>
                </a:moveTo>
                <a:cubicBezTo>
                  <a:pt x="2839" y="1045"/>
                  <a:pt x="2839" y="1045"/>
                  <a:pt x="2839" y="1045"/>
                </a:cubicBezTo>
                <a:cubicBezTo>
                  <a:pt x="2840" y="1046"/>
                  <a:pt x="2840" y="1046"/>
                  <a:pt x="2840" y="1046"/>
                </a:cubicBezTo>
                <a:lnTo>
                  <a:pt x="2841" y="1044"/>
                </a:lnTo>
                <a:close/>
                <a:moveTo>
                  <a:pt x="2838" y="1115"/>
                </a:moveTo>
                <a:cubicBezTo>
                  <a:pt x="2838" y="1115"/>
                  <a:pt x="2838" y="1115"/>
                  <a:pt x="2838" y="1115"/>
                </a:cubicBezTo>
                <a:cubicBezTo>
                  <a:pt x="2838" y="1115"/>
                  <a:pt x="2839" y="1115"/>
                  <a:pt x="2839" y="1115"/>
                </a:cubicBezTo>
                <a:lnTo>
                  <a:pt x="2838" y="1115"/>
                </a:lnTo>
                <a:close/>
                <a:moveTo>
                  <a:pt x="2842" y="1046"/>
                </a:moveTo>
                <a:cubicBezTo>
                  <a:pt x="2841" y="1046"/>
                  <a:pt x="2841" y="1046"/>
                  <a:pt x="2841" y="1046"/>
                </a:cubicBezTo>
                <a:cubicBezTo>
                  <a:pt x="2839" y="1047"/>
                  <a:pt x="2839" y="1047"/>
                  <a:pt x="2839" y="1047"/>
                </a:cubicBezTo>
                <a:cubicBezTo>
                  <a:pt x="2839" y="1050"/>
                  <a:pt x="2839" y="1050"/>
                  <a:pt x="2839" y="1050"/>
                </a:cubicBezTo>
                <a:cubicBezTo>
                  <a:pt x="2841" y="1051"/>
                  <a:pt x="2841" y="1051"/>
                  <a:pt x="2841" y="1051"/>
                </a:cubicBezTo>
                <a:cubicBezTo>
                  <a:pt x="2842" y="1050"/>
                  <a:pt x="2842" y="1050"/>
                  <a:pt x="2842" y="1050"/>
                </a:cubicBezTo>
                <a:lnTo>
                  <a:pt x="2842" y="1046"/>
                </a:lnTo>
                <a:close/>
                <a:moveTo>
                  <a:pt x="2841" y="1122"/>
                </a:moveTo>
                <a:cubicBezTo>
                  <a:pt x="2841" y="1121"/>
                  <a:pt x="2841" y="1121"/>
                  <a:pt x="2841" y="1121"/>
                </a:cubicBezTo>
                <a:cubicBezTo>
                  <a:pt x="2840" y="1121"/>
                  <a:pt x="2840" y="1121"/>
                  <a:pt x="2840" y="1121"/>
                </a:cubicBezTo>
                <a:cubicBezTo>
                  <a:pt x="2839" y="1122"/>
                  <a:pt x="2839" y="1122"/>
                  <a:pt x="2839" y="1122"/>
                </a:cubicBezTo>
                <a:cubicBezTo>
                  <a:pt x="2838" y="1123"/>
                  <a:pt x="2838" y="1123"/>
                  <a:pt x="2838" y="1123"/>
                </a:cubicBezTo>
                <a:cubicBezTo>
                  <a:pt x="2840" y="1123"/>
                  <a:pt x="2840" y="1123"/>
                  <a:pt x="2840" y="1123"/>
                </a:cubicBezTo>
                <a:lnTo>
                  <a:pt x="2841" y="1122"/>
                </a:lnTo>
                <a:close/>
                <a:moveTo>
                  <a:pt x="2808" y="1070"/>
                </a:moveTo>
                <a:cubicBezTo>
                  <a:pt x="2808" y="1069"/>
                  <a:pt x="2808" y="1069"/>
                  <a:pt x="2808" y="1069"/>
                </a:cubicBezTo>
                <a:cubicBezTo>
                  <a:pt x="2807" y="1070"/>
                  <a:pt x="2807" y="1070"/>
                  <a:pt x="2807" y="1070"/>
                </a:cubicBezTo>
                <a:lnTo>
                  <a:pt x="2808" y="1070"/>
                </a:lnTo>
                <a:close/>
                <a:moveTo>
                  <a:pt x="2807" y="1055"/>
                </a:moveTo>
                <a:cubicBezTo>
                  <a:pt x="2808" y="1055"/>
                  <a:pt x="2808" y="1055"/>
                  <a:pt x="2808" y="1055"/>
                </a:cubicBezTo>
                <a:cubicBezTo>
                  <a:pt x="2811" y="1055"/>
                  <a:pt x="2811" y="1055"/>
                  <a:pt x="2811" y="1055"/>
                </a:cubicBezTo>
                <a:cubicBezTo>
                  <a:pt x="2812" y="1054"/>
                  <a:pt x="2812" y="1054"/>
                  <a:pt x="2812" y="1054"/>
                </a:cubicBezTo>
                <a:cubicBezTo>
                  <a:pt x="2809" y="1051"/>
                  <a:pt x="2809" y="1051"/>
                  <a:pt x="2809" y="1051"/>
                </a:cubicBezTo>
                <a:cubicBezTo>
                  <a:pt x="2807" y="1051"/>
                  <a:pt x="2807" y="1051"/>
                  <a:pt x="2807" y="1051"/>
                </a:cubicBezTo>
                <a:cubicBezTo>
                  <a:pt x="2804" y="1053"/>
                  <a:pt x="2804" y="1053"/>
                  <a:pt x="2804" y="1053"/>
                </a:cubicBezTo>
                <a:cubicBezTo>
                  <a:pt x="2805" y="1055"/>
                  <a:pt x="2805" y="1055"/>
                  <a:pt x="2805" y="1055"/>
                </a:cubicBezTo>
                <a:lnTo>
                  <a:pt x="2807" y="1055"/>
                </a:lnTo>
                <a:close/>
                <a:moveTo>
                  <a:pt x="2806" y="1041"/>
                </a:moveTo>
                <a:cubicBezTo>
                  <a:pt x="2804" y="1042"/>
                  <a:pt x="2804" y="1042"/>
                  <a:pt x="2804" y="1042"/>
                </a:cubicBezTo>
                <a:cubicBezTo>
                  <a:pt x="2804" y="1042"/>
                  <a:pt x="2804" y="1042"/>
                  <a:pt x="2804" y="1042"/>
                </a:cubicBezTo>
                <a:cubicBezTo>
                  <a:pt x="2804" y="1043"/>
                  <a:pt x="2804" y="1043"/>
                  <a:pt x="2804" y="1043"/>
                </a:cubicBezTo>
                <a:cubicBezTo>
                  <a:pt x="2805" y="1045"/>
                  <a:pt x="2805" y="1045"/>
                  <a:pt x="2805" y="1045"/>
                </a:cubicBezTo>
                <a:cubicBezTo>
                  <a:pt x="2807" y="1045"/>
                  <a:pt x="2807" y="1045"/>
                  <a:pt x="2807" y="1045"/>
                </a:cubicBezTo>
                <a:cubicBezTo>
                  <a:pt x="2808" y="1046"/>
                  <a:pt x="2808" y="1046"/>
                  <a:pt x="2808" y="1046"/>
                </a:cubicBezTo>
                <a:cubicBezTo>
                  <a:pt x="2809" y="1045"/>
                  <a:pt x="2809" y="1045"/>
                  <a:pt x="2809" y="1045"/>
                </a:cubicBezTo>
                <a:cubicBezTo>
                  <a:pt x="2808" y="1044"/>
                  <a:pt x="2808" y="1044"/>
                  <a:pt x="2808" y="1044"/>
                </a:cubicBezTo>
                <a:cubicBezTo>
                  <a:pt x="2807" y="1044"/>
                  <a:pt x="2807" y="1044"/>
                  <a:pt x="2807" y="1044"/>
                </a:cubicBezTo>
                <a:cubicBezTo>
                  <a:pt x="2807" y="1042"/>
                  <a:pt x="2807" y="1042"/>
                  <a:pt x="2807" y="1042"/>
                </a:cubicBezTo>
                <a:lnTo>
                  <a:pt x="2806" y="1041"/>
                </a:lnTo>
                <a:close/>
                <a:moveTo>
                  <a:pt x="2810" y="1068"/>
                </a:moveTo>
                <a:cubicBezTo>
                  <a:pt x="2810" y="1067"/>
                  <a:pt x="2810" y="1067"/>
                  <a:pt x="2810" y="1067"/>
                </a:cubicBezTo>
                <a:cubicBezTo>
                  <a:pt x="2808" y="1067"/>
                  <a:pt x="2808" y="1067"/>
                  <a:pt x="2808" y="1067"/>
                </a:cubicBezTo>
                <a:cubicBezTo>
                  <a:pt x="2809" y="1068"/>
                  <a:pt x="2809" y="1068"/>
                  <a:pt x="2809" y="1068"/>
                </a:cubicBezTo>
                <a:lnTo>
                  <a:pt x="2810" y="1068"/>
                </a:lnTo>
                <a:close/>
                <a:moveTo>
                  <a:pt x="2824" y="1037"/>
                </a:moveTo>
                <a:cubicBezTo>
                  <a:pt x="2827" y="1039"/>
                  <a:pt x="2827" y="1039"/>
                  <a:pt x="2827" y="1039"/>
                </a:cubicBezTo>
                <a:cubicBezTo>
                  <a:pt x="2826" y="1038"/>
                  <a:pt x="2826" y="1038"/>
                  <a:pt x="2826" y="1038"/>
                </a:cubicBezTo>
                <a:cubicBezTo>
                  <a:pt x="2823" y="1036"/>
                  <a:pt x="2823" y="1036"/>
                  <a:pt x="2823" y="1036"/>
                </a:cubicBezTo>
                <a:lnTo>
                  <a:pt x="2824" y="1037"/>
                </a:lnTo>
                <a:close/>
                <a:moveTo>
                  <a:pt x="2772" y="1125"/>
                </a:moveTo>
                <a:cubicBezTo>
                  <a:pt x="2774" y="1126"/>
                  <a:pt x="2774" y="1126"/>
                  <a:pt x="2774" y="1126"/>
                </a:cubicBezTo>
                <a:cubicBezTo>
                  <a:pt x="2778" y="1124"/>
                  <a:pt x="2778" y="1124"/>
                  <a:pt x="2778" y="1124"/>
                </a:cubicBezTo>
                <a:cubicBezTo>
                  <a:pt x="2779" y="1123"/>
                  <a:pt x="2779" y="1123"/>
                  <a:pt x="2779" y="1123"/>
                </a:cubicBezTo>
                <a:cubicBezTo>
                  <a:pt x="2778" y="1122"/>
                  <a:pt x="2778" y="1122"/>
                  <a:pt x="2778" y="1122"/>
                </a:cubicBezTo>
                <a:cubicBezTo>
                  <a:pt x="2775" y="1123"/>
                  <a:pt x="2775" y="1123"/>
                  <a:pt x="2775" y="1123"/>
                </a:cubicBezTo>
                <a:cubicBezTo>
                  <a:pt x="2774" y="1122"/>
                  <a:pt x="2774" y="1122"/>
                  <a:pt x="2774" y="1122"/>
                </a:cubicBezTo>
                <a:cubicBezTo>
                  <a:pt x="2772" y="1123"/>
                  <a:pt x="2772" y="1123"/>
                  <a:pt x="2772" y="1123"/>
                </a:cubicBezTo>
                <a:cubicBezTo>
                  <a:pt x="2773" y="1124"/>
                  <a:pt x="2773" y="1124"/>
                  <a:pt x="2773" y="1124"/>
                </a:cubicBezTo>
                <a:cubicBezTo>
                  <a:pt x="2772" y="1124"/>
                  <a:pt x="2772" y="1124"/>
                  <a:pt x="2772" y="1124"/>
                </a:cubicBezTo>
                <a:lnTo>
                  <a:pt x="2772" y="1125"/>
                </a:lnTo>
                <a:close/>
                <a:moveTo>
                  <a:pt x="2807" y="692"/>
                </a:moveTo>
                <a:cubicBezTo>
                  <a:pt x="2808" y="691"/>
                  <a:pt x="2808" y="691"/>
                  <a:pt x="2808" y="691"/>
                </a:cubicBezTo>
                <a:cubicBezTo>
                  <a:pt x="2807" y="689"/>
                  <a:pt x="2807" y="689"/>
                  <a:pt x="2807" y="689"/>
                </a:cubicBezTo>
                <a:cubicBezTo>
                  <a:pt x="2806" y="688"/>
                  <a:pt x="2806" y="688"/>
                  <a:pt x="2806" y="688"/>
                </a:cubicBezTo>
                <a:cubicBezTo>
                  <a:pt x="2805" y="688"/>
                  <a:pt x="2805" y="688"/>
                  <a:pt x="2805" y="688"/>
                </a:cubicBezTo>
                <a:cubicBezTo>
                  <a:pt x="2804" y="689"/>
                  <a:pt x="2804" y="689"/>
                  <a:pt x="2804" y="689"/>
                </a:cubicBezTo>
                <a:cubicBezTo>
                  <a:pt x="2806" y="691"/>
                  <a:pt x="2806" y="691"/>
                  <a:pt x="2806" y="691"/>
                </a:cubicBezTo>
                <a:lnTo>
                  <a:pt x="2807" y="692"/>
                </a:lnTo>
                <a:close/>
                <a:moveTo>
                  <a:pt x="2760" y="1123"/>
                </a:moveTo>
                <a:cubicBezTo>
                  <a:pt x="2759" y="1124"/>
                  <a:pt x="2759" y="1124"/>
                  <a:pt x="2759" y="1124"/>
                </a:cubicBezTo>
                <a:cubicBezTo>
                  <a:pt x="2760" y="1125"/>
                  <a:pt x="2760" y="1125"/>
                  <a:pt x="2760" y="1125"/>
                </a:cubicBezTo>
                <a:cubicBezTo>
                  <a:pt x="2760" y="1124"/>
                  <a:pt x="2760" y="1124"/>
                  <a:pt x="2760" y="1124"/>
                </a:cubicBezTo>
                <a:lnTo>
                  <a:pt x="2760" y="1123"/>
                </a:lnTo>
                <a:close/>
                <a:moveTo>
                  <a:pt x="2779" y="1136"/>
                </a:moveTo>
                <a:cubicBezTo>
                  <a:pt x="2780" y="1136"/>
                  <a:pt x="2780" y="1136"/>
                  <a:pt x="2780" y="1136"/>
                </a:cubicBezTo>
                <a:cubicBezTo>
                  <a:pt x="2780" y="1136"/>
                  <a:pt x="2780" y="1136"/>
                  <a:pt x="2780" y="1136"/>
                </a:cubicBezTo>
                <a:cubicBezTo>
                  <a:pt x="2782" y="1134"/>
                  <a:pt x="2782" y="1134"/>
                  <a:pt x="2782" y="1134"/>
                </a:cubicBezTo>
                <a:cubicBezTo>
                  <a:pt x="2784" y="1133"/>
                  <a:pt x="2784" y="1133"/>
                  <a:pt x="2784" y="1133"/>
                </a:cubicBezTo>
                <a:cubicBezTo>
                  <a:pt x="2786" y="1134"/>
                  <a:pt x="2786" y="1134"/>
                  <a:pt x="2786" y="1134"/>
                </a:cubicBezTo>
                <a:cubicBezTo>
                  <a:pt x="2790" y="1133"/>
                  <a:pt x="2790" y="1133"/>
                  <a:pt x="2790" y="1133"/>
                </a:cubicBezTo>
                <a:cubicBezTo>
                  <a:pt x="2793" y="1131"/>
                  <a:pt x="2793" y="1131"/>
                  <a:pt x="2793" y="1131"/>
                </a:cubicBezTo>
                <a:cubicBezTo>
                  <a:pt x="2796" y="1130"/>
                  <a:pt x="2796" y="1130"/>
                  <a:pt x="2796" y="1130"/>
                </a:cubicBezTo>
                <a:cubicBezTo>
                  <a:pt x="2796" y="1129"/>
                  <a:pt x="2796" y="1129"/>
                  <a:pt x="2796" y="1129"/>
                </a:cubicBezTo>
                <a:cubicBezTo>
                  <a:pt x="2798" y="1129"/>
                  <a:pt x="2798" y="1129"/>
                  <a:pt x="2798" y="1129"/>
                </a:cubicBezTo>
                <a:cubicBezTo>
                  <a:pt x="2800" y="1127"/>
                  <a:pt x="2800" y="1127"/>
                  <a:pt x="2800" y="1127"/>
                </a:cubicBezTo>
                <a:cubicBezTo>
                  <a:pt x="2800" y="1127"/>
                  <a:pt x="2800" y="1127"/>
                  <a:pt x="2800" y="1127"/>
                </a:cubicBezTo>
                <a:cubicBezTo>
                  <a:pt x="2799" y="1126"/>
                  <a:pt x="2799" y="1126"/>
                  <a:pt x="2799" y="1126"/>
                </a:cubicBezTo>
                <a:cubicBezTo>
                  <a:pt x="2795" y="1127"/>
                  <a:pt x="2795" y="1127"/>
                  <a:pt x="2795" y="1127"/>
                </a:cubicBezTo>
                <a:cubicBezTo>
                  <a:pt x="2792" y="1126"/>
                  <a:pt x="2792" y="1126"/>
                  <a:pt x="2792" y="1126"/>
                </a:cubicBezTo>
                <a:cubicBezTo>
                  <a:pt x="2790" y="1127"/>
                  <a:pt x="2790" y="1127"/>
                  <a:pt x="2790" y="1127"/>
                </a:cubicBezTo>
                <a:cubicBezTo>
                  <a:pt x="2788" y="1127"/>
                  <a:pt x="2788" y="1127"/>
                  <a:pt x="2788" y="1127"/>
                </a:cubicBezTo>
                <a:cubicBezTo>
                  <a:pt x="2785" y="1127"/>
                  <a:pt x="2785" y="1127"/>
                  <a:pt x="2785" y="1127"/>
                </a:cubicBezTo>
                <a:cubicBezTo>
                  <a:pt x="2781" y="1127"/>
                  <a:pt x="2781" y="1127"/>
                  <a:pt x="2781" y="1127"/>
                </a:cubicBezTo>
                <a:cubicBezTo>
                  <a:pt x="2778" y="1130"/>
                  <a:pt x="2778" y="1130"/>
                  <a:pt x="2778" y="1130"/>
                </a:cubicBezTo>
                <a:cubicBezTo>
                  <a:pt x="2775" y="1131"/>
                  <a:pt x="2775" y="1131"/>
                  <a:pt x="2775" y="1131"/>
                </a:cubicBezTo>
                <a:cubicBezTo>
                  <a:pt x="2775" y="1132"/>
                  <a:pt x="2775" y="1132"/>
                  <a:pt x="2775" y="1132"/>
                </a:cubicBezTo>
                <a:cubicBezTo>
                  <a:pt x="2773" y="1132"/>
                  <a:pt x="2773" y="1132"/>
                  <a:pt x="2773" y="1132"/>
                </a:cubicBezTo>
                <a:cubicBezTo>
                  <a:pt x="2772" y="1133"/>
                  <a:pt x="2772" y="1133"/>
                  <a:pt x="2772" y="1133"/>
                </a:cubicBezTo>
                <a:cubicBezTo>
                  <a:pt x="2769" y="1133"/>
                  <a:pt x="2769" y="1133"/>
                  <a:pt x="2769" y="1133"/>
                </a:cubicBezTo>
                <a:cubicBezTo>
                  <a:pt x="2767" y="1134"/>
                  <a:pt x="2767" y="1134"/>
                  <a:pt x="2767" y="1134"/>
                </a:cubicBezTo>
                <a:cubicBezTo>
                  <a:pt x="2767" y="1135"/>
                  <a:pt x="2767" y="1135"/>
                  <a:pt x="2767" y="1135"/>
                </a:cubicBezTo>
                <a:cubicBezTo>
                  <a:pt x="2765" y="1136"/>
                  <a:pt x="2765" y="1136"/>
                  <a:pt x="2765" y="1136"/>
                </a:cubicBezTo>
                <a:cubicBezTo>
                  <a:pt x="2764" y="1138"/>
                  <a:pt x="2764" y="1138"/>
                  <a:pt x="2764" y="1138"/>
                </a:cubicBezTo>
                <a:cubicBezTo>
                  <a:pt x="2762" y="1141"/>
                  <a:pt x="2762" y="1141"/>
                  <a:pt x="2762" y="1141"/>
                </a:cubicBezTo>
                <a:cubicBezTo>
                  <a:pt x="2762" y="1142"/>
                  <a:pt x="2762" y="1142"/>
                  <a:pt x="2762" y="1142"/>
                </a:cubicBezTo>
                <a:cubicBezTo>
                  <a:pt x="2763" y="1143"/>
                  <a:pt x="2763" y="1143"/>
                  <a:pt x="2763" y="1143"/>
                </a:cubicBezTo>
                <a:cubicBezTo>
                  <a:pt x="2763" y="1144"/>
                  <a:pt x="2763" y="1144"/>
                  <a:pt x="2763" y="1144"/>
                </a:cubicBezTo>
                <a:cubicBezTo>
                  <a:pt x="2762" y="1144"/>
                  <a:pt x="2762" y="1144"/>
                  <a:pt x="2762" y="1144"/>
                </a:cubicBezTo>
                <a:cubicBezTo>
                  <a:pt x="2761" y="1143"/>
                  <a:pt x="2761" y="1143"/>
                  <a:pt x="2761" y="1143"/>
                </a:cubicBezTo>
                <a:cubicBezTo>
                  <a:pt x="2760" y="1145"/>
                  <a:pt x="2760" y="1145"/>
                  <a:pt x="2760" y="1145"/>
                </a:cubicBezTo>
                <a:cubicBezTo>
                  <a:pt x="2761" y="1146"/>
                  <a:pt x="2761" y="1146"/>
                  <a:pt x="2761" y="1146"/>
                </a:cubicBezTo>
                <a:cubicBezTo>
                  <a:pt x="2765" y="1146"/>
                  <a:pt x="2765" y="1146"/>
                  <a:pt x="2765" y="1146"/>
                </a:cubicBezTo>
                <a:cubicBezTo>
                  <a:pt x="2768" y="1144"/>
                  <a:pt x="2768" y="1144"/>
                  <a:pt x="2768" y="1144"/>
                </a:cubicBezTo>
                <a:cubicBezTo>
                  <a:pt x="2769" y="1143"/>
                  <a:pt x="2769" y="1143"/>
                  <a:pt x="2769" y="1143"/>
                </a:cubicBezTo>
                <a:cubicBezTo>
                  <a:pt x="2771" y="1144"/>
                  <a:pt x="2771" y="1144"/>
                  <a:pt x="2771" y="1144"/>
                </a:cubicBezTo>
                <a:cubicBezTo>
                  <a:pt x="2773" y="1142"/>
                  <a:pt x="2773" y="1142"/>
                  <a:pt x="2773" y="1142"/>
                </a:cubicBezTo>
                <a:cubicBezTo>
                  <a:pt x="2774" y="1140"/>
                  <a:pt x="2774" y="1140"/>
                  <a:pt x="2774" y="1140"/>
                </a:cubicBezTo>
                <a:cubicBezTo>
                  <a:pt x="2778" y="1138"/>
                  <a:pt x="2778" y="1138"/>
                  <a:pt x="2778" y="1138"/>
                </a:cubicBezTo>
                <a:lnTo>
                  <a:pt x="2779" y="1136"/>
                </a:lnTo>
                <a:close/>
                <a:moveTo>
                  <a:pt x="2775" y="1191"/>
                </a:moveTo>
                <a:cubicBezTo>
                  <a:pt x="2775" y="1190"/>
                  <a:pt x="2775" y="1190"/>
                  <a:pt x="2775" y="1190"/>
                </a:cubicBezTo>
                <a:cubicBezTo>
                  <a:pt x="2774" y="1190"/>
                  <a:pt x="2774" y="1190"/>
                  <a:pt x="2774" y="1190"/>
                </a:cubicBezTo>
                <a:cubicBezTo>
                  <a:pt x="2774" y="1191"/>
                  <a:pt x="2774" y="1191"/>
                  <a:pt x="2774" y="1191"/>
                </a:cubicBezTo>
                <a:lnTo>
                  <a:pt x="2775" y="1191"/>
                </a:lnTo>
                <a:close/>
                <a:moveTo>
                  <a:pt x="2766" y="1199"/>
                </a:moveTo>
                <a:cubicBezTo>
                  <a:pt x="2767" y="1200"/>
                  <a:pt x="2767" y="1200"/>
                  <a:pt x="2767" y="1200"/>
                </a:cubicBezTo>
                <a:cubicBezTo>
                  <a:pt x="2768" y="1200"/>
                  <a:pt x="2768" y="1200"/>
                  <a:pt x="2768" y="1200"/>
                </a:cubicBezTo>
                <a:cubicBezTo>
                  <a:pt x="2767" y="1198"/>
                  <a:pt x="2767" y="1198"/>
                  <a:pt x="2767" y="1198"/>
                </a:cubicBezTo>
                <a:cubicBezTo>
                  <a:pt x="2767" y="1198"/>
                  <a:pt x="2766" y="1199"/>
                  <a:pt x="2766" y="1199"/>
                </a:cubicBezTo>
                <a:close/>
                <a:moveTo>
                  <a:pt x="2766" y="1206"/>
                </a:moveTo>
                <a:cubicBezTo>
                  <a:pt x="2766" y="1204"/>
                  <a:pt x="2766" y="1204"/>
                  <a:pt x="2766" y="1204"/>
                </a:cubicBezTo>
                <a:cubicBezTo>
                  <a:pt x="2765" y="1203"/>
                  <a:pt x="2765" y="1203"/>
                  <a:pt x="2765" y="1203"/>
                </a:cubicBezTo>
                <a:cubicBezTo>
                  <a:pt x="2765" y="1206"/>
                  <a:pt x="2765" y="1206"/>
                  <a:pt x="2765" y="1206"/>
                </a:cubicBezTo>
                <a:lnTo>
                  <a:pt x="2766" y="1206"/>
                </a:lnTo>
                <a:close/>
                <a:moveTo>
                  <a:pt x="2821" y="1073"/>
                </a:moveTo>
                <a:cubicBezTo>
                  <a:pt x="2825" y="1073"/>
                  <a:pt x="2825" y="1073"/>
                  <a:pt x="2825" y="1073"/>
                </a:cubicBezTo>
                <a:cubicBezTo>
                  <a:pt x="2826" y="1072"/>
                  <a:pt x="2826" y="1072"/>
                  <a:pt x="2826" y="1072"/>
                </a:cubicBezTo>
                <a:cubicBezTo>
                  <a:pt x="2828" y="1072"/>
                  <a:pt x="2828" y="1072"/>
                  <a:pt x="2828" y="1072"/>
                </a:cubicBezTo>
                <a:cubicBezTo>
                  <a:pt x="2832" y="1074"/>
                  <a:pt x="2832" y="1074"/>
                  <a:pt x="2832" y="1074"/>
                </a:cubicBezTo>
                <a:cubicBezTo>
                  <a:pt x="2834" y="1074"/>
                  <a:pt x="2834" y="1074"/>
                  <a:pt x="2834" y="1074"/>
                </a:cubicBezTo>
                <a:cubicBezTo>
                  <a:pt x="2836" y="1077"/>
                  <a:pt x="2836" y="1077"/>
                  <a:pt x="2836" y="1077"/>
                </a:cubicBezTo>
                <a:cubicBezTo>
                  <a:pt x="2838" y="1077"/>
                  <a:pt x="2838" y="1077"/>
                  <a:pt x="2838" y="1077"/>
                </a:cubicBezTo>
                <a:cubicBezTo>
                  <a:pt x="2839" y="1075"/>
                  <a:pt x="2839" y="1075"/>
                  <a:pt x="2839" y="1075"/>
                </a:cubicBezTo>
                <a:cubicBezTo>
                  <a:pt x="2838" y="1071"/>
                  <a:pt x="2838" y="1071"/>
                  <a:pt x="2838" y="1071"/>
                </a:cubicBezTo>
                <a:cubicBezTo>
                  <a:pt x="2833" y="1068"/>
                  <a:pt x="2833" y="1068"/>
                  <a:pt x="2833" y="1068"/>
                </a:cubicBezTo>
                <a:cubicBezTo>
                  <a:pt x="2829" y="1068"/>
                  <a:pt x="2829" y="1068"/>
                  <a:pt x="2829" y="1068"/>
                </a:cubicBezTo>
                <a:cubicBezTo>
                  <a:pt x="2827" y="1066"/>
                  <a:pt x="2827" y="1066"/>
                  <a:pt x="2827" y="1066"/>
                </a:cubicBezTo>
                <a:cubicBezTo>
                  <a:pt x="2825" y="1066"/>
                  <a:pt x="2825" y="1066"/>
                  <a:pt x="2825" y="1066"/>
                </a:cubicBezTo>
                <a:cubicBezTo>
                  <a:pt x="2823" y="1067"/>
                  <a:pt x="2823" y="1067"/>
                  <a:pt x="2823" y="1067"/>
                </a:cubicBezTo>
                <a:cubicBezTo>
                  <a:pt x="2821" y="1067"/>
                  <a:pt x="2821" y="1067"/>
                  <a:pt x="2821" y="1067"/>
                </a:cubicBezTo>
                <a:cubicBezTo>
                  <a:pt x="2819" y="1066"/>
                  <a:pt x="2819" y="1066"/>
                  <a:pt x="2819" y="1066"/>
                </a:cubicBezTo>
                <a:cubicBezTo>
                  <a:pt x="2816" y="1067"/>
                  <a:pt x="2816" y="1067"/>
                  <a:pt x="2816" y="1067"/>
                </a:cubicBezTo>
                <a:cubicBezTo>
                  <a:pt x="2812" y="1067"/>
                  <a:pt x="2812" y="1067"/>
                  <a:pt x="2812" y="1067"/>
                </a:cubicBezTo>
                <a:cubicBezTo>
                  <a:pt x="2811" y="1068"/>
                  <a:pt x="2811" y="1068"/>
                  <a:pt x="2811" y="1068"/>
                </a:cubicBezTo>
                <a:cubicBezTo>
                  <a:pt x="2811" y="1069"/>
                  <a:pt x="2811" y="1069"/>
                  <a:pt x="2811" y="1069"/>
                </a:cubicBezTo>
                <a:cubicBezTo>
                  <a:pt x="2810" y="1070"/>
                  <a:pt x="2810" y="1070"/>
                  <a:pt x="2810" y="1070"/>
                </a:cubicBezTo>
                <a:cubicBezTo>
                  <a:pt x="2809" y="1071"/>
                  <a:pt x="2809" y="1071"/>
                  <a:pt x="2809" y="1071"/>
                </a:cubicBezTo>
                <a:cubicBezTo>
                  <a:pt x="2809" y="1073"/>
                  <a:pt x="2809" y="1073"/>
                  <a:pt x="2809" y="1073"/>
                </a:cubicBezTo>
                <a:cubicBezTo>
                  <a:pt x="2811" y="1073"/>
                  <a:pt x="2811" y="1073"/>
                  <a:pt x="2811" y="1073"/>
                </a:cubicBezTo>
                <a:cubicBezTo>
                  <a:pt x="2812" y="1070"/>
                  <a:pt x="2812" y="1070"/>
                  <a:pt x="2812" y="1070"/>
                </a:cubicBezTo>
                <a:cubicBezTo>
                  <a:pt x="2814" y="1071"/>
                  <a:pt x="2814" y="1071"/>
                  <a:pt x="2814" y="1071"/>
                </a:cubicBezTo>
                <a:cubicBezTo>
                  <a:pt x="2815" y="1073"/>
                  <a:pt x="2815" y="1073"/>
                  <a:pt x="2815" y="1073"/>
                </a:cubicBezTo>
                <a:cubicBezTo>
                  <a:pt x="2817" y="1073"/>
                  <a:pt x="2817" y="1073"/>
                  <a:pt x="2817" y="1073"/>
                </a:cubicBezTo>
                <a:cubicBezTo>
                  <a:pt x="2819" y="1071"/>
                  <a:pt x="2819" y="1071"/>
                  <a:pt x="2819" y="1071"/>
                </a:cubicBezTo>
                <a:cubicBezTo>
                  <a:pt x="2820" y="1071"/>
                  <a:pt x="2820" y="1071"/>
                  <a:pt x="2820" y="1071"/>
                </a:cubicBezTo>
                <a:lnTo>
                  <a:pt x="2821" y="1073"/>
                </a:lnTo>
                <a:close/>
                <a:moveTo>
                  <a:pt x="2817" y="1075"/>
                </a:moveTo>
                <a:cubicBezTo>
                  <a:pt x="2817" y="1074"/>
                  <a:pt x="2817" y="1074"/>
                  <a:pt x="2817" y="1074"/>
                </a:cubicBezTo>
                <a:cubicBezTo>
                  <a:pt x="2816" y="1074"/>
                  <a:pt x="2816" y="1074"/>
                  <a:pt x="2816" y="1074"/>
                </a:cubicBezTo>
                <a:cubicBezTo>
                  <a:pt x="2816" y="1075"/>
                  <a:pt x="2816" y="1075"/>
                  <a:pt x="2816" y="1075"/>
                </a:cubicBezTo>
                <a:lnTo>
                  <a:pt x="2817" y="1075"/>
                </a:lnTo>
                <a:close/>
                <a:moveTo>
                  <a:pt x="2819" y="1123"/>
                </a:moveTo>
                <a:cubicBezTo>
                  <a:pt x="2818" y="1123"/>
                  <a:pt x="2818" y="1123"/>
                  <a:pt x="2818" y="1123"/>
                </a:cubicBezTo>
                <a:cubicBezTo>
                  <a:pt x="2816" y="1123"/>
                  <a:pt x="2816" y="1123"/>
                  <a:pt x="2816" y="1123"/>
                </a:cubicBezTo>
                <a:cubicBezTo>
                  <a:pt x="2817" y="1123"/>
                  <a:pt x="2817" y="1123"/>
                  <a:pt x="2817" y="1123"/>
                </a:cubicBezTo>
                <a:lnTo>
                  <a:pt x="2819" y="1123"/>
                </a:lnTo>
                <a:close/>
                <a:moveTo>
                  <a:pt x="2776" y="1030"/>
                </a:moveTo>
                <a:cubicBezTo>
                  <a:pt x="2777" y="1029"/>
                  <a:pt x="2777" y="1029"/>
                  <a:pt x="2777" y="1029"/>
                </a:cubicBezTo>
                <a:cubicBezTo>
                  <a:pt x="2778" y="1029"/>
                  <a:pt x="2778" y="1029"/>
                  <a:pt x="2778" y="1029"/>
                </a:cubicBezTo>
                <a:cubicBezTo>
                  <a:pt x="2779" y="1027"/>
                  <a:pt x="2779" y="1027"/>
                  <a:pt x="2779" y="1027"/>
                </a:cubicBezTo>
                <a:cubicBezTo>
                  <a:pt x="2780" y="1026"/>
                  <a:pt x="2780" y="1026"/>
                  <a:pt x="2780" y="1026"/>
                </a:cubicBezTo>
                <a:cubicBezTo>
                  <a:pt x="2781" y="1025"/>
                  <a:pt x="2781" y="1025"/>
                  <a:pt x="2781" y="1025"/>
                </a:cubicBezTo>
                <a:cubicBezTo>
                  <a:pt x="2782" y="1023"/>
                  <a:pt x="2782" y="1023"/>
                  <a:pt x="2782" y="1023"/>
                </a:cubicBezTo>
                <a:cubicBezTo>
                  <a:pt x="2783" y="1022"/>
                  <a:pt x="2783" y="1022"/>
                  <a:pt x="2783" y="1022"/>
                </a:cubicBezTo>
                <a:cubicBezTo>
                  <a:pt x="2782" y="1021"/>
                  <a:pt x="2782" y="1021"/>
                  <a:pt x="2782" y="1021"/>
                </a:cubicBezTo>
                <a:cubicBezTo>
                  <a:pt x="2782" y="1020"/>
                  <a:pt x="2782" y="1020"/>
                  <a:pt x="2782" y="1020"/>
                </a:cubicBezTo>
                <a:cubicBezTo>
                  <a:pt x="2779" y="1020"/>
                  <a:pt x="2779" y="1020"/>
                  <a:pt x="2779" y="1020"/>
                </a:cubicBezTo>
                <a:cubicBezTo>
                  <a:pt x="2777" y="1020"/>
                  <a:pt x="2777" y="1020"/>
                  <a:pt x="2777" y="1020"/>
                </a:cubicBezTo>
                <a:cubicBezTo>
                  <a:pt x="2776" y="1022"/>
                  <a:pt x="2776" y="1022"/>
                  <a:pt x="2776" y="1022"/>
                </a:cubicBezTo>
                <a:cubicBezTo>
                  <a:pt x="2775" y="1023"/>
                  <a:pt x="2775" y="1023"/>
                  <a:pt x="2775" y="1023"/>
                </a:cubicBezTo>
                <a:cubicBezTo>
                  <a:pt x="2775" y="1024"/>
                  <a:pt x="2775" y="1024"/>
                  <a:pt x="2775" y="1024"/>
                </a:cubicBezTo>
                <a:cubicBezTo>
                  <a:pt x="2773" y="1026"/>
                  <a:pt x="2773" y="1026"/>
                  <a:pt x="2773" y="1026"/>
                </a:cubicBezTo>
                <a:cubicBezTo>
                  <a:pt x="2771" y="1026"/>
                  <a:pt x="2771" y="1026"/>
                  <a:pt x="2771" y="1026"/>
                </a:cubicBezTo>
                <a:cubicBezTo>
                  <a:pt x="2770" y="1028"/>
                  <a:pt x="2770" y="1028"/>
                  <a:pt x="2770" y="1028"/>
                </a:cubicBezTo>
                <a:cubicBezTo>
                  <a:pt x="2768" y="1028"/>
                  <a:pt x="2768" y="1028"/>
                  <a:pt x="2768" y="1028"/>
                </a:cubicBezTo>
                <a:cubicBezTo>
                  <a:pt x="2763" y="1027"/>
                  <a:pt x="2763" y="1027"/>
                  <a:pt x="2763" y="1027"/>
                </a:cubicBezTo>
                <a:cubicBezTo>
                  <a:pt x="2759" y="1027"/>
                  <a:pt x="2759" y="1027"/>
                  <a:pt x="2759" y="1027"/>
                </a:cubicBezTo>
                <a:cubicBezTo>
                  <a:pt x="2758" y="1028"/>
                  <a:pt x="2758" y="1028"/>
                  <a:pt x="2758" y="1028"/>
                </a:cubicBezTo>
                <a:cubicBezTo>
                  <a:pt x="2757" y="1028"/>
                  <a:pt x="2757" y="1028"/>
                  <a:pt x="2757" y="1028"/>
                </a:cubicBezTo>
                <a:cubicBezTo>
                  <a:pt x="2755" y="1026"/>
                  <a:pt x="2755" y="1026"/>
                  <a:pt x="2755" y="1026"/>
                </a:cubicBezTo>
                <a:cubicBezTo>
                  <a:pt x="2754" y="1026"/>
                  <a:pt x="2754" y="1026"/>
                  <a:pt x="2754" y="1026"/>
                </a:cubicBezTo>
                <a:cubicBezTo>
                  <a:pt x="2752" y="1026"/>
                  <a:pt x="2752" y="1026"/>
                  <a:pt x="2752" y="1026"/>
                </a:cubicBezTo>
                <a:cubicBezTo>
                  <a:pt x="2750" y="1026"/>
                  <a:pt x="2750" y="1026"/>
                  <a:pt x="2750" y="1026"/>
                </a:cubicBezTo>
                <a:cubicBezTo>
                  <a:pt x="2747" y="1025"/>
                  <a:pt x="2747" y="1025"/>
                  <a:pt x="2747" y="1025"/>
                </a:cubicBezTo>
                <a:cubicBezTo>
                  <a:pt x="2746" y="1026"/>
                  <a:pt x="2746" y="1026"/>
                  <a:pt x="2746" y="1026"/>
                </a:cubicBezTo>
                <a:cubicBezTo>
                  <a:pt x="2744" y="1025"/>
                  <a:pt x="2744" y="1025"/>
                  <a:pt x="2744" y="1025"/>
                </a:cubicBezTo>
                <a:cubicBezTo>
                  <a:pt x="2742" y="1024"/>
                  <a:pt x="2742" y="1024"/>
                  <a:pt x="2742" y="1024"/>
                </a:cubicBezTo>
                <a:cubicBezTo>
                  <a:pt x="2739" y="1023"/>
                  <a:pt x="2739" y="1023"/>
                  <a:pt x="2739" y="1023"/>
                </a:cubicBezTo>
                <a:cubicBezTo>
                  <a:pt x="2738" y="1023"/>
                  <a:pt x="2738" y="1023"/>
                  <a:pt x="2738" y="1023"/>
                </a:cubicBezTo>
                <a:cubicBezTo>
                  <a:pt x="2738" y="1025"/>
                  <a:pt x="2738" y="1025"/>
                  <a:pt x="2738" y="1025"/>
                </a:cubicBezTo>
                <a:cubicBezTo>
                  <a:pt x="2736" y="1026"/>
                  <a:pt x="2736" y="1026"/>
                  <a:pt x="2736" y="1026"/>
                </a:cubicBezTo>
                <a:cubicBezTo>
                  <a:pt x="2735" y="1028"/>
                  <a:pt x="2735" y="1028"/>
                  <a:pt x="2735" y="1028"/>
                </a:cubicBezTo>
                <a:cubicBezTo>
                  <a:pt x="2734" y="1029"/>
                  <a:pt x="2734" y="1029"/>
                  <a:pt x="2734" y="1029"/>
                </a:cubicBezTo>
                <a:cubicBezTo>
                  <a:pt x="2731" y="1028"/>
                  <a:pt x="2731" y="1028"/>
                  <a:pt x="2731" y="1028"/>
                </a:cubicBezTo>
                <a:cubicBezTo>
                  <a:pt x="2729" y="1029"/>
                  <a:pt x="2729" y="1029"/>
                  <a:pt x="2729" y="1029"/>
                </a:cubicBezTo>
                <a:cubicBezTo>
                  <a:pt x="2728" y="1030"/>
                  <a:pt x="2728" y="1030"/>
                  <a:pt x="2728" y="1030"/>
                </a:cubicBezTo>
                <a:cubicBezTo>
                  <a:pt x="2728" y="1031"/>
                  <a:pt x="2728" y="1031"/>
                  <a:pt x="2728" y="1031"/>
                </a:cubicBezTo>
                <a:cubicBezTo>
                  <a:pt x="2726" y="1033"/>
                  <a:pt x="2726" y="1033"/>
                  <a:pt x="2726" y="1033"/>
                </a:cubicBezTo>
                <a:cubicBezTo>
                  <a:pt x="2726" y="1036"/>
                  <a:pt x="2726" y="1036"/>
                  <a:pt x="2726" y="1036"/>
                </a:cubicBezTo>
                <a:cubicBezTo>
                  <a:pt x="2726" y="1038"/>
                  <a:pt x="2726" y="1038"/>
                  <a:pt x="2726" y="1038"/>
                </a:cubicBezTo>
                <a:cubicBezTo>
                  <a:pt x="2726" y="1041"/>
                  <a:pt x="2726" y="1041"/>
                  <a:pt x="2726" y="1041"/>
                </a:cubicBezTo>
                <a:cubicBezTo>
                  <a:pt x="2725" y="1042"/>
                  <a:pt x="2725" y="1042"/>
                  <a:pt x="2725" y="1042"/>
                </a:cubicBezTo>
                <a:cubicBezTo>
                  <a:pt x="2726" y="1045"/>
                  <a:pt x="2726" y="1045"/>
                  <a:pt x="2726" y="1045"/>
                </a:cubicBezTo>
                <a:cubicBezTo>
                  <a:pt x="2727" y="1047"/>
                  <a:pt x="2727" y="1047"/>
                  <a:pt x="2727" y="1047"/>
                </a:cubicBezTo>
                <a:cubicBezTo>
                  <a:pt x="2726" y="1046"/>
                  <a:pt x="2726" y="1046"/>
                  <a:pt x="2726" y="1046"/>
                </a:cubicBezTo>
                <a:cubicBezTo>
                  <a:pt x="2725" y="1044"/>
                  <a:pt x="2725" y="1044"/>
                  <a:pt x="2725" y="1044"/>
                </a:cubicBezTo>
                <a:cubicBezTo>
                  <a:pt x="2724" y="1045"/>
                  <a:pt x="2724" y="1045"/>
                  <a:pt x="2724" y="1045"/>
                </a:cubicBezTo>
                <a:cubicBezTo>
                  <a:pt x="2723" y="1046"/>
                  <a:pt x="2723" y="1046"/>
                  <a:pt x="2723" y="1046"/>
                </a:cubicBezTo>
                <a:cubicBezTo>
                  <a:pt x="2721" y="1047"/>
                  <a:pt x="2721" y="1047"/>
                  <a:pt x="2721" y="1047"/>
                </a:cubicBezTo>
                <a:cubicBezTo>
                  <a:pt x="2721" y="1049"/>
                  <a:pt x="2721" y="1049"/>
                  <a:pt x="2721" y="1049"/>
                </a:cubicBezTo>
                <a:cubicBezTo>
                  <a:pt x="2721" y="1051"/>
                  <a:pt x="2721" y="1051"/>
                  <a:pt x="2721" y="1051"/>
                </a:cubicBezTo>
                <a:cubicBezTo>
                  <a:pt x="2720" y="1053"/>
                  <a:pt x="2720" y="1053"/>
                  <a:pt x="2720" y="1053"/>
                </a:cubicBezTo>
                <a:cubicBezTo>
                  <a:pt x="2721" y="1057"/>
                  <a:pt x="2721" y="1057"/>
                  <a:pt x="2721" y="1057"/>
                </a:cubicBezTo>
                <a:cubicBezTo>
                  <a:pt x="2720" y="1058"/>
                  <a:pt x="2720" y="1058"/>
                  <a:pt x="2720" y="1058"/>
                </a:cubicBezTo>
                <a:cubicBezTo>
                  <a:pt x="2720" y="1060"/>
                  <a:pt x="2720" y="1060"/>
                  <a:pt x="2720" y="1060"/>
                </a:cubicBezTo>
                <a:cubicBezTo>
                  <a:pt x="2719" y="1060"/>
                  <a:pt x="2719" y="1060"/>
                  <a:pt x="2719" y="1060"/>
                </a:cubicBezTo>
                <a:cubicBezTo>
                  <a:pt x="2719" y="1063"/>
                  <a:pt x="2719" y="1063"/>
                  <a:pt x="2719" y="1063"/>
                </a:cubicBezTo>
                <a:cubicBezTo>
                  <a:pt x="2716" y="1065"/>
                  <a:pt x="2716" y="1065"/>
                  <a:pt x="2716" y="1065"/>
                </a:cubicBezTo>
                <a:cubicBezTo>
                  <a:pt x="2716" y="1067"/>
                  <a:pt x="2716" y="1067"/>
                  <a:pt x="2716" y="1067"/>
                </a:cubicBezTo>
                <a:cubicBezTo>
                  <a:pt x="2716" y="1068"/>
                  <a:pt x="2716" y="1068"/>
                  <a:pt x="2716" y="1068"/>
                </a:cubicBezTo>
                <a:cubicBezTo>
                  <a:pt x="2715" y="1069"/>
                  <a:pt x="2715" y="1069"/>
                  <a:pt x="2715" y="1069"/>
                </a:cubicBezTo>
                <a:cubicBezTo>
                  <a:pt x="2716" y="1073"/>
                  <a:pt x="2716" y="1073"/>
                  <a:pt x="2716" y="1073"/>
                </a:cubicBezTo>
                <a:cubicBezTo>
                  <a:pt x="2717" y="1074"/>
                  <a:pt x="2717" y="1074"/>
                  <a:pt x="2717" y="1074"/>
                </a:cubicBezTo>
                <a:cubicBezTo>
                  <a:pt x="2718" y="1074"/>
                  <a:pt x="2718" y="1074"/>
                  <a:pt x="2718" y="1074"/>
                </a:cubicBezTo>
                <a:cubicBezTo>
                  <a:pt x="2720" y="1074"/>
                  <a:pt x="2720" y="1074"/>
                  <a:pt x="2720" y="1074"/>
                </a:cubicBezTo>
                <a:cubicBezTo>
                  <a:pt x="2721" y="1073"/>
                  <a:pt x="2721" y="1073"/>
                  <a:pt x="2721" y="1073"/>
                </a:cubicBezTo>
                <a:cubicBezTo>
                  <a:pt x="2722" y="1074"/>
                  <a:pt x="2722" y="1074"/>
                  <a:pt x="2722" y="1074"/>
                </a:cubicBezTo>
                <a:cubicBezTo>
                  <a:pt x="2722" y="1076"/>
                  <a:pt x="2722" y="1076"/>
                  <a:pt x="2722" y="1076"/>
                </a:cubicBezTo>
                <a:cubicBezTo>
                  <a:pt x="2724" y="1081"/>
                  <a:pt x="2724" y="1081"/>
                  <a:pt x="2724" y="1081"/>
                </a:cubicBezTo>
                <a:cubicBezTo>
                  <a:pt x="2724" y="1082"/>
                  <a:pt x="2724" y="1082"/>
                  <a:pt x="2724" y="1082"/>
                </a:cubicBezTo>
                <a:cubicBezTo>
                  <a:pt x="2723" y="1085"/>
                  <a:pt x="2723" y="1085"/>
                  <a:pt x="2723" y="1085"/>
                </a:cubicBezTo>
                <a:cubicBezTo>
                  <a:pt x="2721" y="1087"/>
                  <a:pt x="2721" y="1087"/>
                  <a:pt x="2721" y="1087"/>
                </a:cubicBezTo>
                <a:cubicBezTo>
                  <a:pt x="2721" y="1091"/>
                  <a:pt x="2721" y="1091"/>
                  <a:pt x="2721" y="1091"/>
                </a:cubicBezTo>
                <a:cubicBezTo>
                  <a:pt x="2722" y="1095"/>
                  <a:pt x="2722" y="1095"/>
                  <a:pt x="2722" y="1095"/>
                </a:cubicBezTo>
                <a:cubicBezTo>
                  <a:pt x="2723" y="1095"/>
                  <a:pt x="2723" y="1095"/>
                  <a:pt x="2723" y="1095"/>
                </a:cubicBezTo>
                <a:cubicBezTo>
                  <a:pt x="2724" y="1095"/>
                  <a:pt x="2724" y="1095"/>
                  <a:pt x="2724" y="1095"/>
                </a:cubicBezTo>
                <a:cubicBezTo>
                  <a:pt x="2726" y="1095"/>
                  <a:pt x="2726" y="1095"/>
                  <a:pt x="2726" y="1095"/>
                </a:cubicBezTo>
                <a:cubicBezTo>
                  <a:pt x="2727" y="1094"/>
                  <a:pt x="2727" y="1094"/>
                  <a:pt x="2727" y="1094"/>
                </a:cubicBezTo>
                <a:cubicBezTo>
                  <a:pt x="2729" y="1095"/>
                  <a:pt x="2729" y="1095"/>
                  <a:pt x="2729" y="1095"/>
                </a:cubicBezTo>
                <a:cubicBezTo>
                  <a:pt x="2731" y="1094"/>
                  <a:pt x="2731" y="1094"/>
                  <a:pt x="2731" y="1094"/>
                </a:cubicBezTo>
                <a:cubicBezTo>
                  <a:pt x="2732" y="1095"/>
                  <a:pt x="2732" y="1095"/>
                  <a:pt x="2732" y="1095"/>
                </a:cubicBezTo>
                <a:cubicBezTo>
                  <a:pt x="2732" y="1094"/>
                  <a:pt x="2732" y="1094"/>
                  <a:pt x="2732" y="1094"/>
                </a:cubicBezTo>
                <a:cubicBezTo>
                  <a:pt x="2732" y="1092"/>
                  <a:pt x="2732" y="1092"/>
                  <a:pt x="2732" y="1092"/>
                </a:cubicBezTo>
                <a:cubicBezTo>
                  <a:pt x="2731" y="1091"/>
                  <a:pt x="2731" y="1091"/>
                  <a:pt x="2731" y="1091"/>
                </a:cubicBezTo>
                <a:cubicBezTo>
                  <a:pt x="2730" y="1088"/>
                  <a:pt x="2730" y="1088"/>
                  <a:pt x="2730" y="1088"/>
                </a:cubicBezTo>
                <a:cubicBezTo>
                  <a:pt x="2731" y="1086"/>
                  <a:pt x="2731" y="1086"/>
                  <a:pt x="2731" y="1086"/>
                </a:cubicBezTo>
                <a:cubicBezTo>
                  <a:pt x="2732" y="1083"/>
                  <a:pt x="2732" y="1083"/>
                  <a:pt x="2732" y="1083"/>
                </a:cubicBezTo>
                <a:cubicBezTo>
                  <a:pt x="2732" y="1080"/>
                  <a:pt x="2732" y="1080"/>
                  <a:pt x="2732" y="1080"/>
                </a:cubicBezTo>
                <a:cubicBezTo>
                  <a:pt x="2731" y="1079"/>
                  <a:pt x="2731" y="1079"/>
                  <a:pt x="2731" y="1079"/>
                </a:cubicBezTo>
                <a:cubicBezTo>
                  <a:pt x="2733" y="1076"/>
                  <a:pt x="2733" y="1076"/>
                  <a:pt x="2733" y="1076"/>
                </a:cubicBezTo>
                <a:cubicBezTo>
                  <a:pt x="2733" y="1073"/>
                  <a:pt x="2733" y="1073"/>
                  <a:pt x="2733" y="1073"/>
                </a:cubicBezTo>
                <a:cubicBezTo>
                  <a:pt x="2733" y="1070"/>
                  <a:pt x="2733" y="1070"/>
                  <a:pt x="2733" y="1070"/>
                </a:cubicBezTo>
                <a:cubicBezTo>
                  <a:pt x="2731" y="1069"/>
                  <a:pt x="2731" y="1069"/>
                  <a:pt x="2731" y="1069"/>
                </a:cubicBezTo>
                <a:cubicBezTo>
                  <a:pt x="2731" y="1068"/>
                  <a:pt x="2731" y="1068"/>
                  <a:pt x="2731" y="1068"/>
                </a:cubicBezTo>
                <a:cubicBezTo>
                  <a:pt x="2734" y="1067"/>
                  <a:pt x="2734" y="1067"/>
                  <a:pt x="2734" y="1067"/>
                </a:cubicBezTo>
                <a:cubicBezTo>
                  <a:pt x="2735" y="1065"/>
                  <a:pt x="2735" y="1065"/>
                  <a:pt x="2735" y="1065"/>
                </a:cubicBezTo>
                <a:cubicBezTo>
                  <a:pt x="2737" y="1065"/>
                  <a:pt x="2737" y="1065"/>
                  <a:pt x="2737" y="1065"/>
                </a:cubicBezTo>
                <a:cubicBezTo>
                  <a:pt x="2739" y="1066"/>
                  <a:pt x="2739" y="1066"/>
                  <a:pt x="2739" y="1066"/>
                </a:cubicBezTo>
                <a:cubicBezTo>
                  <a:pt x="2738" y="1067"/>
                  <a:pt x="2738" y="1067"/>
                  <a:pt x="2738" y="1067"/>
                </a:cubicBezTo>
                <a:cubicBezTo>
                  <a:pt x="2739" y="1068"/>
                  <a:pt x="2739" y="1068"/>
                  <a:pt x="2739" y="1068"/>
                </a:cubicBezTo>
                <a:cubicBezTo>
                  <a:pt x="2739" y="1070"/>
                  <a:pt x="2739" y="1070"/>
                  <a:pt x="2739" y="1070"/>
                </a:cubicBezTo>
                <a:cubicBezTo>
                  <a:pt x="2738" y="1072"/>
                  <a:pt x="2738" y="1072"/>
                  <a:pt x="2738" y="1072"/>
                </a:cubicBezTo>
                <a:cubicBezTo>
                  <a:pt x="2737" y="1074"/>
                  <a:pt x="2737" y="1074"/>
                  <a:pt x="2737" y="1074"/>
                </a:cubicBezTo>
                <a:cubicBezTo>
                  <a:pt x="2738" y="1076"/>
                  <a:pt x="2738" y="1076"/>
                  <a:pt x="2738" y="1076"/>
                </a:cubicBezTo>
                <a:cubicBezTo>
                  <a:pt x="2740" y="1076"/>
                  <a:pt x="2740" y="1076"/>
                  <a:pt x="2740" y="1076"/>
                </a:cubicBezTo>
                <a:cubicBezTo>
                  <a:pt x="2741" y="1078"/>
                  <a:pt x="2741" y="1078"/>
                  <a:pt x="2741" y="1078"/>
                </a:cubicBezTo>
                <a:cubicBezTo>
                  <a:pt x="2743" y="1079"/>
                  <a:pt x="2743" y="1079"/>
                  <a:pt x="2743" y="1079"/>
                </a:cubicBezTo>
                <a:cubicBezTo>
                  <a:pt x="2744" y="1081"/>
                  <a:pt x="2744" y="1081"/>
                  <a:pt x="2744" y="1081"/>
                </a:cubicBezTo>
                <a:cubicBezTo>
                  <a:pt x="2743" y="1081"/>
                  <a:pt x="2743" y="1081"/>
                  <a:pt x="2743" y="1081"/>
                </a:cubicBezTo>
                <a:cubicBezTo>
                  <a:pt x="2742" y="1085"/>
                  <a:pt x="2742" y="1085"/>
                  <a:pt x="2742" y="1085"/>
                </a:cubicBezTo>
                <a:cubicBezTo>
                  <a:pt x="2743" y="1087"/>
                  <a:pt x="2743" y="1087"/>
                  <a:pt x="2743" y="1087"/>
                </a:cubicBezTo>
                <a:cubicBezTo>
                  <a:pt x="2745" y="1087"/>
                  <a:pt x="2745" y="1087"/>
                  <a:pt x="2745" y="1087"/>
                </a:cubicBezTo>
                <a:cubicBezTo>
                  <a:pt x="2746" y="1087"/>
                  <a:pt x="2746" y="1087"/>
                  <a:pt x="2746" y="1087"/>
                </a:cubicBezTo>
                <a:cubicBezTo>
                  <a:pt x="2748" y="1088"/>
                  <a:pt x="2748" y="1088"/>
                  <a:pt x="2748" y="1088"/>
                </a:cubicBezTo>
                <a:cubicBezTo>
                  <a:pt x="2750" y="1088"/>
                  <a:pt x="2750" y="1088"/>
                  <a:pt x="2750" y="1088"/>
                </a:cubicBezTo>
                <a:cubicBezTo>
                  <a:pt x="2749" y="1087"/>
                  <a:pt x="2749" y="1087"/>
                  <a:pt x="2749" y="1087"/>
                </a:cubicBezTo>
                <a:cubicBezTo>
                  <a:pt x="2749" y="1085"/>
                  <a:pt x="2749" y="1085"/>
                  <a:pt x="2749" y="1085"/>
                </a:cubicBezTo>
                <a:cubicBezTo>
                  <a:pt x="2751" y="1084"/>
                  <a:pt x="2751" y="1084"/>
                  <a:pt x="2751" y="1084"/>
                </a:cubicBezTo>
                <a:cubicBezTo>
                  <a:pt x="2752" y="1083"/>
                  <a:pt x="2752" y="1083"/>
                  <a:pt x="2752" y="1083"/>
                </a:cubicBezTo>
                <a:cubicBezTo>
                  <a:pt x="2755" y="1082"/>
                  <a:pt x="2755" y="1082"/>
                  <a:pt x="2755" y="1082"/>
                </a:cubicBezTo>
                <a:cubicBezTo>
                  <a:pt x="2758" y="1082"/>
                  <a:pt x="2758" y="1082"/>
                  <a:pt x="2758" y="1082"/>
                </a:cubicBezTo>
                <a:cubicBezTo>
                  <a:pt x="2759" y="1081"/>
                  <a:pt x="2759" y="1081"/>
                  <a:pt x="2759" y="1081"/>
                </a:cubicBezTo>
                <a:cubicBezTo>
                  <a:pt x="2760" y="1081"/>
                  <a:pt x="2760" y="1081"/>
                  <a:pt x="2760" y="1081"/>
                </a:cubicBezTo>
                <a:cubicBezTo>
                  <a:pt x="2761" y="1081"/>
                  <a:pt x="2761" y="1081"/>
                  <a:pt x="2761" y="1081"/>
                </a:cubicBezTo>
                <a:cubicBezTo>
                  <a:pt x="2762" y="1080"/>
                  <a:pt x="2762" y="1080"/>
                  <a:pt x="2762" y="1080"/>
                </a:cubicBezTo>
                <a:cubicBezTo>
                  <a:pt x="2762" y="1079"/>
                  <a:pt x="2762" y="1079"/>
                  <a:pt x="2762" y="1079"/>
                </a:cubicBezTo>
                <a:cubicBezTo>
                  <a:pt x="2759" y="1079"/>
                  <a:pt x="2759" y="1079"/>
                  <a:pt x="2759" y="1079"/>
                </a:cubicBezTo>
                <a:cubicBezTo>
                  <a:pt x="2758" y="1079"/>
                  <a:pt x="2758" y="1079"/>
                  <a:pt x="2758" y="1079"/>
                </a:cubicBezTo>
                <a:cubicBezTo>
                  <a:pt x="2757" y="1079"/>
                  <a:pt x="2757" y="1079"/>
                  <a:pt x="2757" y="1079"/>
                </a:cubicBezTo>
                <a:cubicBezTo>
                  <a:pt x="2756" y="1079"/>
                  <a:pt x="2756" y="1079"/>
                  <a:pt x="2756" y="1079"/>
                </a:cubicBezTo>
                <a:cubicBezTo>
                  <a:pt x="2755" y="1078"/>
                  <a:pt x="2755" y="1078"/>
                  <a:pt x="2755" y="1078"/>
                </a:cubicBezTo>
                <a:cubicBezTo>
                  <a:pt x="2754" y="1078"/>
                  <a:pt x="2754" y="1078"/>
                  <a:pt x="2754" y="1078"/>
                </a:cubicBezTo>
                <a:cubicBezTo>
                  <a:pt x="2755" y="1077"/>
                  <a:pt x="2755" y="1077"/>
                  <a:pt x="2755" y="1077"/>
                </a:cubicBezTo>
                <a:cubicBezTo>
                  <a:pt x="2754" y="1076"/>
                  <a:pt x="2754" y="1076"/>
                  <a:pt x="2754" y="1076"/>
                </a:cubicBezTo>
                <a:cubicBezTo>
                  <a:pt x="2753" y="1077"/>
                  <a:pt x="2753" y="1077"/>
                  <a:pt x="2753" y="1077"/>
                </a:cubicBezTo>
                <a:cubicBezTo>
                  <a:pt x="2753" y="1076"/>
                  <a:pt x="2753" y="1076"/>
                  <a:pt x="2753" y="1076"/>
                </a:cubicBezTo>
                <a:cubicBezTo>
                  <a:pt x="2751" y="1075"/>
                  <a:pt x="2751" y="1075"/>
                  <a:pt x="2751" y="1075"/>
                </a:cubicBezTo>
                <a:cubicBezTo>
                  <a:pt x="2750" y="1074"/>
                  <a:pt x="2750" y="1074"/>
                  <a:pt x="2750" y="1074"/>
                </a:cubicBezTo>
                <a:cubicBezTo>
                  <a:pt x="2752" y="1073"/>
                  <a:pt x="2752" y="1073"/>
                  <a:pt x="2752" y="1073"/>
                </a:cubicBezTo>
                <a:cubicBezTo>
                  <a:pt x="2752" y="1072"/>
                  <a:pt x="2752" y="1072"/>
                  <a:pt x="2752" y="1072"/>
                </a:cubicBezTo>
                <a:cubicBezTo>
                  <a:pt x="2753" y="1072"/>
                  <a:pt x="2753" y="1072"/>
                  <a:pt x="2753" y="1072"/>
                </a:cubicBezTo>
                <a:cubicBezTo>
                  <a:pt x="2752" y="1071"/>
                  <a:pt x="2752" y="1071"/>
                  <a:pt x="2752" y="1071"/>
                </a:cubicBezTo>
                <a:cubicBezTo>
                  <a:pt x="2753" y="1071"/>
                  <a:pt x="2753" y="1071"/>
                  <a:pt x="2753" y="1071"/>
                </a:cubicBezTo>
                <a:cubicBezTo>
                  <a:pt x="2753" y="1070"/>
                  <a:pt x="2753" y="1070"/>
                  <a:pt x="2753" y="1070"/>
                </a:cubicBezTo>
                <a:cubicBezTo>
                  <a:pt x="2752" y="1069"/>
                  <a:pt x="2752" y="1069"/>
                  <a:pt x="2752" y="1069"/>
                </a:cubicBezTo>
                <a:cubicBezTo>
                  <a:pt x="2751" y="1068"/>
                  <a:pt x="2751" y="1068"/>
                  <a:pt x="2751" y="1068"/>
                </a:cubicBezTo>
                <a:cubicBezTo>
                  <a:pt x="2752" y="1067"/>
                  <a:pt x="2752" y="1067"/>
                  <a:pt x="2752" y="1067"/>
                </a:cubicBezTo>
                <a:cubicBezTo>
                  <a:pt x="2751" y="1066"/>
                  <a:pt x="2751" y="1066"/>
                  <a:pt x="2751" y="1066"/>
                </a:cubicBezTo>
                <a:cubicBezTo>
                  <a:pt x="2750" y="1065"/>
                  <a:pt x="2750" y="1065"/>
                  <a:pt x="2750" y="1065"/>
                </a:cubicBezTo>
                <a:cubicBezTo>
                  <a:pt x="2749" y="1065"/>
                  <a:pt x="2749" y="1065"/>
                  <a:pt x="2749" y="1065"/>
                </a:cubicBezTo>
                <a:cubicBezTo>
                  <a:pt x="2748" y="1063"/>
                  <a:pt x="2748" y="1063"/>
                  <a:pt x="2748" y="1063"/>
                </a:cubicBezTo>
                <a:cubicBezTo>
                  <a:pt x="2745" y="1060"/>
                  <a:pt x="2745" y="1060"/>
                  <a:pt x="2745" y="1060"/>
                </a:cubicBezTo>
                <a:cubicBezTo>
                  <a:pt x="2744" y="1059"/>
                  <a:pt x="2744" y="1059"/>
                  <a:pt x="2744" y="1059"/>
                </a:cubicBezTo>
                <a:cubicBezTo>
                  <a:pt x="2743" y="1057"/>
                  <a:pt x="2743" y="1057"/>
                  <a:pt x="2743" y="1057"/>
                </a:cubicBezTo>
                <a:cubicBezTo>
                  <a:pt x="2743" y="1056"/>
                  <a:pt x="2743" y="1056"/>
                  <a:pt x="2743" y="1056"/>
                </a:cubicBezTo>
                <a:cubicBezTo>
                  <a:pt x="2744" y="1056"/>
                  <a:pt x="2744" y="1056"/>
                  <a:pt x="2744" y="1056"/>
                </a:cubicBezTo>
                <a:cubicBezTo>
                  <a:pt x="2744" y="1057"/>
                  <a:pt x="2744" y="1057"/>
                  <a:pt x="2744" y="1057"/>
                </a:cubicBezTo>
                <a:cubicBezTo>
                  <a:pt x="2746" y="1057"/>
                  <a:pt x="2746" y="1057"/>
                  <a:pt x="2746" y="1057"/>
                </a:cubicBezTo>
                <a:cubicBezTo>
                  <a:pt x="2747" y="1056"/>
                  <a:pt x="2747" y="1056"/>
                  <a:pt x="2747" y="1056"/>
                </a:cubicBezTo>
                <a:cubicBezTo>
                  <a:pt x="2748" y="1055"/>
                  <a:pt x="2748" y="1055"/>
                  <a:pt x="2748" y="1055"/>
                </a:cubicBezTo>
                <a:cubicBezTo>
                  <a:pt x="2752" y="1054"/>
                  <a:pt x="2752" y="1054"/>
                  <a:pt x="2752" y="1054"/>
                </a:cubicBezTo>
                <a:cubicBezTo>
                  <a:pt x="2755" y="1051"/>
                  <a:pt x="2755" y="1051"/>
                  <a:pt x="2755" y="1051"/>
                </a:cubicBezTo>
                <a:cubicBezTo>
                  <a:pt x="2756" y="1049"/>
                  <a:pt x="2756" y="1049"/>
                  <a:pt x="2756" y="1049"/>
                </a:cubicBezTo>
                <a:cubicBezTo>
                  <a:pt x="2758" y="1048"/>
                  <a:pt x="2758" y="1048"/>
                  <a:pt x="2758" y="1048"/>
                </a:cubicBezTo>
                <a:cubicBezTo>
                  <a:pt x="2758" y="1047"/>
                  <a:pt x="2758" y="1047"/>
                  <a:pt x="2758" y="1047"/>
                </a:cubicBezTo>
                <a:cubicBezTo>
                  <a:pt x="2760" y="1046"/>
                  <a:pt x="2760" y="1046"/>
                  <a:pt x="2760" y="1046"/>
                </a:cubicBezTo>
                <a:cubicBezTo>
                  <a:pt x="2762" y="1047"/>
                  <a:pt x="2762" y="1047"/>
                  <a:pt x="2762" y="1047"/>
                </a:cubicBezTo>
                <a:cubicBezTo>
                  <a:pt x="2764" y="1047"/>
                  <a:pt x="2764" y="1047"/>
                  <a:pt x="2764" y="1047"/>
                </a:cubicBezTo>
                <a:cubicBezTo>
                  <a:pt x="2765" y="1045"/>
                  <a:pt x="2765" y="1045"/>
                  <a:pt x="2765" y="1045"/>
                </a:cubicBezTo>
                <a:cubicBezTo>
                  <a:pt x="2765" y="1043"/>
                  <a:pt x="2765" y="1043"/>
                  <a:pt x="2765" y="1043"/>
                </a:cubicBezTo>
                <a:cubicBezTo>
                  <a:pt x="2763" y="1042"/>
                  <a:pt x="2763" y="1042"/>
                  <a:pt x="2763" y="1042"/>
                </a:cubicBezTo>
                <a:cubicBezTo>
                  <a:pt x="2759" y="1043"/>
                  <a:pt x="2759" y="1043"/>
                  <a:pt x="2759" y="1043"/>
                </a:cubicBezTo>
                <a:cubicBezTo>
                  <a:pt x="2757" y="1044"/>
                  <a:pt x="2757" y="1044"/>
                  <a:pt x="2757" y="1044"/>
                </a:cubicBezTo>
                <a:cubicBezTo>
                  <a:pt x="2754" y="1044"/>
                  <a:pt x="2754" y="1044"/>
                  <a:pt x="2754" y="1044"/>
                </a:cubicBezTo>
                <a:cubicBezTo>
                  <a:pt x="2752" y="1045"/>
                  <a:pt x="2752" y="1045"/>
                  <a:pt x="2752" y="1045"/>
                </a:cubicBezTo>
                <a:cubicBezTo>
                  <a:pt x="2750" y="1046"/>
                  <a:pt x="2750" y="1046"/>
                  <a:pt x="2750" y="1046"/>
                </a:cubicBezTo>
                <a:cubicBezTo>
                  <a:pt x="2749" y="1046"/>
                  <a:pt x="2749" y="1046"/>
                  <a:pt x="2749" y="1046"/>
                </a:cubicBezTo>
                <a:cubicBezTo>
                  <a:pt x="2747" y="1047"/>
                  <a:pt x="2747" y="1047"/>
                  <a:pt x="2747" y="1047"/>
                </a:cubicBezTo>
                <a:cubicBezTo>
                  <a:pt x="2745" y="1046"/>
                  <a:pt x="2745" y="1046"/>
                  <a:pt x="2745" y="1046"/>
                </a:cubicBezTo>
                <a:cubicBezTo>
                  <a:pt x="2743" y="1045"/>
                  <a:pt x="2743" y="1045"/>
                  <a:pt x="2743" y="1045"/>
                </a:cubicBezTo>
                <a:cubicBezTo>
                  <a:pt x="2741" y="1048"/>
                  <a:pt x="2741" y="1048"/>
                  <a:pt x="2741" y="1048"/>
                </a:cubicBezTo>
                <a:cubicBezTo>
                  <a:pt x="2740" y="1051"/>
                  <a:pt x="2740" y="1051"/>
                  <a:pt x="2740" y="1051"/>
                </a:cubicBezTo>
                <a:cubicBezTo>
                  <a:pt x="2738" y="1052"/>
                  <a:pt x="2738" y="1052"/>
                  <a:pt x="2738" y="1052"/>
                </a:cubicBezTo>
                <a:cubicBezTo>
                  <a:pt x="2736" y="1052"/>
                  <a:pt x="2736" y="1052"/>
                  <a:pt x="2736" y="1052"/>
                </a:cubicBezTo>
                <a:cubicBezTo>
                  <a:pt x="2735" y="1051"/>
                  <a:pt x="2735" y="1051"/>
                  <a:pt x="2735" y="1051"/>
                </a:cubicBezTo>
                <a:cubicBezTo>
                  <a:pt x="2733" y="1048"/>
                  <a:pt x="2733" y="1048"/>
                  <a:pt x="2733" y="1048"/>
                </a:cubicBezTo>
                <a:cubicBezTo>
                  <a:pt x="2730" y="1046"/>
                  <a:pt x="2730" y="1046"/>
                  <a:pt x="2730" y="1046"/>
                </a:cubicBezTo>
                <a:cubicBezTo>
                  <a:pt x="2729" y="1042"/>
                  <a:pt x="2729" y="1042"/>
                  <a:pt x="2729" y="1042"/>
                </a:cubicBezTo>
                <a:cubicBezTo>
                  <a:pt x="2729" y="1038"/>
                  <a:pt x="2729" y="1038"/>
                  <a:pt x="2729" y="1038"/>
                </a:cubicBezTo>
                <a:cubicBezTo>
                  <a:pt x="2731" y="1034"/>
                  <a:pt x="2731" y="1034"/>
                  <a:pt x="2731" y="1034"/>
                </a:cubicBezTo>
                <a:cubicBezTo>
                  <a:pt x="2733" y="1032"/>
                  <a:pt x="2733" y="1032"/>
                  <a:pt x="2733" y="1032"/>
                </a:cubicBezTo>
                <a:cubicBezTo>
                  <a:pt x="2735" y="1032"/>
                  <a:pt x="2735" y="1032"/>
                  <a:pt x="2735" y="1032"/>
                </a:cubicBezTo>
                <a:cubicBezTo>
                  <a:pt x="2738" y="1033"/>
                  <a:pt x="2738" y="1033"/>
                  <a:pt x="2738" y="1033"/>
                </a:cubicBezTo>
                <a:cubicBezTo>
                  <a:pt x="2741" y="1033"/>
                  <a:pt x="2741" y="1033"/>
                  <a:pt x="2741" y="1033"/>
                </a:cubicBezTo>
                <a:cubicBezTo>
                  <a:pt x="2745" y="1031"/>
                  <a:pt x="2745" y="1031"/>
                  <a:pt x="2745" y="1031"/>
                </a:cubicBezTo>
                <a:cubicBezTo>
                  <a:pt x="2747" y="1031"/>
                  <a:pt x="2747" y="1031"/>
                  <a:pt x="2747" y="1031"/>
                </a:cubicBezTo>
                <a:cubicBezTo>
                  <a:pt x="2748" y="1033"/>
                  <a:pt x="2748" y="1033"/>
                  <a:pt x="2748" y="1033"/>
                </a:cubicBezTo>
                <a:cubicBezTo>
                  <a:pt x="2750" y="1033"/>
                  <a:pt x="2750" y="1033"/>
                  <a:pt x="2750" y="1033"/>
                </a:cubicBezTo>
                <a:cubicBezTo>
                  <a:pt x="2751" y="1032"/>
                  <a:pt x="2751" y="1032"/>
                  <a:pt x="2751" y="1032"/>
                </a:cubicBezTo>
                <a:cubicBezTo>
                  <a:pt x="2756" y="1032"/>
                  <a:pt x="2756" y="1032"/>
                  <a:pt x="2756" y="1032"/>
                </a:cubicBezTo>
                <a:cubicBezTo>
                  <a:pt x="2758" y="1032"/>
                  <a:pt x="2758" y="1032"/>
                  <a:pt x="2758" y="1032"/>
                </a:cubicBezTo>
                <a:cubicBezTo>
                  <a:pt x="2758" y="1032"/>
                  <a:pt x="2758" y="1032"/>
                  <a:pt x="2758" y="1032"/>
                </a:cubicBezTo>
                <a:cubicBezTo>
                  <a:pt x="2761" y="1032"/>
                  <a:pt x="2761" y="1032"/>
                  <a:pt x="2761" y="1032"/>
                </a:cubicBezTo>
                <a:cubicBezTo>
                  <a:pt x="2762" y="1033"/>
                  <a:pt x="2762" y="1033"/>
                  <a:pt x="2762" y="1033"/>
                </a:cubicBezTo>
                <a:cubicBezTo>
                  <a:pt x="2763" y="1034"/>
                  <a:pt x="2763" y="1034"/>
                  <a:pt x="2763" y="1034"/>
                </a:cubicBezTo>
                <a:cubicBezTo>
                  <a:pt x="2765" y="1034"/>
                  <a:pt x="2765" y="1034"/>
                  <a:pt x="2765" y="1034"/>
                </a:cubicBezTo>
                <a:cubicBezTo>
                  <a:pt x="2772" y="1033"/>
                  <a:pt x="2772" y="1033"/>
                  <a:pt x="2772" y="1033"/>
                </a:cubicBezTo>
                <a:lnTo>
                  <a:pt x="2776" y="1030"/>
                </a:lnTo>
                <a:close/>
                <a:moveTo>
                  <a:pt x="2727" y="889"/>
                </a:moveTo>
                <a:cubicBezTo>
                  <a:pt x="2725" y="887"/>
                  <a:pt x="2725" y="887"/>
                  <a:pt x="2725" y="887"/>
                </a:cubicBezTo>
                <a:cubicBezTo>
                  <a:pt x="2724" y="887"/>
                  <a:pt x="2724" y="887"/>
                  <a:pt x="2724" y="887"/>
                </a:cubicBezTo>
                <a:cubicBezTo>
                  <a:pt x="2724" y="889"/>
                  <a:pt x="2724" y="889"/>
                  <a:pt x="2724" y="889"/>
                </a:cubicBezTo>
                <a:cubicBezTo>
                  <a:pt x="2726" y="890"/>
                  <a:pt x="2726" y="890"/>
                  <a:pt x="2726" y="890"/>
                </a:cubicBezTo>
                <a:lnTo>
                  <a:pt x="2727" y="889"/>
                </a:lnTo>
                <a:close/>
                <a:moveTo>
                  <a:pt x="2722" y="905"/>
                </a:moveTo>
                <a:cubicBezTo>
                  <a:pt x="2722" y="906"/>
                  <a:pt x="2722" y="906"/>
                  <a:pt x="2722" y="906"/>
                </a:cubicBezTo>
                <a:cubicBezTo>
                  <a:pt x="2723" y="907"/>
                  <a:pt x="2723" y="907"/>
                  <a:pt x="2723" y="907"/>
                </a:cubicBezTo>
                <a:cubicBezTo>
                  <a:pt x="2725" y="907"/>
                  <a:pt x="2725" y="907"/>
                  <a:pt x="2725" y="907"/>
                </a:cubicBezTo>
                <a:cubicBezTo>
                  <a:pt x="2727" y="908"/>
                  <a:pt x="2727" y="908"/>
                  <a:pt x="2727" y="908"/>
                </a:cubicBezTo>
                <a:cubicBezTo>
                  <a:pt x="2728" y="907"/>
                  <a:pt x="2728" y="907"/>
                  <a:pt x="2728" y="907"/>
                </a:cubicBezTo>
                <a:cubicBezTo>
                  <a:pt x="2727" y="906"/>
                  <a:pt x="2727" y="906"/>
                  <a:pt x="2727" y="906"/>
                </a:cubicBezTo>
                <a:cubicBezTo>
                  <a:pt x="2725" y="906"/>
                  <a:pt x="2725" y="906"/>
                  <a:pt x="2725" y="906"/>
                </a:cubicBezTo>
                <a:cubicBezTo>
                  <a:pt x="2724" y="904"/>
                  <a:pt x="2724" y="904"/>
                  <a:pt x="2724" y="904"/>
                </a:cubicBezTo>
                <a:cubicBezTo>
                  <a:pt x="2722" y="904"/>
                  <a:pt x="2722" y="904"/>
                  <a:pt x="2722" y="904"/>
                </a:cubicBezTo>
                <a:lnTo>
                  <a:pt x="2722" y="905"/>
                </a:lnTo>
                <a:close/>
                <a:moveTo>
                  <a:pt x="2740" y="895"/>
                </a:moveTo>
                <a:cubicBezTo>
                  <a:pt x="2738" y="895"/>
                  <a:pt x="2738" y="895"/>
                  <a:pt x="2738" y="895"/>
                </a:cubicBezTo>
                <a:cubicBezTo>
                  <a:pt x="2734" y="891"/>
                  <a:pt x="2734" y="891"/>
                  <a:pt x="2734" y="891"/>
                </a:cubicBezTo>
                <a:cubicBezTo>
                  <a:pt x="2731" y="891"/>
                  <a:pt x="2731" y="891"/>
                  <a:pt x="2731" y="891"/>
                </a:cubicBezTo>
                <a:cubicBezTo>
                  <a:pt x="2729" y="891"/>
                  <a:pt x="2729" y="891"/>
                  <a:pt x="2729" y="891"/>
                </a:cubicBezTo>
                <a:cubicBezTo>
                  <a:pt x="2727" y="892"/>
                  <a:pt x="2727" y="892"/>
                  <a:pt x="2727" y="892"/>
                </a:cubicBezTo>
                <a:cubicBezTo>
                  <a:pt x="2727" y="892"/>
                  <a:pt x="2727" y="892"/>
                  <a:pt x="2727" y="892"/>
                </a:cubicBezTo>
                <a:cubicBezTo>
                  <a:pt x="2729" y="892"/>
                  <a:pt x="2729" y="892"/>
                  <a:pt x="2729" y="892"/>
                </a:cubicBezTo>
                <a:cubicBezTo>
                  <a:pt x="2729" y="895"/>
                  <a:pt x="2729" y="895"/>
                  <a:pt x="2729" y="895"/>
                </a:cubicBezTo>
                <a:cubicBezTo>
                  <a:pt x="2731" y="895"/>
                  <a:pt x="2731" y="895"/>
                  <a:pt x="2731" y="895"/>
                </a:cubicBezTo>
                <a:cubicBezTo>
                  <a:pt x="2732" y="897"/>
                  <a:pt x="2732" y="897"/>
                  <a:pt x="2732" y="897"/>
                </a:cubicBezTo>
                <a:cubicBezTo>
                  <a:pt x="2732" y="900"/>
                  <a:pt x="2732" y="900"/>
                  <a:pt x="2732" y="900"/>
                </a:cubicBezTo>
                <a:cubicBezTo>
                  <a:pt x="2734" y="901"/>
                  <a:pt x="2734" y="901"/>
                  <a:pt x="2734" y="901"/>
                </a:cubicBezTo>
                <a:cubicBezTo>
                  <a:pt x="2734" y="903"/>
                  <a:pt x="2734" y="903"/>
                  <a:pt x="2734" y="903"/>
                </a:cubicBezTo>
                <a:cubicBezTo>
                  <a:pt x="2736" y="905"/>
                  <a:pt x="2736" y="905"/>
                  <a:pt x="2736" y="905"/>
                </a:cubicBezTo>
                <a:cubicBezTo>
                  <a:pt x="2737" y="906"/>
                  <a:pt x="2737" y="906"/>
                  <a:pt x="2737" y="906"/>
                </a:cubicBezTo>
                <a:cubicBezTo>
                  <a:pt x="2739" y="904"/>
                  <a:pt x="2739" y="904"/>
                  <a:pt x="2739" y="904"/>
                </a:cubicBezTo>
                <a:cubicBezTo>
                  <a:pt x="2739" y="903"/>
                  <a:pt x="2739" y="903"/>
                  <a:pt x="2739" y="903"/>
                </a:cubicBezTo>
                <a:cubicBezTo>
                  <a:pt x="2740" y="902"/>
                  <a:pt x="2740" y="902"/>
                  <a:pt x="2740" y="902"/>
                </a:cubicBezTo>
                <a:cubicBezTo>
                  <a:pt x="2740" y="900"/>
                  <a:pt x="2740" y="900"/>
                  <a:pt x="2740" y="900"/>
                </a:cubicBezTo>
                <a:cubicBezTo>
                  <a:pt x="2739" y="899"/>
                  <a:pt x="2739" y="899"/>
                  <a:pt x="2739" y="899"/>
                </a:cubicBezTo>
                <a:cubicBezTo>
                  <a:pt x="2740" y="897"/>
                  <a:pt x="2740" y="897"/>
                  <a:pt x="2740" y="897"/>
                </a:cubicBezTo>
                <a:lnTo>
                  <a:pt x="2740" y="895"/>
                </a:lnTo>
                <a:close/>
                <a:moveTo>
                  <a:pt x="2743" y="1147"/>
                </a:moveTo>
                <a:cubicBezTo>
                  <a:pt x="2742" y="1149"/>
                  <a:pt x="2742" y="1149"/>
                  <a:pt x="2742" y="1149"/>
                </a:cubicBezTo>
                <a:cubicBezTo>
                  <a:pt x="2744" y="1149"/>
                  <a:pt x="2744" y="1149"/>
                  <a:pt x="2744" y="1149"/>
                </a:cubicBezTo>
                <a:cubicBezTo>
                  <a:pt x="2746" y="1148"/>
                  <a:pt x="2746" y="1148"/>
                  <a:pt x="2746" y="1148"/>
                </a:cubicBezTo>
                <a:cubicBezTo>
                  <a:pt x="2745" y="1147"/>
                  <a:pt x="2745" y="1147"/>
                  <a:pt x="2745" y="1147"/>
                </a:cubicBezTo>
                <a:cubicBezTo>
                  <a:pt x="2744" y="1146"/>
                  <a:pt x="2744" y="1146"/>
                  <a:pt x="2744" y="1146"/>
                </a:cubicBezTo>
                <a:lnTo>
                  <a:pt x="2743" y="1147"/>
                </a:lnTo>
                <a:close/>
                <a:moveTo>
                  <a:pt x="2815" y="1074"/>
                </a:moveTo>
                <a:cubicBezTo>
                  <a:pt x="2814" y="1074"/>
                  <a:pt x="2814" y="1074"/>
                  <a:pt x="2814" y="1074"/>
                </a:cubicBezTo>
                <a:cubicBezTo>
                  <a:pt x="2814" y="1075"/>
                  <a:pt x="2814" y="1075"/>
                  <a:pt x="2814" y="1075"/>
                </a:cubicBezTo>
                <a:cubicBezTo>
                  <a:pt x="2815" y="1075"/>
                  <a:pt x="2815" y="1075"/>
                  <a:pt x="2815" y="1075"/>
                </a:cubicBezTo>
                <a:lnTo>
                  <a:pt x="2815" y="1074"/>
                </a:lnTo>
                <a:close/>
                <a:moveTo>
                  <a:pt x="2749" y="1128"/>
                </a:moveTo>
                <a:cubicBezTo>
                  <a:pt x="2751" y="1129"/>
                  <a:pt x="2751" y="1129"/>
                  <a:pt x="2751" y="1129"/>
                </a:cubicBezTo>
                <a:cubicBezTo>
                  <a:pt x="2752" y="1128"/>
                  <a:pt x="2752" y="1128"/>
                  <a:pt x="2752" y="1128"/>
                </a:cubicBezTo>
                <a:cubicBezTo>
                  <a:pt x="2754" y="1127"/>
                  <a:pt x="2754" y="1127"/>
                  <a:pt x="2754" y="1127"/>
                </a:cubicBezTo>
                <a:cubicBezTo>
                  <a:pt x="2755" y="1126"/>
                  <a:pt x="2755" y="1126"/>
                  <a:pt x="2755" y="1126"/>
                </a:cubicBezTo>
                <a:cubicBezTo>
                  <a:pt x="2757" y="1125"/>
                  <a:pt x="2757" y="1125"/>
                  <a:pt x="2757" y="1125"/>
                </a:cubicBezTo>
                <a:cubicBezTo>
                  <a:pt x="2758" y="1123"/>
                  <a:pt x="2758" y="1123"/>
                  <a:pt x="2758" y="1123"/>
                </a:cubicBezTo>
                <a:cubicBezTo>
                  <a:pt x="2757" y="1121"/>
                  <a:pt x="2757" y="1121"/>
                  <a:pt x="2757" y="1121"/>
                </a:cubicBezTo>
                <a:cubicBezTo>
                  <a:pt x="2755" y="1121"/>
                  <a:pt x="2755" y="1121"/>
                  <a:pt x="2755" y="1121"/>
                </a:cubicBezTo>
                <a:cubicBezTo>
                  <a:pt x="2754" y="1122"/>
                  <a:pt x="2754" y="1122"/>
                  <a:pt x="2754" y="1122"/>
                </a:cubicBezTo>
                <a:cubicBezTo>
                  <a:pt x="2754" y="1122"/>
                  <a:pt x="2754" y="1122"/>
                  <a:pt x="2754" y="1122"/>
                </a:cubicBezTo>
                <a:cubicBezTo>
                  <a:pt x="2753" y="1124"/>
                  <a:pt x="2753" y="1124"/>
                  <a:pt x="2753" y="1124"/>
                </a:cubicBezTo>
                <a:cubicBezTo>
                  <a:pt x="2751" y="1124"/>
                  <a:pt x="2751" y="1124"/>
                  <a:pt x="2751" y="1124"/>
                </a:cubicBezTo>
                <a:cubicBezTo>
                  <a:pt x="2750" y="1126"/>
                  <a:pt x="2750" y="1126"/>
                  <a:pt x="2750" y="1126"/>
                </a:cubicBezTo>
                <a:cubicBezTo>
                  <a:pt x="2748" y="1126"/>
                  <a:pt x="2748" y="1126"/>
                  <a:pt x="2748" y="1126"/>
                </a:cubicBezTo>
                <a:cubicBezTo>
                  <a:pt x="2747" y="1125"/>
                  <a:pt x="2747" y="1125"/>
                  <a:pt x="2747" y="1125"/>
                </a:cubicBezTo>
                <a:cubicBezTo>
                  <a:pt x="2744" y="1125"/>
                  <a:pt x="2744" y="1125"/>
                  <a:pt x="2744" y="1125"/>
                </a:cubicBezTo>
                <a:cubicBezTo>
                  <a:pt x="2742" y="1126"/>
                  <a:pt x="2742" y="1126"/>
                  <a:pt x="2742" y="1126"/>
                </a:cubicBezTo>
                <a:cubicBezTo>
                  <a:pt x="2739" y="1124"/>
                  <a:pt x="2739" y="1124"/>
                  <a:pt x="2739" y="1124"/>
                </a:cubicBezTo>
                <a:cubicBezTo>
                  <a:pt x="2736" y="1123"/>
                  <a:pt x="2736" y="1123"/>
                  <a:pt x="2736" y="1123"/>
                </a:cubicBezTo>
                <a:cubicBezTo>
                  <a:pt x="2735" y="1124"/>
                  <a:pt x="2735" y="1124"/>
                  <a:pt x="2735" y="1124"/>
                </a:cubicBezTo>
                <a:cubicBezTo>
                  <a:pt x="2732" y="1123"/>
                  <a:pt x="2732" y="1123"/>
                  <a:pt x="2732" y="1123"/>
                </a:cubicBezTo>
                <a:cubicBezTo>
                  <a:pt x="2727" y="1124"/>
                  <a:pt x="2727" y="1124"/>
                  <a:pt x="2727" y="1124"/>
                </a:cubicBezTo>
                <a:cubicBezTo>
                  <a:pt x="2724" y="1125"/>
                  <a:pt x="2724" y="1125"/>
                  <a:pt x="2724" y="1125"/>
                </a:cubicBezTo>
                <a:cubicBezTo>
                  <a:pt x="2724" y="1125"/>
                  <a:pt x="2724" y="1127"/>
                  <a:pt x="2724" y="1127"/>
                </a:cubicBezTo>
                <a:cubicBezTo>
                  <a:pt x="2724" y="1129"/>
                  <a:pt x="2724" y="1129"/>
                  <a:pt x="2724" y="1129"/>
                </a:cubicBezTo>
                <a:cubicBezTo>
                  <a:pt x="2726" y="1129"/>
                  <a:pt x="2726" y="1129"/>
                  <a:pt x="2726" y="1129"/>
                </a:cubicBezTo>
                <a:cubicBezTo>
                  <a:pt x="2728" y="1129"/>
                  <a:pt x="2728" y="1129"/>
                  <a:pt x="2728" y="1129"/>
                </a:cubicBezTo>
                <a:cubicBezTo>
                  <a:pt x="2729" y="1129"/>
                  <a:pt x="2729" y="1129"/>
                  <a:pt x="2729" y="1129"/>
                </a:cubicBezTo>
                <a:cubicBezTo>
                  <a:pt x="2730" y="1129"/>
                  <a:pt x="2730" y="1129"/>
                  <a:pt x="2730" y="1129"/>
                </a:cubicBezTo>
                <a:cubicBezTo>
                  <a:pt x="2732" y="1129"/>
                  <a:pt x="2732" y="1129"/>
                  <a:pt x="2732" y="1129"/>
                </a:cubicBezTo>
                <a:cubicBezTo>
                  <a:pt x="2733" y="1130"/>
                  <a:pt x="2733" y="1130"/>
                  <a:pt x="2733" y="1130"/>
                </a:cubicBezTo>
                <a:cubicBezTo>
                  <a:pt x="2735" y="1130"/>
                  <a:pt x="2735" y="1130"/>
                  <a:pt x="2735" y="1130"/>
                </a:cubicBezTo>
                <a:cubicBezTo>
                  <a:pt x="2736" y="1130"/>
                  <a:pt x="2736" y="1130"/>
                  <a:pt x="2736" y="1130"/>
                </a:cubicBezTo>
                <a:cubicBezTo>
                  <a:pt x="2738" y="1130"/>
                  <a:pt x="2738" y="1130"/>
                  <a:pt x="2738" y="1130"/>
                </a:cubicBezTo>
                <a:cubicBezTo>
                  <a:pt x="2738" y="1130"/>
                  <a:pt x="2738" y="1130"/>
                  <a:pt x="2738" y="1130"/>
                </a:cubicBezTo>
                <a:cubicBezTo>
                  <a:pt x="2740" y="1129"/>
                  <a:pt x="2740" y="1129"/>
                  <a:pt x="2740" y="1129"/>
                </a:cubicBezTo>
                <a:cubicBezTo>
                  <a:pt x="2744" y="1129"/>
                  <a:pt x="2744" y="1129"/>
                  <a:pt x="2744" y="1129"/>
                </a:cubicBezTo>
                <a:cubicBezTo>
                  <a:pt x="2746" y="1128"/>
                  <a:pt x="2746" y="1128"/>
                  <a:pt x="2746" y="1128"/>
                </a:cubicBezTo>
                <a:lnTo>
                  <a:pt x="2749" y="1128"/>
                </a:lnTo>
                <a:close/>
                <a:moveTo>
                  <a:pt x="2693" y="1131"/>
                </a:moveTo>
                <a:cubicBezTo>
                  <a:pt x="2695" y="1132"/>
                  <a:pt x="2695" y="1132"/>
                  <a:pt x="2695" y="1132"/>
                </a:cubicBezTo>
                <a:cubicBezTo>
                  <a:pt x="2698" y="1131"/>
                  <a:pt x="2698" y="1131"/>
                  <a:pt x="2698" y="1131"/>
                </a:cubicBezTo>
                <a:cubicBezTo>
                  <a:pt x="2699" y="1132"/>
                  <a:pt x="2699" y="1132"/>
                  <a:pt x="2699" y="1132"/>
                </a:cubicBezTo>
                <a:cubicBezTo>
                  <a:pt x="2701" y="1131"/>
                  <a:pt x="2701" y="1131"/>
                  <a:pt x="2701" y="1131"/>
                </a:cubicBezTo>
                <a:cubicBezTo>
                  <a:pt x="2702" y="1130"/>
                  <a:pt x="2702" y="1130"/>
                  <a:pt x="2702" y="1130"/>
                </a:cubicBezTo>
                <a:cubicBezTo>
                  <a:pt x="2704" y="1131"/>
                  <a:pt x="2704" y="1131"/>
                  <a:pt x="2704" y="1131"/>
                </a:cubicBezTo>
                <a:cubicBezTo>
                  <a:pt x="2706" y="1130"/>
                  <a:pt x="2706" y="1130"/>
                  <a:pt x="2706" y="1130"/>
                </a:cubicBezTo>
                <a:cubicBezTo>
                  <a:pt x="2708" y="1130"/>
                  <a:pt x="2708" y="1130"/>
                  <a:pt x="2708" y="1130"/>
                </a:cubicBezTo>
                <a:cubicBezTo>
                  <a:pt x="2711" y="1128"/>
                  <a:pt x="2711" y="1128"/>
                  <a:pt x="2711" y="1128"/>
                </a:cubicBezTo>
                <a:cubicBezTo>
                  <a:pt x="2711" y="1130"/>
                  <a:pt x="2711" y="1130"/>
                  <a:pt x="2711" y="1130"/>
                </a:cubicBezTo>
                <a:cubicBezTo>
                  <a:pt x="2713" y="1129"/>
                  <a:pt x="2713" y="1129"/>
                  <a:pt x="2713" y="1129"/>
                </a:cubicBezTo>
                <a:cubicBezTo>
                  <a:pt x="2716" y="1130"/>
                  <a:pt x="2716" y="1130"/>
                  <a:pt x="2716" y="1130"/>
                </a:cubicBezTo>
                <a:cubicBezTo>
                  <a:pt x="2715" y="1129"/>
                  <a:pt x="2715" y="1129"/>
                  <a:pt x="2715" y="1129"/>
                </a:cubicBezTo>
                <a:cubicBezTo>
                  <a:pt x="2717" y="1129"/>
                  <a:pt x="2717" y="1129"/>
                  <a:pt x="2717" y="1129"/>
                </a:cubicBezTo>
                <a:cubicBezTo>
                  <a:pt x="2718" y="1126"/>
                  <a:pt x="2718" y="1126"/>
                  <a:pt x="2718" y="1126"/>
                </a:cubicBezTo>
                <a:cubicBezTo>
                  <a:pt x="2717" y="1127"/>
                  <a:pt x="2717" y="1127"/>
                  <a:pt x="2717" y="1127"/>
                </a:cubicBezTo>
                <a:cubicBezTo>
                  <a:pt x="2716" y="1126"/>
                  <a:pt x="2716" y="1126"/>
                  <a:pt x="2716" y="1126"/>
                </a:cubicBezTo>
                <a:cubicBezTo>
                  <a:pt x="2716" y="1124"/>
                  <a:pt x="2716" y="1124"/>
                  <a:pt x="2716" y="1124"/>
                </a:cubicBezTo>
                <a:cubicBezTo>
                  <a:pt x="2714" y="1123"/>
                  <a:pt x="2714" y="1123"/>
                  <a:pt x="2714" y="1123"/>
                </a:cubicBezTo>
                <a:cubicBezTo>
                  <a:pt x="2715" y="1125"/>
                  <a:pt x="2715" y="1125"/>
                  <a:pt x="2715" y="1125"/>
                </a:cubicBezTo>
                <a:cubicBezTo>
                  <a:pt x="2714" y="1125"/>
                  <a:pt x="2714" y="1125"/>
                  <a:pt x="2714" y="1125"/>
                </a:cubicBezTo>
                <a:cubicBezTo>
                  <a:pt x="2713" y="1124"/>
                  <a:pt x="2713" y="1124"/>
                  <a:pt x="2713" y="1124"/>
                </a:cubicBezTo>
                <a:cubicBezTo>
                  <a:pt x="2711" y="1122"/>
                  <a:pt x="2711" y="1122"/>
                  <a:pt x="2711" y="1122"/>
                </a:cubicBezTo>
                <a:cubicBezTo>
                  <a:pt x="2709" y="1123"/>
                  <a:pt x="2709" y="1123"/>
                  <a:pt x="2709" y="1123"/>
                </a:cubicBezTo>
                <a:cubicBezTo>
                  <a:pt x="2707" y="1122"/>
                  <a:pt x="2707" y="1122"/>
                  <a:pt x="2707" y="1122"/>
                </a:cubicBezTo>
                <a:cubicBezTo>
                  <a:pt x="2706" y="1121"/>
                  <a:pt x="2706" y="1121"/>
                  <a:pt x="2706" y="1121"/>
                </a:cubicBezTo>
                <a:cubicBezTo>
                  <a:pt x="2703" y="1123"/>
                  <a:pt x="2703" y="1123"/>
                  <a:pt x="2703" y="1123"/>
                </a:cubicBezTo>
                <a:cubicBezTo>
                  <a:pt x="2703" y="1124"/>
                  <a:pt x="2703" y="1124"/>
                  <a:pt x="2703" y="1124"/>
                </a:cubicBezTo>
                <a:cubicBezTo>
                  <a:pt x="2707" y="1125"/>
                  <a:pt x="2707" y="1125"/>
                  <a:pt x="2707" y="1125"/>
                </a:cubicBezTo>
                <a:cubicBezTo>
                  <a:pt x="2709" y="1127"/>
                  <a:pt x="2709" y="1127"/>
                  <a:pt x="2709" y="1127"/>
                </a:cubicBezTo>
                <a:cubicBezTo>
                  <a:pt x="2706" y="1127"/>
                  <a:pt x="2706" y="1127"/>
                  <a:pt x="2706" y="1127"/>
                </a:cubicBezTo>
                <a:cubicBezTo>
                  <a:pt x="2705" y="1128"/>
                  <a:pt x="2705" y="1128"/>
                  <a:pt x="2705" y="1128"/>
                </a:cubicBezTo>
                <a:cubicBezTo>
                  <a:pt x="2702" y="1127"/>
                  <a:pt x="2702" y="1127"/>
                  <a:pt x="2702" y="1127"/>
                </a:cubicBezTo>
                <a:cubicBezTo>
                  <a:pt x="2702" y="1125"/>
                  <a:pt x="2702" y="1125"/>
                  <a:pt x="2702" y="1125"/>
                </a:cubicBezTo>
                <a:cubicBezTo>
                  <a:pt x="2700" y="1125"/>
                  <a:pt x="2700" y="1125"/>
                  <a:pt x="2700" y="1125"/>
                </a:cubicBezTo>
                <a:cubicBezTo>
                  <a:pt x="2699" y="1125"/>
                  <a:pt x="2699" y="1125"/>
                  <a:pt x="2699" y="1125"/>
                </a:cubicBezTo>
                <a:cubicBezTo>
                  <a:pt x="2697" y="1125"/>
                  <a:pt x="2697" y="1125"/>
                  <a:pt x="2697" y="1125"/>
                </a:cubicBezTo>
                <a:cubicBezTo>
                  <a:pt x="2694" y="1126"/>
                  <a:pt x="2694" y="1126"/>
                  <a:pt x="2694" y="1126"/>
                </a:cubicBezTo>
                <a:cubicBezTo>
                  <a:pt x="2694" y="1126"/>
                  <a:pt x="2693" y="1127"/>
                  <a:pt x="2693" y="1127"/>
                </a:cubicBezTo>
                <a:cubicBezTo>
                  <a:pt x="2692" y="1129"/>
                  <a:pt x="2692" y="1129"/>
                  <a:pt x="2692" y="1129"/>
                </a:cubicBezTo>
                <a:cubicBezTo>
                  <a:pt x="2693" y="1129"/>
                  <a:pt x="2693" y="1129"/>
                  <a:pt x="2693" y="1129"/>
                </a:cubicBezTo>
                <a:cubicBezTo>
                  <a:pt x="2693" y="1130"/>
                  <a:pt x="2693" y="1130"/>
                  <a:pt x="2693" y="1130"/>
                </a:cubicBezTo>
                <a:lnTo>
                  <a:pt x="2693" y="1131"/>
                </a:lnTo>
                <a:close/>
                <a:moveTo>
                  <a:pt x="2875" y="1094"/>
                </a:moveTo>
                <a:cubicBezTo>
                  <a:pt x="2874" y="1095"/>
                  <a:pt x="2874" y="1095"/>
                  <a:pt x="2874" y="1095"/>
                </a:cubicBezTo>
                <a:cubicBezTo>
                  <a:pt x="2873" y="1095"/>
                  <a:pt x="2873" y="1095"/>
                  <a:pt x="2873" y="1095"/>
                </a:cubicBezTo>
                <a:cubicBezTo>
                  <a:pt x="2874" y="1096"/>
                  <a:pt x="2874" y="1096"/>
                  <a:pt x="2874" y="1096"/>
                </a:cubicBezTo>
                <a:cubicBezTo>
                  <a:pt x="2874" y="1096"/>
                  <a:pt x="2874" y="1096"/>
                  <a:pt x="2874" y="1096"/>
                </a:cubicBezTo>
                <a:cubicBezTo>
                  <a:pt x="2875" y="1096"/>
                  <a:pt x="2875" y="1096"/>
                  <a:pt x="2875" y="1096"/>
                </a:cubicBezTo>
                <a:cubicBezTo>
                  <a:pt x="2874" y="1097"/>
                  <a:pt x="2874" y="1097"/>
                  <a:pt x="2874" y="1097"/>
                </a:cubicBezTo>
                <a:cubicBezTo>
                  <a:pt x="2874" y="1098"/>
                  <a:pt x="2874" y="1098"/>
                  <a:pt x="2874" y="1098"/>
                </a:cubicBezTo>
                <a:cubicBezTo>
                  <a:pt x="2875" y="1098"/>
                  <a:pt x="2875" y="1098"/>
                  <a:pt x="2875" y="1098"/>
                </a:cubicBezTo>
                <a:cubicBezTo>
                  <a:pt x="2876" y="1097"/>
                  <a:pt x="2876" y="1097"/>
                  <a:pt x="2876" y="1097"/>
                </a:cubicBezTo>
                <a:cubicBezTo>
                  <a:pt x="2877" y="1097"/>
                  <a:pt x="2877" y="1097"/>
                  <a:pt x="2877" y="1097"/>
                </a:cubicBezTo>
                <a:cubicBezTo>
                  <a:pt x="2878" y="1096"/>
                  <a:pt x="2878" y="1096"/>
                  <a:pt x="2878" y="1096"/>
                </a:cubicBezTo>
                <a:cubicBezTo>
                  <a:pt x="2878" y="1095"/>
                  <a:pt x="2878" y="1095"/>
                  <a:pt x="2878" y="1095"/>
                </a:cubicBezTo>
                <a:cubicBezTo>
                  <a:pt x="2877" y="1095"/>
                  <a:pt x="2877" y="1095"/>
                  <a:pt x="2877" y="1095"/>
                </a:cubicBezTo>
                <a:cubicBezTo>
                  <a:pt x="2876" y="1094"/>
                  <a:pt x="2876" y="1094"/>
                  <a:pt x="2876" y="1094"/>
                </a:cubicBezTo>
                <a:lnTo>
                  <a:pt x="2875" y="1094"/>
                </a:lnTo>
                <a:close/>
                <a:moveTo>
                  <a:pt x="2877" y="1105"/>
                </a:moveTo>
                <a:cubicBezTo>
                  <a:pt x="2877" y="1104"/>
                  <a:pt x="2877" y="1104"/>
                  <a:pt x="2877" y="1104"/>
                </a:cubicBezTo>
                <a:cubicBezTo>
                  <a:pt x="2876" y="1103"/>
                  <a:pt x="2876" y="1103"/>
                  <a:pt x="2876" y="1103"/>
                </a:cubicBezTo>
                <a:cubicBezTo>
                  <a:pt x="2876" y="1103"/>
                  <a:pt x="2875" y="1103"/>
                  <a:pt x="2875" y="1103"/>
                </a:cubicBezTo>
                <a:cubicBezTo>
                  <a:pt x="2875" y="1104"/>
                  <a:pt x="2875" y="1104"/>
                  <a:pt x="2875" y="1104"/>
                </a:cubicBezTo>
                <a:cubicBezTo>
                  <a:pt x="2876" y="1105"/>
                  <a:pt x="2876" y="1105"/>
                  <a:pt x="2876" y="1105"/>
                </a:cubicBezTo>
                <a:lnTo>
                  <a:pt x="2877" y="1105"/>
                </a:lnTo>
                <a:close/>
                <a:moveTo>
                  <a:pt x="2878" y="1094"/>
                </a:moveTo>
                <a:cubicBezTo>
                  <a:pt x="2877" y="1093"/>
                  <a:pt x="2877" y="1093"/>
                  <a:pt x="2877" y="1093"/>
                </a:cubicBezTo>
                <a:cubicBezTo>
                  <a:pt x="2876" y="1093"/>
                  <a:pt x="2876" y="1093"/>
                  <a:pt x="2876" y="1093"/>
                </a:cubicBezTo>
                <a:cubicBezTo>
                  <a:pt x="2877" y="1094"/>
                  <a:pt x="2877" y="1094"/>
                  <a:pt x="2877" y="1094"/>
                </a:cubicBezTo>
                <a:lnTo>
                  <a:pt x="2878" y="1094"/>
                </a:lnTo>
                <a:close/>
                <a:moveTo>
                  <a:pt x="2878" y="1100"/>
                </a:moveTo>
                <a:cubicBezTo>
                  <a:pt x="2878" y="1100"/>
                  <a:pt x="2878" y="1100"/>
                  <a:pt x="2878" y="1100"/>
                </a:cubicBezTo>
                <a:cubicBezTo>
                  <a:pt x="2878" y="1099"/>
                  <a:pt x="2878" y="1099"/>
                  <a:pt x="2878" y="1099"/>
                </a:cubicBezTo>
                <a:cubicBezTo>
                  <a:pt x="2877" y="1098"/>
                  <a:pt x="2877" y="1098"/>
                  <a:pt x="2877" y="1098"/>
                </a:cubicBezTo>
                <a:cubicBezTo>
                  <a:pt x="2877" y="1098"/>
                  <a:pt x="2877" y="1098"/>
                  <a:pt x="2877" y="1098"/>
                </a:cubicBezTo>
                <a:cubicBezTo>
                  <a:pt x="2875" y="1099"/>
                  <a:pt x="2875" y="1099"/>
                  <a:pt x="2875" y="1099"/>
                </a:cubicBezTo>
                <a:cubicBezTo>
                  <a:pt x="2874" y="1100"/>
                  <a:pt x="2874" y="1100"/>
                  <a:pt x="2874" y="1100"/>
                </a:cubicBezTo>
                <a:cubicBezTo>
                  <a:pt x="2874" y="1101"/>
                  <a:pt x="2874" y="1101"/>
                  <a:pt x="2874" y="1101"/>
                </a:cubicBezTo>
                <a:cubicBezTo>
                  <a:pt x="2876" y="1102"/>
                  <a:pt x="2876" y="1102"/>
                  <a:pt x="2876" y="1102"/>
                </a:cubicBezTo>
                <a:cubicBezTo>
                  <a:pt x="2877" y="1102"/>
                  <a:pt x="2877" y="1102"/>
                  <a:pt x="2877" y="1102"/>
                </a:cubicBezTo>
                <a:cubicBezTo>
                  <a:pt x="2878" y="1101"/>
                  <a:pt x="2878" y="1101"/>
                  <a:pt x="2878" y="1101"/>
                </a:cubicBezTo>
                <a:lnTo>
                  <a:pt x="2878" y="1100"/>
                </a:lnTo>
                <a:close/>
                <a:moveTo>
                  <a:pt x="2878" y="1106"/>
                </a:moveTo>
                <a:cubicBezTo>
                  <a:pt x="2878" y="1106"/>
                  <a:pt x="2878" y="1106"/>
                  <a:pt x="2878" y="1106"/>
                </a:cubicBezTo>
                <a:cubicBezTo>
                  <a:pt x="2877" y="1106"/>
                  <a:pt x="2877" y="1106"/>
                  <a:pt x="2877" y="1106"/>
                </a:cubicBezTo>
                <a:cubicBezTo>
                  <a:pt x="2878" y="1107"/>
                  <a:pt x="2878" y="1107"/>
                  <a:pt x="2878" y="1107"/>
                </a:cubicBezTo>
                <a:lnTo>
                  <a:pt x="2878" y="1106"/>
                </a:lnTo>
                <a:close/>
                <a:moveTo>
                  <a:pt x="2872" y="1100"/>
                </a:moveTo>
                <a:cubicBezTo>
                  <a:pt x="2873" y="1102"/>
                  <a:pt x="2873" y="1102"/>
                  <a:pt x="2873" y="1102"/>
                </a:cubicBezTo>
                <a:cubicBezTo>
                  <a:pt x="2874" y="1103"/>
                  <a:pt x="2874" y="1103"/>
                  <a:pt x="2874" y="1103"/>
                </a:cubicBezTo>
                <a:cubicBezTo>
                  <a:pt x="2875" y="1102"/>
                  <a:pt x="2875" y="1102"/>
                  <a:pt x="2875" y="1102"/>
                </a:cubicBezTo>
                <a:cubicBezTo>
                  <a:pt x="2873" y="1101"/>
                  <a:pt x="2873" y="1101"/>
                  <a:pt x="2873" y="1101"/>
                </a:cubicBezTo>
                <a:cubicBezTo>
                  <a:pt x="2873" y="1100"/>
                  <a:pt x="2873" y="1100"/>
                  <a:pt x="2873" y="1100"/>
                </a:cubicBezTo>
                <a:cubicBezTo>
                  <a:pt x="2872" y="1099"/>
                  <a:pt x="2872" y="1099"/>
                  <a:pt x="2872" y="1099"/>
                </a:cubicBezTo>
                <a:lnTo>
                  <a:pt x="2872" y="1100"/>
                </a:lnTo>
                <a:close/>
                <a:moveTo>
                  <a:pt x="2872" y="1096"/>
                </a:moveTo>
                <a:cubicBezTo>
                  <a:pt x="2872" y="1097"/>
                  <a:pt x="2872" y="1097"/>
                  <a:pt x="2872" y="1097"/>
                </a:cubicBezTo>
                <a:cubicBezTo>
                  <a:pt x="2873" y="1097"/>
                  <a:pt x="2873" y="1097"/>
                  <a:pt x="2873" y="1097"/>
                </a:cubicBezTo>
                <a:cubicBezTo>
                  <a:pt x="2873" y="1096"/>
                  <a:pt x="2873" y="1096"/>
                  <a:pt x="2873" y="1096"/>
                </a:cubicBezTo>
                <a:lnTo>
                  <a:pt x="2872" y="1096"/>
                </a:lnTo>
                <a:close/>
                <a:moveTo>
                  <a:pt x="2737" y="972"/>
                </a:moveTo>
                <a:cubicBezTo>
                  <a:pt x="2736" y="973"/>
                  <a:pt x="2736" y="973"/>
                  <a:pt x="2736" y="973"/>
                </a:cubicBezTo>
                <a:cubicBezTo>
                  <a:pt x="2737" y="974"/>
                  <a:pt x="2737" y="974"/>
                  <a:pt x="2737" y="974"/>
                </a:cubicBezTo>
                <a:cubicBezTo>
                  <a:pt x="2739" y="974"/>
                  <a:pt x="2739" y="974"/>
                  <a:pt x="2739" y="974"/>
                </a:cubicBezTo>
                <a:cubicBezTo>
                  <a:pt x="2740" y="973"/>
                  <a:pt x="2740" y="973"/>
                  <a:pt x="2740" y="973"/>
                </a:cubicBezTo>
                <a:cubicBezTo>
                  <a:pt x="2741" y="974"/>
                  <a:pt x="2741" y="974"/>
                  <a:pt x="2741" y="974"/>
                </a:cubicBezTo>
                <a:cubicBezTo>
                  <a:pt x="2742" y="973"/>
                  <a:pt x="2742" y="973"/>
                  <a:pt x="2742" y="973"/>
                </a:cubicBezTo>
                <a:cubicBezTo>
                  <a:pt x="2742" y="972"/>
                  <a:pt x="2742" y="972"/>
                  <a:pt x="2742" y="972"/>
                </a:cubicBezTo>
                <a:cubicBezTo>
                  <a:pt x="2740" y="972"/>
                  <a:pt x="2740" y="972"/>
                  <a:pt x="2740" y="972"/>
                </a:cubicBezTo>
                <a:lnTo>
                  <a:pt x="2737" y="972"/>
                </a:lnTo>
                <a:close/>
                <a:moveTo>
                  <a:pt x="2850" y="1112"/>
                </a:moveTo>
                <a:cubicBezTo>
                  <a:pt x="2849" y="1111"/>
                  <a:pt x="2849" y="1111"/>
                  <a:pt x="2849" y="1111"/>
                </a:cubicBezTo>
                <a:cubicBezTo>
                  <a:pt x="2847" y="1110"/>
                  <a:pt x="2847" y="1110"/>
                  <a:pt x="2847" y="1110"/>
                </a:cubicBezTo>
                <a:lnTo>
                  <a:pt x="2850" y="1112"/>
                </a:lnTo>
                <a:close/>
                <a:moveTo>
                  <a:pt x="2850" y="1108"/>
                </a:moveTo>
                <a:cubicBezTo>
                  <a:pt x="2849" y="1110"/>
                  <a:pt x="2849" y="1110"/>
                  <a:pt x="2849" y="1110"/>
                </a:cubicBezTo>
                <a:cubicBezTo>
                  <a:pt x="2851" y="1109"/>
                  <a:pt x="2851" y="1109"/>
                  <a:pt x="2851" y="1109"/>
                </a:cubicBezTo>
                <a:lnTo>
                  <a:pt x="2850" y="1108"/>
                </a:lnTo>
                <a:close/>
                <a:moveTo>
                  <a:pt x="2816" y="1112"/>
                </a:moveTo>
                <a:cubicBezTo>
                  <a:pt x="2816" y="1111"/>
                  <a:pt x="2816" y="1111"/>
                  <a:pt x="2816" y="1111"/>
                </a:cubicBezTo>
                <a:cubicBezTo>
                  <a:pt x="2815" y="1110"/>
                  <a:pt x="2815" y="1110"/>
                  <a:pt x="2815" y="1110"/>
                </a:cubicBezTo>
                <a:cubicBezTo>
                  <a:pt x="2814" y="1111"/>
                  <a:pt x="2814" y="1111"/>
                  <a:pt x="2814" y="1111"/>
                </a:cubicBezTo>
                <a:cubicBezTo>
                  <a:pt x="2814" y="1112"/>
                  <a:pt x="2814" y="1112"/>
                  <a:pt x="2814" y="1112"/>
                </a:cubicBezTo>
                <a:lnTo>
                  <a:pt x="2816" y="1112"/>
                </a:lnTo>
                <a:close/>
                <a:moveTo>
                  <a:pt x="2847" y="1111"/>
                </a:moveTo>
                <a:cubicBezTo>
                  <a:pt x="2846" y="1111"/>
                  <a:pt x="2846" y="1111"/>
                  <a:pt x="2846" y="1111"/>
                </a:cubicBezTo>
                <a:cubicBezTo>
                  <a:pt x="2845" y="1112"/>
                  <a:pt x="2845" y="1112"/>
                  <a:pt x="2845" y="1112"/>
                </a:cubicBezTo>
                <a:cubicBezTo>
                  <a:pt x="2845" y="1113"/>
                  <a:pt x="2845" y="1113"/>
                  <a:pt x="2845" y="1113"/>
                </a:cubicBezTo>
                <a:cubicBezTo>
                  <a:pt x="2842" y="1115"/>
                  <a:pt x="2842" y="1115"/>
                  <a:pt x="2842" y="1115"/>
                </a:cubicBezTo>
                <a:cubicBezTo>
                  <a:pt x="2842" y="1116"/>
                  <a:pt x="2842" y="1116"/>
                  <a:pt x="2842" y="1116"/>
                </a:cubicBezTo>
                <a:cubicBezTo>
                  <a:pt x="2842" y="1117"/>
                  <a:pt x="2842" y="1117"/>
                  <a:pt x="2842" y="1117"/>
                </a:cubicBezTo>
                <a:cubicBezTo>
                  <a:pt x="2841" y="1118"/>
                  <a:pt x="2841" y="1118"/>
                  <a:pt x="2841" y="1118"/>
                </a:cubicBezTo>
                <a:cubicBezTo>
                  <a:pt x="2841" y="1119"/>
                  <a:pt x="2841" y="1119"/>
                  <a:pt x="2841" y="1119"/>
                </a:cubicBezTo>
                <a:cubicBezTo>
                  <a:pt x="2843" y="1120"/>
                  <a:pt x="2843" y="1120"/>
                  <a:pt x="2843" y="1120"/>
                </a:cubicBezTo>
                <a:cubicBezTo>
                  <a:pt x="2844" y="1120"/>
                  <a:pt x="2844" y="1120"/>
                  <a:pt x="2844" y="1120"/>
                </a:cubicBezTo>
                <a:cubicBezTo>
                  <a:pt x="2846" y="1117"/>
                  <a:pt x="2846" y="1117"/>
                  <a:pt x="2846" y="1117"/>
                </a:cubicBezTo>
                <a:cubicBezTo>
                  <a:pt x="2847" y="1115"/>
                  <a:pt x="2847" y="1115"/>
                  <a:pt x="2847" y="1115"/>
                </a:cubicBezTo>
                <a:cubicBezTo>
                  <a:pt x="2847" y="1113"/>
                  <a:pt x="2847" y="1113"/>
                  <a:pt x="2847" y="1113"/>
                </a:cubicBezTo>
                <a:cubicBezTo>
                  <a:pt x="2847" y="1112"/>
                  <a:pt x="2847" y="1112"/>
                  <a:pt x="2847" y="1112"/>
                </a:cubicBezTo>
                <a:lnTo>
                  <a:pt x="2847" y="1111"/>
                </a:lnTo>
                <a:close/>
                <a:moveTo>
                  <a:pt x="2857" y="1096"/>
                </a:moveTo>
                <a:cubicBezTo>
                  <a:pt x="2857" y="1098"/>
                  <a:pt x="2857" y="1098"/>
                  <a:pt x="2857" y="1098"/>
                </a:cubicBezTo>
                <a:cubicBezTo>
                  <a:pt x="2858" y="1098"/>
                  <a:pt x="2858" y="1098"/>
                  <a:pt x="2858" y="1098"/>
                </a:cubicBezTo>
                <a:cubicBezTo>
                  <a:pt x="2858" y="1096"/>
                  <a:pt x="2858" y="1096"/>
                  <a:pt x="2858" y="1096"/>
                </a:cubicBezTo>
                <a:cubicBezTo>
                  <a:pt x="2857" y="1094"/>
                  <a:pt x="2857" y="1094"/>
                  <a:pt x="2857" y="1094"/>
                </a:cubicBezTo>
                <a:lnTo>
                  <a:pt x="2857" y="1096"/>
                </a:lnTo>
                <a:close/>
                <a:moveTo>
                  <a:pt x="2853" y="1154"/>
                </a:moveTo>
                <a:cubicBezTo>
                  <a:pt x="2854" y="1156"/>
                  <a:pt x="2854" y="1156"/>
                  <a:pt x="2854" y="1156"/>
                </a:cubicBezTo>
                <a:cubicBezTo>
                  <a:pt x="2854" y="1154"/>
                  <a:pt x="2854" y="1154"/>
                  <a:pt x="2854" y="1154"/>
                </a:cubicBezTo>
                <a:cubicBezTo>
                  <a:pt x="2854" y="1153"/>
                  <a:pt x="2854" y="1153"/>
                  <a:pt x="2854" y="1153"/>
                </a:cubicBezTo>
                <a:cubicBezTo>
                  <a:pt x="2853" y="1153"/>
                  <a:pt x="2853" y="1153"/>
                  <a:pt x="2853" y="1153"/>
                </a:cubicBezTo>
                <a:lnTo>
                  <a:pt x="2853" y="1154"/>
                </a:lnTo>
                <a:close/>
                <a:moveTo>
                  <a:pt x="2859" y="1097"/>
                </a:moveTo>
                <a:cubicBezTo>
                  <a:pt x="2859" y="1098"/>
                  <a:pt x="2859" y="1098"/>
                  <a:pt x="2859" y="1098"/>
                </a:cubicBezTo>
                <a:cubicBezTo>
                  <a:pt x="2860" y="1098"/>
                  <a:pt x="2860" y="1098"/>
                  <a:pt x="2860" y="1098"/>
                </a:cubicBezTo>
                <a:cubicBezTo>
                  <a:pt x="2861" y="1094"/>
                  <a:pt x="2861" y="1094"/>
                  <a:pt x="2861" y="1094"/>
                </a:cubicBezTo>
                <a:cubicBezTo>
                  <a:pt x="2862" y="1092"/>
                  <a:pt x="2862" y="1092"/>
                  <a:pt x="2862" y="1092"/>
                </a:cubicBezTo>
                <a:cubicBezTo>
                  <a:pt x="2860" y="1093"/>
                  <a:pt x="2860" y="1093"/>
                  <a:pt x="2860" y="1093"/>
                </a:cubicBezTo>
                <a:lnTo>
                  <a:pt x="2859" y="1097"/>
                </a:lnTo>
                <a:close/>
                <a:moveTo>
                  <a:pt x="2788" y="1058"/>
                </a:moveTo>
                <a:cubicBezTo>
                  <a:pt x="2788" y="1060"/>
                  <a:pt x="2788" y="1060"/>
                  <a:pt x="2788" y="1060"/>
                </a:cubicBezTo>
                <a:cubicBezTo>
                  <a:pt x="2789" y="1062"/>
                  <a:pt x="2789" y="1062"/>
                  <a:pt x="2789" y="1062"/>
                </a:cubicBezTo>
                <a:cubicBezTo>
                  <a:pt x="2790" y="1063"/>
                  <a:pt x="2790" y="1063"/>
                  <a:pt x="2790" y="1063"/>
                </a:cubicBezTo>
                <a:cubicBezTo>
                  <a:pt x="2790" y="1062"/>
                  <a:pt x="2790" y="1062"/>
                  <a:pt x="2790" y="1062"/>
                </a:cubicBezTo>
                <a:cubicBezTo>
                  <a:pt x="2789" y="1060"/>
                  <a:pt x="2789" y="1060"/>
                  <a:pt x="2789" y="1060"/>
                </a:cubicBezTo>
                <a:cubicBezTo>
                  <a:pt x="2789" y="1058"/>
                  <a:pt x="2789" y="1058"/>
                  <a:pt x="2789" y="1058"/>
                </a:cubicBezTo>
                <a:lnTo>
                  <a:pt x="2788" y="1058"/>
                </a:lnTo>
                <a:close/>
                <a:moveTo>
                  <a:pt x="2756" y="895"/>
                </a:moveTo>
                <a:cubicBezTo>
                  <a:pt x="2755" y="895"/>
                  <a:pt x="2755" y="895"/>
                  <a:pt x="2755" y="895"/>
                </a:cubicBezTo>
                <a:cubicBezTo>
                  <a:pt x="2755" y="896"/>
                  <a:pt x="2755" y="896"/>
                  <a:pt x="2755" y="896"/>
                </a:cubicBezTo>
                <a:cubicBezTo>
                  <a:pt x="2757" y="899"/>
                  <a:pt x="2757" y="899"/>
                  <a:pt x="2757" y="899"/>
                </a:cubicBezTo>
                <a:cubicBezTo>
                  <a:pt x="2758" y="898"/>
                  <a:pt x="2758" y="898"/>
                  <a:pt x="2758" y="898"/>
                </a:cubicBezTo>
                <a:cubicBezTo>
                  <a:pt x="2758" y="897"/>
                  <a:pt x="2758" y="897"/>
                  <a:pt x="2758" y="897"/>
                </a:cubicBezTo>
                <a:lnTo>
                  <a:pt x="2756" y="895"/>
                </a:lnTo>
                <a:close/>
                <a:moveTo>
                  <a:pt x="2767" y="923"/>
                </a:moveTo>
                <a:cubicBezTo>
                  <a:pt x="2767" y="922"/>
                  <a:pt x="2767" y="922"/>
                  <a:pt x="2767" y="922"/>
                </a:cubicBezTo>
                <a:cubicBezTo>
                  <a:pt x="2767" y="920"/>
                  <a:pt x="2767" y="920"/>
                  <a:pt x="2767" y="920"/>
                </a:cubicBezTo>
                <a:cubicBezTo>
                  <a:pt x="2767" y="916"/>
                  <a:pt x="2767" y="916"/>
                  <a:pt x="2767" y="916"/>
                </a:cubicBezTo>
                <a:cubicBezTo>
                  <a:pt x="2766" y="917"/>
                  <a:pt x="2766" y="917"/>
                  <a:pt x="2766" y="917"/>
                </a:cubicBezTo>
                <a:cubicBezTo>
                  <a:pt x="2766" y="921"/>
                  <a:pt x="2766" y="921"/>
                  <a:pt x="2766" y="921"/>
                </a:cubicBezTo>
                <a:cubicBezTo>
                  <a:pt x="2764" y="924"/>
                  <a:pt x="2764" y="924"/>
                  <a:pt x="2764" y="924"/>
                </a:cubicBezTo>
                <a:cubicBezTo>
                  <a:pt x="2764" y="926"/>
                  <a:pt x="2764" y="926"/>
                  <a:pt x="2764" y="926"/>
                </a:cubicBezTo>
                <a:cubicBezTo>
                  <a:pt x="2763" y="929"/>
                  <a:pt x="2763" y="929"/>
                  <a:pt x="2763" y="929"/>
                </a:cubicBezTo>
                <a:cubicBezTo>
                  <a:pt x="2761" y="931"/>
                  <a:pt x="2761" y="931"/>
                  <a:pt x="2761" y="931"/>
                </a:cubicBezTo>
                <a:cubicBezTo>
                  <a:pt x="2761" y="933"/>
                  <a:pt x="2761" y="933"/>
                  <a:pt x="2761" y="933"/>
                </a:cubicBezTo>
                <a:cubicBezTo>
                  <a:pt x="2762" y="935"/>
                  <a:pt x="2762" y="935"/>
                  <a:pt x="2762" y="935"/>
                </a:cubicBezTo>
                <a:cubicBezTo>
                  <a:pt x="2763" y="933"/>
                  <a:pt x="2763" y="933"/>
                  <a:pt x="2763" y="933"/>
                </a:cubicBezTo>
                <a:cubicBezTo>
                  <a:pt x="2764" y="929"/>
                  <a:pt x="2764" y="929"/>
                  <a:pt x="2764" y="929"/>
                </a:cubicBezTo>
                <a:cubicBezTo>
                  <a:pt x="2767" y="925"/>
                  <a:pt x="2767" y="925"/>
                  <a:pt x="2767" y="925"/>
                </a:cubicBezTo>
                <a:lnTo>
                  <a:pt x="2767" y="923"/>
                </a:lnTo>
                <a:close/>
                <a:moveTo>
                  <a:pt x="2743" y="890"/>
                </a:moveTo>
                <a:cubicBezTo>
                  <a:pt x="2742" y="891"/>
                  <a:pt x="2742" y="891"/>
                  <a:pt x="2742" y="891"/>
                </a:cubicBezTo>
                <a:cubicBezTo>
                  <a:pt x="2743" y="893"/>
                  <a:pt x="2743" y="893"/>
                  <a:pt x="2743" y="893"/>
                </a:cubicBezTo>
                <a:cubicBezTo>
                  <a:pt x="2745" y="894"/>
                  <a:pt x="2745" y="894"/>
                  <a:pt x="2745" y="894"/>
                </a:cubicBezTo>
                <a:cubicBezTo>
                  <a:pt x="2745" y="893"/>
                  <a:pt x="2745" y="893"/>
                  <a:pt x="2745" y="893"/>
                </a:cubicBezTo>
                <a:cubicBezTo>
                  <a:pt x="2746" y="892"/>
                  <a:pt x="2746" y="892"/>
                  <a:pt x="2746" y="892"/>
                </a:cubicBezTo>
                <a:cubicBezTo>
                  <a:pt x="2745" y="891"/>
                  <a:pt x="2745" y="891"/>
                  <a:pt x="2745" y="891"/>
                </a:cubicBezTo>
                <a:lnTo>
                  <a:pt x="2743" y="890"/>
                </a:lnTo>
                <a:close/>
                <a:moveTo>
                  <a:pt x="2754" y="923"/>
                </a:moveTo>
                <a:cubicBezTo>
                  <a:pt x="2754" y="922"/>
                  <a:pt x="2754" y="922"/>
                  <a:pt x="2754" y="922"/>
                </a:cubicBezTo>
                <a:cubicBezTo>
                  <a:pt x="2753" y="922"/>
                  <a:pt x="2753" y="922"/>
                  <a:pt x="2753" y="922"/>
                </a:cubicBezTo>
                <a:cubicBezTo>
                  <a:pt x="2752" y="922"/>
                  <a:pt x="2752" y="922"/>
                  <a:pt x="2752" y="922"/>
                </a:cubicBezTo>
                <a:cubicBezTo>
                  <a:pt x="2751" y="924"/>
                  <a:pt x="2751" y="924"/>
                  <a:pt x="2751" y="924"/>
                </a:cubicBezTo>
                <a:cubicBezTo>
                  <a:pt x="2752" y="925"/>
                  <a:pt x="2752" y="925"/>
                  <a:pt x="2752" y="925"/>
                </a:cubicBezTo>
                <a:lnTo>
                  <a:pt x="2754" y="923"/>
                </a:lnTo>
                <a:close/>
                <a:moveTo>
                  <a:pt x="2784" y="1057"/>
                </a:moveTo>
                <a:cubicBezTo>
                  <a:pt x="2786" y="1057"/>
                  <a:pt x="2786" y="1057"/>
                  <a:pt x="2786" y="1057"/>
                </a:cubicBezTo>
                <a:cubicBezTo>
                  <a:pt x="2791" y="1056"/>
                  <a:pt x="2791" y="1056"/>
                  <a:pt x="2791" y="1056"/>
                </a:cubicBezTo>
                <a:cubicBezTo>
                  <a:pt x="2793" y="1056"/>
                  <a:pt x="2793" y="1056"/>
                  <a:pt x="2793" y="1056"/>
                </a:cubicBezTo>
                <a:cubicBezTo>
                  <a:pt x="2791" y="1055"/>
                  <a:pt x="2791" y="1055"/>
                  <a:pt x="2791" y="1055"/>
                </a:cubicBezTo>
                <a:cubicBezTo>
                  <a:pt x="2787" y="1055"/>
                  <a:pt x="2787" y="1055"/>
                  <a:pt x="2787" y="1055"/>
                </a:cubicBezTo>
                <a:cubicBezTo>
                  <a:pt x="2786" y="1056"/>
                  <a:pt x="2786" y="1056"/>
                  <a:pt x="2786" y="1056"/>
                </a:cubicBezTo>
                <a:cubicBezTo>
                  <a:pt x="2784" y="1055"/>
                  <a:pt x="2784" y="1055"/>
                  <a:pt x="2784" y="1055"/>
                </a:cubicBezTo>
                <a:cubicBezTo>
                  <a:pt x="2783" y="1056"/>
                  <a:pt x="2783" y="1056"/>
                  <a:pt x="2783" y="1056"/>
                </a:cubicBezTo>
                <a:cubicBezTo>
                  <a:pt x="2784" y="1056"/>
                  <a:pt x="2784" y="1056"/>
                  <a:pt x="2784" y="1056"/>
                </a:cubicBezTo>
                <a:lnTo>
                  <a:pt x="2784" y="1057"/>
                </a:lnTo>
                <a:close/>
                <a:moveTo>
                  <a:pt x="2872" y="1105"/>
                </a:moveTo>
                <a:cubicBezTo>
                  <a:pt x="2871" y="1107"/>
                  <a:pt x="2871" y="1107"/>
                  <a:pt x="2871" y="1107"/>
                </a:cubicBezTo>
                <a:cubicBezTo>
                  <a:pt x="2872" y="1108"/>
                  <a:pt x="2872" y="1108"/>
                  <a:pt x="2872" y="1108"/>
                </a:cubicBezTo>
                <a:cubicBezTo>
                  <a:pt x="2873" y="1108"/>
                  <a:pt x="2873" y="1108"/>
                  <a:pt x="2873" y="1108"/>
                </a:cubicBezTo>
                <a:cubicBezTo>
                  <a:pt x="2875" y="1106"/>
                  <a:pt x="2875" y="1106"/>
                  <a:pt x="2875" y="1106"/>
                </a:cubicBezTo>
                <a:cubicBezTo>
                  <a:pt x="2876" y="1105"/>
                  <a:pt x="2876" y="1105"/>
                  <a:pt x="2876" y="1105"/>
                </a:cubicBezTo>
                <a:cubicBezTo>
                  <a:pt x="2875" y="1105"/>
                  <a:pt x="2875" y="1105"/>
                  <a:pt x="2875" y="1105"/>
                </a:cubicBezTo>
                <a:cubicBezTo>
                  <a:pt x="2874" y="1104"/>
                  <a:pt x="2874" y="1104"/>
                  <a:pt x="2874" y="1104"/>
                </a:cubicBezTo>
                <a:cubicBezTo>
                  <a:pt x="2872" y="1102"/>
                  <a:pt x="2872" y="1102"/>
                  <a:pt x="2872" y="1102"/>
                </a:cubicBezTo>
                <a:cubicBezTo>
                  <a:pt x="2871" y="1101"/>
                  <a:pt x="2871" y="1101"/>
                  <a:pt x="2871" y="1101"/>
                </a:cubicBezTo>
                <a:cubicBezTo>
                  <a:pt x="2872" y="1102"/>
                  <a:pt x="2872" y="1102"/>
                  <a:pt x="2872" y="1102"/>
                </a:cubicBezTo>
                <a:cubicBezTo>
                  <a:pt x="2872" y="1104"/>
                  <a:pt x="2872" y="1104"/>
                  <a:pt x="2872" y="1104"/>
                </a:cubicBezTo>
                <a:cubicBezTo>
                  <a:pt x="2872" y="1105"/>
                  <a:pt x="2872" y="1105"/>
                  <a:pt x="2872" y="1105"/>
                </a:cubicBezTo>
                <a:cubicBezTo>
                  <a:pt x="2873" y="1106"/>
                  <a:pt x="2873" y="1106"/>
                  <a:pt x="2873" y="1106"/>
                </a:cubicBezTo>
                <a:cubicBezTo>
                  <a:pt x="2872" y="1105"/>
                  <a:pt x="2872" y="1105"/>
                  <a:pt x="2872" y="1105"/>
                </a:cubicBezTo>
                <a:close/>
                <a:moveTo>
                  <a:pt x="2762" y="922"/>
                </a:moveTo>
                <a:cubicBezTo>
                  <a:pt x="2762" y="920"/>
                  <a:pt x="2762" y="920"/>
                  <a:pt x="2762" y="920"/>
                </a:cubicBezTo>
                <a:cubicBezTo>
                  <a:pt x="2761" y="919"/>
                  <a:pt x="2761" y="919"/>
                  <a:pt x="2761" y="919"/>
                </a:cubicBezTo>
                <a:cubicBezTo>
                  <a:pt x="2760" y="920"/>
                  <a:pt x="2760" y="920"/>
                  <a:pt x="2760" y="920"/>
                </a:cubicBezTo>
                <a:cubicBezTo>
                  <a:pt x="2758" y="919"/>
                  <a:pt x="2758" y="919"/>
                  <a:pt x="2758" y="919"/>
                </a:cubicBezTo>
                <a:cubicBezTo>
                  <a:pt x="2757" y="920"/>
                  <a:pt x="2757" y="920"/>
                  <a:pt x="2757" y="920"/>
                </a:cubicBezTo>
                <a:cubicBezTo>
                  <a:pt x="2757" y="922"/>
                  <a:pt x="2757" y="922"/>
                  <a:pt x="2757" y="922"/>
                </a:cubicBezTo>
                <a:cubicBezTo>
                  <a:pt x="2756" y="924"/>
                  <a:pt x="2756" y="924"/>
                  <a:pt x="2756" y="924"/>
                </a:cubicBezTo>
                <a:cubicBezTo>
                  <a:pt x="2756" y="927"/>
                  <a:pt x="2756" y="927"/>
                  <a:pt x="2756" y="927"/>
                </a:cubicBezTo>
                <a:cubicBezTo>
                  <a:pt x="2755" y="929"/>
                  <a:pt x="2755" y="929"/>
                  <a:pt x="2755" y="929"/>
                </a:cubicBezTo>
                <a:cubicBezTo>
                  <a:pt x="2752" y="930"/>
                  <a:pt x="2752" y="930"/>
                  <a:pt x="2752" y="930"/>
                </a:cubicBezTo>
                <a:cubicBezTo>
                  <a:pt x="2751" y="931"/>
                  <a:pt x="2751" y="931"/>
                  <a:pt x="2751" y="931"/>
                </a:cubicBezTo>
                <a:cubicBezTo>
                  <a:pt x="2751" y="934"/>
                  <a:pt x="2751" y="934"/>
                  <a:pt x="2751" y="934"/>
                </a:cubicBezTo>
                <a:cubicBezTo>
                  <a:pt x="2753" y="934"/>
                  <a:pt x="2753" y="934"/>
                  <a:pt x="2753" y="934"/>
                </a:cubicBezTo>
                <a:cubicBezTo>
                  <a:pt x="2755" y="936"/>
                  <a:pt x="2755" y="936"/>
                  <a:pt x="2755" y="936"/>
                </a:cubicBezTo>
                <a:cubicBezTo>
                  <a:pt x="2757" y="936"/>
                  <a:pt x="2757" y="936"/>
                  <a:pt x="2757" y="936"/>
                </a:cubicBezTo>
                <a:cubicBezTo>
                  <a:pt x="2757" y="938"/>
                  <a:pt x="2757" y="938"/>
                  <a:pt x="2757" y="938"/>
                </a:cubicBezTo>
                <a:cubicBezTo>
                  <a:pt x="2759" y="939"/>
                  <a:pt x="2759" y="939"/>
                  <a:pt x="2759" y="939"/>
                </a:cubicBezTo>
                <a:cubicBezTo>
                  <a:pt x="2761" y="938"/>
                  <a:pt x="2761" y="938"/>
                  <a:pt x="2761" y="938"/>
                </a:cubicBezTo>
                <a:cubicBezTo>
                  <a:pt x="2761" y="936"/>
                  <a:pt x="2761" y="936"/>
                  <a:pt x="2761" y="936"/>
                </a:cubicBezTo>
                <a:cubicBezTo>
                  <a:pt x="2759" y="934"/>
                  <a:pt x="2759" y="934"/>
                  <a:pt x="2759" y="934"/>
                </a:cubicBezTo>
                <a:cubicBezTo>
                  <a:pt x="2759" y="930"/>
                  <a:pt x="2759" y="930"/>
                  <a:pt x="2759" y="930"/>
                </a:cubicBezTo>
                <a:cubicBezTo>
                  <a:pt x="2760" y="924"/>
                  <a:pt x="2760" y="924"/>
                  <a:pt x="2760" y="924"/>
                </a:cubicBezTo>
                <a:lnTo>
                  <a:pt x="2762" y="922"/>
                </a:lnTo>
                <a:close/>
                <a:moveTo>
                  <a:pt x="2748" y="968"/>
                </a:moveTo>
                <a:cubicBezTo>
                  <a:pt x="2749" y="969"/>
                  <a:pt x="2749" y="969"/>
                  <a:pt x="2749" y="969"/>
                </a:cubicBezTo>
                <a:cubicBezTo>
                  <a:pt x="2751" y="967"/>
                  <a:pt x="2751" y="967"/>
                  <a:pt x="2751" y="967"/>
                </a:cubicBezTo>
                <a:cubicBezTo>
                  <a:pt x="2752" y="966"/>
                  <a:pt x="2752" y="966"/>
                  <a:pt x="2752" y="966"/>
                </a:cubicBezTo>
                <a:cubicBezTo>
                  <a:pt x="2750" y="965"/>
                  <a:pt x="2750" y="965"/>
                  <a:pt x="2750" y="965"/>
                </a:cubicBezTo>
                <a:cubicBezTo>
                  <a:pt x="2749" y="965"/>
                  <a:pt x="2749" y="965"/>
                  <a:pt x="2749" y="965"/>
                </a:cubicBezTo>
                <a:cubicBezTo>
                  <a:pt x="2748" y="966"/>
                  <a:pt x="2748" y="966"/>
                  <a:pt x="2748" y="966"/>
                </a:cubicBezTo>
                <a:cubicBezTo>
                  <a:pt x="2746" y="966"/>
                  <a:pt x="2746" y="966"/>
                  <a:pt x="2746" y="966"/>
                </a:cubicBezTo>
                <a:cubicBezTo>
                  <a:pt x="2746" y="967"/>
                  <a:pt x="2746" y="967"/>
                  <a:pt x="2746" y="967"/>
                </a:cubicBezTo>
                <a:lnTo>
                  <a:pt x="2748" y="968"/>
                </a:lnTo>
                <a:close/>
                <a:moveTo>
                  <a:pt x="2803" y="1041"/>
                </a:moveTo>
                <a:cubicBezTo>
                  <a:pt x="2803" y="1040"/>
                  <a:pt x="2803" y="1040"/>
                  <a:pt x="2803" y="1040"/>
                </a:cubicBezTo>
                <a:cubicBezTo>
                  <a:pt x="2802" y="1040"/>
                  <a:pt x="2802" y="1040"/>
                  <a:pt x="2802" y="1040"/>
                </a:cubicBezTo>
                <a:cubicBezTo>
                  <a:pt x="2801" y="1042"/>
                  <a:pt x="2801" y="1042"/>
                  <a:pt x="2801" y="1042"/>
                </a:cubicBezTo>
                <a:cubicBezTo>
                  <a:pt x="2802" y="1043"/>
                  <a:pt x="2802" y="1043"/>
                  <a:pt x="2802" y="1043"/>
                </a:cubicBezTo>
                <a:lnTo>
                  <a:pt x="2803" y="1041"/>
                </a:lnTo>
                <a:close/>
                <a:moveTo>
                  <a:pt x="2784" y="1123"/>
                </a:moveTo>
                <a:cubicBezTo>
                  <a:pt x="2783" y="1122"/>
                  <a:pt x="2783" y="1122"/>
                  <a:pt x="2783" y="1122"/>
                </a:cubicBezTo>
                <a:cubicBezTo>
                  <a:pt x="2783" y="1123"/>
                  <a:pt x="2783" y="1123"/>
                  <a:pt x="2783" y="1123"/>
                </a:cubicBezTo>
                <a:cubicBezTo>
                  <a:pt x="2783" y="1124"/>
                  <a:pt x="2783" y="1124"/>
                  <a:pt x="2783" y="1124"/>
                </a:cubicBezTo>
                <a:lnTo>
                  <a:pt x="2784" y="1123"/>
                </a:lnTo>
                <a:close/>
                <a:moveTo>
                  <a:pt x="2787" y="1001"/>
                </a:moveTo>
                <a:cubicBezTo>
                  <a:pt x="2786" y="999"/>
                  <a:pt x="2786" y="999"/>
                  <a:pt x="2786" y="999"/>
                </a:cubicBezTo>
                <a:cubicBezTo>
                  <a:pt x="2784" y="996"/>
                  <a:pt x="2784" y="996"/>
                  <a:pt x="2784" y="996"/>
                </a:cubicBezTo>
                <a:cubicBezTo>
                  <a:pt x="2784" y="998"/>
                  <a:pt x="2784" y="998"/>
                  <a:pt x="2784" y="998"/>
                </a:cubicBezTo>
                <a:cubicBezTo>
                  <a:pt x="2784" y="1000"/>
                  <a:pt x="2784" y="1000"/>
                  <a:pt x="2784" y="1000"/>
                </a:cubicBezTo>
                <a:cubicBezTo>
                  <a:pt x="2786" y="1002"/>
                  <a:pt x="2786" y="1002"/>
                  <a:pt x="2786" y="1002"/>
                </a:cubicBezTo>
                <a:lnTo>
                  <a:pt x="2787" y="1001"/>
                </a:lnTo>
                <a:close/>
                <a:moveTo>
                  <a:pt x="2789" y="1118"/>
                </a:moveTo>
                <a:cubicBezTo>
                  <a:pt x="2792" y="1119"/>
                  <a:pt x="2792" y="1119"/>
                  <a:pt x="2792" y="1119"/>
                </a:cubicBezTo>
                <a:cubicBezTo>
                  <a:pt x="2793" y="1120"/>
                  <a:pt x="2793" y="1120"/>
                  <a:pt x="2793" y="1120"/>
                </a:cubicBezTo>
                <a:cubicBezTo>
                  <a:pt x="2794" y="1119"/>
                  <a:pt x="2794" y="1119"/>
                  <a:pt x="2794" y="1119"/>
                </a:cubicBezTo>
                <a:cubicBezTo>
                  <a:pt x="2795" y="1118"/>
                  <a:pt x="2795" y="1118"/>
                  <a:pt x="2795" y="1118"/>
                </a:cubicBezTo>
                <a:cubicBezTo>
                  <a:pt x="2797" y="1117"/>
                  <a:pt x="2797" y="1117"/>
                  <a:pt x="2797" y="1117"/>
                </a:cubicBezTo>
                <a:cubicBezTo>
                  <a:pt x="2796" y="1116"/>
                  <a:pt x="2796" y="1116"/>
                  <a:pt x="2796" y="1116"/>
                </a:cubicBezTo>
                <a:cubicBezTo>
                  <a:pt x="2794" y="1115"/>
                  <a:pt x="2794" y="1115"/>
                  <a:pt x="2794" y="1115"/>
                </a:cubicBezTo>
                <a:cubicBezTo>
                  <a:pt x="2793" y="1116"/>
                  <a:pt x="2793" y="1116"/>
                  <a:pt x="2793" y="1116"/>
                </a:cubicBezTo>
                <a:cubicBezTo>
                  <a:pt x="2789" y="1117"/>
                  <a:pt x="2789" y="1117"/>
                  <a:pt x="2789" y="1117"/>
                </a:cubicBezTo>
                <a:cubicBezTo>
                  <a:pt x="2788" y="1116"/>
                  <a:pt x="2788" y="1116"/>
                  <a:pt x="2788" y="1116"/>
                </a:cubicBezTo>
                <a:cubicBezTo>
                  <a:pt x="2787" y="1117"/>
                  <a:pt x="2787" y="1117"/>
                  <a:pt x="2787" y="1117"/>
                </a:cubicBezTo>
                <a:cubicBezTo>
                  <a:pt x="2786" y="1119"/>
                  <a:pt x="2786" y="1119"/>
                  <a:pt x="2786" y="1119"/>
                </a:cubicBezTo>
                <a:cubicBezTo>
                  <a:pt x="2787" y="1120"/>
                  <a:pt x="2787" y="1120"/>
                  <a:pt x="2787" y="1120"/>
                </a:cubicBezTo>
                <a:lnTo>
                  <a:pt x="2789" y="1118"/>
                </a:lnTo>
                <a:close/>
                <a:moveTo>
                  <a:pt x="2797" y="996"/>
                </a:moveTo>
                <a:cubicBezTo>
                  <a:pt x="2798" y="996"/>
                  <a:pt x="2798" y="996"/>
                  <a:pt x="2798" y="996"/>
                </a:cubicBezTo>
                <a:cubicBezTo>
                  <a:pt x="2798" y="994"/>
                  <a:pt x="2798" y="994"/>
                  <a:pt x="2798" y="994"/>
                </a:cubicBezTo>
                <a:cubicBezTo>
                  <a:pt x="2797" y="994"/>
                  <a:pt x="2797" y="994"/>
                  <a:pt x="2797" y="994"/>
                </a:cubicBezTo>
                <a:cubicBezTo>
                  <a:pt x="2797" y="994"/>
                  <a:pt x="2797" y="996"/>
                  <a:pt x="2797" y="996"/>
                </a:cubicBezTo>
                <a:close/>
                <a:moveTo>
                  <a:pt x="2799" y="993"/>
                </a:moveTo>
                <a:cubicBezTo>
                  <a:pt x="2799" y="991"/>
                  <a:pt x="2799" y="991"/>
                  <a:pt x="2799" y="991"/>
                </a:cubicBezTo>
                <a:cubicBezTo>
                  <a:pt x="2799" y="989"/>
                  <a:pt x="2799" y="989"/>
                  <a:pt x="2799" y="989"/>
                </a:cubicBezTo>
                <a:cubicBezTo>
                  <a:pt x="2797" y="989"/>
                  <a:pt x="2797" y="989"/>
                  <a:pt x="2797" y="989"/>
                </a:cubicBezTo>
                <a:cubicBezTo>
                  <a:pt x="2797" y="989"/>
                  <a:pt x="2797" y="989"/>
                  <a:pt x="2797" y="989"/>
                </a:cubicBezTo>
                <a:cubicBezTo>
                  <a:pt x="2797" y="992"/>
                  <a:pt x="2797" y="992"/>
                  <a:pt x="2797" y="992"/>
                </a:cubicBezTo>
                <a:cubicBezTo>
                  <a:pt x="2797" y="994"/>
                  <a:pt x="2797" y="994"/>
                  <a:pt x="2797" y="994"/>
                </a:cubicBezTo>
                <a:lnTo>
                  <a:pt x="2799" y="993"/>
                </a:lnTo>
                <a:close/>
                <a:moveTo>
                  <a:pt x="2799" y="1077"/>
                </a:moveTo>
                <a:cubicBezTo>
                  <a:pt x="2801" y="1075"/>
                  <a:pt x="2801" y="1075"/>
                  <a:pt x="2801" y="1075"/>
                </a:cubicBezTo>
                <a:cubicBezTo>
                  <a:pt x="2803" y="1075"/>
                  <a:pt x="2803" y="1075"/>
                  <a:pt x="2803" y="1075"/>
                </a:cubicBezTo>
                <a:cubicBezTo>
                  <a:pt x="2803" y="1073"/>
                  <a:pt x="2803" y="1073"/>
                  <a:pt x="2803" y="1073"/>
                </a:cubicBezTo>
                <a:cubicBezTo>
                  <a:pt x="2801" y="1071"/>
                  <a:pt x="2801" y="1071"/>
                  <a:pt x="2801" y="1071"/>
                </a:cubicBezTo>
                <a:cubicBezTo>
                  <a:pt x="2801" y="1070"/>
                  <a:pt x="2801" y="1070"/>
                  <a:pt x="2801" y="1070"/>
                </a:cubicBezTo>
                <a:cubicBezTo>
                  <a:pt x="2798" y="1069"/>
                  <a:pt x="2798" y="1069"/>
                  <a:pt x="2798" y="1069"/>
                </a:cubicBezTo>
                <a:cubicBezTo>
                  <a:pt x="2794" y="1069"/>
                  <a:pt x="2794" y="1069"/>
                  <a:pt x="2794" y="1069"/>
                </a:cubicBezTo>
                <a:cubicBezTo>
                  <a:pt x="2793" y="1070"/>
                  <a:pt x="2793" y="1070"/>
                  <a:pt x="2793" y="1070"/>
                </a:cubicBezTo>
                <a:cubicBezTo>
                  <a:pt x="2791" y="1069"/>
                  <a:pt x="2791" y="1069"/>
                  <a:pt x="2791" y="1069"/>
                </a:cubicBezTo>
                <a:cubicBezTo>
                  <a:pt x="2789" y="1071"/>
                  <a:pt x="2789" y="1071"/>
                  <a:pt x="2789" y="1071"/>
                </a:cubicBezTo>
                <a:cubicBezTo>
                  <a:pt x="2789" y="1073"/>
                  <a:pt x="2789" y="1073"/>
                  <a:pt x="2789" y="1073"/>
                </a:cubicBezTo>
                <a:cubicBezTo>
                  <a:pt x="2790" y="1075"/>
                  <a:pt x="2790" y="1075"/>
                  <a:pt x="2790" y="1075"/>
                </a:cubicBezTo>
                <a:cubicBezTo>
                  <a:pt x="2793" y="1076"/>
                  <a:pt x="2793" y="1076"/>
                  <a:pt x="2793" y="1076"/>
                </a:cubicBezTo>
                <a:cubicBezTo>
                  <a:pt x="2794" y="1077"/>
                  <a:pt x="2794" y="1077"/>
                  <a:pt x="2794" y="1077"/>
                </a:cubicBezTo>
                <a:cubicBezTo>
                  <a:pt x="2797" y="1076"/>
                  <a:pt x="2797" y="1076"/>
                  <a:pt x="2797" y="1076"/>
                </a:cubicBezTo>
                <a:lnTo>
                  <a:pt x="2799" y="1077"/>
                </a:lnTo>
                <a:close/>
                <a:moveTo>
                  <a:pt x="2758" y="907"/>
                </a:moveTo>
                <a:cubicBezTo>
                  <a:pt x="2758" y="908"/>
                  <a:pt x="2758" y="908"/>
                  <a:pt x="2758" y="908"/>
                </a:cubicBezTo>
                <a:cubicBezTo>
                  <a:pt x="2760" y="906"/>
                  <a:pt x="2760" y="906"/>
                  <a:pt x="2760" y="906"/>
                </a:cubicBezTo>
                <a:cubicBezTo>
                  <a:pt x="2761" y="905"/>
                  <a:pt x="2761" y="905"/>
                  <a:pt x="2761" y="905"/>
                </a:cubicBezTo>
                <a:cubicBezTo>
                  <a:pt x="2763" y="908"/>
                  <a:pt x="2763" y="908"/>
                  <a:pt x="2763" y="908"/>
                </a:cubicBezTo>
                <a:cubicBezTo>
                  <a:pt x="2766" y="909"/>
                  <a:pt x="2766" y="909"/>
                  <a:pt x="2766" y="909"/>
                </a:cubicBezTo>
                <a:cubicBezTo>
                  <a:pt x="2768" y="909"/>
                  <a:pt x="2768" y="909"/>
                  <a:pt x="2768" y="909"/>
                </a:cubicBezTo>
                <a:cubicBezTo>
                  <a:pt x="2768" y="908"/>
                  <a:pt x="2768" y="908"/>
                  <a:pt x="2768" y="908"/>
                </a:cubicBezTo>
                <a:cubicBezTo>
                  <a:pt x="2766" y="906"/>
                  <a:pt x="2766" y="906"/>
                  <a:pt x="2766" y="906"/>
                </a:cubicBezTo>
                <a:cubicBezTo>
                  <a:pt x="2763" y="904"/>
                  <a:pt x="2763" y="904"/>
                  <a:pt x="2763" y="904"/>
                </a:cubicBezTo>
                <a:cubicBezTo>
                  <a:pt x="2762" y="904"/>
                  <a:pt x="2762" y="904"/>
                  <a:pt x="2762" y="904"/>
                </a:cubicBezTo>
                <a:cubicBezTo>
                  <a:pt x="2760" y="902"/>
                  <a:pt x="2760" y="902"/>
                  <a:pt x="2760" y="902"/>
                </a:cubicBezTo>
                <a:cubicBezTo>
                  <a:pt x="2759" y="902"/>
                  <a:pt x="2759" y="902"/>
                  <a:pt x="2759" y="902"/>
                </a:cubicBezTo>
                <a:cubicBezTo>
                  <a:pt x="2760" y="902"/>
                  <a:pt x="2760" y="902"/>
                  <a:pt x="2760" y="902"/>
                </a:cubicBezTo>
                <a:cubicBezTo>
                  <a:pt x="2758" y="901"/>
                  <a:pt x="2758" y="901"/>
                  <a:pt x="2758" y="901"/>
                </a:cubicBezTo>
                <a:cubicBezTo>
                  <a:pt x="2758" y="903"/>
                  <a:pt x="2758" y="903"/>
                  <a:pt x="2758" y="903"/>
                </a:cubicBezTo>
                <a:cubicBezTo>
                  <a:pt x="2759" y="905"/>
                  <a:pt x="2759" y="905"/>
                  <a:pt x="2759" y="905"/>
                </a:cubicBezTo>
                <a:cubicBezTo>
                  <a:pt x="2758" y="906"/>
                  <a:pt x="2758" y="906"/>
                  <a:pt x="2758" y="906"/>
                </a:cubicBezTo>
                <a:lnTo>
                  <a:pt x="2758" y="907"/>
                </a:lnTo>
                <a:close/>
                <a:moveTo>
                  <a:pt x="2747" y="900"/>
                </a:moveTo>
                <a:cubicBezTo>
                  <a:pt x="2746" y="902"/>
                  <a:pt x="2746" y="902"/>
                  <a:pt x="2746" y="902"/>
                </a:cubicBezTo>
                <a:cubicBezTo>
                  <a:pt x="2745" y="904"/>
                  <a:pt x="2745" y="904"/>
                  <a:pt x="2745" y="904"/>
                </a:cubicBezTo>
                <a:cubicBezTo>
                  <a:pt x="2746" y="907"/>
                  <a:pt x="2746" y="907"/>
                  <a:pt x="2746" y="907"/>
                </a:cubicBezTo>
                <a:cubicBezTo>
                  <a:pt x="2747" y="906"/>
                  <a:pt x="2747" y="906"/>
                  <a:pt x="2747" y="906"/>
                </a:cubicBezTo>
                <a:cubicBezTo>
                  <a:pt x="2748" y="904"/>
                  <a:pt x="2748" y="904"/>
                  <a:pt x="2748" y="904"/>
                </a:cubicBezTo>
                <a:cubicBezTo>
                  <a:pt x="2747" y="902"/>
                  <a:pt x="2747" y="902"/>
                  <a:pt x="2747" y="902"/>
                </a:cubicBezTo>
                <a:cubicBezTo>
                  <a:pt x="2747" y="900"/>
                  <a:pt x="2747" y="900"/>
                  <a:pt x="2747" y="900"/>
                </a:cubicBezTo>
                <a:close/>
                <a:moveTo>
                  <a:pt x="2722" y="984"/>
                </a:moveTo>
                <a:cubicBezTo>
                  <a:pt x="2721" y="985"/>
                  <a:pt x="2721" y="985"/>
                  <a:pt x="2721" y="985"/>
                </a:cubicBezTo>
                <a:cubicBezTo>
                  <a:pt x="2722" y="987"/>
                  <a:pt x="2722" y="987"/>
                  <a:pt x="2722" y="987"/>
                </a:cubicBezTo>
                <a:cubicBezTo>
                  <a:pt x="2722" y="986"/>
                  <a:pt x="2722" y="986"/>
                  <a:pt x="2722" y="986"/>
                </a:cubicBezTo>
                <a:lnTo>
                  <a:pt x="2722" y="984"/>
                </a:lnTo>
                <a:close/>
                <a:moveTo>
                  <a:pt x="2748" y="910"/>
                </a:moveTo>
                <a:cubicBezTo>
                  <a:pt x="2746" y="908"/>
                  <a:pt x="2746" y="908"/>
                  <a:pt x="2746" y="908"/>
                </a:cubicBezTo>
                <a:cubicBezTo>
                  <a:pt x="2744" y="909"/>
                  <a:pt x="2744" y="909"/>
                  <a:pt x="2744" y="909"/>
                </a:cubicBezTo>
                <a:cubicBezTo>
                  <a:pt x="2744" y="910"/>
                  <a:pt x="2744" y="910"/>
                  <a:pt x="2744" y="910"/>
                </a:cubicBezTo>
                <a:cubicBezTo>
                  <a:pt x="2746" y="911"/>
                  <a:pt x="2746" y="911"/>
                  <a:pt x="2746" y="911"/>
                </a:cubicBezTo>
                <a:cubicBezTo>
                  <a:pt x="2747" y="911"/>
                  <a:pt x="2747" y="911"/>
                  <a:pt x="2747" y="911"/>
                </a:cubicBezTo>
                <a:cubicBezTo>
                  <a:pt x="2747" y="913"/>
                  <a:pt x="2747" y="913"/>
                  <a:pt x="2747" y="913"/>
                </a:cubicBezTo>
                <a:cubicBezTo>
                  <a:pt x="2747" y="915"/>
                  <a:pt x="2747" y="915"/>
                  <a:pt x="2747" y="915"/>
                </a:cubicBezTo>
                <a:cubicBezTo>
                  <a:pt x="2747" y="918"/>
                  <a:pt x="2747" y="918"/>
                  <a:pt x="2747" y="918"/>
                </a:cubicBezTo>
                <a:cubicBezTo>
                  <a:pt x="2746" y="921"/>
                  <a:pt x="2746" y="921"/>
                  <a:pt x="2746" y="921"/>
                </a:cubicBezTo>
                <a:cubicBezTo>
                  <a:pt x="2747" y="924"/>
                  <a:pt x="2747" y="924"/>
                  <a:pt x="2747" y="924"/>
                </a:cubicBezTo>
                <a:cubicBezTo>
                  <a:pt x="2748" y="924"/>
                  <a:pt x="2748" y="924"/>
                  <a:pt x="2748" y="924"/>
                </a:cubicBezTo>
                <a:cubicBezTo>
                  <a:pt x="2748" y="923"/>
                  <a:pt x="2748" y="923"/>
                  <a:pt x="2748" y="923"/>
                </a:cubicBezTo>
                <a:cubicBezTo>
                  <a:pt x="2750" y="921"/>
                  <a:pt x="2750" y="921"/>
                  <a:pt x="2750" y="921"/>
                </a:cubicBezTo>
                <a:cubicBezTo>
                  <a:pt x="2752" y="922"/>
                  <a:pt x="2752" y="922"/>
                  <a:pt x="2752" y="922"/>
                </a:cubicBezTo>
                <a:cubicBezTo>
                  <a:pt x="2752" y="921"/>
                  <a:pt x="2752" y="921"/>
                  <a:pt x="2752" y="921"/>
                </a:cubicBezTo>
                <a:cubicBezTo>
                  <a:pt x="2753" y="921"/>
                  <a:pt x="2753" y="921"/>
                  <a:pt x="2753" y="921"/>
                </a:cubicBezTo>
                <a:cubicBezTo>
                  <a:pt x="2754" y="920"/>
                  <a:pt x="2754" y="920"/>
                  <a:pt x="2754" y="920"/>
                </a:cubicBezTo>
                <a:cubicBezTo>
                  <a:pt x="2756" y="918"/>
                  <a:pt x="2756" y="918"/>
                  <a:pt x="2756" y="918"/>
                </a:cubicBezTo>
                <a:cubicBezTo>
                  <a:pt x="2757" y="915"/>
                  <a:pt x="2757" y="915"/>
                  <a:pt x="2757" y="915"/>
                </a:cubicBezTo>
                <a:cubicBezTo>
                  <a:pt x="2758" y="915"/>
                  <a:pt x="2758" y="915"/>
                  <a:pt x="2758" y="915"/>
                </a:cubicBezTo>
                <a:cubicBezTo>
                  <a:pt x="2759" y="913"/>
                  <a:pt x="2759" y="913"/>
                  <a:pt x="2759" y="913"/>
                </a:cubicBezTo>
                <a:cubicBezTo>
                  <a:pt x="2758" y="911"/>
                  <a:pt x="2758" y="911"/>
                  <a:pt x="2758" y="911"/>
                </a:cubicBezTo>
                <a:cubicBezTo>
                  <a:pt x="2757" y="912"/>
                  <a:pt x="2757" y="912"/>
                  <a:pt x="2757" y="912"/>
                </a:cubicBezTo>
                <a:cubicBezTo>
                  <a:pt x="2755" y="914"/>
                  <a:pt x="2755" y="914"/>
                  <a:pt x="2755" y="914"/>
                </a:cubicBezTo>
                <a:cubicBezTo>
                  <a:pt x="2754" y="912"/>
                  <a:pt x="2754" y="912"/>
                  <a:pt x="2754" y="912"/>
                </a:cubicBezTo>
                <a:cubicBezTo>
                  <a:pt x="2753" y="912"/>
                  <a:pt x="2753" y="912"/>
                  <a:pt x="2753" y="912"/>
                </a:cubicBezTo>
                <a:cubicBezTo>
                  <a:pt x="2751" y="912"/>
                  <a:pt x="2751" y="912"/>
                  <a:pt x="2751" y="912"/>
                </a:cubicBezTo>
                <a:cubicBezTo>
                  <a:pt x="2749" y="912"/>
                  <a:pt x="2749" y="912"/>
                  <a:pt x="2749" y="912"/>
                </a:cubicBezTo>
                <a:cubicBezTo>
                  <a:pt x="2750" y="911"/>
                  <a:pt x="2750" y="911"/>
                  <a:pt x="2750" y="911"/>
                </a:cubicBezTo>
                <a:lnTo>
                  <a:pt x="2748" y="910"/>
                </a:lnTo>
                <a:close/>
                <a:moveTo>
                  <a:pt x="2725" y="923"/>
                </a:moveTo>
                <a:cubicBezTo>
                  <a:pt x="2724" y="922"/>
                  <a:pt x="2724" y="922"/>
                  <a:pt x="2724" y="922"/>
                </a:cubicBezTo>
                <a:cubicBezTo>
                  <a:pt x="2724" y="923"/>
                  <a:pt x="2724" y="923"/>
                  <a:pt x="2724" y="923"/>
                </a:cubicBezTo>
                <a:cubicBezTo>
                  <a:pt x="2723" y="924"/>
                  <a:pt x="2723" y="924"/>
                  <a:pt x="2723" y="924"/>
                </a:cubicBezTo>
                <a:cubicBezTo>
                  <a:pt x="2723" y="925"/>
                  <a:pt x="2723" y="925"/>
                  <a:pt x="2723" y="925"/>
                </a:cubicBezTo>
                <a:cubicBezTo>
                  <a:pt x="2724" y="925"/>
                  <a:pt x="2724" y="925"/>
                  <a:pt x="2724" y="925"/>
                </a:cubicBezTo>
                <a:cubicBezTo>
                  <a:pt x="2726" y="925"/>
                  <a:pt x="2726" y="925"/>
                  <a:pt x="2726" y="925"/>
                </a:cubicBezTo>
                <a:cubicBezTo>
                  <a:pt x="2726" y="924"/>
                  <a:pt x="2726" y="924"/>
                  <a:pt x="2726" y="924"/>
                </a:cubicBezTo>
                <a:lnTo>
                  <a:pt x="2725" y="923"/>
                </a:lnTo>
                <a:close/>
                <a:moveTo>
                  <a:pt x="2723" y="912"/>
                </a:moveTo>
                <a:cubicBezTo>
                  <a:pt x="2724" y="911"/>
                  <a:pt x="2724" y="911"/>
                  <a:pt x="2724" y="911"/>
                </a:cubicBezTo>
                <a:cubicBezTo>
                  <a:pt x="2725" y="910"/>
                  <a:pt x="2725" y="910"/>
                  <a:pt x="2725" y="910"/>
                </a:cubicBezTo>
                <a:cubicBezTo>
                  <a:pt x="2724" y="909"/>
                  <a:pt x="2724" y="909"/>
                  <a:pt x="2724" y="909"/>
                </a:cubicBezTo>
                <a:cubicBezTo>
                  <a:pt x="2722" y="908"/>
                  <a:pt x="2722" y="908"/>
                  <a:pt x="2722" y="908"/>
                </a:cubicBezTo>
                <a:cubicBezTo>
                  <a:pt x="2722" y="909"/>
                  <a:pt x="2722" y="909"/>
                  <a:pt x="2722" y="909"/>
                </a:cubicBezTo>
                <a:cubicBezTo>
                  <a:pt x="2722" y="912"/>
                  <a:pt x="2722" y="912"/>
                  <a:pt x="2722" y="912"/>
                </a:cubicBezTo>
                <a:lnTo>
                  <a:pt x="2723" y="912"/>
                </a:lnTo>
                <a:close/>
                <a:moveTo>
                  <a:pt x="2728" y="982"/>
                </a:moveTo>
                <a:cubicBezTo>
                  <a:pt x="2730" y="981"/>
                  <a:pt x="2730" y="981"/>
                  <a:pt x="2730" y="981"/>
                </a:cubicBezTo>
                <a:cubicBezTo>
                  <a:pt x="2730" y="979"/>
                  <a:pt x="2730" y="979"/>
                  <a:pt x="2730" y="979"/>
                </a:cubicBezTo>
                <a:cubicBezTo>
                  <a:pt x="2729" y="979"/>
                  <a:pt x="2729" y="979"/>
                  <a:pt x="2729" y="979"/>
                </a:cubicBezTo>
                <a:cubicBezTo>
                  <a:pt x="2725" y="982"/>
                  <a:pt x="2725" y="982"/>
                  <a:pt x="2725" y="982"/>
                </a:cubicBezTo>
                <a:cubicBezTo>
                  <a:pt x="2726" y="983"/>
                  <a:pt x="2726" y="983"/>
                  <a:pt x="2726" y="983"/>
                </a:cubicBezTo>
                <a:lnTo>
                  <a:pt x="2728" y="982"/>
                </a:lnTo>
                <a:close/>
                <a:moveTo>
                  <a:pt x="2753" y="904"/>
                </a:moveTo>
                <a:cubicBezTo>
                  <a:pt x="2753" y="903"/>
                  <a:pt x="2753" y="903"/>
                  <a:pt x="2753" y="903"/>
                </a:cubicBezTo>
                <a:cubicBezTo>
                  <a:pt x="2751" y="902"/>
                  <a:pt x="2751" y="902"/>
                  <a:pt x="2751" y="902"/>
                </a:cubicBezTo>
                <a:cubicBezTo>
                  <a:pt x="2750" y="903"/>
                  <a:pt x="2750" y="903"/>
                  <a:pt x="2750" y="903"/>
                </a:cubicBezTo>
                <a:cubicBezTo>
                  <a:pt x="2751" y="904"/>
                  <a:pt x="2751" y="904"/>
                  <a:pt x="2751" y="904"/>
                </a:cubicBezTo>
                <a:lnTo>
                  <a:pt x="2753" y="904"/>
                </a:lnTo>
                <a:close/>
                <a:moveTo>
                  <a:pt x="2770" y="923"/>
                </a:moveTo>
                <a:cubicBezTo>
                  <a:pt x="2770" y="921"/>
                  <a:pt x="2770" y="921"/>
                  <a:pt x="2770" y="921"/>
                </a:cubicBezTo>
                <a:cubicBezTo>
                  <a:pt x="2770" y="922"/>
                  <a:pt x="2770" y="922"/>
                  <a:pt x="2770" y="922"/>
                </a:cubicBezTo>
                <a:lnTo>
                  <a:pt x="2770" y="923"/>
                </a:lnTo>
                <a:close/>
                <a:moveTo>
                  <a:pt x="2766" y="931"/>
                </a:moveTo>
                <a:cubicBezTo>
                  <a:pt x="2767" y="933"/>
                  <a:pt x="2767" y="933"/>
                  <a:pt x="2767" y="933"/>
                </a:cubicBezTo>
                <a:cubicBezTo>
                  <a:pt x="2767" y="934"/>
                  <a:pt x="2767" y="934"/>
                  <a:pt x="2767" y="934"/>
                </a:cubicBezTo>
                <a:cubicBezTo>
                  <a:pt x="2769" y="933"/>
                  <a:pt x="2769" y="933"/>
                  <a:pt x="2769" y="933"/>
                </a:cubicBezTo>
                <a:cubicBezTo>
                  <a:pt x="2772" y="932"/>
                  <a:pt x="2772" y="932"/>
                  <a:pt x="2772" y="932"/>
                </a:cubicBezTo>
                <a:cubicBezTo>
                  <a:pt x="2773" y="931"/>
                  <a:pt x="2773" y="931"/>
                  <a:pt x="2773" y="931"/>
                </a:cubicBezTo>
                <a:cubicBezTo>
                  <a:pt x="2773" y="929"/>
                  <a:pt x="2773" y="929"/>
                  <a:pt x="2773" y="929"/>
                </a:cubicBezTo>
                <a:cubicBezTo>
                  <a:pt x="2772" y="928"/>
                  <a:pt x="2772" y="928"/>
                  <a:pt x="2772" y="928"/>
                </a:cubicBezTo>
                <a:cubicBezTo>
                  <a:pt x="2771" y="928"/>
                  <a:pt x="2771" y="928"/>
                  <a:pt x="2771" y="928"/>
                </a:cubicBezTo>
                <a:cubicBezTo>
                  <a:pt x="2767" y="930"/>
                  <a:pt x="2767" y="930"/>
                  <a:pt x="2767" y="930"/>
                </a:cubicBezTo>
                <a:lnTo>
                  <a:pt x="2766" y="931"/>
                </a:lnTo>
                <a:close/>
                <a:moveTo>
                  <a:pt x="2774" y="937"/>
                </a:moveTo>
                <a:cubicBezTo>
                  <a:pt x="2774" y="938"/>
                  <a:pt x="2774" y="938"/>
                  <a:pt x="2774" y="938"/>
                </a:cubicBezTo>
                <a:cubicBezTo>
                  <a:pt x="2776" y="939"/>
                  <a:pt x="2776" y="939"/>
                  <a:pt x="2776" y="939"/>
                </a:cubicBezTo>
                <a:cubicBezTo>
                  <a:pt x="2776" y="937"/>
                  <a:pt x="2776" y="937"/>
                  <a:pt x="2776" y="937"/>
                </a:cubicBezTo>
                <a:cubicBezTo>
                  <a:pt x="2774" y="936"/>
                  <a:pt x="2774" y="936"/>
                  <a:pt x="2774" y="936"/>
                </a:cubicBezTo>
                <a:lnTo>
                  <a:pt x="2774" y="937"/>
                </a:lnTo>
                <a:close/>
                <a:moveTo>
                  <a:pt x="2769" y="913"/>
                </a:moveTo>
                <a:cubicBezTo>
                  <a:pt x="2771" y="914"/>
                  <a:pt x="2771" y="914"/>
                  <a:pt x="2771" y="914"/>
                </a:cubicBezTo>
                <a:cubicBezTo>
                  <a:pt x="2772" y="914"/>
                  <a:pt x="2772" y="914"/>
                  <a:pt x="2772" y="914"/>
                </a:cubicBezTo>
                <a:cubicBezTo>
                  <a:pt x="2773" y="912"/>
                  <a:pt x="2773" y="912"/>
                  <a:pt x="2773" y="912"/>
                </a:cubicBezTo>
                <a:cubicBezTo>
                  <a:pt x="2770" y="912"/>
                  <a:pt x="2770" y="912"/>
                  <a:pt x="2770" y="912"/>
                </a:cubicBezTo>
                <a:lnTo>
                  <a:pt x="2769" y="913"/>
                </a:lnTo>
                <a:close/>
                <a:moveTo>
                  <a:pt x="2780" y="930"/>
                </a:moveTo>
                <a:cubicBezTo>
                  <a:pt x="2781" y="931"/>
                  <a:pt x="2781" y="931"/>
                  <a:pt x="2781" y="931"/>
                </a:cubicBezTo>
                <a:cubicBezTo>
                  <a:pt x="2781" y="930"/>
                  <a:pt x="2781" y="930"/>
                  <a:pt x="2781" y="930"/>
                </a:cubicBezTo>
                <a:cubicBezTo>
                  <a:pt x="2780" y="928"/>
                  <a:pt x="2780" y="928"/>
                  <a:pt x="2780" y="928"/>
                </a:cubicBezTo>
                <a:lnTo>
                  <a:pt x="2780" y="930"/>
                </a:lnTo>
                <a:close/>
                <a:moveTo>
                  <a:pt x="2777" y="921"/>
                </a:moveTo>
                <a:cubicBezTo>
                  <a:pt x="2777" y="918"/>
                  <a:pt x="2777" y="918"/>
                  <a:pt x="2777" y="918"/>
                </a:cubicBezTo>
                <a:cubicBezTo>
                  <a:pt x="2776" y="916"/>
                  <a:pt x="2776" y="916"/>
                  <a:pt x="2776" y="916"/>
                </a:cubicBezTo>
                <a:cubicBezTo>
                  <a:pt x="2775" y="915"/>
                  <a:pt x="2775" y="915"/>
                  <a:pt x="2775" y="915"/>
                </a:cubicBezTo>
                <a:cubicBezTo>
                  <a:pt x="2773" y="916"/>
                  <a:pt x="2773" y="916"/>
                  <a:pt x="2773" y="916"/>
                </a:cubicBezTo>
                <a:cubicBezTo>
                  <a:pt x="2771" y="915"/>
                  <a:pt x="2771" y="915"/>
                  <a:pt x="2771" y="915"/>
                </a:cubicBezTo>
                <a:cubicBezTo>
                  <a:pt x="2770" y="915"/>
                  <a:pt x="2770" y="915"/>
                  <a:pt x="2770" y="915"/>
                </a:cubicBezTo>
                <a:cubicBezTo>
                  <a:pt x="2771" y="917"/>
                  <a:pt x="2771" y="917"/>
                  <a:pt x="2771" y="917"/>
                </a:cubicBezTo>
                <a:cubicBezTo>
                  <a:pt x="2771" y="919"/>
                  <a:pt x="2771" y="919"/>
                  <a:pt x="2771" y="919"/>
                </a:cubicBezTo>
                <a:cubicBezTo>
                  <a:pt x="2772" y="920"/>
                  <a:pt x="2772" y="920"/>
                  <a:pt x="2772" y="920"/>
                </a:cubicBezTo>
                <a:cubicBezTo>
                  <a:pt x="2773" y="919"/>
                  <a:pt x="2773" y="919"/>
                  <a:pt x="2773" y="919"/>
                </a:cubicBezTo>
                <a:cubicBezTo>
                  <a:pt x="2774" y="920"/>
                  <a:pt x="2774" y="920"/>
                  <a:pt x="2774" y="920"/>
                </a:cubicBezTo>
                <a:cubicBezTo>
                  <a:pt x="2774" y="923"/>
                  <a:pt x="2774" y="923"/>
                  <a:pt x="2774" y="923"/>
                </a:cubicBezTo>
                <a:cubicBezTo>
                  <a:pt x="2775" y="925"/>
                  <a:pt x="2775" y="925"/>
                  <a:pt x="2775" y="925"/>
                </a:cubicBezTo>
                <a:cubicBezTo>
                  <a:pt x="2775" y="927"/>
                  <a:pt x="2775" y="927"/>
                  <a:pt x="2775" y="927"/>
                </a:cubicBezTo>
                <a:cubicBezTo>
                  <a:pt x="2777" y="929"/>
                  <a:pt x="2777" y="929"/>
                  <a:pt x="2777" y="929"/>
                </a:cubicBezTo>
                <a:cubicBezTo>
                  <a:pt x="2777" y="926"/>
                  <a:pt x="2777" y="926"/>
                  <a:pt x="2777" y="926"/>
                </a:cubicBezTo>
                <a:cubicBezTo>
                  <a:pt x="2778" y="927"/>
                  <a:pt x="2778" y="927"/>
                  <a:pt x="2778" y="927"/>
                </a:cubicBezTo>
                <a:cubicBezTo>
                  <a:pt x="2780" y="927"/>
                  <a:pt x="2780" y="927"/>
                  <a:pt x="2780" y="927"/>
                </a:cubicBezTo>
                <a:cubicBezTo>
                  <a:pt x="2780" y="925"/>
                  <a:pt x="2780" y="925"/>
                  <a:pt x="2780" y="925"/>
                </a:cubicBezTo>
                <a:cubicBezTo>
                  <a:pt x="2779" y="922"/>
                  <a:pt x="2779" y="922"/>
                  <a:pt x="2779" y="922"/>
                </a:cubicBezTo>
                <a:lnTo>
                  <a:pt x="2777" y="921"/>
                </a:lnTo>
                <a:close/>
                <a:moveTo>
                  <a:pt x="2734" y="969"/>
                </a:moveTo>
                <a:cubicBezTo>
                  <a:pt x="2735" y="968"/>
                  <a:pt x="2735" y="968"/>
                  <a:pt x="2735" y="968"/>
                </a:cubicBezTo>
                <a:cubicBezTo>
                  <a:pt x="2735" y="967"/>
                  <a:pt x="2735" y="967"/>
                  <a:pt x="2735" y="967"/>
                </a:cubicBezTo>
                <a:cubicBezTo>
                  <a:pt x="2733" y="969"/>
                  <a:pt x="2733" y="969"/>
                  <a:pt x="2733" y="969"/>
                </a:cubicBezTo>
                <a:lnTo>
                  <a:pt x="2734" y="969"/>
                </a:lnTo>
                <a:close/>
                <a:moveTo>
                  <a:pt x="2762" y="938"/>
                </a:moveTo>
                <a:cubicBezTo>
                  <a:pt x="2763" y="939"/>
                  <a:pt x="2763" y="939"/>
                  <a:pt x="2763" y="939"/>
                </a:cubicBezTo>
                <a:cubicBezTo>
                  <a:pt x="2765" y="939"/>
                  <a:pt x="2765" y="939"/>
                  <a:pt x="2765" y="939"/>
                </a:cubicBezTo>
                <a:cubicBezTo>
                  <a:pt x="2765" y="937"/>
                  <a:pt x="2765" y="937"/>
                  <a:pt x="2765" y="937"/>
                </a:cubicBezTo>
                <a:cubicBezTo>
                  <a:pt x="2764" y="937"/>
                  <a:pt x="2764" y="937"/>
                  <a:pt x="2764" y="937"/>
                </a:cubicBezTo>
                <a:cubicBezTo>
                  <a:pt x="2763" y="937"/>
                  <a:pt x="2763" y="937"/>
                  <a:pt x="2763" y="937"/>
                </a:cubicBezTo>
                <a:lnTo>
                  <a:pt x="2762" y="938"/>
                </a:lnTo>
                <a:close/>
                <a:moveTo>
                  <a:pt x="3114" y="1128"/>
                </a:moveTo>
                <a:cubicBezTo>
                  <a:pt x="3115" y="1127"/>
                  <a:pt x="3115" y="1127"/>
                  <a:pt x="3115" y="1127"/>
                </a:cubicBezTo>
                <a:cubicBezTo>
                  <a:pt x="3115" y="1126"/>
                  <a:pt x="3115" y="1126"/>
                  <a:pt x="3115" y="1126"/>
                </a:cubicBezTo>
                <a:cubicBezTo>
                  <a:pt x="3113" y="1126"/>
                  <a:pt x="3113" y="1126"/>
                  <a:pt x="3113" y="1126"/>
                </a:cubicBezTo>
                <a:cubicBezTo>
                  <a:pt x="3113" y="1127"/>
                  <a:pt x="3113" y="1127"/>
                  <a:pt x="3113" y="1127"/>
                </a:cubicBezTo>
                <a:lnTo>
                  <a:pt x="3114" y="1128"/>
                </a:lnTo>
                <a:close/>
                <a:moveTo>
                  <a:pt x="3099" y="1642"/>
                </a:moveTo>
                <a:cubicBezTo>
                  <a:pt x="3100" y="1642"/>
                  <a:pt x="3100" y="1642"/>
                  <a:pt x="3100" y="1642"/>
                </a:cubicBezTo>
                <a:cubicBezTo>
                  <a:pt x="3100" y="1641"/>
                  <a:pt x="3100" y="1641"/>
                  <a:pt x="3100" y="1641"/>
                </a:cubicBezTo>
                <a:cubicBezTo>
                  <a:pt x="3099" y="1640"/>
                  <a:pt x="3099" y="1640"/>
                  <a:pt x="3099" y="1640"/>
                </a:cubicBezTo>
                <a:cubicBezTo>
                  <a:pt x="3098" y="1641"/>
                  <a:pt x="3098" y="1641"/>
                  <a:pt x="3098" y="1641"/>
                </a:cubicBezTo>
                <a:cubicBezTo>
                  <a:pt x="3098" y="1641"/>
                  <a:pt x="3098" y="1641"/>
                  <a:pt x="3098" y="1641"/>
                </a:cubicBezTo>
                <a:lnTo>
                  <a:pt x="3099" y="1642"/>
                </a:lnTo>
                <a:close/>
                <a:moveTo>
                  <a:pt x="3131" y="1133"/>
                </a:moveTo>
                <a:cubicBezTo>
                  <a:pt x="3131" y="1136"/>
                  <a:pt x="3131" y="1136"/>
                  <a:pt x="3131" y="1136"/>
                </a:cubicBezTo>
                <a:cubicBezTo>
                  <a:pt x="3133" y="1138"/>
                  <a:pt x="3133" y="1138"/>
                  <a:pt x="3133" y="1138"/>
                </a:cubicBezTo>
                <a:cubicBezTo>
                  <a:pt x="3135" y="1140"/>
                  <a:pt x="3135" y="1140"/>
                  <a:pt x="3135" y="1140"/>
                </a:cubicBezTo>
                <a:cubicBezTo>
                  <a:pt x="3138" y="1139"/>
                  <a:pt x="3138" y="1139"/>
                  <a:pt x="3138" y="1139"/>
                </a:cubicBezTo>
                <a:cubicBezTo>
                  <a:pt x="3139" y="1141"/>
                  <a:pt x="3139" y="1141"/>
                  <a:pt x="3139" y="1141"/>
                </a:cubicBezTo>
                <a:cubicBezTo>
                  <a:pt x="3141" y="1141"/>
                  <a:pt x="3141" y="1141"/>
                  <a:pt x="3141" y="1141"/>
                </a:cubicBezTo>
                <a:cubicBezTo>
                  <a:pt x="3142" y="1139"/>
                  <a:pt x="3142" y="1139"/>
                  <a:pt x="3142" y="1139"/>
                </a:cubicBezTo>
                <a:cubicBezTo>
                  <a:pt x="3142" y="1138"/>
                  <a:pt x="3142" y="1138"/>
                  <a:pt x="3142" y="1138"/>
                </a:cubicBezTo>
                <a:cubicBezTo>
                  <a:pt x="3141" y="1138"/>
                  <a:pt x="3141" y="1138"/>
                  <a:pt x="3141" y="1138"/>
                </a:cubicBezTo>
                <a:cubicBezTo>
                  <a:pt x="3139" y="1136"/>
                  <a:pt x="3139" y="1136"/>
                  <a:pt x="3139" y="1136"/>
                </a:cubicBezTo>
                <a:cubicBezTo>
                  <a:pt x="3136" y="1135"/>
                  <a:pt x="3136" y="1135"/>
                  <a:pt x="3136" y="1135"/>
                </a:cubicBezTo>
                <a:cubicBezTo>
                  <a:pt x="3134" y="1135"/>
                  <a:pt x="3134" y="1135"/>
                  <a:pt x="3134" y="1135"/>
                </a:cubicBezTo>
                <a:cubicBezTo>
                  <a:pt x="3132" y="1133"/>
                  <a:pt x="3132" y="1133"/>
                  <a:pt x="3132" y="1133"/>
                </a:cubicBezTo>
                <a:lnTo>
                  <a:pt x="3131" y="1133"/>
                </a:lnTo>
                <a:close/>
                <a:moveTo>
                  <a:pt x="3139" y="1132"/>
                </a:moveTo>
                <a:cubicBezTo>
                  <a:pt x="3139" y="1131"/>
                  <a:pt x="3139" y="1131"/>
                  <a:pt x="3139" y="1131"/>
                </a:cubicBezTo>
                <a:cubicBezTo>
                  <a:pt x="3137" y="1130"/>
                  <a:pt x="3137" y="1130"/>
                  <a:pt x="3137" y="1130"/>
                </a:cubicBezTo>
                <a:cubicBezTo>
                  <a:pt x="3137" y="1132"/>
                  <a:pt x="3137" y="1132"/>
                  <a:pt x="3137" y="1132"/>
                </a:cubicBezTo>
                <a:lnTo>
                  <a:pt x="3139" y="1132"/>
                </a:lnTo>
                <a:close/>
                <a:moveTo>
                  <a:pt x="3100" y="1105"/>
                </a:moveTo>
                <a:cubicBezTo>
                  <a:pt x="3101" y="1108"/>
                  <a:pt x="3101" y="1108"/>
                  <a:pt x="3101" y="1108"/>
                </a:cubicBezTo>
                <a:cubicBezTo>
                  <a:pt x="3104" y="1110"/>
                  <a:pt x="3104" y="1110"/>
                  <a:pt x="3104" y="1110"/>
                </a:cubicBezTo>
                <a:cubicBezTo>
                  <a:pt x="3107" y="1112"/>
                  <a:pt x="3107" y="1112"/>
                  <a:pt x="3107" y="1112"/>
                </a:cubicBezTo>
                <a:cubicBezTo>
                  <a:pt x="3109" y="1113"/>
                  <a:pt x="3109" y="1113"/>
                  <a:pt x="3109" y="1113"/>
                </a:cubicBezTo>
                <a:cubicBezTo>
                  <a:pt x="3111" y="1113"/>
                  <a:pt x="3111" y="1113"/>
                  <a:pt x="3111" y="1113"/>
                </a:cubicBezTo>
                <a:cubicBezTo>
                  <a:pt x="3110" y="1112"/>
                  <a:pt x="3110" y="1112"/>
                  <a:pt x="3110" y="1112"/>
                </a:cubicBezTo>
                <a:cubicBezTo>
                  <a:pt x="3108" y="1110"/>
                  <a:pt x="3108" y="1110"/>
                  <a:pt x="3108" y="1110"/>
                </a:cubicBezTo>
                <a:cubicBezTo>
                  <a:pt x="3107" y="1109"/>
                  <a:pt x="3107" y="1109"/>
                  <a:pt x="3107" y="1109"/>
                </a:cubicBezTo>
                <a:cubicBezTo>
                  <a:pt x="3107" y="1108"/>
                  <a:pt x="3107" y="1108"/>
                  <a:pt x="3107" y="1108"/>
                </a:cubicBezTo>
                <a:cubicBezTo>
                  <a:pt x="3105" y="1107"/>
                  <a:pt x="3105" y="1107"/>
                  <a:pt x="3105" y="1107"/>
                </a:cubicBezTo>
                <a:cubicBezTo>
                  <a:pt x="3102" y="1106"/>
                  <a:pt x="3102" y="1106"/>
                  <a:pt x="3102" y="1106"/>
                </a:cubicBezTo>
                <a:cubicBezTo>
                  <a:pt x="3102" y="1105"/>
                  <a:pt x="3102" y="1105"/>
                  <a:pt x="3102" y="1105"/>
                </a:cubicBezTo>
                <a:cubicBezTo>
                  <a:pt x="3100" y="1104"/>
                  <a:pt x="3100" y="1104"/>
                  <a:pt x="3100" y="1104"/>
                </a:cubicBezTo>
                <a:lnTo>
                  <a:pt x="3100" y="1105"/>
                </a:lnTo>
                <a:close/>
                <a:moveTo>
                  <a:pt x="3101" y="1101"/>
                </a:moveTo>
                <a:cubicBezTo>
                  <a:pt x="3098" y="1104"/>
                  <a:pt x="3098" y="1104"/>
                  <a:pt x="3098" y="1104"/>
                </a:cubicBezTo>
                <a:cubicBezTo>
                  <a:pt x="3100" y="1103"/>
                  <a:pt x="3100" y="1103"/>
                  <a:pt x="3100" y="1103"/>
                </a:cubicBezTo>
                <a:lnTo>
                  <a:pt x="3101" y="1101"/>
                </a:lnTo>
                <a:close/>
                <a:moveTo>
                  <a:pt x="3103" y="1118"/>
                </a:moveTo>
                <a:cubicBezTo>
                  <a:pt x="3103" y="1117"/>
                  <a:pt x="3103" y="1117"/>
                  <a:pt x="3103" y="1117"/>
                </a:cubicBezTo>
                <a:cubicBezTo>
                  <a:pt x="3101" y="1115"/>
                  <a:pt x="3101" y="1115"/>
                  <a:pt x="3101" y="1115"/>
                </a:cubicBezTo>
                <a:cubicBezTo>
                  <a:pt x="3101" y="1117"/>
                  <a:pt x="3101" y="1117"/>
                  <a:pt x="3101" y="1117"/>
                </a:cubicBezTo>
                <a:cubicBezTo>
                  <a:pt x="3101" y="1118"/>
                  <a:pt x="3101" y="1118"/>
                  <a:pt x="3101" y="1118"/>
                </a:cubicBezTo>
                <a:cubicBezTo>
                  <a:pt x="3101" y="1119"/>
                  <a:pt x="3101" y="1119"/>
                  <a:pt x="3101" y="1119"/>
                </a:cubicBezTo>
                <a:lnTo>
                  <a:pt x="3103" y="1118"/>
                </a:lnTo>
                <a:close/>
                <a:moveTo>
                  <a:pt x="3126" y="1121"/>
                </a:moveTo>
                <a:cubicBezTo>
                  <a:pt x="3128" y="1123"/>
                  <a:pt x="3128" y="1123"/>
                  <a:pt x="3128" y="1123"/>
                </a:cubicBezTo>
                <a:cubicBezTo>
                  <a:pt x="3129" y="1124"/>
                  <a:pt x="3129" y="1124"/>
                  <a:pt x="3129" y="1124"/>
                </a:cubicBezTo>
                <a:cubicBezTo>
                  <a:pt x="3130" y="1125"/>
                  <a:pt x="3130" y="1125"/>
                  <a:pt x="3130" y="1125"/>
                </a:cubicBezTo>
                <a:cubicBezTo>
                  <a:pt x="3131" y="1124"/>
                  <a:pt x="3131" y="1124"/>
                  <a:pt x="3131" y="1124"/>
                </a:cubicBezTo>
                <a:cubicBezTo>
                  <a:pt x="3132" y="1125"/>
                  <a:pt x="3132" y="1125"/>
                  <a:pt x="3132" y="1125"/>
                </a:cubicBezTo>
                <a:cubicBezTo>
                  <a:pt x="3132" y="1124"/>
                  <a:pt x="3132" y="1124"/>
                  <a:pt x="3132" y="1124"/>
                </a:cubicBezTo>
                <a:cubicBezTo>
                  <a:pt x="3132" y="1123"/>
                  <a:pt x="3132" y="1123"/>
                  <a:pt x="3132" y="1123"/>
                </a:cubicBezTo>
                <a:cubicBezTo>
                  <a:pt x="3129" y="1119"/>
                  <a:pt x="3129" y="1119"/>
                  <a:pt x="3129" y="1119"/>
                </a:cubicBezTo>
                <a:cubicBezTo>
                  <a:pt x="3125" y="1117"/>
                  <a:pt x="3125" y="1117"/>
                  <a:pt x="3125" y="1117"/>
                </a:cubicBezTo>
                <a:cubicBezTo>
                  <a:pt x="3123" y="1115"/>
                  <a:pt x="3123" y="1115"/>
                  <a:pt x="3123" y="1115"/>
                </a:cubicBezTo>
                <a:cubicBezTo>
                  <a:pt x="3119" y="1115"/>
                  <a:pt x="3119" y="1115"/>
                  <a:pt x="3119" y="1115"/>
                </a:cubicBezTo>
                <a:cubicBezTo>
                  <a:pt x="3119" y="1115"/>
                  <a:pt x="3122" y="1116"/>
                  <a:pt x="3122" y="1116"/>
                </a:cubicBezTo>
                <a:lnTo>
                  <a:pt x="3126" y="1121"/>
                </a:lnTo>
                <a:close/>
                <a:moveTo>
                  <a:pt x="3200" y="1211"/>
                </a:moveTo>
                <a:cubicBezTo>
                  <a:pt x="3200" y="1212"/>
                  <a:pt x="3200" y="1212"/>
                  <a:pt x="3200" y="1212"/>
                </a:cubicBezTo>
                <a:cubicBezTo>
                  <a:pt x="3201" y="1212"/>
                  <a:pt x="3201" y="1212"/>
                  <a:pt x="3201" y="1212"/>
                </a:cubicBezTo>
                <a:cubicBezTo>
                  <a:pt x="3202" y="1213"/>
                  <a:pt x="3202" y="1213"/>
                  <a:pt x="3202" y="1213"/>
                </a:cubicBezTo>
                <a:cubicBezTo>
                  <a:pt x="3202" y="1214"/>
                  <a:pt x="3202" y="1214"/>
                  <a:pt x="3202" y="1214"/>
                </a:cubicBezTo>
                <a:cubicBezTo>
                  <a:pt x="3201" y="1217"/>
                  <a:pt x="3201" y="1217"/>
                  <a:pt x="3201" y="1217"/>
                </a:cubicBezTo>
                <a:cubicBezTo>
                  <a:pt x="3202" y="1219"/>
                  <a:pt x="3202" y="1219"/>
                  <a:pt x="3202" y="1219"/>
                </a:cubicBezTo>
                <a:cubicBezTo>
                  <a:pt x="3204" y="1217"/>
                  <a:pt x="3204" y="1217"/>
                  <a:pt x="3204" y="1217"/>
                </a:cubicBezTo>
                <a:cubicBezTo>
                  <a:pt x="3206" y="1217"/>
                  <a:pt x="3206" y="1217"/>
                  <a:pt x="3206" y="1217"/>
                </a:cubicBezTo>
                <a:cubicBezTo>
                  <a:pt x="3205" y="1216"/>
                  <a:pt x="3205" y="1216"/>
                  <a:pt x="3205" y="1216"/>
                </a:cubicBezTo>
                <a:cubicBezTo>
                  <a:pt x="3203" y="1213"/>
                  <a:pt x="3203" y="1213"/>
                  <a:pt x="3203" y="1213"/>
                </a:cubicBezTo>
                <a:cubicBezTo>
                  <a:pt x="3203" y="1211"/>
                  <a:pt x="3203" y="1211"/>
                  <a:pt x="3203" y="1211"/>
                </a:cubicBezTo>
                <a:cubicBezTo>
                  <a:pt x="3202" y="1210"/>
                  <a:pt x="3202" y="1210"/>
                  <a:pt x="3202" y="1210"/>
                </a:cubicBezTo>
                <a:cubicBezTo>
                  <a:pt x="3200" y="1210"/>
                  <a:pt x="3200" y="1210"/>
                  <a:pt x="3200" y="1210"/>
                </a:cubicBezTo>
                <a:lnTo>
                  <a:pt x="3200" y="1211"/>
                </a:lnTo>
                <a:close/>
                <a:moveTo>
                  <a:pt x="3197" y="1569"/>
                </a:moveTo>
                <a:cubicBezTo>
                  <a:pt x="3196" y="1570"/>
                  <a:pt x="3196" y="1570"/>
                  <a:pt x="3196" y="1570"/>
                </a:cubicBezTo>
                <a:cubicBezTo>
                  <a:pt x="3195" y="1571"/>
                  <a:pt x="3195" y="1571"/>
                  <a:pt x="3195" y="1571"/>
                </a:cubicBezTo>
                <a:cubicBezTo>
                  <a:pt x="3196" y="1571"/>
                  <a:pt x="3196" y="1571"/>
                  <a:pt x="3196" y="1571"/>
                </a:cubicBezTo>
                <a:lnTo>
                  <a:pt x="3197" y="1569"/>
                </a:lnTo>
                <a:close/>
                <a:moveTo>
                  <a:pt x="3195" y="1204"/>
                </a:moveTo>
                <a:cubicBezTo>
                  <a:pt x="3196" y="1207"/>
                  <a:pt x="3196" y="1207"/>
                  <a:pt x="3196" y="1207"/>
                </a:cubicBezTo>
                <a:cubicBezTo>
                  <a:pt x="3198" y="1207"/>
                  <a:pt x="3198" y="1207"/>
                  <a:pt x="3198" y="1207"/>
                </a:cubicBezTo>
                <a:cubicBezTo>
                  <a:pt x="3199" y="1205"/>
                  <a:pt x="3199" y="1205"/>
                  <a:pt x="3199" y="1205"/>
                </a:cubicBezTo>
                <a:cubicBezTo>
                  <a:pt x="3200" y="1206"/>
                  <a:pt x="3200" y="1206"/>
                  <a:pt x="3200" y="1206"/>
                </a:cubicBezTo>
                <a:cubicBezTo>
                  <a:pt x="3201" y="1205"/>
                  <a:pt x="3201" y="1205"/>
                  <a:pt x="3201" y="1205"/>
                </a:cubicBezTo>
                <a:cubicBezTo>
                  <a:pt x="3201" y="1202"/>
                  <a:pt x="3201" y="1202"/>
                  <a:pt x="3201" y="1202"/>
                </a:cubicBezTo>
                <a:cubicBezTo>
                  <a:pt x="3200" y="1201"/>
                  <a:pt x="3200" y="1201"/>
                  <a:pt x="3200" y="1201"/>
                </a:cubicBezTo>
                <a:cubicBezTo>
                  <a:pt x="3201" y="1199"/>
                  <a:pt x="3201" y="1199"/>
                  <a:pt x="3201" y="1199"/>
                </a:cubicBezTo>
                <a:cubicBezTo>
                  <a:pt x="3200" y="1198"/>
                  <a:pt x="3200" y="1198"/>
                  <a:pt x="3200" y="1198"/>
                </a:cubicBezTo>
                <a:cubicBezTo>
                  <a:pt x="3199" y="1199"/>
                  <a:pt x="3199" y="1199"/>
                  <a:pt x="3199" y="1199"/>
                </a:cubicBezTo>
                <a:cubicBezTo>
                  <a:pt x="3199" y="1200"/>
                  <a:pt x="3199" y="1200"/>
                  <a:pt x="3199" y="1200"/>
                </a:cubicBezTo>
                <a:cubicBezTo>
                  <a:pt x="3198" y="1201"/>
                  <a:pt x="3198" y="1201"/>
                  <a:pt x="3198" y="1201"/>
                </a:cubicBezTo>
                <a:cubicBezTo>
                  <a:pt x="3197" y="1200"/>
                  <a:pt x="3197" y="1200"/>
                  <a:pt x="3197" y="1200"/>
                </a:cubicBezTo>
                <a:cubicBezTo>
                  <a:pt x="3197" y="1196"/>
                  <a:pt x="3197" y="1196"/>
                  <a:pt x="3197" y="1196"/>
                </a:cubicBezTo>
                <a:cubicBezTo>
                  <a:pt x="3197" y="1196"/>
                  <a:pt x="3195" y="1195"/>
                  <a:pt x="3195" y="1195"/>
                </a:cubicBezTo>
                <a:cubicBezTo>
                  <a:pt x="3194" y="1199"/>
                  <a:pt x="3194" y="1199"/>
                  <a:pt x="3194" y="1199"/>
                </a:cubicBezTo>
                <a:cubicBezTo>
                  <a:pt x="3195" y="1201"/>
                  <a:pt x="3195" y="1201"/>
                  <a:pt x="3195" y="1201"/>
                </a:cubicBezTo>
                <a:lnTo>
                  <a:pt x="3195" y="1204"/>
                </a:lnTo>
                <a:close/>
                <a:moveTo>
                  <a:pt x="3141" y="1125"/>
                </a:moveTo>
                <a:cubicBezTo>
                  <a:pt x="3141" y="1127"/>
                  <a:pt x="3141" y="1127"/>
                  <a:pt x="3141" y="1127"/>
                </a:cubicBezTo>
                <a:cubicBezTo>
                  <a:pt x="3142" y="1128"/>
                  <a:pt x="3142" y="1128"/>
                  <a:pt x="3142" y="1128"/>
                </a:cubicBezTo>
                <a:cubicBezTo>
                  <a:pt x="3143" y="1131"/>
                  <a:pt x="3143" y="1131"/>
                  <a:pt x="3143" y="1131"/>
                </a:cubicBezTo>
                <a:cubicBezTo>
                  <a:pt x="3147" y="1135"/>
                  <a:pt x="3147" y="1135"/>
                  <a:pt x="3147" y="1135"/>
                </a:cubicBezTo>
                <a:cubicBezTo>
                  <a:pt x="3148" y="1135"/>
                  <a:pt x="3148" y="1135"/>
                  <a:pt x="3148" y="1135"/>
                </a:cubicBezTo>
                <a:cubicBezTo>
                  <a:pt x="3149" y="1137"/>
                  <a:pt x="3149" y="1137"/>
                  <a:pt x="3149" y="1137"/>
                </a:cubicBezTo>
                <a:cubicBezTo>
                  <a:pt x="3150" y="1138"/>
                  <a:pt x="3150" y="1138"/>
                  <a:pt x="3150" y="1138"/>
                </a:cubicBezTo>
                <a:cubicBezTo>
                  <a:pt x="3151" y="1136"/>
                  <a:pt x="3151" y="1136"/>
                  <a:pt x="3151" y="1136"/>
                </a:cubicBezTo>
                <a:cubicBezTo>
                  <a:pt x="3149" y="1134"/>
                  <a:pt x="3149" y="1134"/>
                  <a:pt x="3149" y="1134"/>
                </a:cubicBezTo>
                <a:cubicBezTo>
                  <a:pt x="3147" y="1133"/>
                  <a:pt x="3147" y="1133"/>
                  <a:pt x="3147" y="1133"/>
                </a:cubicBezTo>
                <a:cubicBezTo>
                  <a:pt x="3146" y="1131"/>
                  <a:pt x="3146" y="1131"/>
                  <a:pt x="3146" y="1131"/>
                </a:cubicBezTo>
                <a:cubicBezTo>
                  <a:pt x="3144" y="1128"/>
                  <a:pt x="3144" y="1128"/>
                  <a:pt x="3144" y="1128"/>
                </a:cubicBezTo>
                <a:cubicBezTo>
                  <a:pt x="3144" y="1126"/>
                  <a:pt x="3144" y="1126"/>
                  <a:pt x="3144" y="1126"/>
                </a:cubicBezTo>
                <a:cubicBezTo>
                  <a:pt x="3142" y="1124"/>
                  <a:pt x="3142" y="1124"/>
                  <a:pt x="3142" y="1124"/>
                </a:cubicBezTo>
                <a:cubicBezTo>
                  <a:pt x="3140" y="1124"/>
                  <a:pt x="3140" y="1124"/>
                  <a:pt x="3140" y="1124"/>
                </a:cubicBezTo>
                <a:cubicBezTo>
                  <a:pt x="3140" y="1124"/>
                  <a:pt x="3140" y="1124"/>
                  <a:pt x="3140" y="1124"/>
                </a:cubicBezTo>
                <a:lnTo>
                  <a:pt x="3141" y="1125"/>
                </a:lnTo>
                <a:close/>
                <a:moveTo>
                  <a:pt x="3110" y="1119"/>
                </a:moveTo>
                <a:cubicBezTo>
                  <a:pt x="3109" y="1119"/>
                  <a:pt x="3109" y="1119"/>
                  <a:pt x="3109" y="1119"/>
                </a:cubicBezTo>
                <a:cubicBezTo>
                  <a:pt x="3108" y="1120"/>
                  <a:pt x="3108" y="1120"/>
                  <a:pt x="3108" y="1120"/>
                </a:cubicBezTo>
                <a:cubicBezTo>
                  <a:pt x="3107" y="1122"/>
                  <a:pt x="3107" y="1122"/>
                  <a:pt x="3107" y="1122"/>
                </a:cubicBezTo>
                <a:cubicBezTo>
                  <a:pt x="3109" y="1123"/>
                  <a:pt x="3109" y="1123"/>
                  <a:pt x="3109" y="1123"/>
                </a:cubicBezTo>
                <a:cubicBezTo>
                  <a:pt x="3110" y="1123"/>
                  <a:pt x="3110" y="1123"/>
                  <a:pt x="3110" y="1123"/>
                </a:cubicBezTo>
                <a:cubicBezTo>
                  <a:pt x="3110" y="1124"/>
                  <a:pt x="3110" y="1124"/>
                  <a:pt x="3110" y="1124"/>
                </a:cubicBezTo>
                <a:cubicBezTo>
                  <a:pt x="3112" y="1125"/>
                  <a:pt x="3112" y="1125"/>
                  <a:pt x="3112" y="1125"/>
                </a:cubicBezTo>
                <a:cubicBezTo>
                  <a:pt x="3113" y="1125"/>
                  <a:pt x="3113" y="1125"/>
                  <a:pt x="3113" y="1125"/>
                </a:cubicBezTo>
                <a:cubicBezTo>
                  <a:pt x="3113" y="1123"/>
                  <a:pt x="3113" y="1123"/>
                  <a:pt x="3113" y="1123"/>
                </a:cubicBezTo>
                <a:cubicBezTo>
                  <a:pt x="3112" y="1122"/>
                  <a:pt x="3112" y="1122"/>
                  <a:pt x="3112" y="1122"/>
                </a:cubicBezTo>
                <a:cubicBezTo>
                  <a:pt x="3111" y="1121"/>
                  <a:pt x="3111" y="1121"/>
                  <a:pt x="3111" y="1121"/>
                </a:cubicBezTo>
                <a:lnTo>
                  <a:pt x="3110" y="1119"/>
                </a:lnTo>
                <a:close/>
                <a:moveTo>
                  <a:pt x="3149" y="1145"/>
                </a:moveTo>
                <a:cubicBezTo>
                  <a:pt x="3146" y="1144"/>
                  <a:pt x="3146" y="1144"/>
                  <a:pt x="3146" y="1144"/>
                </a:cubicBezTo>
                <a:cubicBezTo>
                  <a:pt x="3147" y="1146"/>
                  <a:pt x="3147" y="1146"/>
                  <a:pt x="3147" y="1146"/>
                </a:cubicBezTo>
                <a:cubicBezTo>
                  <a:pt x="3148" y="1148"/>
                  <a:pt x="3148" y="1148"/>
                  <a:pt x="3148" y="1148"/>
                </a:cubicBezTo>
                <a:cubicBezTo>
                  <a:pt x="3150" y="1150"/>
                  <a:pt x="3150" y="1150"/>
                  <a:pt x="3150" y="1150"/>
                </a:cubicBezTo>
                <a:cubicBezTo>
                  <a:pt x="3154" y="1151"/>
                  <a:pt x="3154" y="1151"/>
                  <a:pt x="3154" y="1151"/>
                </a:cubicBezTo>
                <a:cubicBezTo>
                  <a:pt x="3156" y="1151"/>
                  <a:pt x="3156" y="1151"/>
                  <a:pt x="3156" y="1151"/>
                </a:cubicBezTo>
                <a:cubicBezTo>
                  <a:pt x="3155" y="1151"/>
                  <a:pt x="3155" y="1151"/>
                  <a:pt x="3155" y="1151"/>
                </a:cubicBezTo>
                <a:cubicBezTo>
                  <a:pt x="3156" y="1149"/>
                  <a:pt x="3156" y="1149"/>
                  <a:pt x="3156" y="1149"/>
                </a:cubicBezTo>
                <a:cubicBezTo>
                  <a:pt x="3154" y="1148"/>
                  <a:pt x="3154" y="1148"/>
                  <a:pt x="3154" y="1148"/>
                </a:cubicBezTo>
                <a:cubicBezTo>
                  <a:pt x="3151" y="1147"/>
                  <a:pt x="3151" y="1147"/>
                  <a:pt x="3151" y="1147"/>
                </a:cubicBezTo>
                <a:lnTo>
                  <a:pt x="3149" y="1145"/>
                </a:lnTo>
                <a:close/>
                <a:moveTo>
                  <a:pt x="3195" y="1570"/>
                </a:moveTo>
                <a:cubicBezTo>
                  <a:pt x="3195" y="1569"/>
                  <a:pt x="3195" y="1569"/>
                  <a:pt x="3195" y="1569"/>
                </a:cubicBezTo>
                <a:cubicBezTo>
                  <a:pt x="3193" y="1570"/>
                  <a:pt x="3193" y="1570"/>
                  <a:pt x="3193" y="1570"/>
                </a:cubicBezTo>
                <a:cubicBezTo>
                  <a:pt x="3194" y="1570"/>
                  <a:pt x="3194" y="1570"/>
                  <a:pt x="3194" y="1570"/>
                </a:cubicBezTo>
                <a:lnTo>
                  <a:pt x="3195" y="1570"/>
                </a:lnTo>
                <a:close/>
                <a:moveTo>
                  <a:pt x="3135" y="1158"/>
                </a:moveTo>
                <a:cubicBezTo>
                  <a:pt x="3133" y="1158"/>
                  <a:pt x="3133" y="1158"/>
                  <a:pt x="3133" y="1158"/>
                </a:cubicBezTo>
                <a:cubicBezTo>
                  <a:pt x="3133" y="1159"/>
                  <a:pt x="3133" y="1159"/>
                  <a:pt x="3133" y="1159"/>
                </a:cubicBezTo>
                <a:cubicBezTo>
                  <a:pt x="3134" y="1160"/>
                  <a:pt x="3134" y="1160"/>
                  <a:pt x="3134" y="1160"/>
                </a:cubicBezTo>
                <a:cubicBezTo>
                  <a:pt x="3135" y="1160"/>
                  <a:pt x="3135" y="1160"/>
                  <a:pt x="3135" y="1160"/>
                </a:cubicBezTo>
                <a:cubicBezTo>
                  <a:pt x="3137" y="1161"/>
                  <a:pt x="3137" y="1161"/>
                  <a:pt x="3137" y="1161"/>
                </a:cubicBezTo>
                <a:cubicBezTo>
                  <a:pt x="3138" y="1160"/>
                  <a:pt x="3138" y="1160"/>
                  <a:pt x="3138" y="1160"/>
                </a:cubicBezTo>
                <a:cubicBezTo>
                  <a:pt x="3136" y="1159"/>
                  <a:pt x="3136" y="1159"/>
                  <a:pt x="3136" y="1159"/>
                </a:cubicBezTo>
                <a:lnTo>
                  <a:pt x="3135" y="1158"/>
                </a:lnTo>
                <a:close/>
                <a:moveTo>
                  <a:pt x="3065" y="1084"/>
                </a:moveTo>
                <a:cubicBezTo>
                  <a:pt x="3066" y="1082"/>
                  <a:pt x="3066" y="1082"/>
                  <a:pt x="3066" y="1082"/>
                </a:cubicBezTo>
                <a:cubicBezTo>
                  <a:pt x="3066" y="1080"/>
                  <a:pt x="3066" y="1080"/>
                  <a:pt x="3066" y="1080"/>
                </a:cubicBezTo>
                <a:cubicBezTo>
                  <a:pt x="3065" y="1080"/>
                  <a:pt x="3065" y="1080"/>
                  <a:pt x="3065" y="1080"/>
                </a:cubicBezTo>
                <a:cubicBezTo>
                  <a:pt x="3064" y="1076"/>
                  <a:pt x="3064" y="1076"/>
                  <a:pt x="3064" y="1076"/>
                </a:cubicBezTo>
                <a:cubicBezTo>
                  <a:pt x="3063" y="1076"/>
                  <a:pt x="3063" y="1076"/>
                  <a:pt x="3063" y="1076"/>
                </a:cubicBezTo>
                <a:cubicBezTo>
                  <a:pt x="3061" y="1073"/>
                  <a:pt x="3061" y="1073"/>
                  <a:pt x="3061" y="1073"/>
                </a:cubicBezTo>
                <a:cubicBezTo>
                  <a:pt x="3059" y="1072"/>
                  <a:pt x="3059" y="1072"/>
                  <a:pt x="3059" y="1072"/>
                </a:cubicBezTo>
                <a:cubicBezTo>
                  <a:pt x="3057" y="1070"/>
                  <a:pt x="3057" y="1070"/>
                  <a:pt x="3057" y="1070"/>
                </a:cubicBezTo>
                <a:cubicBezTo>
                  <a:pt x="3055" y="1069"/>
                  <a:pt x="3055" y="1069"/>
                  <a:pt x="3055" y="1069"/>
                </a:cubicBezTo>
                <a:cubicBezTo>
                  <a:pt x="3051" y="1066"/>
                  <a:pt x="3051" y="1066"/>
                  <a:pt x="3051" y="1066"/>
                </a:cubicBezTo>
                <a:cubicBezTo>
                  <a:pt x="3048" y="1065"/>
                  <a:pt x="3048" y="1065"/>
                  <a:pt x="3048" y="1065"/>
                </a:cubicBezTo>
                <a:cubicBezTo>
                  <a:pt x="3043" y="1063"/>
                  <a:pt x="3043" y="1063"/>
                  <a:pt x="3043" y="1063"/>
                </a:cubicBezTo>
                <a:cubicBezTo>
                  <a:pt x="3043" y="1064"/>
                  <a:pt x="3043" y="1064"/>
                  <a:pt x="3043" y="1064"/>
                </a:cubicBezTo>
                <a:cubicBezTo>
                  <a:pt x="3045" y="1065"/>
                  <a:pt x="3045" y="1065"/>
                  <a:pt x="3045" y="1065"/>
                </a:cubicBezTo>
                <a:cubicBezTo>
                  <a:pt x="3052" y="1069"/>
                  <a:pt x="3052" y="1069"/>
                  <a:pt x="3052" y="1069"/>
                </a:cubicBezTo>
                <a:cubicBezTo>
                  <a:pt x="3055" y="1071"/>
                  <a:pt x="3055" y="1071"/>
                  <a:pt x="3055" y="1071"/>
                </a:cubicBezTo>
                <a:cubicBezTo>
                  <a:pt x="3058" y="1072"/>
                  <a:pt x="3058" y="1072"/>
                  <a:pt x="3058" y="1072"/>
                </a:cubicBezTo>
                <a:cubicBezTo>
                  <a:pt x="3061" y="1075"/>
                  <a:pt x="3061" y="1075"/>
                  <a:pt x="3061" y="1075"/>
                </a:cubicBezTo>
                <a:cubicBezTo>
                  <a:pt x="3063" y="1081"/>
                  <a:pt x="3063" y="1081"/>
                  <a:pt x="3063" y="1081"/>
                </a:cubicBezTo>
                <a:cubicBezTo>
                  <a:pt x="3062" y="1082"/>
                  <a:pt x="3062" y="1082"/>
                  <a:pt x="3062" y="1082"/>
                </a:cubicBezTo>
                <a:cubicBezTo>
                  <a:pt x="3063" y="1084"/>
                  <a:pt x="3063" y="1084"/>
                  <a:pt x="3063" y="1084"/>
                </a:cubicBezTo>
                <a:cubicBezTo>
                  <a:pt x="3065" y="1087"/>
                  <a:pt x="3065" y="1087"/>
                  <a:pt x="3065" y="1087"/>
                </a:cubicBezTo>
                <a:lnTo>
                  <a:pt x="3065" y="1084"/>
                </a:lnTo>
                <a:close/>
                <a:moveTo>
                  <a:pt x="3067" y="1158"/>
                </a:moveTo>
                <a:cubicBezTo>
                  <a:pt x="3065" y="1156"/>
                  <a:pt x="3065" y="1156"/>
                  <a:pt x="3065" y="1156"/>
                </a:cubicBezTo>
                <a:cubicBezTo>
                  <a:pt x="3064" y="1156"/>
                  <a:pt x="3064" y="1156"/>
                  <a:pt x="3064" y="1156"/>
                </a:cubicBezTo>
                <a:cubicBezTo>
                  <a:pt x="3066" y="1159"/>
                  <a:pt x="3066" y="1159"/>
                  <a:pt x="3066" y="1159"/>
                </a:cubicBezTo>
                <a:cubicBezTo>
                  <a:pt x="3068" y="1159"/>
                  <a:pt x="3068" y="1159"/>
                  <a:pt x="3068" y="1159"/>
                </a:cubicBezTo>
                <a:cubicBezTo>
                  <a:pt x="3069" y="1160"/>
                  <a:pt x="3069" y="1160"/>
                  <a:pt x="3069" y="1160"/>
                </a:cubicBezTo>
                <a:cubicBezTo>
                  <a:pt x="3070" y="1159"/>
                  <a:pt x="3070" y="1159"/>
                  <a:pt x="3070" y="1159"/>
                </a:cubicBezTo>
                <a:cubicBezTo>
                  <a:pt x="3069" y="1158"/>
                  <a:pt x="3069" y="1158"/>
                  <a:pt x="3069" y="1158"/>
                </a:cubicBezTo>
                <a:lnTo>
                  <a:pt x="3067" y="1158"/>
                </a:lnTo>
                <a:close/>
                <a:moveTo>
                  <a:pt x="3072" y="1156"/>
                </a:moveTo>
                <a:cubicBezTo>
                  <a:pt x="3073" y="1157"/>
                  <a:pt x="3073" y="1157"/>
                  <a:pt x="3073" y="1157"/>
                </a:cubicBezTo>
                <a:cubicBezTo>
                  <a:pt x="3073" y="1157"/>
                  <a:pt x="3073" y="1157"/>
                  <a:pt x="3073" y="1157"/>
                </a:cubicBezTo>
                <a:cubicBezTo>
                  <a:pt x="3075" y="1157"/>
                  <a:pt x="3075" y="1157"/>
                  <a:pt x="3075" y="1157"/>
                </a:cubicBezTo>
                <a:cubicBezTo>
                  <a:pt x="3075" y="1156"/>
                  <a:pt x="3075" y="1156"/>
                  <a:pt x="3075" y="1156"/>
                </a:cubicBezTo>
                <a:cubicBezTo>
                  <a:pt x="3074" y="1155"/>
                  <a:pt x="3074" y="1155"/>
                  <a:pt x="3074" y="1155"/>
                </a:cubicBezTo>
                <a:lnTo>
                  <a:pt x="3072" y="1156"/>
                </a:lnTo>
                <a:close/>
                <a:moveTo>
                  <a:pt x="3059" y="1130"/>
                </a:moveTo>
                <a:cubicBezTo>
                  <a:pt x="3059" y="1131"/>
                  <a:pt x="3059" y="1131"/>
                  <a:pt x="3059" y="1131"/>
                </a:cubicBezTo>
                <a:cubicBezTo>
                  <a:pt x="3059" y="1133"/>
                  <a:pt x="3059" y="1133"/>
                  <a:pt x="3059" y="1133"/>
                </a:cubicBezTo>
                <a:cubicBezTo>
                  <a:pt x="3060" y="1132"/>
                  <a:pt x="3060" y="1132"/>
                  <a:pt x="3060" y="1132"/>
                </a:cubicBezTo>
                <a:cubicBezTo>
                  <a:pt x="3062" y="1134"/>
                  <a:pt x="3062" y="1134"/>
                  <a:pt x="3062" y="1134"/>
                </a:cubicBezTo>
                <a:cubicBezTo>
                  <a:pt x="3062" y="1133"/>
                  <a:pt x="3062" y="1133"/>
                  <a:pt x="3062" y="1133"/>
                </a:cubicBezTo>
                <a:lnTo>
                  <a:pt x="3059" y="1130"/>
                </a:lnTo>
                <a:close/>
                <a:moveTo>
                  <a:pt x="3035" y="1086"/>
                </a:moveTo>
                <a:cubicBezTo>
                  <a:pt x="3034" y="1087"/>
                  <a:pt x="3034" y="1087"/>
                  <a:pt x="3034" y="1087"/>
                </a:cubicBezTo>
                <a:cubicBezTo>
                  <a:pt x="3036" y="1089"/>
                  <a:pt x="3036" y="1089"/>
                  <a:pt x="3036" y="1089"/>
                </a:cubicBezTo>
                <a:cubicBezTo>
                  <a:pt x="3037" y="1088"/>
                  <a:pt x="3037" y="1088"/>
                  <a:pt x="3037" y="1088"/>
                </a:cubicBezTo>
                <a:cubicBezTo>
                  <a:pt x="3036" y="1086"/>
                  <a:pt x="3036" y="1086"/>
                  <a:pt x="3036" y="1086"/>
                </a:cubicBezTo>
                <a:lnTo>
                  <a:pt x="3035" y="1086"/>
                </a:lnTo>
                <a:close/>
                <a:moveTo>
                  <a:pt x="3039" y="1062"/>
                </a:moveTo>
                <a:cubicBezTo>
                  <a:pt x="3038" y="1062"/>
                  <a:pt x="3038" y="1062"/>
                  <a:pt x="3038" y="1062"/>
                </a:cubicBezTo>
                <a:cubicBezTo>
                  <a:pt x="3035" y="1062"/>
                  <a:pt x="3035" y="1062"/>
                  <a:pt x="3035" y="1062"/>
                </a:cubicBezTo>
                <a:cubicBezTo>
                  <a:pt x="3035" y="1064"/>
                  <a:pt x="3035" y="1064"/>
                  <a:pt x="3035" y="1064"/>
                </a:cubicBezTo>
                <a:cubicBezTo>
                  <a:pt x="3037" y="1065"/>
                  <a:pt x="3037" y="1065"/>
                  <a:pt x="3037" y="1065"/>
                </a:cubicBezTo>
                <a:cubicBezTo>
                  <a:pt x="3039" y="1064"/>
                  <a:pt x="3039" y="1064"/>
                  <a:pt x="3039" y="1064"/>
                </a:cubicBezTo>
                <a:lnTo>
                  <a:pt x="3039" y="1062"/>
                </a:lnTo>
                <a:close/>
                <a:moveTo>
                  <a:pt x="3079" y="1082"/>
                </a:moveTo>
                <a:cubicBezTo>
                  <a:pt x="3078" y="1083"/>
                  <a:pt x="3078" y="1083"/>
                  <a:pt x="3078" y="1083"/>
                </a:cubicBezTo>
                <a:cubicBezTo>
                  <a:pt x="3077" y="1083"/>
                  <a:pt x="3077" y="1083"/>
                  <a:pt x="3077" y="1083"/>
                </a:cubicBezTo>
                <a:cubicBezTo>
                  <a:pt x="3077" y="1084"/>
                  <a:pt x="3077" y="1084"/>
                  <a:pt x="3077" y="1084"/>
                </a:cubicBezTo>
                <a:cubicBezTo>
                  <a:pt x="3079" y="1085"/>
                  <a:pt x="3079" y="1085"/>
                  <a:pt x="3079" y="1085"/>
                </a:cubicBezTo>
                <a:cubicBezTo>
                  <a:pt x="3080" y="1083"/>
                  <a:pt x="3080" y="1083"/>
                  <a:pt x="3080" y="1083"/>
                </a:cubicBezTo>
                <a:lnTo>
                  <a:pt x="3079" y="1082"/>
                </a:lnTo>
                <a:close/>
                <a:moveTo>
                  <a:pt x="3111" y="1664"/>
                </a:moveTo>
                <a:cubicBezTo>
                  <a:pt x="3111" y="1663"/>
                  <a:pt x="3111" y="1663"/>
                  <a:pt x="3111" y="1663"/>
                </a:cubicBezTo>
                <a:cubicBezTo>
                  <a:pt x="3110" y="1664"/>
                  <a:pt x="3110" y="1664"/>
                  <a:pt x="3110" y="1664"/>
                </a:cubicBezTo>
                <a:lnTo>
                  <a:pt x="3111" y="1664"/>
                </a:lnTo>
                <a:close/>
                <a:moveTo>
                  <a:pt x="3200" y="1571"/>
                </a:moveTo>
                <a:cubicBezTo>
                  <a:pt x="3199" y="1571"/>
                  <a:pt x="3199" y="1571"/>
                  <a:pt x="3199" y="1571"/>
                </a:cubicBezTo>
                <a:cubicBezTo>
                  <a:pt x="3199" y="1569"/>
                  <a:pt x="3199" y="1569"/>
                  <a:pt x="3199" y="1569"/>
                </a:cubicBezTo>
                <a:cubicBezTo>
                  <a:pt x="3197" y="1569"/>
                  <a:pt x="3197" y="1569"/>
                  <a:pt x="3197" y="1569"/>
                </a:cubicBezTo>
                <a:cubicBezTo>
                  <a:pt x="3196" y="1571"/>
                  <a:pt x="3196" y="1571"/>
                  <a:pt x="3196" y="1571"/>
                </a:cubicBezTo>
                <a:cubicBezTo>
                  <a:pt x="3197" y="1572"/>
                  <a:pt x="3197" y="1572"/>
                  <a:pt x="3197" y="1572"/>
                </a:cubicBezTo>
                <a:cubicBezTo>
                  <a:pt x="3198" y="1572"/>
                  <a:pt x="3198" y="1572"/>
                  <a:pt x="3198" y="1572"/>
                </a:cubicBezTo>
                <a:cubicBezTo>
                  <a:pt x="3196" y="1573"/>
                  <a:pt x="3196" y="1573"/>
                  <a:pt x="3196" y="1573"/>
                </a:cubicBezTo>
                <a:cubicBezTo>
                  <a:pt x="3195" y="1572"/>
                  <a:pt x="3195" y="1572"/>
                  <a:pt x="3195" y="1572"/>
                </a:cubicBezTo>
                <a:cubicBezTo>
                  <a:pt x="3195" y="1571"/>
                  <a:pt x="3195" y="1571"/>
                  <a:pt x="3195" y="1571"/>
                </a:cubicBezTo>
                <a:cubicBezTo>
                  <a:pt x="3194" y="1571"/>
                  <a:pt x="3194" y="1571"/>
                  <a:pt x="3194" y="1571"/>
                </a:cubicBezTo>
                <a:cubicBezTo>
                  <a:pt x="3193" y="1571"/>
                  <a:pt x="3193" y="1571"/>
                  <a:pt x="3193" y="1571"/>
                </a:cubicBezTo>
                <a:cubicBezTo>
                  <a:pt x="3192" y="1572"/>
                  <a:pt x="3192" y="1572"/>
                  <a:pt x="3192" y="1572"/>
                </a:cubicBezTo>
                <a:cubicBezTo>
                  <a:pt x="3190" y="1574"/>
                  <a:pt x="3190" y="1574"/>
                  <a:pt x="3190" y="1574"/>
                </a:cubicBezTo>
                <a:cubicBezTo>
                  <a:pt x="3189" y="1573"/>
                  <a:pt x="3189" y="1573"/>
                  <a:pt x="3189" y="1573"/>
                </a:cubicBezTo>
                <a:cubicBezTo>
                  <a:pt x="3188" y="1570"/>
                  <a:pt x="3188" y="1570"/>
                  <a:pt x="3188" y="1570"/>
                </a:cubicBezTo>
                <a:cubicBezTo>
                  <a:pt x="3189" y="1569"/>
                  <a:pt x="3189" y="1569"/>
                  <a:pt x="3189" y="1569"/>
                </a:cubicBezTo>
                <a:cubicBezTo>
                  <a:pt x="3190" y="1568"/>
                  <a:pt x="3190" y="1568"/>
                  <a:pt x="3190" y="1568"/>
                </a:cubicBezTo>
                <a:cubicBezTo>
                  <a:pt x="3190" y="1567"/>
                  <a:pt x="3190" y="1567"/>
                  <a:pt x="3190" y="1567"/>
                </a:cubicBezTo>
                <a:cubicBezTo>
                  <a:pt x="3190" y="1567"/>
                  <a:pt x="3190" y="1567"/>
                  <a:pt x="3190" y="1567"/>
                </a:cubicBezTo>
                <a:cubicBezTo>
                  <a:pt x="3190" y="1566"/>
                  <a:pt x="3190" y="1566"/>
                  <a:pt x="3190" y="1566"/>
                </a:cubicBezTo>
                <a:cubicBezTo>
                  <a:pt x="3189" y="1566"/>
                  <a:pt x="3189" y="1566"/>
                  <a:pt x="3189" y="1566"/>
                </a:cubicBezTo>
                <a:cubicBezTo>
                  <a:pt x="3188" y="1566"/>
                  <a:pt x="3188" y="1566"/>
                  <a:pt x="3188" y="1566"/>
                </a:cubicBezTo>
                <a:cubicBezTo>
                  <a:pt x="3187" y="1566"/>
                  <a:pt x="3187" y="1566"/>
                  <a:pt x="3187" y="1566"/>
                </a:cubicBezTo>
                <a:cubicBezTo>
                  <a:pt x="3186" y="1565"/>
                  <a:pt x="3186" y="1565"/>
                  <a:pt x="3186" y="1565"/>
                </a:cubicBezTo>
                <a:cubicBezTo>
                  <a:pt x="3187" y="1564"/>
                  <a:pt x="3187" y="1564"/>
                  <a:pt x="3187" y="1564"/>
                </a:cubicBezTo>
                <a:cubicBezTo>
                  <a:pt x="3188" y="1562"/>
                  <a:pt x="3188" y="1562"/>
                  <a:pt x="3188" y="1562"/>
                </a:cubicBezTo>
                <a:cubicBezTo>
                  <a:pt x="3186" y="1562"/>
                  <a:pt x="3186" y="1562"/>
                  <a:pt x="3186" y="1562"/>
                </a:cubicBezTo>
                <a:cubicBezTo>
                  <a:pt x="3183" y="1564"/>
                  <a:pt x="3183" y="1564"/>
                  <a:pt x="3183" y="1564"/>
                </a:cubicBezTo>
                <a:cubicBezTo>
                  <a:pt x="3182" y="1564"/>
                  <a:pt x="3182" y="1564"/>
                  <a:pt x="3182" y="1564"/>
                </a:cubicBezTo>
                <a:cubicBezTo>
                  <a:pt x="3180" y="1566"/>
                  <a:pt x="3180" y="1566"/>
                  <a:pt x="3180" y="1566"/>
                </a:cubicBezTo>
                <a:cubicBezTo>
                  <a:pt x="3180" y="1568"/>
                  <a:pt x="3180" y="1568"/>
                  <a:pt x="3180" y="1568"/>
                </a:cubicBezTo>
                <a:cubicBezTo>
                  <a:pt x="3178" y="1573"/>
                  <a:pt x="3178" y="1573"/>
                  <a:pt x="3178" y="1573"/>
                </a:cubicBezTo>
                <a:cubicBezTo>
                  <a:pt x="3176" y="1575"/>
                  <a:pt x="3176" y="1575"/>
                  <a:pt x="3176" y="1575"/>
                </a:cubicBezTo>
                <a:cubicBezTo>
                  <a:pt x="3175" y="1575"/>
                  <a:pt x="3175" y="1575"/>
                  <a:pt x="3175" y="1575"/>
                </a:cubicBezTo>
                <a:cubicBezTo>
                  <a:pt x="3173" y="1578"/>
                  <a:pt x="3173" y="1578"/>
                  <a:pt x="3173" y="1578"/>
                </a:cubicBezTo>
                <a:cubicBezTo>
                  <a:pt x="3172" y="1580"/>
                  <a:pt x="3172" y="1580"/>
                  <a:pt x="3172" y="1580"/>
                </a:cubicBezTo>
                <a:cubicBezTo>
                  <a:pt x="3171" y="1580"/>
                  <a:pt x="3171" y="1580"/>
                  <a:pt x="3171" y="1580"/>
                </a:cubicBezTo>
                <a:cubicBezTo>
                  <a:pt x="3169" y="1580"/>
                  <a:pt x="3169" y="1580"/>
                  <a:pt x="3169" y="1580"/>
                </a:cubicBezTo>
                <a:cubicBezTo>
                  <a:pt x="3167" y="1581"/>
                  <a:pt x="3167" y="1581"/>
                  <a:pt x="3167" y="1581"/>
                </a:cubicBezTo>
                <a:cubicBezTo>
                  <a:pt x="3167" y="1583"/>
                  <a:pt x="3167" y="1583"/>
                  <a:pt x="3167" y="1583"/>
                </a:cubicBezTo>
                <a:cubicBezTo>
                  <a:pt x="3166" y="1585"/>
                  <a:pt x="3166" y="1585"/>
                  <a:pt x="3166" y="1585"/>
                </a:cubicBezTo>
                <a:cubicBezTo>
                  <a:pt x="3165" y="1586"/>
                  <a:pt x="3165" y="1586"/>
                  <a:pt x="3165" y="1586"/>
                </a:cubicBezTo>
                <a:cubicBezTo>
                  <a:pt x="3164" y="1588"/>
                  <a:pt x="3164" y="1588"/>
                  <a:pt x="3164" y="1588"/>
                </a:cubicBezTo>
                <a:cubicBezTo>
                  <a:pt x="3164" y="1590"/>
                  <a:pt x="3164" y="1590"/>
                  <a:pt x="3164" y="1590"/>
                </a:cubicBezTo>
                <a:cubicBezTo>
                  <a:pt x="3163" y="1591"/>
                  <a:pt x="3163" y="1591"/>
                  <a:pt x="3163" y="1591"/>
                </a:cubicBezTo>
                <a:cubicBezTo>
                  <a:pt x="3162" y="1593"/>
                  <a:pt x="3162" y="1593"/>
                  <a:pt x="3162" y="1593"/>
                </a:cubicBezTo>
                <a:cubicBezTo>
                  <a:pt x="3159" y="1597"/>
                  <a:pt x="3159" y="1597"/>
                  <a:pt x="3159" y="1597"/>
                </a:cubicBezTo>
                <a:cubicBezTo>
                  <a:pt x="3155" y="1600"/>
                  <a:pt x="3155" y="1600"/>
                  <a:pt x="3155" y="1600"/>
                </a:cubicBezTo>
                <a:cubicBezTo>
                  <a:pt x="3153" y="1600"/>
                  <a:pt x="3153" y="1600"/>
                  <a:pt x="3153" y="1600"/>
                </a:cubicBezTo>
                <a:cubicBezTo>
                  <a:pt x="3150" y="1602"/>
                  <a:pt x="3150" y="1602"/>
                  <a:pt x="3150" y="1602"/>
                </a:cubicBezTo>
                <a:cubicBezTo>
                  <a:pt x="3150" y="1603"/>
                  <a:pt x="3150" y="1603"/>
                  <a:pt x="3150" y="1603"/>
                </a:cubicBezTo>
                <a:cubicBezTo>
                  <a:pt x="3148" y="1603"/>
                  <a:pt x="3148" y="1603"/>
                  <a:pt x="3148" y="1603"/>
                </a:cubicBezTo>
                <a:cubicBezTo>
                  <a:pt x="3144" y="1605"/>
                  <a:pt x="3144" y="1605"/>
                  <a:pt x="3144" y="1605"/>
                </a:cubicBezTo>
                <a:cubicBezTo>
                  <a:pt x="3141" y="1608"/>
                  <a:pt x="3141" y="1608"/>
                  <a:pt x="3141" y="1608"/>
                </a:cubicBezTo>
                <a:cubicBezTo>
                  <a:pt x="3139" y="1608"/>
                  <a:pt x="3139" y="1608"/>
                  <a:pt x="3139" y="1608"/>
                </a:cubicBezTo>
                <a:cubicBezTo>
                  <a:pt x="3136" y="1611"/>
                  <a:pt x="3136" y="1611"/>
                  <a:pt x="3136" y="1611"/>
                </a:cubicBezTo>
                <a:cubicBezTo>
                  <a:pt x="3135" y="1612"/>
                  <a:pt x="3135" y="1612"/>
                  <a:pt x="3135" y="1612"/>
                </a:cubicBezTo>
                <a:cubicBezTo>
                  <a:pt x="3136" y="1613"/>
                  <a:pt x="3136" y="1613"/>
                  <a:pt x="3136" y="1613"/>
                </a:cubicBezTo>
                <a:cubicBezTo>
                  <a:pt x="3136" y="1615"/>
                  <a:pt x="3136" y="1615"/>
                  <a:pt x="3136" y="1615"/>
                </a:cubicBezTo>
                <a:cubicBezTo>
                  <a:pt x="3134" y="1614"/>
                  <a:pt x="3134" y="1614"/>
                  <a:pt x="3134" y="1614"/>
                </a:cubicBezTo>
                <a:cubicBezTo>
                  <a:pt x="3134" y="1613"/>
                  <a:pt x="3134" y="1613"/>
                  <a:pt x="3134" y="1613"/>
                </a:cubicBezTo>
                <a:cubicBezTo>
                  <a:pt x="3132" y="1614"/>
                  <a:pt x="3132" y="1614"/>
                  <a:pt x="3132" y="1614"/>
                </a:cubicBezTo>
                <a:cubicBezTo>
                  <a:pt x="3130" y="1614"/>
                  <a:pt x="3130" y="1614"/>
                  <a:pt x="3130" y="1614"/>
                </a:cubicBezTo>
                <a:cubicBezTo>
                  <a:pt x="3129" y="1614"/>
                  <a:pt x="3129" y="1614"/>
                  <a:pt x="3129" y="1614"/>
                </a:cubicBezTo>
                <a:cubicBezTo>
                  <a:pt x="3128" y="1614"/>
                  <a:pt x="3128" y="1614"/>
                  <a:pt x="3128" y="1614"/>
                </a:cubicBezTo>
                <a:cubicBezTo>
                  <a:pt x="3125" y="1616"/>
                  <a:pt x="3125" y="1616"/>
                  <a:pt x="3125" y="1616"/>
                </a:cubicBezTo>
                <a:cubicBezTo>
                  <a:pt x="3124" y="1618"/>
                  <a:pt x="3124" y="1618"/>
                  <a:pt x="3124" y="1618"/>
                </a:cubicBezTo>
                <a:cubicBezTo>
                  <a:pt x="3121" y="1620"/>
                  <a:pt x="3121" y="1620"/>
                  <a:pt x="3121" y="1620"/>
                </a:cubicBezTo>
                <a:cubicBezTo>
                  <a:pt x="3119" y="1620"/>
                  <a:pt x="3119" y="1620"/>
                  <a:pt x="3119" y="1620"/>
                </a:cubicBezTo>
                <a:cubicBezTo>
                  <a:pt x="3118" y="1623"/>
                  <a:pt x="3118" y="1623"/>
                  <a:pt x="3118" y="1623"/>
                </a:cubicBezTo>
                <a:cubicBezTo>
                  <a:pt x="3117" y="1625"/>
                  <a:pt x="3117" y="1625"/>
                  <a:pt x="3117" y="1625"/>
                </a:cubicBezTo>
                <a:cubicBezTo>
                  <a:pt x="3117" y="1624"/>
                  <a:pt x="3117" y="1624"/>
                  <a:pt x="3117" y="1624"/>
                </a:cubicBezTo>
                <a:cubicBezTo>
                  <a:pt x="3116" y="1623"/>
                  <a:pt x="3116" y="1623"/>
                  <a:pt x="3116" y="1623"/>
                </a:cubicBezTo>
                <a:cubicBezTo>
                  <a:pt x="3115" y="1624"/>
                  <a:pt x="3115" y="1624"/>
                  <a:pt x="3115" y="1624"/>
                </a:cubicBezTo>
                <a:cubicBezTo>
                  <a:pt x="3114" y="1625"/>
                  <a:pt x="3114" y="1625"/>
                  <a:pt x="3114" y="1625"/>
                </a:cubicBezTo>
                <a:cubicBezTo>
                  <a:pt x="3114" y="1627"/>
                  <a:pt x="3114" y="1627"/>
                  <a:pt x="3114" y="1627"/>
                </a:cubicBezTo>
                <a:cubicBezTo>
                  <a:pt x="3113" y="1628"/>
                  <a:pt x="3113" y="1628"/>
                  <a:pt x="3113" y="1628"/>
                </a:cubicBezTo>
                <a:cubicBezTo>
                  <a:pt x="3112" y="1628"/>
                  <a:pt x="3112" y="1628"/>
                  <a:pt x="3112" y="1628"/>
                </a:cubicBezTo>
                <a:cubicBezTo>
                  <a:pt x="3109" y="1631"/>
                  <a:pt x="3109" y="1631"/>
                  <a:pt x="3109" y="1631"/>
                </a:cubicBezTo>
                <a:cubicBezTo>
                  <a:pt x="3108" y="1631"/>
                  <a:pt x="3108" y="1631"/>
                  <a:pt x="3108" y="1631"/>
                </a:cubicBezTo>
                <a:cubicBezTo>
                  <a:pt x="3107" y="1632"/>
                  <a:pt x="3107" y="1632"/>
                  <a:pt x="3107" y="1632"/>
                </a:cubicBezTo>
                <a:cubicBezTo>
                  <a:pt x="3107" y="1636"/>
                  <a:pt x="3107" y="1636"/>
                  <a:pt x="3107" y="1636"/>
                </a:cubicBezTo>
                <a:cubicBezTo>
                  <a:pt x="3106" y="1637"/>
                  <a:pt x="3106" y="1637"/>
                  <a:pt x="3106" y="1637"/>
                </a:cubicBezTo>
                <a:cubicBezTo>
                  <a:pt x="3105" y="1635"/>
                  <a:pt x="3105" y="1635"/>
                  <a:pt x="3105" y="1635"/>
                </a:cubicBezTo>
                <a:cubicBezTo>
                  <a:pt x="3105" y="1635"/>
                  <a:pt x="3105" y="1635"/>
                  <a:pt x="3105" y="1635"/>
                </a:cubicBezTo>
                <a:cubicBezTo>
                  <a:pt x="3104" y="1636"/>
                  <a:pt x="3104" y="1636"/>
                  <a:pt x="3104" y="1636"/>
                </a:cubicBezTo>
                <a:cubicBezTo>
                  <a:pt x="3103" y="1636"/>
                  <a:pt x="3103" y="1636"/>
                  <a:pt x="3103" y="1636"/>
                </a:cubicBezTo>
                <a:cubicBezTo>
                  <a:pt x="3101" y="1639"/>
                  <a:pt x="3101" y="1639"/>
                  <a:pt x="3101" y="1639"/>
                </a:cubicBezTo>
                <a:cubicBezTo>
                  <a:pt x="3102" y="1640"/>
                  <a:pt x="3102" y="1640"/>
                  <a:pt x="3102" y="1640"/>
                </a:cubicBezTo>
                <a:cubicBezTo>
                  <a:pt x="3103" y="1642"/>
                  <a:pt x="3103" y="1642"/>
                  <a:pt x="3103" y="1642"/>
                </a:cubicBezTo>
                <a:cubicBezTo>
                  <a:pt x="3104" y="1643"/>
                  <a:pt x="3104" y="1643"/>
                  <a:pt x="3104" y="1643"/>
                </a:cubicBezTo>
                <a:cubicBezTo>
                  <a:pt x="3103" y="1644"/>
                  <a:pt x="3103" y="1644"/>
                  <a:pt x="3103" y="1644"/>
                </a:cubicBezTo>
                <a:cubicBezTo>
                  <a:pt x="3101" y="1643"/>
                  <a:pt x="3101" y="1643"/>
                  <a:pt x="3101" y="1643"/>
                </a:cubicBezTo>
                <a:cubicBezTo>
                  <a:pt x="3099" y="1644"/>
                  <a:pt x="3099" y="1644"/>
                  <a:pt x="3099" y="1644"/>
                </a:cubicBezTo>
                <a:cubicBezTo>
                  <a:pt x="3097" y="1646"/>
                  <a:pt x="3097" y="1646"/>
                  <a:pt x="3097" y="1646"/>
                </a:cubicBezTo>
                <a:cubicBezTo>
                  <a:pt x="3098" y="1647"/>
                  <a:pt x="3098" y="1647"/>
                  <a:pt x="3098" y="1647"/>
                </a:cubicBezTo>
                <a:cubicBezTo>
                  <a:pt x="3099" y="1647"/>
                  <a:pt x="3099" y="1647"/>
                  <a:pt x="3099" y="1647"/>
                </a:cubicBezTo>
                <a:cubicBezTo>
                  <a:pt x="3098" y="1648"/>
                  <a:pt x="3098" y="1648"/>
                  <a:pt x="3098" y="1648"/>
                </a:cubicBezTo>
                <a:cubicBezTo>
                  <a:pt x="3098" y="1649"/>
                  <a:pt x="3098" y="1649"/>
                  <a:pt x="3098" y="1649"/>
                </a:cubicBezTo>
                <a:cubicBezTo>
                  <a:pt x="3099" y="1651"/>
                  <a:pt x="3099" y="1651"/>
                  <a:pt x="3099" y="1651"/>
                </a:cubicBezTo>
                <a:cubicBezTo>
                  <a:pt x="3100" y="1651"/>
                  <a:pt x="3100" y="1651"/>
                  <a:pt x="3100" y="1651"/>
                </a:cubicBezTo>
                <a:cubicBezTo>
                  <a:pt x="3103" y="1652"/>
                  <a:pt x="3103" y="1652"/>
                  <a:pt x="3103" y="1652"/>
                </a:cubicBezTo>
                <a:cubicBezTo>
                  <a:pt x="3103" y="1652"/>
                  <a:pt x="3103" y="1652"/>
                  <a:pt x="3103" y="1652"/>
                </a:cubicBezTo>
                <a:cubicBezTo>
                  <a:pt x="3104" y="1652"/>
                  <a:pt x="3104" y="1652"/>
                  <a:pt x="3104" y="1652"/>
                </a:cubicBezTo>
                <a:cubicBezTo>
                  <a:pt x="3104" y="1651"/>
                  <a:pt x="3104" y="1651"/>
                  <a:pt x="3104" y="1651"/>
                </a:cubicBezTo>
                <a:cubicBezTo>
                  <a:pt x="3105" y="1651"/>
                  <a:pt x="3105" y="1651"/>
                  <a:pt x="3105" y="1651"/>
                </a:cubicBezTo>
                <a:cubicBezTo>
                  <a:pt x="3106" y="1652"/>
                  <a:pt x="3106" y="1652"/>
                  <a:pt x="3106" y="1652"/>
                </a:cubicBezTo>
                <a:cubicBezTo>
                  <a:pt x="3107" y="1653"/>
                  <a:pt x="3107" y="1653"/>
                  <a:pt x="3107" y="1653"/>
                </a:cubicBezTo>
                <a:cubicBezTo>
                  <a:pt x="3107" y="1654"/>
                  <a:pt x="3107" y="1654"/>
                  <a:pt x="3107" y="1654"/>
                </a:cubicBezTo>
                <a:cubicBezTo>
                  <a:pt x="3108" y="1655"/>
                  <a:pt x="3108" y="1655"/>
                  <a:pt x="3108" y="1655"/>
                </a:cubicBezTo>
                <a:cubicBezTo>
                  <a:pt x="3109" y="1655"/>
                  <a:pt x="3109" y="1655"/>
                  <a:pt x="3109" y="1655"/>
                </a:cubicBezTo>
                <a:cubicBezTo>
                  <a:pt x="3110" y="1656"/>
                  <a:pt x="3110" y="1656"/>
                  <a:pt x="3110" y="1656"/>
                </a:cubicBezTo>
                <a:cubicBezTo>
                  <a:pt x="3110" y="1658"/>
                  <a:pt x="3110" y="1658"/>
                  <a:pt x="3110" y="1658"/>
                </a:cubicBezTo>
                <a:cubicBezTo>
                  <a:pt x="3112" y="1659"/>
                  <a:pt x="3112" y="1659"/>
                  <a:pt x="3112" y="1659"/>
                </a:cubicBezTo>
                <a:cubicBezTo>
                  <a:pt x="3114" y="1660"/>
                  <a:pt x="3114" y="1660"/>
                  <a:pt x="3114" y="1660"/>
                </a:cubicBezTo>
                <a:cubicBezTo>
                  <a:pt x="3112" y="1661"/>
                  <a:pt x="3112" y="1661"/>
                  <a:pt x="3112" y="1661"/>
                </a:cubicBezTo>
                <a:cubicBezTo>
                  <a:pt x="3113" y="1662"/>
                  <a:pt x="3113" y="1662"/>
                  <a:pt x="3113" y="1662"/>
                </a:cubicBezTo>
                <a:cubicBezTo>
                  <a:pt x="3115" y="1660"/>
                  <a:pt x="3115" y="1660"/>
                  <a:pt x="3115" y="1660"/>
                </a:cubicBezTo>
                <a:cubicBezTo>
                  <a:pt x="3115" y="1661"/>
                  <a:pt x="3115" y="1661"/>
                  <a:pt x="3115" y="1661"/>
                </a:cubicBezTo>
                <a:cubicBezTo>
                  <a:pt x="3117" y="1662"/>
                  <a:pt x="3117" y="1662"/>
                  <a:pt x="3117" y="1662"/>
                </a:cubicBezTo>
                <a:cubicBezTo>
                  <a:pt x="3119" y="1662"/>
                  <a:pt x="3119" y="1662"/>
                  <a:pt x="3119" y="1662"/>
                </a:cubicBezTo>
                <a:cubicBezTo>
                  <a:pt x="3123" y="1660"/>
                  <a:pt x="3123" y="1660"/>
                  <a:pt x="3123" y="1660"/>
                </a:cubicBezTo>
                <a:cubicBezTo>
                  <a:pt x="3126" y="1658"/>
                  <a:pt x="3126" y="1658"/>
                  <a:pt x="3126" y="1658"/>
                </a:cubicBezTo>
                <a:cubicBezTo>
                  <a:pt x="3128" y="1657"/>
                  <a:pt x="3128" y="1657"/>
                  <a:pt x="3128" y="1657"/>
                </a:cubicBezTo>
                <a:cubicBezTo>
                  <a:pt x="3128" y="1656"/>
                  <a:pt x="3128" y="1656"/>
                  <a:pt x="3128" y="1656"/>
                </a:cubicBezTo>
                <a:cubicBezTo>
                  <a:pt x="3127" y="1654"/>
                  <a:pt x="3127" y="1654"/>
                  <a:pt x="3127" y="1654"/>
                </a:cubicBezTo>
                <a:cubicBezTo>
                  <a:pt x="3129" y="1655"/>
                  <a:pt x="3129" y="1655"/>
                  <a:pt x="3129" y="1655"/>
                </a:cubicBezTo>
                <a:cubicBezTo>
                  <a:pt x="3128" y="1656"/>
                  <a:pt x="3128" y="1656"/>
                  <a:pt x="3128" y="1656"/>
                </a:cubicBezTo>
                <a:cubicBezTo>
                  <a:pt x="3131" y="1655"/>
                  <a:pt x="3131" y="1655"/>
                  <a:pt x="3131" y="1655"/>
                </a:cubicBezTo>
                <a:cubicBezTo>
                  <a:pt x="3131" y="1653"/>
                  <a:pt x="3131" y="1653"/>
                  <a:pt x="3131" y="1653"/>
                </a:cubicBezTo>
                <a:cubicBezTo>
                  <a:pt x="3133" y="1651"/>
                  <a:pt x="3133" y="1651"/>
                  <a:pt x="3133" y="1651"/>
                </a:cubicBezTo>
                <a:cubicBezTo>
                  <a:pt x="3136" y="1650"/>
                  <a:pt x="3136" y="1650"/>
                  <a:pt x="3136" y="1650"/>
                </a:cubicBezTo>
                <a:cubicBezTo>
                  <a:pt x="3138" y="1650"/>
                  <a:pt x="3138" y="1650"/>
                  <a:pt x="3138" y="1650"/>
                </a:cubicBezTo>
                <a:cubicBezTo>
                  <a:pt x="3139" y="1649"/>
                  <a:pt x="3139" y="1649"/>
                  <a:pt x="3139" y="1649"/>
                </a:cubicBezTo>
                <a:cubicBezTo>
                  <a:pt x="3139" y="1649"/>
                  <a:pt x="3139" y="1649"/>
                  <a:pt x="3139" y="1649"/>
                </a:cubicBezTo>
                <a:cubicBezTo>
                  <a:pt x="3137" y="1649"/>
                  <a:pt x="3137" y="1649"/>
                  <a:pt x="3137" y="1649"/>
                </a:cubicBezTo>
                <a:cubicBezTo>
                  <a:pt x="3138" y="1649"/>
                  <a:pt x="3138" y="1649"/>
                  <a:pt x="3138" y="1649"/>
                </a:cubicBezTo>
                <a:cubicBezTo>
                  <a:pt x="3139" y="1648"/>
                  <a:pt x="3139" y="1648"/>
                  <a:pt x="3139" y="1648"/>
                </a:cubicBezTo>
                <a:cubicBezTo>
                  <a:pt x="3138" y="1648"/>
                  <a:pt x="3138" y="1648"/>
                  <a:pt x="3138" y="1648"/>
                </a:cubicBezTo>
                <a:cubicBezTo>
                  <a:pt x="3140" y="1645"/>
                  <a:pt x="3140" y="1645"/>
                  <a:pt x="3140" y="1645"/>
                </a:cubicBezTo>
                <a:cubicBezTo>
                  <a:pt x="3142" y="1642"/>
                  <a:pt x="3142" y="1642"/>
                  <a:pt x="3142" y="1642"/>
                </a:cubicBezTo>
                <a:cubicBezTo>
                  <a:pt x="3143" y="1639"/>
                  <a:pt x="3143" y="1639"/>
                  <a:pt x="3143" y="1639"/>
                </a:cubicBezTo>
                <a:cubicBezTo>
                  <a:pt x="3144" y="1638"/>
                  <a:pt x="3144" y="1638"/>
                  <a:pt x="3144" y="1638"/>
                </a:cubicBezTo>
                <a:cubicBezTo>
                  <a:pt x="3148" y="1634"/>
                  <a:pt x="3148" y="1634"/>
                  <a:pt x="3148" y="1634"/>
                </a:cubicBezTo>
                <a:cubicBezTo>
                  <a:pt x="3149" y="1633"/>
                  <a:pt x="3149" y="1633"/>
                  <a:pt x="3149" y="1633"/>
                </a:cubicBezTo>
                <a:cubicBezTo>
                  <a:pt x="3150" y="1631"/>
                  <a:pt x="3150" y="1631"/>
                  <a:pt x="3150" y="1631"/>
                </a:cubicBezTo>
                <a:cubicBezTo>
                  <a:pt x="3152" y="1627"/>
                  <a:pt x="3152" y="1627"/>
                  <a:pt x="3152" y="1627"/>
                </a:cubicBezTo>
                <a:cubicBezTo>
                  <a:pt x="3153" y="1626"/>
                  <a:pt x="3153" y="1626"/>
                  <a:pt x="3153" y="1626"/>
                </a:cubicBezTo>
                <a:cubicBezTo>
                  <a:pt x="3153" y="1624"/>
                  <a:pt x="3153" y="1624"/>
                  <a:pt x="3153" y="1624"/>
                </a:cubicBezTo>
                <a:cubicBezTo>
                  <a:pt x="3155" y="1622"/>
                  <a:pt x="3155" y="1622"/>
                  <a:pt x="3155" y="1622"/>
                </a:cubicBezTo>
                <a:cubicBezTo>
                  <a:pt x="3156" y="1621"/>
                  <a:pt x="3156" y="1621"/>
                  <a:pt x="3156" y="1621"/>
                </a:cubicBezTo>
                <a:cubicBezTo>
                  <a:pt x="3157" y="1619"/>
                  <a:pt x="3157" y="1619"/>
                  <a:pt x="3157" y="1619"/>
                </a:cubicBezTo>
                <a:cubicBezTo>
                  <a:pt x="3158" y="1620"/>
                  <a:pt x="3158" y="1620"/>
                  <a:pt x="3158" y="1620"/>
                </a:cubicBezTo>
                <a:cubicBezTo>
                  <a:pt x="3159" y="1620"/>
                  <a:pt x="3159" y="1620"/>
                  <a:pt x="3159" y="1620"/>
                </a:cubicBezTo>
                <a:cubicBezTo>
                  <a:pt x="3160" y="1619"/>
                  <a:pt x="3160" y="1619"/>
                  <a:pt x="3160" y="1619"/>
                </a:cubicBezTo>
                <a:cubicBezTo>
                  <a:pt x="3161" y="1619"/>
                  <a:pt x="3161" y="1619"/>
                  <a:pt x="3161" y="1619"/>
                </a:cubicBezTo>
                <a:cubicBezTo>
                  <a:pt x="3163" y="1619"/>
                  <a:pt x="3163" y="1619"/>
                  <a:pt x="3163" y="1619"/>
                </a:cubicBezTo>
                <a:cubicBezTo>
                  <a:pt x="3164" y="1617"/>
                  <a:pt x="3164" y="1617"/>
                  <a:pt x="3164" y="1617"/>
                </a:cubicBezTo>
                <a:cubicBezTo>
                  <a:pt x="3164" y="1615"/>
                  <a:pt x="3164" y="1615"/>
                  <a:pt x="3164" y="1615"/>
                </a:cubicBezTo>
                <a:cubicBezTo>
                  <a:pt x="3162" y="1614"/>
                  <a:pt x="3162" y="1614"/>
                  <a:pt x="3162" y="1614"/>
                </a:cubicBezTo>
                <a:cubicBezTo>
                  <a:pt x="3164" y="1615"/>
                  <a:pt x="3164" y="1615"/>
                  <a:pt x="3164" y="1615"/>
                </a:cubicBezTo>
                <a:cubicBezTo>
                  <a:pt x="3165" y="1617"/>
                  <a:pt x="3165" y="1617"/>
                  <a:pt x="3165" y="1617"/>
                </a:cubicBezTo>
                <a:cubicBezTo>
                  <a:pt x="3165" y="1617"/>
                  <a:pt x="3165" y="1617"/>
                  <a:pt x="3165" y="1617"/>
                </a:cubicBezTo>
                <a:cubicBezTo>
                  <a:pt x="3167" y="1616"/>
                  <a:pt x="3167" y="1616"/>
                  <a:pt x="3167" y="1616"/>
                </a:cubicBezTo>
                <a:cubicBezTo>
                  <a:pt x="3167" y="1616"/>
                  <a:pt x="3167" y="1616"/>
                  <a:pt x="3167" y="1616"/>
                </a:cubicBezTo>
                <a:cubicBezTo>
                  <a:pt x="3168" y="1615"/>
                  <a:pt x="3168" y="1615"/>
                  <a:pt x="3168" y="1615"/>
                </a:cubicBezTo>
                <a:cubicBezTo>
                  <a:pt x="3169" y="1615"/>
                  <a:pt x="3169" y="1615"/>
                  <a:pt x="3169" y="1615"/>
                </a:cubicBezTo>
                <a:cubicBezTo>
                  <a:pt x="3169" y="1616"/>
                  <a:pt x="3169" y="1616"/>
                  <a:pt x="3169" y="1616"/>
                </a:cubicBezTo>
                <a:cubicBezTo>
                  <a:pt x="3168" y="1617"/>
                  <a:pt x="3168" y="1617"/>
                  <a:pt x="3168" y="1617"/>
                </a:cubicBezTo>
                <a:cubicBezTo>
                  <a:pt x="3170" y="1617"/>
                  <a:pt x="3170" y="1617"/>
                  <a:pt x="3170" y="1617"/>
                </a:cubicBezTo>
                <a:cubicBezTo>
                  <a:pt x="3171" y="1617"/>
                  <a:pt x="3171" y="1617"/>
                  <a:pt x="3171" y="1617"/>
                </a:cubicBezTo>
                <a:cubicBezTo>
                  <a:pt x="3172" y="1616"/>
                  <a:pt x="3172" y="1616"/>
                  <a:pt x="3172" y="1616"/>
                </a:cubicBezTo>
                <a:cubicBezTo>
                  <a:pt x="3172" y="1615"/>
                  <a:pt x="3172" y="1615"/>
                  <a:pt x="3172" y="1615"/>
                </a:cubicBezTo>
                <a:cubicBezTo>
                  <a:pt x="3172" y="1614"/>
                  <a:pt x="3172" y="1614"/>
                  <a:pt x="3172" y="1614"/>
                </a:cubicBezTo>
                <a:cubicBezTo>
                  <a:pt x="3173" y="1615"/>
                  <a:pt x="3173" y="1615"/>
                  <a:pt x="3173" y="1615"/>
                </a:cubicBezTo>
                <a:cubicBezTo>
                  <a:pt x="3173" y="1617"/>
                  <a:pt x="3173" y="1617"/>
                  <a:pt x="3173" y="1617"/>
                </a:cubicBezTo>
                <a:cubicBezTo>
                  <a:pt x="3173" y="1617"/>
                  <a:pt x="3173" y="1617"/>
                  <a:pt x="3173" y="1617"/>
                </a:cubicBezTo>
                <a:cubicBezTo>
                  <a:pt x="3174" y="1617"/>
                  <a:pt x="3174" y="1617"/>
                  <a:pt x="3174" y="1617"/>
                </a:cubicBezTo>
                <a:cubicBezTo>
                  <a:pt x="3175" y="1614"/>
                  <a:pt x="3175" y="1614"/>
                  <a:pt x="3175" y="1614"/>
                </a:cubicBezTo>
                <a:cubicBezTo>
                  <a:pt x="3174" y="1613"/>
                  <a:pt x="3174" y="1613"/>
                  <a:pt x="3174" y="1613"/>
                </a:cubicBezTo>
                <a:cubicBezTo>
                  <a:pt x="3172" y="1612"/>
                  <a:pt x="3172" y="1612"/>
                  <a:pt x="3172" y="1612"/>
                </a:cubicBezTo>
                <a:cubicBezTo>
                  <a:pt x="3173" y="1611"/>
                  <a:pt x="3173" y="1611"/>
                  <a:pt x="3173" y="1611"/>
                </a:cubicBezTo>
                <a:cubicBezTo>
                  <a:pt x="3173" y="1609"/>
                  <a:pt x="3173" y="1609"/>
                  <a:pt x="3173" y="1609"/>
                </a:cubicBezTo>
                <a:cubicBezTo>
                  <a:pt x="3173" y="1606"/>
                  <a:pt x="3173" y="1606"/>
                  <a:pt x="3173" y="1606"/>
                </a:cubicBezTo>
                <a:cubicBezTo>
                  <a:pt x="3175" y="1605"/>
                  <a:pt x="3175" y="1605"/>
                  <a:pt x="3175" y="1605"/>
                </a:cubicBezTo>
                <a:cubicBezTo>
                  <a:pt x="3178" y="1604"/>
                  <a:pt x="3178" y="1604"/>
                  <a:pt x="3178" y="1604"/>
                </a:cubicBezTo>
                <a:cubicBezTo>
                  <a:pt x="3181" y="1602"/>
                  <a:pt x="3181" y="1602"/>
                  <a:pt x="3181" y="1602"/>
                </a:cubicBezTo>
                <a:cubicBezTo>
                  <a:pt x="3181" y="1601"/>
                  <a:pt x="3181" y="1601"/>
                  <a:pt x="3181" y="1601"/>
                </a:cubicBezTo>
                <a:cubicBezTo>
                  <a:pt x="3183" y="1599"/>
                  <a:pt x="3183" y="1599"/>
                  <a:pt x="3183" y="1599"/>
                </a:cubicBezTo>
                <a:cubicBezTo>
                  <a:pt x="3184" y="1597"/>
                  <a:pt x="3184" y="1597"/>
                  <a:pt x="3184" y="1597"/>
                </a:cubicBezTo>
                <a:cubicBezTo>
                  <a:pt x="3186" y="1595"/>
                  <a:pt x="3186" y="1595"/>
                  <a:pt x="3186" y="1595"/>
                </a:cubicBezTo>
                <a:cubicBezTo>
                  <a:pt x="3187" y="1595"/>
                  <a:pt x="3187" y="1595"/>
                  <a:pt x="3187" y="1595"/>
                </a:cubicBezTo>
                <a:cubicBezTo>
                  <a:pt x="3187" y="1594"/>
                  <a:pt x="3187" y="1594"/>
                  <a:pt x="3187" y="1594"/>
                </a:cubicBezTo>
                <a:cubicBezTo>
                  <a:pt x="3191" y="1590"/>
                  <a:pt x="3191" y="1590"/>
                  <a:pt x="3191" y="1590"/>
                </a:cubicBezTo>
                <a:cubicBezTo>
                  <a:pt x="3191" y="1589"/>
                  <a:pt x="3191" y="1589"/>
                  <a:pt x="3191" y="1589"/>
                </a:cubicBezTo>
                <a:cubicBezTo>
                  <a:pt x="3196" y="1585"/>
                  <a:pt x="3196" y="1585"/>
                  <a:pt x="3196" y="1585"/>
                </a:cubicBezTo>
                <a:cubicBezTo>
                  <a:pt x="3198" y="1583"/>
                  <a:pt x="3198" y="1583"/>
                  <a:pt x="3198" y="1583"/>
                </a:cubicBezTo>
                <a:cubicBezTo>
                  <a:pt x="3197" y="1583"/>
                  <a:pt x="3197" y="1583"/>
                  <a:pt x="3197" y="1583"/>
                </a:cubicBezTo>
                <a:cubicBezTo>
                  <a:pt x="3197" y="1581"/>
                  <a:pt x="3197" y="1581"/>
                  <a:pt x="3197" y="1581"/>
                </a:cubicBezTo>
                <a:cubicBezTo>
                  <a:pt x="3196" y="1579"/>
                  <a:pt x="3196" y="1579"/>
                  <a:pt x="3196" y="1579"/>
                </a:cubicBezTo>
                <a:cubicBezTo>
                  <a:pt x="3196" y="1577"/>
                  <a:pt x="3196" y="1577"/>
                  <a:pt x="3196" y="1577"/>
                </a:cubicBezTo>
                <a:cubicBezTo>
                  <a:pt x="3197" y="1576"/>
                  <a:pt x="3197" y="1576"/>
                  <a:pt x="3197" y="1576"/>
                </a:cubicBezTo>
                <a:cubicBezTo>
                  <a:pt x="3197" y="1576"/>
                  <a:pt x="3197" y="1576"/>
                  <a:pt x="3197" y="1576"/>
                </a:cubicBezTo>
                <a:cubicBezTo>
                  <a:pt x="3199" y="1573"/>
                  <a:pt x="3199" y="1573"/>
                  <a:pt x="3199" y="1573"/>
                </a:cubicBezTo>
                <a:cubicBezTo>
                  <a:pt x="3198" y="1574"/>
                  <a:pt x="3198" y="1574"/>
                  <a:pt x="3198" y="1574"/>
                </a:cubicBezTo>
                <a:cubicBezTo>
                  <a:pt x="3196" y="1574"/>
                  <a:pt x="3196" y="1574"/>
                  <a:pt x="3196" y="1574"/>
                </a:cubicBezTo>
                <a:cubicBezTo>
                  <a:pt x="3198" y="1573"/>
                  <a:pt x="3198" y="1573"/>
                  <a:pt x="3198" y="1573"/>
                </a:cubicBezTo>
                <a:lnTo>
                  <a:pt x="3200" y="1571"/>
                </a:lnTo>
                <a:close/>
                <a:moveTo>
                  <a:pt x="3105" y="1118"/>
                </a:moveTo>
                <a:cubicBezTo>
                  <a:pt x="3104" y="1119"/>
                  <a:pt x="3104" y="1119"/>
                  <a:pt x="3104" y="1119"/>
                </a:cubicBezTo>
                <a:cubicBezTo>
                  <a:pt x="3104" y="1118"/>
                  <a:pt x="3104" y="1120"/>
                  <a:pt x="3104" y="1120"/>
                </a:cubicBezTo>
                <a:cubicBezTo>
                  <a:pt x="3105" y="1120"/>
                  <a:pt x="3105" y="1120"/>
                  <a:pt x="3105" y="1120"/>
                </a:cubicBezTo>
                <a:cubicBezTo>
                  <a:pt x="3107" y="1120"/>
                  <a:pt x="3107" y="1120"/>
                  <a:pt x="3107" y="1120"/>
                </a:cubicBezTo>
                <a:cubicBezTo>
                  <a:pt x="3107" y="1119"/>
                  <a:pt x="3107" y="1119"/>
                  <a:pt x="3107" y="1119"/>
                </a:cubicBezTo>
                <a:lnTo>
                  <a:pt x="3105" y="1118"/>
                </a:lnTo>
                <a:close/>
                <a:moveTo>
                  <a:pt x="3080" y="1088"/>
                </a:moveTo>
                <a:cubicBezTo>
                  <a:pt x="3080" y="1089"/>
                  <a:pt x="3080" y="1089"/>
                  <a:pt x="3080" y="1089"/>
                </a:cubicBezTo>
                <a:cubicBezTo>
                  <a:pt x="3081" y="1090"/>
                  <a:pt x="3081" y="1090"/>
                  <a:pt x="3081" y="1090"/>
                </a:cubicBezTo>
                <a:cubicBezTo>
                  <a:pt x="3081" y="1092"/>
                  <a:pt x="3081" y="1092"/>
                  <a:pt x="3081" y="1092"/>
                </a:cubicBezTo>
                <a:cubicBezTo>
                  <a:pt x="3082" y="1090"/>
                  <a:pt x="3082" y="1090"/>
                  <a:pt x="3082" y="1090"/>
                </a:cubicBezTo>
                <a:cubicBezTo>
                  <a:pt x="3082" y="1088"/>
                  <a:pt x="3082" y="1088"/>
                  <a:pt x="3082" y="1088"/>
                </a:cubicBezTo>
                <a:lnTo>
                  <a:pt x="3080" y="1088"/>
                </a:lnTo>
                <a:close/>
                <a:moveTo>
                  <a:pt x="3109" y="1125"/>
                </a:moveTo>
                <a:cubicBezTo>
                  <a:pt x="3108" y="1124"/>
                  <a:pt x="3108" y="1124"/>
                  <a:pt x="3108" y="1124"/>
                </a:cubicBezTo>
                <a:cubicBezTo>
                  <a:pt x="3107" y="1125"/>
                  <a:pt x="3107" y="1125"/>
                  <a:pt x="3107" y="1125"/>
                </a:cubicBezTo>
                <a:cubicBezTo>
                  <a:pt x="3108" y="1126"/>
                  <a:pt x="3108" y="1126"/>
                  <a:pt x="3108" y="1126"/>
                </a:cubicBezTo>
                <a:lnTo>
                  <a:pt x="3109" y="1125"/>
                </a:lnTo>
                <a:close/>
                <a:moveTo>
                  <a:pt x="3106" y="1664"/>
                </a:moveTo>
                <a:cubicBezTo>
                  <a:pt x="3108" y="1664"/>
                  <a:pt x="3108" y="1664"/>
                  <a:pt x="3108" y="1664"/>
                </a:cubicBezTo>
                <a:cubicBezTo>
                  <a:pt x="3108" y="1664"/>
                  <a:pt x="3108" y="1664"/>
                  <a:pt x="3108" y="1664"/>
                </a:cubicBezTo>
                <a:cubicBezTo>
                  <a:pt x="3107" y="1663"/>
                  <a:pt x="3107" y="1663"/>
                  <a:pt x="3107" y="1663"/>
                </a:cubicBezTo>
                <a:cubicBezTo>
                  <a:pt x="3106" y="1661"/>
                  <a:pt x="3106" y="1661"/>
                  <a:pt x="3106" y="1661"/>
                </a:cubicBezTo>
                <a:cubicBezTo>
                  <a:pt x="3105" y="1659"/>
                  <a:pt x="3105" y="1659"/>
                  <a:pt x="3105" y="1659"/>
                </a:cubicBezTo>
                <a:cubicBezTo>
                  <a:pt x="3103" y="1660"/>
                  <a:pt x="3103" y="1660"/>
                  <a:pt x="3103" y="1660"/>
                </a:cubicBezTo>
                <a:cubicBezTo>
                  <a:pt x="3103" y="1661"/>
                  <a:pt x="3103" y="1661"/>
                  <a:pt x="3103" y="1661"/>
                </a:cubicBezTo>
                <a:cubicBezTo>
                  <a:pt x="3103" y="1663"/>
                  <a:pt x="3103" y="1663"/>
                  <a:pt x="3103" y="1663"/>
                </a:cubicBezTo>
                <a:cubicBezTo>
                  <a:pt x="3102" y="1665"/>
                  <a:pt x="3102" y="1665"/>
                  <a:pt x="3102" y="1665"/>
                </a:cubicBezTo>
                <a:cubicBezTo>
                  <a:pt x="3101" y="1665"/>
                  <a:pt x="3101" y="1665"/>
                  <a:pt x="3101" y="1665"/>
                </a:cubicBezTo>
                <a:cubicBezTo>
                  <a:pt x="3101" y="1666"/>
                  <a:pt x="3101" y="1666"/>
                  <a:pt x="3101" y="1666"/>
                </a:cubicBezTo>
                <a:cubicBezTo>
                  <a:pt x="3100" y="1667"/>
                  <a:pt x="3100" y="1667"/>
                  <a:pt x="3100" y="1667"/>
                </a:cubicBezTo>
                <a:cubicBezTo>
                  <a:pt x="3098" y="1669"/>
                  <a:pt x="3098" y="1669"/>
                  <a:pt x="3098" y="1669"/>
                </a:cubicBezTo>
                <a:cubicBezTo>
                  <a:pt x="3098" y="1670"/>
                  <a:pt x="3098" y="1670"/>
                  <a:pt x="3098" y="1670"/>
                </a:cubicBezTo>
                <a:cubicBezTo>
                  <a:pt x="3099" y="1670"/>
                  <a:pt x="3099" y="1670"/>
                  <a:pt x="3099" y="1670"/>
                </a:cubicBezTo>
                <a:cubicBezTo>
                  <a:pt x="3101" y="1668"/>
                  <a:pt x="3101" y="1668"/>
                  <a:pt x="3101" y="1668"/>
                </a:cubicBezTo>
                <a:cubicBezTo>
                  <a:pt x="3101" y="1668"/>
                  <a:pt x="3101" y="1668"/>
                  <a:pt x="3101" y="1668"/>
                </a:cubicBezTo>
                <a:cubicBezTo>
                  <a:pt x="3102" y="1668"/>
                  <a:pt x="3102" y="1668"/>
                  <a:pt x="3102" y="1668"/>
                </a:cubicBezTo>
                <a:cubicBezTo>
                  <a:pt x="3103" y="1668"/>
                  <a:pt x="3103" y="1668"/>
                  <a:pt x="3103" y="1668"/>
                </a:cubicBezTo>
                <a:cubicBezTo>
                  <a:pt x="3104" y="1668"/>
                  <a:pt x="3104" y="1668"/>
                  <a:pt x="3104" y="1668"/>
                </a:cubicBezTo>
                <a:cubicBezTo>
                  <a:pt x="3106" y="1667"/>
                  <a:pt x="3106" y="1667"/>
                  <a:pt x="3106" y="1667"/>
                </a:cubicBezTo>
                <a:cubicBezTo>
                  <a:pt x="3107" y="1667"/>
                  <a:pt x="3107" y="1667"/>
                  <a:pt x="3107" y="1667"/>
                </a:cubicBezTo>
                <a:cubicBezTo>
                  <a:pt x="3108" y="1666"/>
                  <a:pt x="3108" y="1666"/>
                  <a:pt x="3108" y="1666"/>
                </a:cubicBezTo>
                <a:cubicBezTo>
                  <a:pt x="3107" y="1665"/>
                  <a:pt x="3107" y="1665"/>
                  <a:pt x="3107" y="1665"/>
                </a:cubicBezTo>
                <a:cubicBezTo>
                  <a:pt x="3107" y="1665"/>
                  <a:pt x="3107" y="1665"/>
                  <a:pt x="3107" y="1665"/>
                </a:cubicBezTo>
                <a:cubicBezTo>
                  <a:pt x="3106" y="1664"/>
                  <a:pt x="3106" y="1664"/>
                  <a:pt x="3106" y="1664"/>
                </a:cubicBezTo>
                <a:cubicBezTo>
                  <a:pt x="3105" y="1664"/>
                  <a:pt x="3105" y="1664"/>
                  <a:pt x="3105" y="1664"/>
                </a:cubicBezTo>
                <a:cubicBezTo>
                  <a:pt x="3106" y="1664"/>
                  <a:pt x="3106" y="1664"/>
                  <a:pt x="3106" y="1664"/>
                </a:cubicBezTo>
                <a:close/>
                <a:moveTo>
                  <a:pt x="3089" y="1098"/>
                </a:moveTo>
                <a:cubicBezTo>
                  <a:pt x="3087" y="1097"/>
                  <a:pt x="3087" y="1097"/>
                  <a:pt x="3087" y="1097"/>
                </a:cubicBezTo>
                <a:cubicBezTo>
                  <a:pt x="3086" y="1094"/>
                  <a:pt x="3086" y="1094"/>
                  <a:pt x="3086" y="1094"/>
                </a:cubicBezTo>
                <a:cubicBezTo>
                  <a:pt x="3085" y="1092"/>
                  <a:pt x="3085" y="1092"/>
                  <a:pt x="3085" y="1092"/>
                </a:cubicBezTo>
                <a:cubicBezTo>
                  <a:pt x="3083" y="1093"/>
                  <a:pt x="3083" y="1093"/>
                  <a:pt x="3083" y="1093"/>
                </a:cubicBezTo>
                <a:cubicBezTo>
                  <a:pt x="3082" y="1095"/>
                  <a:pt x="3082" y="1095"/>
                  <a:pt x="3082" y="1095"/>
                </a:cubicBezTo>
                <a:cubicBezTo>
                  <a:pt x="3083" y="1096"/>
                  <a:pt x="3083" y="1096"/>
                  <a:pt x="3083" y="1096"/>
                </a:cubicBezTo>
                <a:cubicBezTo>
                  <a:pt x="3083" y="1099"/>
                  <a:pt x="3083" y="1099"/>
                  <a:pt x="3083" y="1099"/>
                </a:cubicBezTo>
                <a:cubicBezTo>
                  <a:pt x="3085" y="1100"/>
                  <a:pt x="3085" y="1100"/>
                  <a:pt x="3085" y="1100"/>
                </a:cubicBezTo>
                <a:cubicBezTo>
                  <a:pt x="3087" y="1104"/>
                  <a:pt x="3087" y="1104"/>
                  <a:pt x="3087" y="1104"/>
                </a:cubicBezTo>
                <a:cubicBezTo>
                  <a:pt x="3086" y="1105"/>
                  <a:pt x="3086" y="1105"/>
                  <a:pt x="3086" y="1105"/>
                </a:cubicBezTo>
                <a:cubicBezTo>
                  <a:pt x="3087" y="1107"/>
                  <a:pt x="3087" y="1107"/>
                  <a:pt x="3087" y="1107"/>
                </a:cubicBezTo>
                <a:cubicBezTo>
                  <a:pt x="3089" y="1107"/>
                  <a:pt x="3089" y="1107"/>
                  <a:pt x="3089" y="1107"/>
                </a:cubicBezTo>
                <a:cubicBezTo>
                  <a:pt x="3090" y="1107"/>
                  <a:pt x="3090" y="1107"/>
                  <a:pt x="3090" y="1107"/>
                </a:cubicBezTo>
                <a:cubicBezTo>
                  <a:pt x="3093" y="1107"/>
                  <a:pt x="3093" y="1107"/>
                  <a:pt x="3093" y="1107"/>
                </a:cubicBezTo>
                <a:cubicBezTo>
                  <a:pt x="3093" y="1106"/>
                  <a:pt x="3093" y="1106"/>
                  <a:pt x="3093" y="1106"/>
                </a:cubicBezTo>
                <a:cubicBezTo>
                  <a:pt x="3094" y="1106"/>
                  <a:pt x="3094" y="1106"/>
                  <a:pt x="3094" y="1106"/>
                </a:cubicBezTo>
                <a:cubicBezTo>
                  <a:pt x="3095" y="1103"/>
                  <a:pt x="3095" y="1103"/>
                  <a:pt x="3095" y="1103"/>
                </a:cubicBezTo>
                <a:cubicBezTo>
                  <a:pt x="3093" y="1100"/>
                  <a:pt x="3093" y="1100"/>
                  <a:pt x="3093" y="1100"/>
                </a:cubicBezTo>
                <a:lnTo>
                  <a:pt x="3089" y="1098"/>
                </a:lnTo>
                <a:close/>
                <a:moveTo>
                  <a:pt x="3095" y="1107"/>
                </a:moveTo>
                <a:cubicBezTo>
                  <a:pt x="3097" y="1108"/>
                  <a:pt x="3097" y="1108"/>
                  <a:pt x="3097" y="1108"/>
                </a:cubicBezTo>
                <a:cubicBezTo>
                  <a:pt x="3096" y="1106"/>
                  <a:pt x="3096" y="1106"/>
                  <a:pt x="3096" y="1106"/>
                </a:cubicBezTo>
                <a:lnTo>
                  <a:pt x="3095" y="1107"/>
                </a:lnTo>
                <a:close/>
                <a:moveTo>
                  <a:pt x="3203" y="1280"/>
                </a:moveTo>
                <a:cubicBezTo>
                  <a:pt x="3203" y="1278"/>
                  <a:pt x="3203" y="1278"/>
                  <a:pt x="3203" y="1278"/>
                </a:cubicBezTo>
                <a:cubicBezTo>
                  <a:pt x="3202" y="1277"/>
                  <a:pt x="3202" y="1277"/>
                  <a:pt x="3202" y="1277"/>
                </a:cubicBezTo>
                <a:cubicBezTo>
                  <a:pt x="3199" y="1277"/>
                  <a:pt x="3199" y="1277"/>
                  <a:pt x="3199" y="1277"/>
                </a:cubicBezTo>
                <a:cubicBezTo>
                  <a:pt x="3199" y="1279"/>
                  <a:pt x="3199" y="1279"/>
                  <a:pt x="3199" y="1279"/>
                </a:cubicBezTo>
                <a:cubicBezTo>
                  <a:pt x="3201" y="1281"/>
                  <a:pt x="3201" y="1281"/>
                  <a:pt x="3201" y="1281"/>
                </a:cubicBezTo>
                <a:cubicBezTo>
                  <a:pt x="3202" y="1280"/>
                  <a:pt x="3202" y="1280"/>
                  <a:pt x="3202" y="1280"/>
                </a:cubicBezTo>
                <a:lnTo>
                  <a:pt x="3203" y="1280"/>
                </a:lnTo>
                <a:close/>
                <a:moveTo>
                  <a:pt x="1304" y="171"/>
                </a:moveTo>
                <a:cubicBezTo>
                  <a:pt x="1305" y="172"/>
                  <a:pt x="1305" y="172"/>
                  <a:pt x="1305" y="172"/>
                </a:cubicBezTo>
                <a:cubicBezTo>
                  <a:pt x="1305" y="172"/>
                  <a:pt x="1305" y="172"/>
                  <a:pt x="1305" y="172"/>
                </a:cubicBezTo>
                <a:cubicBezTo>
                  <a:pt x="1306" y="173"/>
                  <a:pt x="1306" y="173"/>
                  <a:pt x="1306" y="173"/>
                </a:cubicBezTo>
                <a:cubicBezTo>
                  <a:pt x="1308" y="171"/>
                  <a:pt x="1308" y="171"/>
                  <a:pt x="1308" y="171"/>
                </a:cubicBezTo>
                <a:cubicBezTo>
                  <a:pt x="1308" y="170"/>
                  <a:pt x="1308" y="170"/>
                  <a:pt x="1308" y="170"/>
                </a:cubicBezTo>
                <a:cubicBezTo>
                  <a:pt x="1307" y="169"/>
                  <a:pt x="1307" y="169"/>
                  <a:pt x="1307" y="169"/>
                </a:cubicBezTo>
                <a:cubicBezTo>
                  <a:pt x="1307" y="169"/>
                  <a:pt x="1307" y="169"/>
                  <a:pt x="1307" y="169"/>
                </a:cubicBezTo>
                <a:cubicBezTo>
                  <a:pt x="1309" y="168"/>
                  <a:pt x="1309" y="168"/>
                  <a:pt x="1309" y="168"/>
                </a:cubicBezTo>
                <a:cubicBezTo>
                  <a:pt x="1309" y="169"/>
                  <a:pt x="1309" y="169"/>
                  <a:pt x="1309" y="169"/>
                </a:cubicBezTo>
                <a:cubicBezTo>
                  <a:pt x="1310" y="170"/>
                  <a:pt x="1310" y="170"/>
                  <a:pt x="1310" y="170"/>
                </a:cubicBezTo>
                <a:cubicBezTo>
                  <a:pt x="1311" y="168"/>
                  <a:pt x="1311" y="168"/>
                  <a:pt x="1311" y="168"/>
                </a:cubicBezTo>
                <a:cubicBezTo>
                  <a:pt x="1311" y="167"/>
                  <a:pt x="1311" y="167"/>
                  <a:pt x="1311" y="167"/>
                </a:cubicBezTo>
                <a:cubicBezTo>
                  <a:pt x="1311" y="165"/>
                  <a:pt x="1311" y="165"/>
                  <a:pt x="1311" y="165"/>
                </a:cubicBezTo>
                <a:cubicBezTo>
                  <a:pt x="1312" y="165"/>
                  <a:pt x="1312" y="165"/>
                  <a:pt x="1312" y="165"/>
                </a:cubicBezTo>
                <a:cubicBezTo>
                  <a:pt x="1312" y="166"/>
                  <a:pt x="1312" y="166"/>
                  <a:pt x="1312" y="166"/>
                </a:cubicBezTo>
                <a:cubicBezTo>
                  <a:pt x="1313" y="167"/>
                  <a:pt x="1313" y="167"/>
                  <a:pt x="1313" y="167"/>
                </a:cubicBezTo>
                <a:cubicBezTo>
                  <a:pt x="1314" y="166"/>
                  <a:pt x="1314" y="166"/>
                  <a:pt x="1314" y="166"/>
                </a:cubicBezTo>
                <a:cubicBezTo>
                  <a:pt x="1315" y="165"/>
                  <a:pt x="1315" y="165"/>
                  <a:pt x="1315" y="165"/>
                </a:cubicBezTo>
                <a:cubicBezTo>
                  <a:pt x="1316" y="165"/>
                  <a:pt x="1316" y="165"/>
                  <a:pt x="1316" y="165"/>
                </a:cubicBezTo>
                <a:cubicBezTo>
                  <a:pt x="1316" y="164"/>
                  <a:pt x="1316" y="164"/>
                  <a:pt x="1316" y="164"/>
                </a:cubicBezTo>
                <a:cubicBezTo>
                  <a:pt x="1316" y="163"/>
                  <a:pt x="1316" y="163"/>
                  <a:pt x="1316" y="163"/>
                </a:cubicBezTo>
                <a:cubicBezTo>
                  <a:pt x="1316" y="163"/>
                  <a:pt x="1316" y="163"/>
                  <a:pt x="1316" y="163"/>
                </a:cubicBezTo>
                <a:cubicBezTo>
                  <a:pt x="1317" y="163"/>
                  <a:pt x="1317" y="163"/>
                  <a:pt x="1317" y="163"/>
                </a:cubicBezTo>
                <a:cubicBezTo>
                  <a:pt x="1318" y="164"/>
                  <a:pt x="1318" y="164"/>
                  <a:pt x="1318" y="164"/>
                </a:cubicBezTo>
                <a:cubicBezTo>
                  <a:pt x="1319" y="163"/>
                  <a:pt x="1319" y="163"/>
                  <a:pt x="1319" y="163"/>
                </a:cubicBezTo>
                <a:cubicBezTo>
                  <a:pt x="1320" y="163"/>
                  <a:pt x="1320" y="163"/>
                  <a:pt x="1320" y="163"/>
                </a:cubicBezTo>
                <a:cubicBezTo>
                  <a:pt x="1320" y="162"/>
                  <a:pt x="1320" y="162"/>
                  <a:pt x="1320" y="162"/>
                </a:cubicBezTo>
                <a:cubicBezTo>
                  <a:pt x="1320" y="161"/>
                  <a:pt x="1320" y="161"/>
                  <a:pt x="1320" y="161"/>
                </a:cubicBezTo>
                <a:cubicBezTo>
                  <a:pt x="1319" y="160"/>
                  <a:pt x="1319" y="160"/>
                  <a:pt x="1319" y="160"/>
                </a:cubicBezTo>
                <a:cubicBezTo>
                  <a:pt x="1320" y="160"/>
                  <a:pt x="1320" y="160"/>
                  <a:pt x="1320" y="160"/>
                </a:cubicBezTo>
                <a:cubicBezTo>
                  <a:pt x="1322" y="160"/>
                  <a:pt x="1322" y="160"/>
                  <a:pt x="1322" y="160"/>
                </a:cubicBezTo>
                <a:cubicBezTo>
                  <a:pt x="1322" y="160"/>
                  <a:pt x="1322" y="160"/>
                  <a:pt x="1322" y="160"/>
                </a:cubicBezTo>
                <a:cubicBezTo>
                  <a:pt x="1323" y="159"/>
                  <a:pt x="1323" y="159"/>
                  <a:pt x="1323" y="159"/>
                </a:cubicBezTo>
                <a:cubicBezTo>
                  <a:pt x="1323" y="158"/>
                  <a:pt x="1323" y="158"/>
                  <a:pt x="1323" y="158"/>
                </a:cubicBezTo>
                <a:cubicBezTo>
                  <a:pt x="1324" y="159"/>
                  <a:pt x="1324" y="159"/>
                  <a:pt x="1324" y="159"/>
                </a:cubicBezTo>
                <a:cubicBezTo>
                  <a:pt x="1325" y="159"/>
                  <a:pt x="1325" y="159"/>
                  <a:pt x="1325" y="159"/>
                </a:cubicBezTo>
                <a:cubicBezTo>
                  <a:pt x="1326" y="160"/>
                  <a:pt x="1326" y="160"/>
                  <a:pt x="1326" y="160"/>
                </a:cubicBezTo>
                <a:cubicBezTo>
                  <a:pt x="1326" y="159"/>
                  <a:pt x="1326" y="159"/>
                  <a:pt x="1326" y="159"/>
                </a:cubicBezTo>
                <a:cubicBezTo>
                  <a:pt x="1326" y="158"/>
                  <a:pt x="1326" y="158"/>
                  <a:pt x="1326" y="158"/>
                </a:cubicBezTo>
                <a:cubicBezTo>
                  <a:pt x="1325" y="157"/>
                  <a:pt x="1325" y="157"/>
                  <a:pt x="1325" y="157"/>
                </a:cubicBezTo>
                <a:cubicBezTo>
                  <a:pt x="1325" y="157"/>
                  <a:pt x="1325" y="157"/>
                  <a:pt x="1325" y="157"/>
                </a:cubicBezTo>
                <a:cubicBezTo>
                  <a:pt x="1327" y="156"/>
                  <a:pt x="1327" y="156"/>
                  <a:pt x="1327" y="156"/>
                </a:cubicBezTo>
                <a:cubicBezTo>
                  <a:pt x="1328" y="156"/>
                  <a:pt x="1328" y="156"/>
                  <a:pt x="1328" y="156"/>
                </a:cubicBezTo>
                <a:cubicBezTo>
                  <a:pt x="1330" y="156"/>
                  <a:pt x="1330" y="156"/>
                  <a:pt x="1330" y="156"/>
                </a:cubicBezTo>
                <a:cubicBezTo>
                  <a:pt x="1332" y="154"/>
                  <a:pt x="1332" y="154"/>
                  <a:pt x="1332" y="154"/>
                </a:cubicBezTo>
                <a:cubicBezTo>
                  <a:pt x="1333" y="153"/>
                  <a:pt x="1333" y="153"/>
                  <a:pt x="1333" y="153"/>
                </a:cubicBezTo>
                <a:cubicBezTo>
                  <a:pt x="1333" y="152"/>
                  <a:pt x="1333" y="152"/>
                  <a:pt x="1333" y="152"/>
                </a:cubicBezTo>
                <a:cubicBezTo>
                  <a:pt x="1330" y="153"/>
                  <a:pt x="1330" y="153"/>
                  <a:pt x="1330" y="153"/>
                </a:cubicBezTo>
                <a:cubicBezTo>
                  <a:pt x="1328" y="153"/>
                  <a:pt x="1328" y="153"/>
                  <a:pt x="1328" y="153"/>
                </a:cubicBezTo>
                <a:cubicBezTo>
                  <a:pt x="1327" y="152"/>
                  <a:pt x="1327" y="152"/>
                  <a:pt x="1327" y="152"/>
                </a:cubicBezTo>
                <a:cubicBezTo>
                  <a:pt x="1324" y="152"/>
                  <a:pt x="1324" y="152"/>
                  <a:pt x="1324" y="152"/>
                </a:cubicBezTo>
                <a:cubicBezTo>
                  <a:pt x="1323" y="152"/>
                  <a:pt x="1323" y="152"/>
                  <a:pt x="1323" y="152"/>
                </a:cubicBezTo>
                <a:cubicBezTo>
                  <a:pt x="1320" y="152"/>
                  <a:pt x="1320" y="152"/>
                  <a:pt x="1320" y="152"/>
                </a:cubicBezTo>
                <a:cubicBezTo>
                  <a:pt x="1318" y="151"/>
                  <a:pt x="1318" y="151"/>
                  <a:pt x="1318" y="151"/>
                </a:cubicBezTo>
                <a:cubicBezTo>
                  <a:pt x="1315" y="150"/>
                  <a:pt x="1315" y="150"/>
                  <a:pt x="1315" y="150"/>
                </a:cubicBezTo>
                <a:cubicBezTo>
                  <a:pt x="1313" y="148"/>
                  <a:pt x="1313" y="148"/>
                  <a:pt x="1313" y="148"/>
                </a:cubicBezTo>
                <a:cubicBezTo>
                  <a:pt x="1312" y="147"/>
                  <a:pt x="1312" y="147"/>
                  <a:pt x="1312" y="147"/>
                </a:cubicBezTo>
                <a:cubicBezTo>
                  <a:pt x="1311" y="147"/>
                  <a:pt x="1311" y="147"/>
                  <a:pt x="1311" y="147"/>
                </a:cubicBezTo>
                <a:cubicBezTo>
                  <a:pt x="1310" y="148"/>
                  <a:pt x="1310" y="148"/>
                  <a:pt x="1310" y="148"/>
                </a:cubicBezTo>
                <a:cubicBezTo>
                  <a:pt x="1309" y="148"/>
                  <a:pt x="1309" y="148"/>
                  <a:pt x="1309" y="148"/>
                </a:cubicBezTo>
                <a:cubicBezTo>
                  <a:pt x="1310" y="147"/>
                  <a:pt x="1310" y="147"/>
                  <a:pt x="1310" y="147"/>
                </a:cubicBezTo>
                <a:cubicBezTo>
                  <a:pt x="1310" y="146"/>
                  <a:pt x="1310" y="146"/>
                  <a:pt x="1310" y="146"/>
                </a:cubicBezTo>
                <a:cubicBezTo>
                  <a:pt x="1309" y="147"/>
                  <a:pt x="1309" y="147"/>
                  <a:pt x="1309" y="147"/>
                </a:cubicBezTo>
                <a:cubicBezTo>
                  <a:pt x="1306" y="149"/>
                  <a:pt x="1306" y="149"/>
                  <a:pt x="1306" y="149"/>
                </a:cubicBezTo>
                <a:cubicBezTo>
                  <a:pt x="1304" y="150"/>
                  <a:pt x="1304" y="150"/>
                  <a:pt x="1304" y="150"/>
                </a:cubicBezTo>
                <a:cubicBezTo>
                  <a:pt x="1302" y="150"/>
                  <a:pt x="1302" y="150"/>
                  <a:pt x="1302" y="150"/>
                </a:cubicBezTo>
                <a:cubicBezTo>
                  <a:pt x="1301" y="150"/>
                  <a:pt x="1301" y="150"/>
                  <a:pt x="1301" y="150"/>
                </a:cubicBezTo>
                <a:cubicBezTo>
                  <a:pt x="1300" y="150"/>
                  <a:pt x="1300" y="150"/>
                  <a:pt x="1300" y="150"/>
                </a:cubicBezTo>
                <a:cubicBezTo>
                  <a:pt x="1299" y="149"/>
                  <a:pt x="1299" y="149"/>
                  <a:pt x="1299" y="149"/>
                </a:cubicBezTo>
                <a:cubicBezTo>
                  <a:pt x="1299" y="149"/>
                  <a:pt x="1298" y="150"/>
                  <a:pt x="1297" y="150"/>
                </a:cubicBezTo>
                <a:cubicBezTo>
                  <a:pt x="1297" y="150"/>
                  <a:pt x="1296" y="150"/>
                  <a:pt x="1296" y="150"/>
                </a:cubicBezTo>
                <a:cubicBezTo>
                  <a:pt x="1293" y="152"/>
                  <a:pt x="1293" y="152"/>
                  <a:pt x="1293" y="152"/>
                </a:cubicBezTo>
                <a:cubicBezTo>
                  <a:pt x="1293" y="153"/>
                  <a:pt x="1293" y="153"/>
                  <a:pt x="1293" y="153"/>
                </a:cubicBezTo>
                <a:cubicBezTo>
                  <a:pt x="1292" y="152"/>
                  <a:pt x="1292" y="152"/>
                  <a:pt x="1292" y="152"/>
                </a:cubicBezTo>
                <a:cubicBezTo>
                  <a:pt x="1291" y="152"/>
                  <a:pt x="1291" y="152"/>
                  <a:pt x="1291" y="152"/>
                </a:cubicBezTo>
                <a:cubicBezTo>
                  <a:pt x="1288" y="152"/>
                  <a:pt x="1288" y="152"/>
                  <a:pt x="1288" y="152"/>
                </a:cubicBezTo>
                <a:cubicBezTo>
                  <a:pt x="1286" y="151"/>
                  <a:pt x="1286" y="151"/>
                  <a:pt x="1286" y="151"/>
                </a:cubicBezTo>
                <a:cubicBezTo>
                  <a:pt x="1285" y="151"/>
                  <a:pt x="1285" y="151"/>
                  <a:pt x="1285" y="151"/>
                </a:cubicBezTo>
                <a:cubicBezTo>
                  <a:pt x="1285" y="151"/>
                  <a:pt x="1285" y="151"/>
                  <a:pt x="1285" y="151"/>
                </a:cubicBezTo>
                <a:cubicBezTo>
                  <a:pt x="1286" y="149"/>
                  <a:pt x="1286" y="149"/>
                  <a:pt x="1286" y="149"/>
                </a:cubicBezTo>
                <a:cubicBezTo>
                  <a:pt x="1287" y="149"/>
                  <a:pt x="1287" y="149"/>
                  <a:pt x="1287" y="149"/>
                </a:cubicBezTo>
                <a:cubicBezTo>
                  <a:pt x="1289" y="150"/>
                  <a:pt x="1289" y="150"/>
                  <a:pt x="1289" y="150"/>
                </a:cubicBezTo>
                <a:cubicBezTo>
                  <a:pt x="1290" y="151"/>
                  <a:pt x="1290" y="151"/>
                  <a:pt x="1290" y="151"/>
                </a:cubicBezTo>
                <a:cubicBezTo>
                  <a:pt x="1291" y="150"/>
                  <a:pt x="1291" y="150"/>
                  <a:pt x="1291" y="150"/>
                </a:cubicBezTo>
                <a:cubicBezTo>
                  <a:pt x="1294" y="150"/>
                  <a:pt x="1294" y="150"/>
                  <a:pt x="1294" y="150"/>
                </a:cubicBezTo>
                <a:cubicBezTo>
                  <a:pt x="1295" y="148"/>
                  <a:pt x="1295" y="148"/>
                  <a:pt x="1295" y="148"/>
                </a:cubicBezTo>
                <a:cubicBezTo>
                  <a:pt x="1297" y="148"/>
                  <a:pt x="1297" y="148"/>
                  <a:pt x="1297" y="148"/>
                </a:cubicBezTo>
                <a:cubicBezTo>
                  <a:pt x="1299" y="149"/>
                  <a:pt x="1299" y="149"/>
                  <a:pt x="1299" y="149"/>
                </a:cubicBezTo>
                <a:cubicBezTo>
                  <a:pt x="1301" y="148"/>
                  <a:pt x="1301" y="148"/>
                  <a:pt x="1301" y="148"/>
                </a:cubicBezTo>
                <a:cubicBezTo>
                  <a:pt x="1301" y="147"/>
                  <a:pt x="1301" y="147"/>
                  <a:pt x="1301" y="147"/>
                </a:cubicBezTo>
                <a:cubicBezTo>
                  <a:pt x="1301" y="146"/>
                  <a:pt x="1301" y="146"/>
                  <a:pt x="1301" y="146"/>
                </a:cubicBezTo>
                <a:cubicBezTo>
                  <a:pt x="1300" y="146"/>
                  <a:pt x="1300" y="146"/>
                  <a:pt x="1300" y="146"/>
                </a:cubicBezTo>
                <a:cubicBezTo>
                  <a:pt x="1299" y="146"/>
                  <a:pt x="1299" y="146"/>
                  <a:pt x="1299" y="146"/>
                </a:cubicBezTo>
                <a:cubicBezTo>
                  <a:pt x="1298" y="145"/>
                  <a:pt x="1298" y="145"/>
                  <a:pt x="1298" y="145"/>
                </a:cubicBezTo>
                <a:cubicBezTo>
                  <a:pt x="1297" y="146"/>
                  <a:pt x="1297" y="146"/>
                  <a:pt x="1297" y="146"/>
                </a:cubicBezTo>
                <a:cubicBezTo>
                  <a:pt x="1295" y="145"/>
                  <a:pt x="1295" y="145"/>
                  <a:pt x="1295" y="145"/>
                </a:cubicBezTo>
                <a:cubicBezTo>
                  <a:pt x="1292" y="145"/>
                  <a:pt x="1292" y="145"/>
                  <a:pt x="1292" y="145"/>
                </a:cubicBezTo>
                <a:cubicBezTo>
                  <a:pt x="1290" y="146"/>
                  <a:pt x="1290" y="146"/>
                  <a:pt x="1290" y="146"/>
                </a:cubicBezTo>
                <a:cubicBezTo>
                  <a:pt x="1289" y="146"/>
                  <a:pt x="1289" y="146"/>
                  <a:pt x="1289" y="146"/>
                </a:cubicBezTo>
                <a:cubicBezTo>
                  <a:pt x="1286" y="145"/>
                  <a:pt x="1286" y="145"/>
                  <a:pt x="1286" y="145"/>
                </a:cubicBezTo>
                <a:cubicBezTo>
                  <a:pt x="1286" y="144"/>
                  <a:pt x="1286" y="144"/>
                  <a:pt x="1286" y="144"/>
                </a:cubicBezTo>
                <a:cubicBezTo>
                  <a:pt x="1285" y="144"/>
                  <a:pt x="1285" y="144"/>
                  <a:pt x="1285" y="144"/>
                </a:cubicBezTo>
                <a:cubicBezTo>
                  <a:pt x="1283" y="144"/>
                  <a:pt x="1283" y="144"/>
                  <a:pt x="1283" y="144"/>
                </a:cubicBezTo>
                <a:cubicBezTo>
                  <a:pt x="1281" y="144"/>
                  <a:pt x="1281" y="144"/>
                  <a:pt x="1281" y="144"/>
                </a:cubicBezTo>
                <a:cubicBezTo>
                  <a:pt x="1277" y="146"/>
                  <a:pt x="1277" y="146"/>
                  <a:pt x="1277" y="146"/>
                </a:cubicBezTo>
                <a:cubicBezTo>
                  <a:pt x="1277" y="146"/>
                  <a:pt x="1277" y="146"/>
                  <a:pt x="1277" y="146"/>
                </a:cubicBezTo>
                <a:cubicBezTo>
                  <a:pt x="1278" y="144"/>
                  <a:pt x="1278" y="144"/>
                  <a:pt x="1278" y="144"/>
                </a:cubicBezTo>
                <a:cubicBezTo>
                  <a:pt x="1279" y="143"/>
                  <a:pt x="1279" y="143"/>
                  <a:pt x="1279" y="143"/>
                </a:cubicBezTo>
                <a:cubicBezTo>
                  <a:pt x="1280" y="143"/>
                  <a:pt x="1280" y="143"/>
                  <a:pt x="1280" y="143"/>
                </a:cubicBezTo>
                <a:cubicBezTo>
                  <a:pt x="1282" y="143"/>
                  <a:pt x="1282" y="143"/>
                  <a:pt x="1282" y="143"/>
                </a:cubicBezTo>
                <a:cubicBezTo>
                  <a:pt x="1286" y="141"/>
                  <a:pt x="1286" y="141"/>
                  <a:pt x="1286" y="141"/>
                </a:cubicBezTo>
                <a:cubicBezTo>
                  <a:pt x="1287" y="141"/>
                  <a:pt x="1287" y="141"/>
                  <a:pt x="1287" y="141"/>
                </a:cubicBezTo>
                <a:cubicBezTo>
                  <a:pt x="1287" y="139"/>
                  <a:pt x="1287" y="139"/>
                  <a:pt x="1287" y="139"/>
                </a:cubicBezTo>
                <a:cubicBezTo>
                  <a:pt x="1288" y="138"/>
                  <a:pt x="1288" y="138"/>
                  <a:pt x="1288" y="138"/>
                </a:cubicBezTo>
                <a:cubicBezTo>
                  <a:pt x="1289" y="138"/>
                  <a:pt x="1289" y="138"/>
                  <a:pt x="1289" y="138"/>
                </a:cubicBezTo>
                <a:cubicBezTo>
                  <a:pt x="1289" y="138"/>
                  <a:pt x="1289" y="138"/>
                  <a:pt x="1289" y="138"/>
                </a:cubicBezTo>
                <a:cubicBezTo>
                  <a:pt x="1290" y="137"/>
                  <a:pt x="1290" y="137"/>
                  <a:pt x="1290" y="137"/>
                </a:cubicBezTo>
                <a:cubicBezTo>
                  <a:pt x="1290" y="136"/>
                  <a:pt x="1290" y="136"/>
                  <a:pt x="1290" y="136"/>
                </a:cubicBezTo>
                <a:cubicBezTo>
                  <a:pt x="1289" y="135"/>
                  <a:pt x="1289" y="135"/>
                  <a:pt x="1289" y="135"/>
                </a:cubicBezTo>
                <a:cubicBezTo>
                  <a:pt x="1288" y="134"/>
                  <a:pt x="1288" y="134"/>
                  <a:pt x="1288" y="134"/>
                </a:cubicBezTo>
                <a:cubicBezTo>
                  <a:pt x="1287" y="134"/>
                  <a:pt x="1287" y="134"/>
                  <a:pt x="1287" y="134"/>
                </a:cubicBezTo>
                <a:cubicBezTo>
                  <a:pt x="1289" y="133"/>
                  <a:pt x="1289" y="133"/>
                  <a:pt x="1289" y="133"/>
                </a:cubicBezTo>
                <a:cubicBezTo>
                  <a:pt x="1289" y="133"/>
                  <a:pt x="1289" y="133"/>
                  <a:pt x="1289" y="133"/>
                </a:cubicBezTo>
                <a:cubicBezTo>
                  <a:pt x="1290" y="134"/>
                  <a:pt x="1290" y="134"/>
                  <a:pt x="1290" y="134"/>
                </a:cubicBezTo>
                <a:cubicBezTo>
                  <a:pt x="1291" y="134"/>
                  <a:pt x="1291" y="134"/>
                  <a:pt x="1291" y="134"/>
                </a:cubicBezTo>
                <a:cubicBezTo>
                  <a:pt x="1292" y="133"/>
                  <a:pt x="1292" y="133"/>
                  <a:pt x="1292" y="133"/>
                </a:cubicBezTo>
                <a:cubicBezTo>
                  <a:pt x="1291" y="132"/>
                  <a:pt x="1291" y="132"/>
                  <a:pt x="1291" y="132"/>
                </a:cubicBezTo>
                <a:cubicBezTo>
                  <a:pt x="1291" y="132"/>
                  <a:pt x="1291" y="132"/>
                  <a:pt x="1291" y="132"/>
                </a:cubicBezTo>
                <a:cubicBezTo>
                  <a:pt x="1291" y="130"/>
                  <a:pt x="1291" y="130"/>
                  <a:pt x="1291" y="130"/>
                </a:cubicBezTo>
                <a:cubicBezTo>
                  <a:pt x="1292" y="130"/>
                  <a:pt x="1292" y="130"/>
                  <a:pt x="1292" y="130"/>
                </a:cubicBezTo>
                <a:cubicBezTo>
                  <a:pt x="1293" y="131"/>
                  <a:pt x="1293" y="131"/>
                  <a:pt x="1293" y="131"/>
                </a:cubicBezTo>
                <a:cubicBezTo>
                  <a:pt x="1293" y="132"/>
                  <a:pt x="1293" y="132"/>
                  <a:pt x="1293" y="132"/>
                </a:cubicBezTo>
                <a:cubicBezTo>
                  <a:pt x="1294" y="134"/>
                  <a:pt x="1294" y="134"/>
                  <a:pt x="1294" y="134"/>
                </a:cubicBezTo>
                <a:cubicBezTo>
                  <a:pt x="1295" y="135"/>
                  <a:pt x="1295" y="135"/>
                  <a:pt x="1295" y="135"/>
                </a:cubicBezTo>
                <a:cubicBezTo>
                  <a:pt x="1297" y="134"/>
                  <a:pt x="1297" y="134"/>
                  <a:pt x="1297" y="134"/>
                </a:cubicBezTo>
                <a:cubicBezTo>
                  <a:pt x="1299" y="134"/>
                  <a:pt x="1299" y="134"/>
                  <a:pt x="1299" y="134"/>
                </a:cubicBezTo>
                <a:cubicBezTo>
                  <a:pt x="1304" y="132"/>
                  <a:pt x="1304" y="132"/>
                  <a:pt x="1304" y="132"/>
                </a:cubicBezTo>
                <a:cubicBezTo>
                  <a:pt x="1306" y="132"/>
                  <a:pt x="1306" y="132"/>
                  <a:pt x="1306" y="132"/>
                </a:cubicBezTo>
                <a:cubicBezTo>
                  <a:pt x="1307" y="131"/>
                  <a:pt x="1307" y="131"/>
                  <a:pt x="1307" y="131"/>
                </a:cubicBezTo>
                <a:cubicBezTo>
                  <a:pt x="1308" y="130"/>
                  <a:pt x="1308" y="130"/>
                  <a:pt x="1308" y="130"/>
                </a:cubicBezTo>
                <a:cubicBezTo>
                  <a:pt x="1309" y="129"/>
                  <a:pt x="1309" y="129"/>
                  <a:pt x="1309" y="129"/>
                </a:cubicBezTo>
                <a:cubicBezTo>
                  <a:pt x="1310" y="128"/>
                  <a:pt x="1310" y="128"/>
                  <a:pt x="1310" y="128"/>
                </a:cubicBezTo>
                <a:cubicBezTo>
                  <a:pt x="1309" y="126"/>
                  <a:pt x="1309" y="126"/>
                  <a:pt x="1309" y="126"/>
                </a:cubicBezTo>
                <a:cubicBezTo>
                  <a:pt x="1308" y="124"/>
                  <a:pt x="1308" y="124"/>
                  <a:pt x="1308" y="124"/>
                </a:cubicBezTo>
                <a:cubicBezTo>
                  <a:pt x="1307" y="124"/>
                  <a:pt x="1307" y="124"/>
                  <a:pt x="1307" y="124"/>
                </a:cubicBezTo>
                <a:cubicBezTo>
                  <a:pt x="1306" y="123"/>
                  <a:pt x="1306" y="123"/>
                  <a:pt x="1306" y="123"/>
                </a:cubicBezTo>
                <a:cubicBezTo>
                  <a:pt x="1301" y="122"/>
                  <a:pt x="1301" y="122"/>
                  <a:pt x="1301" y="122"/>
                </a:cubicBezTo>
                <a:cubicBezTo>
                  <a:pt x="1300" y="122"/>
                  <a:pt x="1300" y="122"/>
                  <a:pt x="1300" y="122"/>
                </a:cubicBezTo>
                <a:cubicBezTo>
                  <a:pt x="1298" y="123"/>
                  <a:pt x="1298" y="123"/>
                  <a:pt x="1298" y="123"/>
                </a:cubicBezTo>
                <a:cubicBezTo>
                  <a:pt x="1298" y="122"/>
                  <a:pt x="1298" y="122"/>
                  <a:pt x="1298" y="122"/>
                </a:cubicBezTo>
                <a:cubicBezTo>
                  <a:pt x="1298" y="121"/>
                  <a:pt x="1298" y="121"/>
                  <a:pt x="1298" y="121"/>
                </a:cubicBezTo>
                <a:cubicBezTo>
                  <a:pt x="1297" y="120"/>
                  <a:pt x="1297" y="120"/>
                  <a:pt x="1297" y="120"/>
                </a:cubicBezTo>
                <a:cubicBezTo>
                  <a:pt x="1295" y="121"/>
                  <a:pt x="1295" y="121"/>
                  <a:pt x="1295" y="121"/>
                </a:cubicBezTo>
                <a:cubicBezTo>
                  <a:pt x="1294" y="121"/>
                  <a:pt x="1294" y="121"/>
                  <a:pt x="1294" y="121"/>
                </a:cubicBezTo>
                <a:cubicBezTo>
                  <a:pt x="1292" y="122"/>
                  <a:pt x="1292" y="122"/>
                  <a:pt x="1292" y="122"/>
                </a:cubicBezTo>
                <a:cubicBezTo>
                  <a:pt x="1291" y="123"/>
                  <a:pt x="1291" y="123"/>
                  <a:pt x="1291" y="123"/>
                </a:cubicBezTo>
                <a:cubicBezTo>
                  <a:pt x="1289" y="122"/>
                  <a:pt x="1289" y="122"/>
                  <a:pt x="1289" y="122"/>
                </a:cubicBezTo>
                <a:cubicBezTo>
                  <a:pt x="1289" y="121"/>
                  <a:pt x="1289" y="121"/>
                  <a:pt x="1289" y="121"/>
                </a:cubicBezTo>
                <a:cubicBezTo>
                  <a:pt x="1290" y="122"/>
                  <a:pt x="1290" y="122"/>
                  <a:pt x="1290" y="122"/>
                </a:cubicBezTo>
                <a:cubicBezTo>
                  <a:pt x="1292" y="121"/>
                  <a:pt x="1292" y="121"/>
                  <a:pt x="1292" y="121"/>
                </a:cubicBezTo>
                <a:cubicBezTo>
                  <a:pt x="1293" y="120"/>
                  <a:pt x="1293" y="120"/>
                  <a:pt x="1293" y="120"/>
                </a:cubicBezTo>
                <a:cubicBezTo>
                  <a:pt x="1295" y="120"/>
                  <a:pt x="1295" y="120"/>
                  <a:pt x="1295" y="120"/>
                </a:cubicBezTo>
                <a:cubicBezTo>
                  <a:pt x="1295" y="119"/>
                  <a:pt x="1295" y="119"/>
                  <a:pt x="1295" y="119"/>
                </a:cubicBezTo>
                <a:cubicBezTo>
                  <a:pt x="1294" y="118"/>
                  <a:pt x="1294" y="118"/>
                  <a:pt x="1294" y="118"/>
                </a:cubicBezTo>
                <a:cubicBezTo>
                  <a:pt x="1293" y="116"/>
                  <a:pt x="1293" y="116"/>
                  <a:pt x="1293" y="116"/>
                </a:cubicBezTo>
                <a:cubicBezTo>
                  <a:pt x="1292" y="115"/>
                  <a:pt x="1292" y="115"/>
                  <a:pt x="1292" y="115"/>
                </a:cubicBezTo>
                <a:cubicBezTo>
                  <a:pt x="1290" y="115"/>
                  <a:pt x="1290" y="115"/>
                  <a:pt x="1290" y="115"/>
                </a:cubicBezTo>
                <a:cubicBezTo>
                  <a:pt x="1291" y="114"/>
                  <a:pt x="1291" y="114"/>
                  <a:pt x="1291" y="114"/>
                </a:cubicBezTo>
                <a:cubicBezTo>
                  <a:pt x="1293" y="113"/>
                  <a:pt x="1293" y="113"/>
                  <a:pt x="1293" y="113"/>
                </a:cubicBezTo>
                <a:cubicBezTo>
                  <a:pt x="1293" y="113"/>
                  <a:pt x="1293" y="113"/>
                  <a:pt x="1293" y="113"/>
                </a:cubicBezTo>
                <a:cubicBezTo>
                  <a:pt x="1293" y="111"/>
                  <a:pt x="1293" y="111"/>
                  <a:pt x="1293" y="111"/>
                </a:cubicBezTo>
                <a:cubicBezTo>
                  <a:pt x="1293" y="110"/>
                  <a:pt x="1293" y="110"/>
                  <a:pt x="1293" y="110"/>
                </a:cubicBezTo>
                <a:cubicBezTo>
                  <a:pt x="1294" y="111"/>
                  <a:pt x="1294" y="111"/>
                  <a:pt x="1294" y="111"/>
                </a:cubicBezTo>
                <a:cubicBezTo>
                  <a:pt x="1295" y="113"/>
                  <a:pt x="1295" y="113"/>
                  <a:pt x="1295" y="113"/>
                </a:cubicBezTo>
                <a:cubicBezTo>
                  <a:pt x="1296" y="115"/>
                  <a:pt x="1296" y="115"/>
                  <a:pt x="1296" y="115"/>
                </a:cubicBezTo>
                <a:cubicBezTo>
                  <a:pt x="1296" y="116"/>
                  <a:pt x="1296" y="116"/>
                  <a:pt x="1296" y="116"/>
                </a:cubicBezTo>
                <a:cubicBezTo>
                  <a:pt x="1298" y="118"/>
                  <a:pt x="1298" y="118"/>
                  <a:pt x="1298" y="118"/>
                </a:cubicBezTo>
                <a:cubicBezTo>
                  <a:pt x="1298" y="119"/>
                  <a:pt x="1298" y="119"/>
                  <a:pt x="1298" y="119"/>
                </a:cubicBezTo>
                <a:cubicBezTo>
                  <a:pt x="1300" y="120"/>
                  <a:pt x="1300" y="120"/>
                  <a:pt x="1300" y="120"/>
                </a:cubicBezTo>
                <a:cubicBezTo>
                  <a:pt x="1300" y="121"/>
                  <a:pt x="1300" y="121"/>
                  <a:pt x="1300" y="121"/>
                </a:cubicBezTo>
                <a:cubicBezTo>
                  <a:pt x="1302" y="120"/>
                  <a:pt x="1302" y="120"/>
                  <a:pt x="1302" y="120"/>
                </a:cubicBezTo>
                <a:cubicBezTo>
                  <a:pt x="1302" y="120"/>
                  <a:pt x="1302" y="120"/>
                  <a:pt x="1302" y="120"/>
                </a:cubicBezTo>
                <a:cubicBezTo>
                  <a:pt x="1304" y="120"/>
                  <a:pt x="1304" y="120"/>
                  <a:pt x="1304" y="120"/>
                </a:cubicBezTo>
                <a:cubicBezTo>
                  <a:pt x="1306" y="120"/>
                  <a:pt x="1306" y="120"/>
                  <a:pt x="1306" y="120"/>
                </a:cubicBezTo>
                <a:cubicBezTo>
                  <a:pt x="1307" y="119"/>
                  <a:pt x="1307" y="119"/>
                  <a:pt x="1307" y="119"/>
                </a:cubicBezTo>
                <a:cubicBezTo>
                  <a:pt x="1308" y="120"/>
                  <a:pt x="1308" y="120"/>
                  <a:pt x="1308" y="120"/>
                </a:cubicBezTo>
                <a:cubicBezTo>
                  <a:pt x="1308" y="122"/>
                  <a:pt x="1308" y="122"/>
                  <a:pt x="1308" y="122"/>
                </a:cubicBezTo>
                <a:cubicBezTo>
                  <a:pt x="1311" y="126"/>
                  <a:pt x="1311" y="126"/>
                  <a:pt x="1311" y="126"/>
                </a:cubicBezTo>
                <a:cubicBezTo>
                  <a:pt x="1313" y="127"/>
                  <a:pt x="1313" y="127"/>
                  <a:pt x="1313" y="127"/>
                </a:cubicBezTo>
                <a:cubicBezTo>
                  <a:pt x="1313" y="126"/>
                  <a:pt x="1313" y="126"/>
                  <a:pt x="1313" y="126"/>
                </a:cubicBezTo>
                <a:cubicBezTo>
                  <a:pt x="1315" y="126"/>
                  <a:pt x="1315" y="126"/>
                  <a:pt x="1315" y="126"/>
                </a:cubicBezTo>
                <a:cubicBezTo>
                  <a:pt x="1316" y="126"/>
                  <a:pt x="1316" y="126"/>
                  <a:pt x="1316" y="126"/>
                </a:cubicBezTo>
                <a:cubicBezTo>
                  <a:pt x="1316" y="127"/>
                  <a:pt x="1316" y="127"/>
                  <a:pt x="1316" y="127"/>
                </a:cubicBezTo>
                <a:cubicBezTo>
                  <a:pt x="1316" y="128"/>
                  <a:pt x="1316" y="128"/>
                  <a:pt x="1316" y="128"/>
                </a:cubicBezTo>
                <a:cubicBezTo>
                  <a:pt x="1315" y="130"/>
                  <a:pt x="1315" y="130"/>
                  <a:pt x="1315" y="130"/>
                </a:cubicBezTo>
                <a:cubicBezTo>
                  <a:pt x="1316" y="132"/>
                  <a:pt x="1316" y="132"/>
                  <a:pt x="1316" y="132"/>
                </a:cubicBezTo>
                <a:cubicBezTo>
                  <a:pt x="1317" y="134"/>
                  <a:pt x="1317" y="134"/>
                  <a:pt x="1317" y="134"/>
                </a:cubicBezTo>
                <a:cubicBezTo>
                  <a:pt x="1318" y="135"/>
                  <a:pt x="1318" y="135"/>
                  <a:pt x="1318" y="135"/>
                </a:cubicBezTo>
                <a:cubicBezTo>
                  <a:pt x="1318" y="138"/>
                  <a:pt x="1318" y="138"/>
                  <a:pt x="1318" y="138"/>
                </a:cubicBezTo>
                <a:cubicBezTo>
                  <a:pt x="1319" y="140"/>
                  <a:pt x="1319" y="140"/>
                  <a:pt x="1319" y="140"/>
                </a:cubicBezTo>
                <a:cubicBezTo>
                  <a:pt x="1320" y="141"/>
                  <a:pt x="1320" y="141"/>
                  <a:pt x="1320" y="141"/>
                </a:cubicBezTo>
                <a:cubicBezTo>
                  <a:pt x="1322" y="144"/>
                  <a:pt x="1322" y="144"/>
                  <a:pt x="1322" y="144"/>
                </a:cubicBezTo>
                <a:cubicBezTo>
                  <a:pt x="1324" y="146"/>
                  <a:pt x="1324" y="146"/>
                  <a:pt x="1324" y="146"/>
                </a:cubicBezTo>
                <a:cubicBezTo>
                  <a:pt x="1325" y="147"/>
                  <a:pt x="1325" y="147"/>
                  <a:pt x="1325" y="147"/>
                </a:cubicBezTo>
                <a:cubicBezTo>
                  <a:pt x="1327" y="147"/>
                  <a:pt x="1327" y="147"/>
                  <a:pt x="1327" y="147"/>
                </a:cubicBezTo>
                <a:cubicBezTo>
                  <a:pt x="1328" y="146"/>
                  <a:pt x="1328" y="146"/>
                  <a:pt x="1328" y="146"/>
                </a:cubicBezTo>
                <a:cubicBezTo>
                  <a:pt x="1329" y="146"/>
                  <a:pt x="1329" y="146"/>
                  <a:pt x="1329" y="146"/>
                </a:cubicBezTo>
                <a:cubicBezTo>
                  <a:pt x="1330" y="146"/>
                  <a:pt x="1330" y="146"/>
                  <a:pt x="1330" y="146"/>
                </a:cubicBezTo>
                <a:cubicBezTo>
                  <a:pt x="1330" y="145"/>
                  <a:pt x="1330" y="145"/>
                  <a:pt x="1330" y="145"/>
                </a:cubicBezTo>
                <a:cubicBezTo>
                  <a:pt x="1330" y="142"/>
                  <a:pt x="1330" y="142"/>
                  <a:pt x="1330" y="142"/>
                </a:cubicBezTo>
                <a:cubicBezTo>
                  <a:pt x="1330" y="140"/>
                  <a:pt x="1330" y="140"/>
                  <a:pt x="1330" y="140"/>
                </a:cubicBezTo>
                <a:cubicBezTo>
                  <a:pt x="1330" y="138"/>
                  <a:pt x="1330" y="138"/>
                  <a:pt x="1330" y="138"/>
                </a:cubicBezTo>
                <a:cubicBezTo>
                  <a:pt x="1331" y="137"/>
                  <a:pt x="1331" y="137"/>
                  <a:pt x="1331" y="137"/>
                </a:cubicBezTo>
                <a:cubicBezTo>
                  <a:pt x="1331" y="137"/>
                  <a:pt x="1331" y="137"/>
                  <a:pt x="1331" y="137"/>
                </a:cubicBezTo>
                <a:cubicBezTo>
                  <a:pt x="1332" y="138"/>
                  <a:pt x="1332" y="138"/>
                  <a:pt x="1332" y="138"/>
                </a:cubicBezTo>
                <a:cubicBezTo>
                  <a:pt x="1332" y="139"/>
                  <a:pt x="1332" y="139"/>
                  <a:pt x="1332" y="139"/>
                </a:cubicBezTo>
                <a:cubicBezTo>
                  <a:pt x="1332" y="141"/>
                  <a:pt x="1332" y="141"/>
                  <a:pt x="1332" y="141"/>
                </a:cubicBezTo>
                <a:cubicBezTo>
                  <a:pt x="1332" y="142"/>
                  <a:pt x="1332" y="142"/>
                  <a:pt x="1332" y="142"/>
                </a:cubicBezTo>
                <a:cubicBezTo>
                  <a:pt x="1331" y="144"/>
                  <a:pt x="1331" y="144"/>
                  <a:pt x="1331" y="144"/>
                </a:cubicBezTo>
                <a:cubicBezTo>
                  <a:pt x="1331" y="145"/>
                  <a:pt x="1331" y="145"/>
                  <a:pt x="1331" y="145"/>
                </a:cubicBezTo>
                <a:cubicBezTo>
                  <a:pt x="1332" y="146"/>
                  <a:pt x="1332" y="146"/>
                  <a:pt x="1332" y="146"/>
                </a:cubicBezTo>
                <a:cubicBezTo>
                  <a:pt x="1333" y="145"/>
                  <a:pt x="1333" y="145"/>
                  <a:pt x="1333" y="145"/>
                </a:cubicBezTo>
                <a:cubicBezTo>
                  <a:pt x="1334" y="144"/>
                  <a:pt x="1334" y="144"/>
                  <a:pt x="1334" y="144"/>
                </a:cubicBezTo>
                <a:cubicBezTo>
                  <a:pt x="1335" y="145"/>
                  <a:pt x="1335" y="145"/>
                  <a:pt x="1335" y="145"/>
                </a:cubicBezTo>
                <a:cubicBezTo>
                  <a:pt x="1335" y="146"/>
                  <a:pt x="1335" y="146"/>
                  <a:pt x="1335" y="146"/>
                </a:cubicBezTo>
                <a:cubicBezTo>
                  <a:pt x="1335" y="147"/>
                  <a:pt x="1335" y="147"/>
                  <a:pt x="1335" y="147"/>
                </a:cubicBezTo>
                <a:cubicBezTo>
                  <a:pt x="1335" y="148"/>
                  <a:pt x="1335" y="148"/>
                  <a:pt x="1335" y="148"/>
                </a:cubicBezTo>
                <a:cubicBezTo>
                  <a:pt x="1336" y="147"/>
                  <a:pt x="1336" y="147"/>
                  <a:pt x="1336" y="147"/>
                </a:cubicBezTo>
                <a:cubicBezTo>
                  <a:pt x="1337" y="147"/>
                  <a:pt x="1337" y="147"/>
                  <a:pt x="1337" y="147"/>
                </a:cubicBezTo>
                <a:cubicBezTo>
                  <a:pt x="1338" y="147"/>
                  <a:pt x="1338" y="147"/>
                  <a:pt x="1338" y="147"/>
                </a:cubicBezTo>
                <a:cubicBezTo>
                  <a:pt x="1338" y="145"/>
                  <a:pt x="1338" y="145"/>
                  <a:pt x="1338" y="145"/>
                </a:cubicBezTo>
                <a:cubicBezTo>
                  <a:pt x="1338" y="144"/>
                  <a:pt x="1338" y="144"/>
                  <a:pt x="1338" y="144"/>
                </a:cubicBezTo>
                <a:cubicBezTo>
                  <a:pt x="1338" y="141"/>
                  <a:pt x="1338" y="141"/>
                  <a:pt x="1338" y="141"/>
                </a:cubicBezTo>
                <a:cubicBezTo>
                  <a:pt x="1339" y="140"/>
                  <a:pt x="1339" y="140"/>
                  <a:pt x="1339" y="140"/>
                </a:cubicBezTo>
                <a:cubicBezTo>
                  <a:pt x="1339" y="138"/>
                  <a:pt x="1339" y="138"/>
                  <a:pt x="1339" y="138"/>
                </a:cubicBezTo>
                <a:cubicBezTo>
                  <a:pt x="1339" y="137"/>
                  <a:pt x="1339" y="137"/>
                  <a:pt x="1339" y="137"/>
                </a:cubicBezTo>
                <a:cubicBezTo>
                  <a:pt x="1338" y="136"/>
                  <a:pt x="1338" y="136"/>
                  <a:pt x="1338" y="136"/>
                </a:cubicBezTo>
                <a:cubicBezTo>
                  <a:pt x="1337" y="136"/>
                  <a:pt x="1337" y="136"/>
                  <a:pt x="1337" y="136"/>
                </a:cubicBezTo>
                <a:cubicBezTo>
                  <a:pt x="1338" y="135"/>
                  <a:pt x="1338" y="135"/>
                  <a:pt x="1338" y="135"/>
                </a:cubicBezTo>
                <a:cubicBezTo>
                  <a:pt x="1338" y="134"/>
                  <a:pt x="1338" y="134"/>
                  <a:pt x="1338" y="134"/>
                </a:cubicBezTo>
                <a:cubicBezTo>
                  <a:pt x="1338" y="133"/>
                  <a:pt x="1338" y="133"/>
                  <a:pt x="1338" y="133"/>
                </a:cubicBezTo>
                <a:cubicBezTo>
                  <a:pt x="1336" y="134"/>
                  <a:pt x="1336" y="134"/>
                  <a:pt x="1336" y="134"/>
                </a:cubicBezTo>
                <a:cubicBezTo>
                  <a:pt x="1336" y="133"/>
                  <a:pt x="1336" y="133"/>
                  <a:pt x="1336" y="133"/>
                </a:cubicBezTo>
                <a:cubicBezTo>
                  <a:pt x="1336" y="132"/>
                  <a:pt x="1336" y="132"/>
                  <a:pt x="1336" y="132"/>
                </a:cubicBezTo>
                <a:cubicBezTo>
                  <a:pt x="1338" y="132"/>
                  <a:pt x="1338" y="132"/>
                  <a:pt x="1338" y="132"/>
                </a:cubicBezTo>
                <a:cubicBezTo>
                  <a:pt x="1339" y="131"/>
                  <a:pt x="1339" y="131"/>
                  <a:pt x="1339" y="131"/>
                </a:cubicBezTo>
                <a:cubicBezTo>
                  <a:pt x="1339" y="129"/>
                  <a:pt x="1339" y="129"/>
                  <a:pt x="1339" y="129"/>
                </a:cubicBezTo>
                <a:cubicBezTo>
                  <a:pt x="1338" y="129"/>
                  <a:pt x="1338" y="129"/>
                  <a:pt x="1338" y="129"/>
                </a:cubicBezTo>
                <a:cubicBezTo>
                  <a:pt x="1337" y="129"/>
                  <a:pt x="1337" y="129"/>
                  <a:pt x="1337" y="129"/>
                </a:cubicBezTo>
                <a:cubicBezTo>
                  <a:pt x="1337" y="128"/>
                  <a:pt x="1337" y="128"/>
                  <a:pt x="1337" y="128"/>
                </a:cubicBezTo>
                <a:cubicBezTo>
                  <a:pt x="1338" y="127"/>
                  <a:pt x="1338" y="127"/>
                  <a:pt x="1338" y="127"/>
                </a:cubicBezTo>
                <a:cubicBezTo>
                  <a:pt x="1339" y="125"/>
                  <a:pt x="1339" y="125"/>
                  <a:pt x="1339" y="125"/>
                </a:cubicBezTo>
                <a:cubicBezTo>
                  <a:pt x="1339" y="124"/>
                  <a:pt x="1339" y="124"/>
                  <a:pt x="1339" y="124"/>
                </a:cubicBezTo>
                <a:cubicBezTo>
                  <a:pt x="1338" y="124"/>
                  <a:pt x="1338" y="124"/>
                  <a:pt x="1338" y="124"/>
                </a:cubicBezTo>
                <a:cubicBezTo>
                  <a:pt x="1337" y="125"/>
                  <a:pt x="1337" y="125"/>
                  <a:pt x="1337" y="125"/>
                </a:cubicBezTo>
                <a:cubicBezTo>
                  <a:pt x="1335" y="127"/>
                  <a:pt x="1335" y="127"/>
                  <a:pt x="1335" y="127"/>
                </a:cubicBezTo>
                <a:cubicBezTo>
                  <a:pt x="1335" y="130"/>
                  <a:pt x="1335" y="130"/>
                  <a:pt x="1335" y="130"/>
                </a:cubicBezTo>
                <a:cubicBezTo>
                  <a:pt x="1334" y="130"/>
                  <a:pt x="1334" y="130"/>
                  <a:pt x="1334" y="130"/>
                </a:cubicBezTo>
                <a:cubicBezTo>
                  <a:pt x="1334" y="129"/>
                  <a:pt x="1334" y="129"/>
                  <a:pt x="1334" y="129"/>
                </a:cubicBezTo>
                <a:cubicBezTo>
                  <a:pt x="1334" y="127"/>
                  <a:pt x="1334" y="127"/>
                  <a:pt x="1334" y="127"/>
                </a:cubicBezTo>
                <a:cubicBezTo>
                  <a:pt x="1334" y="126"/>
                  <a:pt x="1334" y="126"/>
                  <a:pt x="1334" y="126"/>
                </a:cubicBezTo>
                <a:cubicBezTo>
                  <a:pt x="1334" y="125"/>
                  <a:pt x="1334" y="125"/>
                  <a:pt x="1334" y="125"/>
                </a:cubicBezTo>
                <a:cubicBezTo>
                  <a:pt x="1334" y="124"/>
                  <a:pt x="1334" y="124"/>
                  <a:pt x="1334" y="124"/>
                </a:cubicBezTo>
                <a:cubicBezTo>
                  <a:pt x="1334" y="123"/>
                  <a:pt x="1334" y="123"/>
                  <a:pt x="1334" y="123"/>
                </a:cubicBezTo>
                <a:cubicBezTo>
                  <a:pt x="1336" y="122"/>
                  <a:pt x="1336" y="122"/>
                  <a:pt x="1336" y="122"/>
                </a:cubicBezTo>
                <a:cubicBezTo>
                  <a:pt x="1337" y="121"/>
                  <a:pt x="1337" y="121"/>
                  <a:pt x="1337" y="121"/>
                </a:cubicBezTo>
                <a:cubicBezTo>
                  <a:pt x="1338" y="119"/>
                  <a:pt x="1338" y="119"/>
                  <a:pt x="1338" y="119"/>
                </a:cubicBezTo>
                <a:cubicBezTo>
                  <a:pt x="1337" y="118"/>
                  <a:pt x="1337" y="118"/>
                  <a:pt x="1337" y="118"/>
                </a:cubicBezTo>
                <a:cubicBezTo>
                  <a:pt x="1336" y="118"/>
                  <a:pt x="1336" y="118"/>
                  <a:pt x="1336" y="118"/>
                </a:cubicBezTo>
                <a:cubicBezTo>
                  <a:pt x="1335" y="119"/>
                  <a:pt x="1335" y="119"/>
                  <a:pt x="1335" y="119"/>
                </a:cubicBezTo>
                <a:cubicBezTo>
                  <a:pt x="1335" y="120"/>
                  <a:pt x="1335" y="120"/>
                  <a:pt x="1335" y="120"/>
                </a:cubicBezTo>
                <a:cubicBezTo>
                  <a:pt x="1334" y="121"/>
                  <a:pt x="1334" y="121"/>
                  <a:pt x="1334" y="121"/>
                </a:cubicBezTo>
                <a:cubicBezTo>
                  <a:pt x="1335" y="119"/>
                  <a:pt x="1335" y="119"/>
                  <a:pt x="1335" y="119"/>
                </a:cubicBezTo>
                <a:cubicBezTo>
                  <a:pt x="1335" y="118"/>
                  <a:pt x="1335" y="118"/>
                  <a:pt x="1335" y="118"/>
                </a:cubicBezTo>
                <a:cubicBezTo>
                  <a:pt x="1335" y="118"/>
                  <a:pt x="1335" y="118"/>
                  <a:pt x="1335" y="118"/>
                </a:cubicBezTo>
                <a:cubicBezTo>
                  <a:pt x="1334" y="118"/>
                  <a:pt x="1334" y="118"/>
                  <a:pt x="1334" y="118"/>
                </a:cubicBezTo>
                <a:cubicBezTo>
                  <a:pt x="1332" y="119"/>
                  <a:pt x="1332" y="119"/>
                  <a:pt x="1332" y="119"/>
                </a:cubicBezTo>
                <a:cubicBezTo>
                  <a:pt x="1331" y="121"/>
                  <a:pt x="1331" y="121"/>
                  <a:pt x="1331" y="121"/>
                </a:cubicBezTo>
                <a:cubicBezTo>
                  <a:pt x="1331" y="120"/>
                  <a:pt x="1331" y="120"/>
                  <a:pt x="1331" y="120"/>
                </a:cubicBezTo>
                <a:cubicBezTo>
                  <a:pt x="1331" y="119"/>
                  <a:pt x="1331" y="119"/>
                  <a:pt x="1331" y="119"/>
                </a:cubicBezTo>
                <a:cubicBezTo>
                  <a:pt x="1332" y="118"/>
                  <a:pt x="1332" y="118"/>
                  <a:pt x="1332" y="118"/>
                </a:cubicBezTo>
                <a:cubicBezTo>
                  <a:pt x="1333" y="117"/>
                  <a:pt x="1333" y="117"/>
                  <a:pt x="1333" y="117"/>
                </a:cubicBezTo>
                <a:cubicBezTo>
                  <a:pt x="1334" y="115"/>
                  <a:pt x="1334" y="115"/>
                  <a:pt x="1334" y="115"/>
                </a:cubicBezTo>
                <a:cubicBezTo>
                  <a:pt x="1334" y="115"/>
                  <a:pt x="1334" y="115"/>
                  <a:pt x="1334" y="115"/>
                </a:cubicBezTo>
                <a:cubicBezTo>
                  <a:pt x="1333" y="114"/>
                  <a:pt x="1333" y="114"/>
                  <a:pt x="1333" y="114"/>
                </a:cubicBezTo>
                <a:cubicBezTo>
                  <a:pt x="1332" y="113"/>
                  <a:pt x="1332" y="113"/>
                  <a:pt x="1332" y="113"/>
                </a:cubicBezTo>
                <a:cubicBezTo>
                  <a:pt x="1332" y="113"/>
                  <a:pt x="1332" y="113"/>
                  <a:pt x="1332" y="113"/>
                </a:cubicBezTo>
                <a:cubicBezTo>
                  <a:pt x="1331" y="112"/>
                  <a:pt x="1331" y="112"/>
                  <a:pt x="1331" y="112"/>
                </a:cubicBezTo>
                <a:cubicBezTo>
                  <a:pt x="1330" y="111"/>
                  <a:pt x="1330" y="111"/>
                  <a:pt x="1330" y="111"/>
                </a:cubicBezTo>
                <a:cubicBezTo>
                  <a:pt x="1329" y="110"/>
                  <a:pt x="1329" y="110"/>
                  <a:pt x="1329" y="110"/>
                </a:cubicBezTo>
                <a:cubicBezTo>
                  <a:pt x="1328" y="109"/>
                  <a:pt x="1328" y="109"/>
                  <a:pt x="1328" y="109"/>
                </a:cubicBezTo>
                <a:cubicBezTo>
                  <a:pt x="1327" y="109"/>
                  <a:pt x="1327" y="109"/>
                  <a:pt x="1327" y="109"/>
                </a:cubicBezTo>
                <a:cubicBezTo>
                  <a:pt x="1327" y="108"/>
                  <a:pt x="1327" y="108"/>
                  <a:pt x="1327" y="108"/>
                </a:cubicBezTo>
                <a:cubicBezTo>
                  <a:pt x="1325" y="108"/>
                  <a:pt x="1325" y="108"/>
                  <a:pt x="1325" y="108"/>
                </a:cubicBezTo>
                <a:cubicBezTo>
                  <a:pt x="1325" y="107"/>
                  <a:pt x="1325" y="107"/>
                  <a:pt x="1325" y="107"/>
                </a:cubicBezTo>
                <a:cubicBezTo>
                  <a:pt x="1325" y="107"/>
                  <a:pt x="1325" y="107"/>
                  <a:pt x="1325" y="107"/>
                </a:cubicBezTo>
                <a:cubicBezTo>
                  <a:pt x="1322" y="104"/>
                  <a:pt x="1322" y="104"/>
                  <a:pt x="1322" y="104"/>
                </a:cubicBezTo>
                <a:cubicBezTo>
                  <a:pt x="1321" y="103"/>
                  <a:pt x="1321" y="103"/>
                  <a:pt x="1321" y="103"/>
                </a:cubicBezTo>
                <a:cubicBezTo>
                  <a:pt x="1319" y="103"/>
                  <a:pt x="1319" y="103"/>
                  <a:pt x="1319" y="103"/>
                </a:cubicBezTo>
                <a:cubicBezTo>
                  <a:pt x="1318" y="103"/>
                  <a:pt x="1318" y="103"/>
                  <a:pt x="1318" y="103"/>
                </a:cubicBezTo>
                <a:cubicBezTo>
                  <a:pt x="1316" y="103"/>
                  <a:pt x="1316" y="103"/>
                  <a:pt x="1316" y="103"/>
                </a:cubicBezTo>
                <a:cubicBezTo>
                  <a:pt x="1314" y="105"/>
                  <a:pt x="1314" y="105"/>
                  <a:pt x="1314" y="105"/>
                </a:cubicBezTo>
                <a:cubicBezTo>
                  <a:pt x="1314" y="104"/>
                  <a:pt x="1314" y="104"/>
                  <a:pt x="1314" y="104"/>
                </a:cubicBezTo>
                <a:cubicBezTo>
                  <a:pt x="1314" y="103"/>
                  <a:pt x="1314" y="103"/>
                  <a:pt x="1314" y="103"/>
                </a:cubicBezTo>
                <a:cubicBezTo>
                  <a:pt x="1311" y="102"/>
                  <a:pt x="1311" y="102"/>
                  <a:pt x="1311" y="102"/>
                </a:cubicBezTo>
                <a:cubicBezTo>
                  <a:pt x="1309" y="102"/>
                  <a:pt x="1309" y="102"/>
                  <a:pt x="1309" y="102"/>
                </a:cubicBezTo>
                <a:cubicBezTo>
                  <a:pt x="1307" y="102"/>
                  <a:pt x="1307" y="102"/>
                  <a:pt x="1307" y="102"/>
                </a:cubicBezTo>
                <a:cubicBezTo>
                  <a:pt x="1307" y="102"/>
                  <a:pt x="1307" y="102"/>
                  <a:pt x="1307" y="102"/>
                </a:cubicBezTo>
                <a:cubicBezTo>
                  <a:pt x="1308" y="100"/>
                  <a:pt x="1308" y="100"/>
                  <a:pt x="1308" y="100"/>
                </a:cubicBezTo>
                <a:cubicBezTo>
                  <a:pt x="1309" y="101"/>
                  <a:pt x="1309" y="101"/>
                  <a:pt x="1309" y="101"/>
                </a:cubicBezTo>
                <a:cubicBezTo>
                  <a:pt x="1312" y="101"/>
                  <a:pt x="1312" y="101"/>
                  <a:pt x="1312" y="101"/>
                </a:cubicBezTo>
                <a:cubicBezTo>
                  <a:pt x="1314" y="101"/>
                  <a:pt x="1314" y="101"/>
                  <a:pt x="1314" y="101"/>
                </a:cubicBezTo>
                <a:cubicBezTo>
                  <a:pt x="1315" y="102"/>
                  <a:pt x="1315" y="102"/>
                  <a:pt x="1315" y="102"/>
                </a:cubicBezTo>
                <a:cubicBezTo>
                  <a:pt x="1317" y="101"/>
                  <a:pt x="1317" y="101"/>
                  <a:pt x="1317" y="101"/>
                </a:cubicBezTo>
                <a:cubicBezTo>
                  <a:pt x="1318" y="100"/>
                  <a:pt x="1318" y="100"/>
                  <a:pt x="1318" y="100"/>
                </a:cubicBezTo>
                <a:cubicBezTo>
                  <a:pt x="1319" y="97"/>
                  <a:pt x="1319" y="97"/>
                  <a:pt x="1319" y="97"/>
                </a:cubicBezTo>
                <a:cubicBezTo>
                  <a:pt x="1318" y="96"/>
                  <a:pt x="1318" y="96"/>
                  <a:pt x="1318" y="96"/>
                </a:cubicBezTo>
                <a:cubicBezTo>
                  <a:pt x="1318" y="95"/>
                  <a:pt x="1318" y="95"/>
                  <a:pt x="1318" y="95"/>
                </a:cubicBezTo>
                <a:cubicBezTo>
                  <a:pt x="1317" y="95"/>
                  <a:pt x="1317" y="95"/>
                  <a:pt x="1317" y="95"/>
                </a:cubicBezTo>
                <a:cubicBezTo>
                  <a:pt x="1315" y="94"/>
                  <a:pt x="1315" y="94"/>
                  <a:pt x="1315" y="94"/>
                </a:cubicBezTo>
                <a:cubicBezTo>
                  <a:pt x="1314" y="93"/>
                  <a:pt x="1314" y="93"/>
                  <a:pt x="1314" y="93"/>
                </a:cubicBezTo>
                <a:cubicBezTo>
                  <a:pt x="1313" y="93"/>
                  <a:pt x="1313" y="93"/>
                  <a:pt x="1313" y="93"/>
                </a:cubicBezTo>
                <a:cubicBezTo>
                  <a:pt x="1311" y="95"/>
                  <a:pt x="1311" y="95"/>
                  <a:pt x="1311" y="95"/>
                </a:cubicBezTo>
                <a:cubicBezTo>
                  <a:pt x="1310" y="95"/>
                  <a:pt x="1310" y="95"/>
                  <a:pt x="1310" y="95"/>
                </a:cubicBezTo>
                <a:cubicBezTo>
                  <a:pt x="1309" y="95"/>
                  <a:pt x="1309" y="95"/>
                  <a:pt x="1309" y="95"/>
                </a:cubicBezTo>
                <a:cubicBezTo>
                  <a:pt x="1308" y="96"/>
                  <a:pt x="1308" y="96"/>
                  <a:pt x="1308" y="96"/>
                </a:cubicBezTo>
                <a:cubicBezTo>
                  <a:pt x="1308" y="96"/>
                  <a:pt x="1308" y="96"/>
                  <a:pt x="1308" y="96"/>
                </a:cubicBezTo>
                <a:cubicBezTo>
                  <a:pt x="1307" y="95"/>
                  <a:pt x="1307" y="95"/>
                  <a:pt x="1307" y="95"/>
                </a:cubicBezTo>
                <a:cubicBezTo>
                  <a:pt x="1307" y="94"/>
                  <a:pt x="1307" y="94"/>
                  <a:pt x="1307" y="94"/>
                </a:cubicBezTo>
                <a:cubicBezTo>
                  <a:pt x="1306" y="94"/>
                  <a:pt x="1306" y="94"/>
                  <a:pt x="1306" y="94"/>
                </a:cubicBezTo>
                <a:cubicBezTo>
                  <a:pt x="1304" y="95"/>
                  <a:pt x="1304" y="95"/>
                  <a:pt x="1304" y="95"/>
                </a:cubicBezTo>
                <a:cubicBezTo>
                  <a:pt x="1303" y="95"/>
                  <a:pt x="1303" y="95"/>
                  <a:pt x="1303" y="95"/>
                </a:cubicBezTo>
                <a:cubicBezTo>
                  <a:pt x="1302" y="95"/>
                  <a:pt x="1302" y="95"/>
                  <a:pt x="1302" y="95"/>
                </a:cubicBezTo>
                <a:cubicBezTo>
                  <a:pt x="1303" y="95"/>
                  <a:pt x="1303" y="95"/>
                  <a:pt x="1303" y="95"/>
                </a:cubicBezTo>
                <a:cubicBezTo>
                  <a:pt x="1304" y="94"/>
                  <a:pt x="1304" y="94"/>
                  <a:pt x="1304" y="94"/>
                </a:cubicBezTo>
                <a:cubicBezTo>
                  <a:pt x="1306" y="93"/>
                  <a:pt x="1306" y="93"/>
                  <a:pt x="1306" y="93"/>
                </a:cubicBezTo>
                <a:cubicBezTo>
                  <a:pt x="1307" y="93"/>
                  <a:pt x="1307" y="93"/>
                  <a:pt x="1307" y="93"/>
                </a:cubicBezTo>
                <a:cubicBezTo>
                  <a:pt x="1306" y="92"/>
                  <a:pt x="1306" y="92"/>
                  <a:pt x="1306" y="92"/>
                </a:cubicBezTo>
                <a:cubicBezTo>
                  <a:pt x="1305" y="91"/>
                  <a:pt x="1305" y="91"/>
                  <a:pt x="1305" y="91"/>
                </a:cubicBezTo>
                <a:cubicBezTo>
                  <a:pt x="1304" y="92"/>
                  <a:pt x="1304" y="92"/>
                  <a:pt x="1304" y="92"/>
                </a:cubicBezTo>
                <a:cubicBezTo>
                  <a:pt x="1302" y="92"/>
                  <a:pt x="1302" y="92"/>
                  <a:pt x="1302" y="92"/>
                </a:cubicBezTo>
                <a:cubicBezTo>
                  <a:pt x="1301" y="92"/>
                  <a:pt x="1301" y="92"/>
                  <a:pt x="1301" y="92"/>
                </a:cubicBezTo>
                <a:cubicBezTo>
                  <a:pt x="1301" y="91"/>
                  <a:pt x="1301" y="91"/>
                  <a:pt x="1301" y="91"/>
                </a:cubicBezTo>
                <a:cubicBezTo>
                  <a:pt x="1302" y="91"/>
                  <a:pt x="1302" y="91"/>
                  <a:pt x="1302" y="91"/>
                </a:cubicBezTo>
                <a:cubicBezTo>
                  <a:pt x="1303" y="91"/>
                  <a:pt x="1303" y="91"/>
                  <a:pt x="1303" y="91"/>
                </a:cubicBezTo>
                <a:cubicBezTo>
                  <a:pt x="1304" y="91"/>
                  <a:pt x="1304" y="91"/>
                  <a:pt x="1304" y="91"/>
                </a:cubicBezTo>
                <a:cubicBezTo>
                  <a:pt x="1305" y="90"/>
                  <a:pt x="1305" y="90"/>
                  <a:pt x="1305" y="90"/>
                </a:cubicBezTo>
                <a:cubicBezTo>
                  <a:pt x="1306" y="90"/>
                  <a:pt x="1306" y="90"/>
                  <a:pt x="1306" y="90"/>
                </a:cubicBezTo>
                <a:cubicBezTo>
                  <a:pt x="1307" y="91"/>
                  <a:pt x="1307" y="91"/>
                  <a:pt x="1307" y="91"/>
                </a:cubicBezTo>
                <a:cubicBezTo>
                  <a:pt x="1308" y="93"/>
                  <a:pt x="1308" y="93"/>
                  <a:pt x="1308" y="93"/>
                </a:cubicBezTo>
                <a:cubicBezTo>
                  <a:pt x="1310" y="93"/>
                  <a:pt x="1310" y="93"/>
                  <a:pt x="1310" y="93"/>
                </a:cubicBezTo>
                <a:cubicBezTo>
                  <a:pt x="1311" y="92"/>
                  <a:pt x="1311" y="92"/>
                  <a:pt x="1311" y="92"/>
                </a:cubicBezTo>
                <a:cubicBezTo>
                  <a:pt x="1313" y="91"/>
                  <a:pt x="1313" y="91"/>
                  <a:pt x="1313" y="91"/>
                </a:cubicBezTo>
                <a:cubicBezTo>
                  <a:pt x="1314" y="91"/>
                  <a:pt x="1314" y="91"/>
                  <a:pt x="1314" y="91"/>
                </a:cubicBezTo>
                <a:cubicBezTo>
                  <a:pt x="1316" y="91"/>
                  <a:pt x="1316" y="91"/>
                  <a:pt x="1316" y="91"/>
                </a:cubicBezTo>
                <a:cubicBezTo>
                  <a:pt x="1317" y="90"/>
                  <a:pt x="1317" y="90"/>
                  <a:pt x="1317" y="90"/>
                </a:cubicBezTo>
                <a:cubicBezTo>
                  <a:pt x="1318" y="89"/>
                  <a:pt x="1318" y="89"/>
                  <a:pt x="1318" y="89"/>
                </a:cubicBezTo>
                <a:cubicBezTo>
                  <a:pt x="1318" y="88"/>
                  <a:pt x="1318" y="88"/>
                  <a:pt x="1318" y="88"/>
                </a:cubicBezTo>
                <a:cubicBezTo>
                  <a:pt x="1318" y="87"/>
                  <a:pt x="1318" y="87"/>
                  <a:pt x="1318" y="87"/>
                </a:cubicBezTo>
                <a:cubicBezTo>
                  <a:pt x="1317" y="86"/>
                  <a:pt x="1317" y="86"/>
                  <a:pt x="1317" y="86"/>
                </a:cubicBezTo>
                <a:cubicBezTo>
                  <a:pt x="1314" y="86"/>
                  <a:pt x="1314" y="86"/>
                  <a:pt x="1314" y="86"/>
                </a:cubicBezTo>
                <a:cubicBezTo>
                  <a:pt x="1313" y="85"/>
                  <a:pt x="1313" y="85"/>
                  <a:pt x="1313" y="85"/>
                </a:cubicBezTo>
                <a:cubicBezTo>
                  <a:pt x="1312" y="84"/>
                  <a:pt x="1312" y="84"/>
                  <a:pt x="1312" y="84"/>
                </a:cubicBezTo>
                <a:cubicBezTo>
                  <a:pt x="1311" y="84"/>
                  <a:pt x="1311" y="84"/>
                  <a:pt x="1311" y="84"/>
                </a:cubicBezTo>
                <a:cubicBezTo>
                  <a:pt x="1309" y="84"/>
                  <a:pt x="1309" y="84"/>
                  <a:pt x="1309" y="84"/>
                </a:cubicBezTo>
                <a:cubicBezTo>
                  <a:pt x="1308" y="84"/>
                  <a:pt x="1308" y="84"/>
                  <a:pt x="1308" y="84"/>
                </a:cubicBezTo>
                <a:cubicBezTo>
                  <a:pt x="1307" y="85"/>
                  <a:pt x="1307" y="85"/>
                  <a:pt x="1307" y="85"/>
                </a:cubicBezTo>
                <a:cubicBezTo>
                  <a:pt x="1306" y="86"/>
                  <a:pt x="1306" y="86"/>
                  <a:pt x="1306" y="86"/>
                </a:cubicBezTo>
                <a:cubicBezTo>
                  <a:pt x="1306" y="86"/>
                  <a:pt x="1305" y="86"/>
                  <a:pt x="1305" y="86"/>
                </a:cubicBezTo>
                <a:cubicBezTo>
                  <a:pt x="1305" y="85"/>
                  <a:pt x="1303" y="85"/>
                  <a:pt x="1303" y="85"/>
                </a:cubicBezTo>
                <a:cubicBezTo>
                  <a:pt x="1301" y="85"/>
                  <a:pt x="1301" y="85"/>
                  <a:pt x="1301" y="85"/>
                </a:cubicBezTo>
                <a:cubicBezTo>
                  <a:pt x="1301" y="86"/>
                  <a:pt x="1301" y="86"/>
                  <a:pt x="1301" y="86"/>
                </a:cubicBezTo>
                <a:cubicBezTo>
                  <a:pt x="1301" y="87"/>
                  <a:pt x="1301" y="87"/>
                  <a:pt x="1301" y="87"/>
                </a:cubicBezTo>
                <a:cubicBezTo>
                  <a:pt x="1300" y="87"/>
                  <a:pt x="1300" y="87"/>
                  <a:pt x="1300" y="87"/>
                </a:cubicBezTo>
                <a:cubicBezTo>
                  <a:pt x="1299" y="86"/>
                  <a:pt x="1299" y="86"/>
                  <a:pt x="1299" y="86"/>
                </a:cubicBezTo>
                <a:cubicBezTo>
                  <a:pt x="1298" y="86"/>
                  <a:pt x="1298" y="86"/>
                  <a:pt x="1298" y="86"/>
                </a:cubicBezTo>
                <a:cubicBezTo>
                  <a:pt x="1298" y="85"/>
                  <a:pt x="1298" y="85"/>
                  <a:pt x="1298" y="85"/>
                </a:cubicBezTo>
                <a:cubicBezTo>
                  <a:pt x="1299" y="84"/>
                  <a:pt x="1299" y="84"/>
                  <a:pt x="1299" y="84"/>
                </a:cubicBezTo>
                <a:cubicBezTo>
                  <a:pt x="1301" y="83"/>
                  <a:pt x="1301" y="83"/>
                  <a:pt x="1301" y="83"/>
                </a:cubicBezTo>
                <a:cubicBezTo>
                  <a:pt x="1303" y="84"/>
                  <a:pt x="1303" y="84"/>
                  <a:pt x="1303" y="84"/>
                </a:cubicBezTo>
                <a:cubicBezTo>
                  <a:pt x="1306" y="84"/>
                  <a:pt x="1306" y="84"/>
                  <a:pt x="1306" y="84"/>
                </a:cubicBezTo>
                <a:cubicBezTo>
                  <a:pt x="1307" y="83"/>
                  <a:pt x="1307" y="83"/>
                  <a:pt x="1307" y="83"/>
                </a:cubicBezTo>
                <a:cubicBezTo>
                  <a:pt x="1307" y="82"/>
                  <a:pt x="1307" y="82"/>
                  <a:pt x="1307" y="82"/>
                </a:cubicBezTo>
                <a:cubicBezTo>
                  <a:pt x="1306" y="81"/>
                  <a:pt x="1306" y="81"/>
                  <a:pt x="1306" y="81"/>
                </a:cubicBezTo>
                <a:cubicBezTo>
                  <a:pt x="1304" y="79"/>
                  <a:pt x="1304" y="79"/>
                  <a:pt x="1304" y="79"/>
                </a:cubicBezTo>
                <a:cubicBezTo>
                  <a:pt x="1302" y="78"/>
                  <a:pt x="1302" y="78"/>
                  <a:pt x="1302" y="78"/>
                </a:cubicBezTo>
                <a:cubicBezTo>
                  <a:pt x="1302" y="77"/>
                  <a:pt x="1302" y="77"/>
                  <a:pt x="1302" y="77"/>
                </a:cubicBezTo>
                <a:cubicBezTo>
                  <a:pt x="1302" y="75"/>
                  <a:pt x="1302" y="75"/>
                  <a:pt x="1302" y="75"/>
                </a:cubicBezTo>
                <a:cubicBezTo>
                  <a:pt x="1302" y="75"/>
                  <a:pt x="1302" y="75"/>
                  <a:pt x="1302" y="75"/>
                </a:cubicBezTo>
                <a:cubicBezTo>
                  <a:pt x="1303" y="75"/>
                  <a:pt x="1303" y="75"/>
                  <a:pt x="1303" y="75"/>
                </a:cubicBezTo>
                <a:cubicBezTo>
                  <a:pt x="1303" y="76"/>
                  <a:pt x="1303" y="76"/>
                  <a:pt x="1303" y="76"/>
                </a:cubicBezTo>
                <a:cubicBezTo>
                  <a:pt x="1303" y="77"/>
                  <a:pt x="1303" y="77"/>
                  <a:pt x="1303" y="77"/>
                </a:cubicBezTo>
                <a:cubicBezTo>
                  <a:pt x="1304" y="78"/>
                  <a:pt x="1304" y="78"/>
                  <a:pt x="1304" y="78"/>
                </a:cubicBezTo>
                <a:cubicBezTo>
                  <a:pt x="1307" y="80"/>
                  <a:pt x="1307" y="80"/>
                  <a:pt x="1307" y="80"/>
                </a:cubicBezTo>
                <a:cubicBezTo>
                  <a:pt x="1307" y="81"/>
                  <a:pt x="1307" y="81"/>
                  <a:pt x="1307" y="81"/>
                </a:cubicBezTo>
                <a:cubicBezTo>
                  <a:pt x="1308" y="81"/>
                  <a:pt x="1308" y="81"/>
                  <a:pt x="1308" y="81"/>
                </a:cubicBezTo>
                <a:cubicBezTo>
                  <a:pt x="1309" y="81"/>
                  <a:pt x="1309" y="81"/>
                  <a:pt x="1309" y="81"/>
                </a:cubicBezTo>
                <a:cubicBezTo>
                  <a:pt x="1310" y="82"/>
                  <a:pt x="1310" y="82"/>
                  <a:pt x="1310" y="82"/>
                </a:cubicBezTo>
                <a:cubicBezTo>
                  <a:pt x="1312" y="83"/>
                  <a:pt x="1312" y="83"/>
                  <a:pt x="1312" y="83"/>
                </a:cubicBezTo>
                <a:cubicBezTo>
                  <a:pt x="1313" y="82"/>
                  <a:pt x="1313" y="82"/>
                  <a:pt x="1313" y="82"/>
                </a:cubicBezTo>
                <a:cubicBezTo>
                  <a:pt x="1315" y="81"/>
                  <a:pt x="1315" y="81"/>
                  <a:pt x="1315" y="81"/>
                </a:cubicBezTo>
                <a:cubicBezTo>
                  <a:pt x="1316" y="81"/>
                  <a:pt x="1316" y="81"/>
                  <a:pt x="1316" y="81"/>
                </a:cubicBezTo>
                <a:cubicBezTo>
                  <a:pt x="1317" y="80"/>
                  <a:pt x="1317" y="80"/>
                  <a:pt x="1317" y="80"/>
                </a:cubicBezTo>
                <a:cubicBezTo>
                  <a:pt x="1318" y="79"/>
                  <a:pt x="1318" y="79"/>
                  <a:pt x="1318" y="79"/>
                </a:cubicBezTo>
                <a:cubicBezTo>
                  <a:pt x="1320" y="78"/>
                  <a:pt x="1320" y="78"/>
                  <a:pt x="1320" y="78"/>
                </a:cubicBezTo>
                <a:cubicBezTo>
                  <a:pt x="1321" y="78"/>
                  <a:pt x="1321" y="78"/>
                  <a:pt x="1321" y="78"/>
                </a:cubicBezTo>
                <a:cubicBezTo>
                  <a:pt x="1321" y="77"/>
                  <a:pt x="1321" y="77"/>
                  <a:pt x="1321" y="77"/>
                </a:cubicBezTo>
                <a:cubicBezTo>
                  <a:pt x="1320" y="76"/>
                  <a:pt x="1320" y="76"/>
                  <a:pt x="1320" y="76"/>
                </a:cubicBezTo>
                <a:cubicBezTo>
                  <a:pt x="1319" y="75"/>
                  <a:pt x="1319" y="75"/>
                  <a:pt x="1319" y="75"/>
                </a:cubicBezTo>
                <a:cubicBezTo>
                  <a:pt x="1319" y="74"/>
                  <a:pt x="1319" y="74"/>
                  <a:pt x="1319" y="74"/>
                </a:cubicBezTo>
                <a:cubicBezTo>
                  <a:pt x="1317" y="70"/>
                  <a:pt x="1317" y="70"/>
                  <a:pt x="1317" y="70"/>
                </a:cubicBezTo>
                <a:cubicBezTo>
                  <a:pt x="1315" y="69"/>
                  <a:pt x="1315" y="69"/>
                  <a:pt x="1315" y="69"/>
                </a:cubicBezTo>
                <a:cubicBezTo>
                  <a:pt x="1315" y="68"/>
                  <a:pt x="1315" y="68"/>
                  <a:pt x="1315" y="68"/>
                </a:cubicBezTo>
                <a:cubicBezTo>
                  <a:pt x="1315" y="68"/>
                  <a:pt x="1315" y="68"/>
                  <a:pt x="1315" y="68"/>
                </a:cubicBezTo>
                <a:cubicBezTo>
                  <a:pt x="1316" y="68"/>
                  <a:pt x="1316" y="68"/>
                  <a:pt x="1316" y="68"/>
                </a:cubicBezTo>
                <a:cubicBezTo>
                  <a:pt x="1317" y="68"/>
                  <a:pt x="1317" y="68"/>
                  <a:pt x="1317" y="68"/>
                </a:cubicBezTo>
                <a:cubicBezTo>
                  <a:pt x="1317" y="69"/>
                  <a:pt x="1317" y="69"/>
                  <a:pt x="1317" y="69"/>
                </a:cubicBezTo>
                <a:cubicBezTo>
                  <a:pt x="1318" y="70"/>
                  <a:pt x="1318" y="70"/>
                  <a:pt x="1318" y="70"/>
                </a:cubicBezTo>
                <a:cubicBezTo>
                  <a:pt x="1320" y="74"/>
                  <a:pt x="1320" y="74"/>
                  <a:pt x="1320" y="74"/>
                </a:cubicBezTo>
                <a:cubicBezTo>
                  <a:pt x="1323" y="78"/>
                  <a:pt x="1323" y="78"/>
                  <a:pt x="1323" y="78"/>
                </a:cubicBezTo>
                <a:cubicBezTo>
                  <a:pt x="1324" y="78"/>
                  <a:pt x="1324" y="78"/>
                  <a:pt x="1324" y="78"/>
                </a:cubicBezTo>
                <a:cubicBezTo>
                  <a:pt x="1324" y="77"/>
                  <a:pt x="1324" y="77"/>
                  <a:pt x="1324" y="77"/>
                </a:cubicBezTo>
                <a:cubicBezTo>
                  <a:pt x="1324" y="76"/>
                  <a:pt x="1324" y="76"/>
                  <a:pt x="1324" y="76"/>
                </a:cubicBezTo>
                <a:cubicBezTo>
                  <a:pt x="1324" y="73"/>
                  <a:pt x="1324" y="73"/>
                  <a:pt x="1324" y="73"/>
                </a:cubicBezTo>
                <a:cubicBezTo>
                  <a:pt x="1324" y="71"/>
                  <a:pt x="1324" y="71"/>
                  <a:pt x="1324" y="71"/>
                </a:cubicBezTo>
                <a:cubicBezTo>
                  <a:pt x="1325" y="70"/>
                  <a:pt x="1325" y="70"/>
                  <a:pt x="1325" y="70"/>
                </a:cubicBezTo>
                <a:cubicBezTo>
                  <a:pt x="1326" y="70"/>
                  <a:pt x="1326" y="70"/>
                  <a:pt x="1326" y="70"/>
                </a:cubicBezTo>
                <a:cubicBezTo>
                  <a:pt x="1327" y="71"/>
                  <a:pt x="1327" y="71"/>
                  <a:pt x="1327" y="71"/>
                </a:cubicBezTo>
                <a:cubicBezTo>
                  <a:pt x="1327" y="72"/>
                  <a:pt x="1327" y="72"/>
                  <a:pt x="1327" y="72"/>
                </a:cubicBezTo>
                <a:cubicBezTo>
                  <a:pt x="1327" y="73"/>
                  <a:pt x="1327" y="73"/>
                  <a:pt x="1327" y="73"/>
                </a:cubicBezTo>
                <a:cubicBezTo>
                  <a:pt x="1328" y="73"/>
                  <a:pt x="1328" y="73"/>
                  <a:pt x="1328" y="73"/>
                </a:cubicBezTo>
                <a:cubicBezTo>
                  <a:pt x="1332" y="74"/>
                  <a:pt x="1332" y="74"/>
                  <a:pt x="1332" y="74"/>
                </a:cubicBezTo>
                <a:cubicBezTo>
                  <a:pt x="1335" y="76"/>
                  <a:pt x="1335" y="76"/>
                  <a:pt x="1335" y="76"/>
                </a:cubicBezTo>
                <a:cubicBezTo>
                  <a:pt x="1336" y="77"/>
                  <a:pt x="1336" y="77"/>
                  <a:pt x="1336" y="77"/>
                </a:cubicBezTo>
                <a:cubicBezTo>
                  <a:pt x="1337" y="76"/>
                  <a:pt x="1337" y="76"/>
                  <a:pt x="1337" y="76"/>
                </a:cubicBezTo>
                <a:cubicBezTo>
                  <a:pt x="1338" y="76"/>
                  <a:pt x="1338" y="76"/>
                  <a:pt x="1338" y="76"/>
                </a:cubicBezTo>
                <a:cubicBezTo>
                  <a:pt x="1339" y="77"/>
                  <a:pt x="1339" y="77"/>
                  <a:pt x="1339" y="77"/>
                </a:cubicBezTo>
                <a:cubicBezTo>
                  <a:pt x="1338" y="77"/>
                  <a:pt x="1338" y="77"/>
                  <a:pt x="1338" y="77"/>
                </a:cubicBezTo>
                <a:cubicBezTo>
                  <a:pt x="1336" y="78"/>
                  <a:pt x="1336" y="78"/>
                  <a:pt x="1336" y="78"/>
                </a:cubicBezTo>
                <a:cubicBezTo>
                  <a:pt x="1335" y="78"/>
                  <a:pt x="1335" y="78"/>
                  <a:pt x="1335" y="78"/>
                </a:cubicBezTo>
                <a:cubicBezTo>
                  <a:pt x="1333" y="77"/>
                  <a:pt x="1333" y="77"/>
                  <a:pt x="1333" y="77"/>
                </a:cubicBezTo>
                <a:cubicBezTo>
                  <a:pt x="1330" y="75"/>
                  <a:pt x="1330" y="75"/>
                  <a:pt x="1330" y="75"/>
                </a:cubicBezTo>
                <a:cubicBezTo>
                  <a:pt x="1329" y="74"/>
                  <a:pt x="1329" y="74"/>
                  <a:pt x="1329" y="74"/>
                </a:cubicBezTo>
                <a:cubicBezTo>
                  <a:pt x="1328" y="74"/>
                  <a:pt x="1328" y="74"/>
                  <a:pt x="1328" y="74"/>
                </a:cubicBezTo>
                <a:cubicBezTo>
                  <a:pt x="1327" y="74"/>
                  <a:pt x="1327" y="74"/>
                  <a:pt x="1327" y="74"/>
                </a:cubicBezTo>
                <a:cubicBezTo>
                  <a:pt x="1327" y="75"/>
                  <a:pt x="1327" y="75"/>
                  <a:pt x="1327" y="75"/>
                </a:cubicBezTo>
                <a:cubicBezTo>
                  <a:pt x="1327" y="76"/>
                  <a:pt x="1327" y="76"/>
                  <a:pt x="1327" y="76"/>
                </a:cubicBezTo>
                <a:cubicBezTo>
                  <a:pt x="1327" y="77"/>
                  <a:pt x="1327" y="77"/>
                  <a:pt x="1327" y="77"/>
                </a:cubicBezTo>
                <a:cubicBezTo>
                  <a:pt x="1331" y="81"/>
                  <a:pt x="1331" y="81"/>
                  <a:pt x="1331" y="81"/>
                </a:cubicBezTo>
                <a:cubicBezTo>
                  <a:pt x="1333" y="83"/>
                  <a:pt x="1333" y="83"/>
                  <a:pt x="1333" y="83"/>
                </a:cubicBezTo>
                <a:cubicBezTo>
                  <a:pt x="1336" y="84"/>
                  <a:pt x="1336" y="84"/>
                  <a:pt x="1336" y="84"/>
                </a:cubicBezTo>
                <a:cubicBezTo>
                  <a:pt x="1337" y="86"/>
                  <a:pt x="1337" y="86"/>
                  <a:pt x="1337" y="86"/>
                </a:cubicBezTo>
                <a:cubicBezTo>
                  <a:pt x="1339" y="86"/>
                  <a:pt x="1339" y="86"/>
                  <a:pt x="1339" y="86"/>
                </a:cubicBezTo>
                <a:cubicBezTo>
                  <a:pt x="1340" y="86"/>
                  <a:pt x="1340" y="86"/>
                  <a:pt x="1340" y="86"/>
                </a:cubicBezTo>
                <a:cubicBezTo>
                  <a:pt x="1340" y="85"/>
                  <a:pt x="1340" y="85"/>
                  <a:pt x="1340" y="85"/>
                </a:cubicBezTo>
                <a:cubicBezTo>
                  <a:pt x="1341" y="83"/>
                  <a:pt x="1341" y="83"/>
                  <a:pt x="1341" y="83"/>
                </a:cubicBezTo>
                <a:cubicBezTo>
                  <a:pt x="1342" y="83"/>
                  <a:pt x="1342" y="83"/>
                  <a:pt x="1342" y="83"/>
                </a:cubicBezTo>
                <a:cubicBezTo>
                  <a:pt x="1343" y="83"/>
                  <a:pt x="1343" y="83"/>
                  <a:pt x="1343" y="83"/>
                </a:cubicBezTo>
                <a:cubicBezTo>
                  <a:pt x="1344" y="82"/>
                  <a:pt x="1344" y="82"/>
                  <a:pt x="1344" y="82"/>
                </a:cubicBezTo>
                <a:cubicBezTo>
                  <a:pt x="1344" y="81"/>
                  <a:pt x="1344" y="81"/>
                  <a:pt x="1344" y="81"/>
                </a:cubicBezTo>
                <a:cubicBezTo>
                  <a:pt x="1345" y="80"/>
                  <a:pt x="1345" y="80"/>
                  <a:pt x="1345" y="80"/>
                </a:cubicBezTo>
                <a:cubicBezTo>
                  <a:pt x="1346" y="80"/>
                  <a:pt x="1346" y="80"/>
                  <a:pt x="1346" y="80"/>
                </a:cubicBezTo>
                <a:cubicBezTo>
                  <a:pt x="1347" y="81"/>
                  <a:pt x="1347" y="81"/>
                  <a:pt x="1347" y="81"/>
                </a:cubicBezTo>
                <a:cubicBezTo>
                  <a:pt x="1349" y="81"/>
                  <a:pt x="1349" y="81"/>
                  <a:pt x="1349" y="81"/>
                </a:cubicBezTo>
                <a:cubicBezTo>
                  <a:pt x="1351" y="81"/>
                  <a:pt x="1351" y="81"/>
                  <a:pt x="1351" y="81"/>
                </a:cubicBezTo>
                <a:cubicBezTo>
                  <a:pt x="1353" y="81"/>
                  <a:pt x="1353" y="81"/>
                  <a:pt x="1353" y="81"/>
                </a:cubicBezTo>
                <a:cubicBezTo>
                  <a:pt x="1353" y="80"/>
                  <a:pt x="1353" y="80"/>
                  <a:pt x="1353" y="80"/>
                </a:cubicBezTo>
                <a:cubicBezTo>
                  <a:pt x="1353" y="78"/>
                  <a:pt x="1353" y="78"/>
                  <a:pt x="1353" y="78"/>
                </a:cubicBezTo>
                <a:cubicBezTo>
                  <a:pt x="1353" y="76"/>
                  <a:pt x="1353" y="76"/>
                  <a:pt x="1353" y="76"/>
                </a:cubicBezTo>
                <a:cubicBezTo>
                  <a:pt x="1354" y="75"/>
                  <a:pt x="1354" y="75"/>
                  <a:pt x="1354" y="75"/>
                </a:cubicBezTo>
                <a:cubicBezTo>
                  <a:pt x="1355" y="72"/>
                  <a:pt x="1355" y="72"/>
                  <a:pt x="1355" y="72"/>
                </a:cubicBezTo>
                <a:cubicBezTo>
                  <a:pt x="1355" y="71"/>
                  <a:pt x="1355" y="71"/>
                  <a:pt x="1355" y="71"/>
                </a:cubicBezTo>
                <a:cubicBezTo>
                  <a:pt x="1355" y="70"/>
                  <a:pt x="1355" y="70"/>
                  <a:pt x="1355" y="70"/>
                </a:cubicBezTo>
                <a:cubicBezTo>
                  <a:pt x="1354" y="70"/>
                  <a:pt x="1354" y="70"/>
                  <a:pt x="1354" y="70"/>
                </a:cubicBezTo>
                <a:cubicBezTo>
                  <a:pt x="1352" y="70"/>
                  <a:pt x="1352" y="70"/>
                  <a:pt x="1352" y="70"/>
                </a:cubicBezTo>
                <a:cubicBezTo>
                  <a:pt x="1351" y="71"/>
                  <a:pt x="1351" y="71"/>
                  <a:pt x="1351" y="71"/>
                </a:cubicBezTo>
                <a:cubicBezTo>
                  <a:pt x="1351" y="70"/>
                  <a:pt x="1351" y="70"/>
                  <a:pt x="1351" y="70"/>
                </a:cubicBezTo>
                <a:cubicBezTo>
                  <a:pt x="1350" y="70"/>
                  <a:pt x="1350" y="70"/>
                  <a:pt x="1350" y="70"/>
                </a:cubicBezTo>
                <a:cubicBezTo>
                  <a:pt x="1349" y="71"/>
                  <a:pt x="1349" y="71"/>
                  <a:pt x="1349" y="71"/>
                </a:cubicBezTo>
                <a:cubicBezTo>
                  <a:pt x="1348" y="70"/>
                  <a:pt x="1348" y="70"/>
                  <a:pt x="1348" y="70"/>
                </a:cubicBezTo>
                <a:cubicBezTo>
                  <a:pt x="1347" y="69"/>
                  <a:pt x="1347" y="69"/>
                  <a:pt x="1347" y="69"/>
                </a:cubicBezTo>
                <a:cubicBezTo>
                  <a:pt x="1346" y="68"/>
                  <a:pt x="1346" y="68"/>
                  <a:pt x="1346" y="68"/>
                </a:cubicBezTo>
                <a:cubicBezTo>
                  <a:pt x="1346" y="67"/>
                  <a:pt x="1346" y="67"/>
                  <a:pt x="1346" y="67"/>
                </a:cubicBezTo>
                <a:cubicBezTo>
                  <a:pt x="1345" y="66"/>
                  <a:pt x="1345" y="66"/>
                  <a:pt x="1345" y="66"/>
                </a:cubicBezTo>
                <a:cubicBezTo>
                  <a:pt x="1344" y="68"/>
                  <a:pt x="1344" y="68"/>
                  <a:pt x="1344" y="68"/>
                </a:cubicBezTo>
                <a:cubicBezTo>
                  <a:pt x="1344" y="70"/>
                  <a:pt x="1344" y="70"/>
                  <a:pt x="1344" y="70"/>
                </a:cubicBezTo>
                <a:cubicBezTo>
                  <a:pt x="1345" y="70"/>
                  <a:pt x="1345" y="70"/>
                  <a:pt x="1345" y="70"/>
                </a:cubicBezTo>
                <a:cubicBezTo>
                  <a:pt x="1345" y="72"/>
                  <a:pt x="1345" y="72"/>
                  <a:pt x="1345" y="72"/>
                </a:cubicBezTo>
                <a:cubicBezTo>
                  <a:pt x="1344" y="73"/>
                  <a:pt x="1344" y="73"/>
                  <a:pt x="1344" y="73"/>
                </a:cubicBezTo>
                <a:cubicBezTo>
                  <a:pt x="1344" y="75"/>
                  <a:pt x="1344" y="75"/>
                  <a:pt x="1344" y="75"/>
                </a:cubicBezTo>
                <a:cubicBezTo>
                  <a:pt x="1344" y="74"/>
                  <a:pt x="1344" y="74"/>
                  <a:pt x="1344" y="74"/>
                </a:cubicBezTo>
                <a:cubicBezTo>
                  <a:pt x="1344" y="71"/>
                  <a:pt x="1344" y="71"/>
                  <a:pt x="1344" y="71"/>
                </a:cubicBezTo>
                <a:cubicBezTo>
                  <a:pt x="1344" y="70"/>
                  <a:pt x="1344" y="70"/>
                  <a:pt x="1344" y="70"/>
                </a:cubicBezTo>
                <a:cubicBezTo>
                  <a:pt x="1343" y="69"/>
                  <a:pt x="1343" y="69"/>
                  <a:pt x="1343" y="69"/>
                </a:cubicBezTo>
                <a:cubicBezTo>
                  <a:pt x="1342" y="67"/>
                  <a:pt x="1342" y="67"/>
                  <a:pt x="1342" y="67"/>
                </a:cubicBezTo>
                <a:cubicBezTo>
                  <a:pt x="1341" y="66"/>
                  <a:pt x="1341" y="66"/>
                  <a:pt x="1341" y="66"/>
                </a:cubicBezTo>
                <a:cubicBezTo>
                  <a:pt x="1340" y="65"/>
                  <a:pt x="1340" y="65"/>
                  <a:pt x="1340" y="65"/>
                </a:cubicBezTo>
                <a:cubicBezTo>
                  <a:pt x="1341" y="65"/>
                  <a:pt x="1341" y="65"/>
                  <a:pt x="1341" y="65"/>
                </a:cubicBezTo>
                <a:cubicBezTo>
                  <a:pt x="1342" y="64"/>
                  <a:pt x="1342" y="64"/>
                  <a:pt x="1342" y="64"/>
                </a:cubicBezTo>
                <a:cubicBezTo>
                  <a:pt x="1343" y="62"/>
                  <a:pt x="1343" y="62"/>
                  <a:pt x="1343" y="62"/>
                </a:cubicBezTo>
                <a:cubicBezTo>
                  <a:pt x="1343" y="61"/>
                  <a:pt x="1343" y="61"/>
                  <a:pt x="1343" y="61"/>
                </a:cubicBezTo>
                <a:cubicBezTo>
                  <a:pt x="1343" y="60"/>
                  <a:pt x="1343" y="60"/>
                  <a:pt x="1343" y="60"/>
                </a:cubicBezTo>
                <a:cubicBezTo>
                  <a:pt x="1341" y="60"/>
                  <a:pt x="1341" y="60"/>
                  <a:pt x="1341" y="60"/>
                </a:cubicBezTo>
                <a:cubicBezTo>
                  <a:pt x="1342" y="59"/>
                  <a:pt x="1342" y="59"/>
                  <a:pt x="1342" y="59"/>
                </a:cubicBezTo>
                <a:cubicBezTo>
                  <a:pt x="1344" y="59"/>
                  <a:pt x="1344" y="59"/>
                  <a:pt x="1344" y="59"/>
                </a:cubicBezTo>
                <a:cubicBezTo>
                  <a:pt x="1345" y="59"/>
                  <a:pt x="1345" y="59"/>
                  <a:pt x="1345" y="59"/>
                </a:cubicBezTo>
                <a:cubicBezTo>
                  <a:pt x="1346" y="57"/>
                  <a:pt x="1346" y="57"/>
                  <a:pt x="1346" y="57"/>
                </a:cubicBezTo>
                <a:cubicBezTo>
                  <a:pt x="1345" y="55"/>
                  <a:pt x="1345" y="55"/>
                  <a:pt x="1345" y="55"/>
                </a:cubicBezTo>
                <a:cubicBezTo>
                  <a:pt x="1345" y="54"/>
                  <a:pt x="1345" y="54"/>
                  <a:pt x="1345" y="54"/>
                </a:cubicBezTo>
                <a:cubicBezTo>
                  <a:pt x="1345" y="53"/>
                  <a:pt x="1345" y="53"/>
                  <a:pt x="1345" y="53"/>
                </a:cubicBezTo>
                <a:cubicBezTo>
                  <a:pt x="1345" y="53"/>
                  <a:pt x="1345" y="53"/>
                  <a:pt x="1345" y="53"/>
                </a:cubicBezTo>
                <a:cubicBezTo>
                  <a:pt x="1347" y="54"/>
                  <a:pt x="1347" y="54"/>
                  <a:pt x="1347" y="54"/>
                </a:cubicBezTo>
                <a:cubicBezTo>
                  <a:pt x="1347" y="56"/>
                  <a:pt x="1347" y="56"/>
                  <a:pt x="1347" y="56"/>
                </a:cubicBezTo>
                <a:cubicBezTo>
                  <a:pt x="1348" y="56"/>
                  <a:pt x="1348" y="56"/>
                  <a:pt x="1348" y="56"/>
                </a:cubicBezTo>
                <a:cubicBezTo>
                  <a:pt x="1349" y="56"/>
                  <a:pt x="1349" y="56"/>
                  <a:pt x="1349" y="56"/>
                </a:cubicBezTo>
                <a:cubicBezTo>
                  <a:pt x="1351" y="55"/>
                  <a:pt x="1351" y="55"/>
                  <a:pt x="1351" y="55"/>
                </a:cubicBezTo>
                <a:cubicBezTo>
                  <a:pt x="1352" y="56"/>
                  <a:pt x="1352" y="56"/>
                  <a:pt x="1352" y="56"/>
                </a:cubicBezTo>
                <a:cubicBezTo>
                  <a:pt x="1354" y="57"/>
                  <a:pt x="1354" y="57"/>
                  <a:pt x="1354" y="57"/>
                </a:cubicBezTo>
                <a:cubicBezTo>
                  <a:pt x="1355" y="57"/>
                  <a:pt x="1355" y="57"/>
                  <a:pt x="1355" y="57"/>
                </a:cubicBezTo>
                <a:cubicBezTo>
                  <a:pt x="1357" y="59"/>
                  <a:pt x="1357" y="59"/>
                  <a:pt x="1357" y="59"/>
                </a:cubicBezTo>
                <a:cubicBezTo>
                  <a:pt x="1357" y="60"/>
                  <a:pt x="1357" y="60"/>
                  <a:pt x="1357" y="60"/>
                </a:cubicBezTo>
                <a:cubicBezTo>
                  <a:pt x="1358" y="62"/>
                  <a:pt x="1358" y="62"/>
                  <a:pt x="1358" y="62"/>
                </a:cubicBezTo>
                <a:cubicBezTo>
                  <a:pt x="1359" y="63"/>
                  <a:pt x="1359" y="63"/>
                  <a:pt x="1359" y="63"/>
                </a:cubicBezTo>
                <a:cubicBezTo>
                  <a:pt x="1359" y="64"/>
                  <a:pt x="1359" y="64"/>
                  <a:pt x="1359" y="64"/>
                </a:cubicBezTo>
                <a:cubicBezTo>
                  <a:pt x="1360" y="64"/>
                  <a:pt x="1360" y="64"/>
                  <a:pt x="1360" y="64"/>
                </a:cubicBezTo>
                <a:cubicBezTo>
                  <a:pt x="1363" y="63"/>
                  <a:pt x="1363" y="63"/>
                  <a:pt x="1363" y="63"/>
                </a:cubicBezTo>
                <a:cubicBezTo>
                  <a:pt x="1364" y="60"/>
                  <a:pt x="1364" y="60"/>
                  <a:pt x="1364" y="60"/>
                </a:cubicBezTo>
                <a:cubicBezTo>
                  <a:pt x="1365" y="58"/>
                  <a:pt x="1365" y="58"/>
                  <a:pt x="1365" y="58"/>
                </a:cubicBezTo>
                <a:cubicBezTo>
                  <a:pt x="1364" y="57"/>
                  <a:pt x="1364" y="57"/>
                  <a:pt x="1364" y="57"/>
                </a:cubicBezTo>
                <a:cubicBezTo>
                  <a:pt x="1364" y="56"/>
                  <a:pt x="1364" y="56"/>
                  <a:pt x="1364" y="56"/>
                </a:cubicBezTo>
                <a:cubicBezTo>
                  <a:pt x="1365" y="55"/>
                  <a:pt x="1365" y="55"/>
                  <a:pt x="1365" y="55"/>
                </a:cubicBezTo>
                <a:cubicBezTo>
                  <a:pt x="1365" y="54"/>
                  <a:pt x="1365" y="54"/>
                  <a:pt x="1365" y="54"/>
                </a:cubicBezTo>
                <a:cubicBezTo>
                  <a:pt x="1363" y="54"/>
                  <a:pt x="1363" y="54"/>
                  <a:pt x="1363" y="54"/>
                </a:cubicBezTo>
                <a:cubicBezTo>
                  <a:pt x="1361" y="54"/>
                  <a:pt x="1361" y="54"/>
                  <a:pt x="1361" y="54"/>
                </a:cubicBezTo>
                <a:cubicBezTo>
                  <a:pt x="1361" y="55"/>
                  <a:pt x="1361" y="55"/>
                  <a:pt x="1361" y="55"/>
                </a:cubicBezTo>
                <a:cubicBezTo>
                  <a:pt x="1359" y="54"/>
                  <a:pt x="1359" y="54"/>
                  <a:pt x="1359" y="54"/>
                </a:cubicBezTo>
                <a:cubicBezTo>
                  <a:pt x="1357" y="52"/>
                  <a:pt x="1357" y="52"/>
                  <a:pt x="1357" y="52"/>
                </a:cubicBezTo>
                <a:cubicBezTo>
                  <a:pt x="1355" y="52"/>
                  <a:pt x="1355" y="52"/>
                  <a:pt x="1355" y="52"/>
                </a:cubicBezTo>
                <a:cubicBezTo>
                  <a:pt x="1354" y="52"/>
                  <a:pt x="1354" y="52"/>
                  <a:pt x="1354" y="52"/>
                </a:cubicBezTo>
                <a:cubicBezTo>
                  <a:pt x="1353" y="51"/>
                  <a:pt x="1353" y="51"/>
                  <a:pt x="1353" y="51"/>
                </a:cubicBezTo>
                <a:cubicBezTo>
                  <a:pt x="1353" y="51"/>
                  <a:pt x="1353" y="51"/>
                  <a:pt x="1353" y="51"/>
                </a:cubicBezTo>
                <a:cubicBezTo>
                  <a:pt x="1354" y="51"/>
                  <a:pt x="1354" y="51"/>
                  <a:pt x="1354" y="51"/>
                </a:cubicBezTo>
                <a:cubicBezTo>
                  <a:pt x="1355" y="49"/>
                  <a:pt x="1355" y="49"/>
                  <a:pt x="1355" y="49"/>
                </a:cubicBezTo>
                <a:cubicBezTo>
                  <a:pt x="1355" y="46"/>
                  <a:pt x="1355" y="46"/>
                  <a:pt x="1355" y="46"/>
                </a:cubicBezTo>
                <a:cubicBezTo>
                  <a:pt x="1355" y="45"/>
                  <a:pt x="1355" y="45"/>
                  <a:pt x="1355" y="45"/>
                </a:cubicBezTo>
                <a:cubicBezTo>
                  <a:pt x="1356" y="44"/>
                  <a:pt x="1356" y="44"/>
                  <a:pt x="1356" y="44"/>
                </a:cubicBezTo>
                <a:cubicBezTo>
                  <a:pt x="1353" y="43"/>
                  <a:pt x="1353" y="43"/>
                  <a:pt x="1353" y="43"/>
                </a:cubicBezTo>
                <a:cubicBezTo>
                  <a:pt x="1352" y="43"/>
                  <a:pt x="1352" y="43"/>
                  <a:pt x="1352" y="43"/>
                </a:cubicBezTo>
                <a:cubicBezTo>
                  <a:pt x="1351" y="45"/>
                  <a:pt x="1351" y="45"/>
                  <a:pt x="1351" y="45"/>
                </a:cubicBezTo>
                <a:cubicBezTo>
                  <a:pt x="1349" y="46"/>
                  <a:pt x="1349" y="46"/>
                  <a:pt x="1349" y="46"/>
                </a:cubicBezTo>
                <a:cubicBezTo>
                  <a:pt x="1347" y="45"/>
                  <a:pt x="1347" y="45"/>
                  <a:pt x="1347" y="45"/>
                </a:cubicBezTo>
                <a:cubicBezTo>
                  <a:pt x="1346" y="44"/>
                  <a:pt x="1346" y="44"/>
                  <a:pt x="1346" y="44"/>
                </a:cubicBezTo>
                <a:cubicBezTo>
                  <a:pt x="1346" y="42"/>
                  <a:pt x="1346" y="42"/>
                  <a:pt x="1346" y="42"/>
                </a:cubicBezTo>
                <a:cubicBezTo>
                  <a:pt x="1345" y="41"/>
                  <a:pt x="1345" y="41"/>
                  <a:pt x="1345" y="41"/>
                </a:cubicBezTo>
                <a:cubicBezTo>
                  <a:pt x="1345" y="40"/>
                  <a:pt x="1345" y="40"/>
                  <a:pt x="1345" y="40"/>
                </a:cubicBezTo>
                <a:cubicBezTo>
                  <a:pt x="1346" y="41"/>
                  <a:pt x="1346" y="41"/>
                  <a:pt x="1346" y="41"/>
                </a:cubicBezTo>
                <a:cubicBezTo>
                  <a:pt x="1347" y="42"/>
                  <a:pt x="1347" y="42"/>
                  <a:pt x="1347" y="42"/>
                </a:cubicBezTo>
                <a:cubicBezTo>
                  <a:pt x="1346" y="42"/>
                  <a:pt x="1346" y="42"/>
                  <a:pt x="1346" y="42"/>
                </a:cubicBezTo>
                <a:cubicBezTo>
                  <a:pt x="1347" y="44"/>
                  <a:pt x="1347" y="44"/>
                  <a:pt x="1347" y="44"/>
                </a:cubicBezTo>
                <a:cubicBezTo>
                  <a:pt x="1349" y="44"/>
                  <a:pt x="1349" y="44"/>
                  <a:pt x="1349" y="44"/>
                </a:cubicBezTo>
                <a:cubicBezTo>
                  <a:pt x="1350" y="44"/>
                  <a:pt x="1350" y="44"/>
                  <a:pt x="1350" y="44"/>
                </a:cubicBezTo>
                <a:cubicBezTo>
                  <a:pt x="1352" y="42"/>
                  <a:pt x="1352" y="42"/>
                  <a:pt x="1352" y="42"/>
                </a:cubicBezTo>
                <a:cubicBezTo>
                  <a:pt x="1353" y="42"/>
                  <a:pt x="1353" y="42"/>
                  <a:pt x="1353" y="42"/>
                </a:cubicBezTo>
                <a:cubicBezTo>
                  <a:pt x="1355" y="42"/>
                  <a:pt x="1355" y="42"/>
                  <a:pt x="1355" y="42"/>
                </a:cubicBezTo>
                <a:cubicBezTo>
                  <a:pt x="1356" y="42"/>
                  <a:pt x="1356" y="42"/>
                  <a:pt x="1356" y="42"/>
                </a:cubicBezTo>
                <a:cubicBezTo>
                  <a:pt x="1357" y="43"/>
                  <a:pt x="1357" y="43"/>
                  <a:pt x="1357" y="43"/>
                </a:cubicBezTo>
                <a:cubicBezTo>
                  <a:pt x="1357" y="42"/>
                  <a:pt x="1357" y="42"/>
                  <a:pt x="1357" y="42"/>
                </a:cubicBezTo>
                <a:cubicBezTo>
                  <a:pt x="1357" y="41"/>
                  <a:pt x="1357" y="41"/>
                  <a:pt x="1357" y="41"/>
                </a:cubicBezTo>
                <a:cubicBezTo>
                  <a:pt x="1353" y="37"/>
                  <a:pt x="1353" y="37"/>
                  <a:pt x="1353" y="37"/>
                </a:cubicBezTo>
                <a:cubicBezTo>
                  <a:pt x="1350" y="35"/>
                  <a:pt x="1350" y="35"/>
                  <a:pt x="1350" y="35"/>
                </a:cubicBezTo>
                <a:cubicBezTo>
                  <a:pt x="1348" y="35"/>
                  <a:pt x="1348" y="35"/>
                  <a:pt x="1348" y="35"/>
                </a:cubicBezTo>
                <a:cubicBezTo>
                  <a:pt x="1345" y="33"/>
                  <a:pt x="1345" y="33"/>
                  <a:pt x="1345" y="33"/>
                </a:cubicBezTo>
                <a:cubicBezTo>
                  <a:pt x="1343" y="31"/>
                  <a:pt x="1343" y="31"/>
                  <a:pt x="1343" y="31"/>
                </a:cubicBezTo>
                <a:cubicBezTo>
                  <a:pt x="1343" y="30"/>
                  <a:pt x="1343" y="30"/>
                  <a:pt x="1343" y="30"/>
                </a:cubicBezTo>
                <a:cubicBezTo>
                  <a:pt x="1343" y="29"/>
                  <a:pt x="1343" y="29"/>
                  <a:pt x="1343" y="29"/>
                </a:cubicBezTo>
                <a:cubicBezTo>
                  <a:pt x="1344" y="30"/>
                  <a:pt x="1344" y="30"/>
                  <a:pt x="1344" y="30"/>
                </a:cubicBezTo>
                <a:cubicBezTo>
                  <a:pt x="1345" y="32"/>
                  <a:pt x="1345" y="32"/>
                  <a:pt x="1345" y="32"/>
                </a:cubicBezTo>
                <a:cubicBezTo>
                  <a:pt x="1346" y="33"/>
                  <a:pt x="1346" y="33"/>
                  <a:pt x="1346" y="33"/>
                </a:cubicBezTo>
                <a:cubicBezTo>
                  <a:pt x="1349" y="33"/>
                  <a:pt x="1349" y="33"/>
                  <a:pt x="1349" y="33"/>
                </a:cubicBezTo>
                <a:cubicBezTo>
                  <a:pt x="1349" y="32"/>
                  <a:pt x="1349" y="32"/>
                  <a:pt x="1349" y="32"/>
                </a:cubicBezTo>
                <a:cubicBezTo>
                  <a:pt x="1349" y="31"/>
                  <a:pt x="1349" y="31"/>
                  <a:pt x="1349" y="31"/>
                </a:cubicBezTo>
                <a:cubicBezTo>
                  <a:pt x="1347" y="29"/>
                  <a:pt x="1347" y="29"/>
                  <a:pt x="1347" y="29"/>
                </a:cubicBezTo>
                <a:cubicBezTo>
                  <a:pt x="1347" y="29"/>
                  <a:pt x="1347" y="29"/>
                  <a:pt x="1347" y="29"/>
                </a:cubicBezTo>
                <a:cubicBezTo>
                  <a:pt x="1347" y="28"/>
                  <a:pt x="1347" y="28"/>
                  <a:pt x="1347" y="28"/>
                </a:cubicBezTo>
                <a:cubicBezTo>
                  <a:pt x="1347" y="28"/>
                  <a:pt x="1347" y="28"/>
                  <a:pt x="1347" y="28"/>
                </a:cubicBezTo>
                <a:cubicBezTo>
                  <a:pt x="1348" y="29"/>
                  <a:pt x="1348" y="29"/>
                  <a:pt x="1348" y="29"/>
                </a:cubicBezTo>
                <a:cubicBezTo>
                  <a:pt x="1351" y="31"/>
                  <a:pt x="1351" y="31"/>
                  <a:pt x="1351" y="31"/>
                </a:cubicBezTo>
                <a:cubicBezTo>
                  <a:pt x="1351" y="33"/>
                  <a:pt x="1351" y="33"/>
                  <a:pt x="1351" y="33"/>
                </a:cubicBezTo>
                <a:cubicBezTo>
                  <a:pt x="1351" y="34"/>
                  <a:pt x="1351" y="34"/>
                  <a:pt x="1351" y="34"/>
                </a:cubicBezTo>
                <a:cubicBezTo>
                  <a:pt x="1353" y="35"/>
                  <a:pt x="1353" y="35"/>
                  <a:pt x="1353" y="35"/>
                </a:cubicBezTo>
                <a:cubicBezTo>
                  <a:pt x="1355" y="37"/>
                  <a:pt x="1355" y="37"/>
                  <a:pt x="1355" y="37"/>
                </a:cubicBezTo>
                <a:cubicBezTo>
                  <a:pt x="1357" y="39"/>
                  <a:pt x="1357" y="39"/>
                  <a:pt x="1357" y="39"/>
                </a:cubicBezTo>
                <a:cubicBezTo>
                  <a:pt x="1358" y="40"/>
                  <a:pt x="1358" y="40"/>
                  <a:pt x="1358" y="40"/>
                </a:cubicBezTo>
                <a:cubicBezTo>
                  <a:pt x="1359" y="39"/>
                  <a:pt x="1359" y="39"/>
                  <a:pt x="1359" y="39"/>
                </a:cubicBezTo>
                <a:cubicBezTo>
                  <a:pt x="1360" y="40"/>
                  <a:pt x="1360" y="40"/>
                  <a:pt x="1360" y="40"/>
                </a:cubicBezTo>
                <a:cubicBezTo>
                  <a:pt x="1361" y="40"/>
                  <a:pt x="1361" y="40"/>
                  <a:pt x="1361" y="40"/>
                </a:cubicBezTo>
                <a:cubicBezTo>
                  <a:pt x="1359" y="42"/>
                  <a:pt x="1359" y="42"/>
                  <a:pt x="1359" y="42"/>
                </a:cubicBezTo>
                <a:cubicBezTo>
                  <a:pt x="1360" y="43"/>
                  <a:pt x="1360" y="43"/>
                  <a:pt x="1360" y="43"/>
                </a:cubicBezTo>
                <a:cubicBezTo>
                  <a:pt x="1361" y="44"/>
                  <a:pt x="1361" y="44"/>
                  <a:pt x="1361" y="44"/>
                </a:cubicBezTo>
                <a:cubicBezTo>
                  <a:pt x="1362" y="44"/>
                  <a:pt x="1362" y="44"/>
                  <a:pt x="1362" y="44"/>
                </a:cubicBezTo>
                <a:cubicBezTo>
                  <a:pt x="1363" y="43"/>
                  <a:pt x="1363" y="43"/>
                  <a:pt x="1363" y="43"/>
                </a:cubicBezTo>
                <a:cubicBezTo>
                  <a:pt x="1364" y="39"/>
                  <a:pt x="1364" y="39"/>
                  <a:pt x="1364" y="39"/>
                </a:cubicBezTo>
                <a:cubicBezTo>
                  <a:pt x="1365" y="38"/>
                  <a:pt x="1365" y="38"/>
                  <a:pt x="1365" y="38"/>
                </a:cubicBezTo>
                <a:cubicBezTo>
                  <a:pt x="1365" y="37"/>
                  <a:pt x="1365" y="37"/>
                  <a:pt x="1365" y="37"/>
                </a:cubicBezTo>
                <a:cubicBezTo>
                  <a:pt x="1365" y="35"/>
                  <a:pt x="1365" y="35"/>
                  <a:pt x="1365" y="35"/>
                </a:cubicBezTo>
                <a:cubicBezTo>
                  <a:pt x="1365" y="35"/>
                  <a:pt x="1365" y="35"/>
                  <a:pt x="1365" y="35"/>
                </a:cubicBezTo>
                <a:cubicBezTo>
                  <a:pt x="1365" y="32"/>
                  <a:pt x="1365" y="32"/>
                  <a:pt x="1365" y="32"/>
                </a:cubicBezTo>
                <a:cubicBezTo>
                  <a:pt x="1364" y="31"/>
                  <a:pt x="1364" y="31"/>
                  <a:pt x="1364" y="31"/>
                </a:cubicBezTo>
                <a:cubicBezTo>
                  <a:pt x="1364" y="30"/>
                  <a:pt x="1364" y="30"/>
                  <a:pt x="1364" y="30"/>
                </a:cubicBezTo>
                <a:cubicBezTo>
                  <a:pt x="1365" y="29"/>
                  <a:pt x="1365" y="29"/>
                  <a:pt x="1365" y="29"/>
                </a:cubicBezTo>
                <a:cubicBezTo>
                  <a:pt x="1365" y="30"/>
                  <a:pt x="1365" y="30"/>
                  <a:pt x="1365" y="30"/>
                </a:cubicBezTo>
                <a:cubicBezTo>
                  <a:pt x="1367" y="30"/>
                  <a:pt x="1367" y="30"/>
                  <a:pt x="1367" y="30"/>
                </a:cubicBezTo>
                <a:cubicBezTo>
                  <a:pt x="1367" y="30"/>
                  <a:pt x="1367" y="30"/>
                  <a:pt x="1367" y="30"/>
                </a:cubicBezTo>
                <a:cubicBezTo>
                  <a:pt x="1367" y="29"/>
                  <a:pt x="1367" y="29"/>
                  <a:pt x="1367" y="29"/>
                </a:cubicBezTo>
                <a:cubicBezTo>
                  <a:pt x="1365" y="27"/>
                  <a:pt x="1365" y="27"/>
                  <a:pt x="1365" y="27"/>
                </a:cubicBezTo>
                <a:cubicBezTo>
                  <a:pt x="1364" y="26"/>
                  <a:pt x="1364" y="26"/>
                  <a:pt x="1364" y="26"/>
                </a:cubicBezTo>
                <a:cubicBezTo>
                  <a:pt x="1363" y="25"/>
                  <a:pt x="1363" y="25"/>
                  <a:pt x="1363" y="25"/>
                </a:cubicBezTo>
                <a:cubicBezTo>
                  <a:pt x="1362" y="24"/>
                  <a:pt x="1362" y="24"/>
                  <a:pt x="1362" y="24"/>
                </a:cubicBezTo>
                <a:cubicBezTo>
                  <a:pt x="1360" y="24"/>
                  <a:pt x="1360" y="24"/>
                  <a:pt x="1360" y="24"/>
                </a:cubicBezTo>
                <a:cubicBezTo>
                  <a:pt x="1359" y="23"/>
                  <a:pt x="1359" y="23"/>
                  <a:pt x="1359" y="23"/>
                </a:cubicBezTo>
                <a:cubicBezTo>
                  <a:pt x="1358" y="22"/>
                  <a:pt x="1358" y="22"/>
                  <a:pt x="1358" y="22"/>
                </a:cubicBezTo>
                <a:cubicBezTo>
                  <a:pt x="1355" y="22"/>
                  <a:pt x="1355" y="22"/>
                  <a:pt x="1355" y="22"/>
                </a:cubicBezTo>
                <a:cubicBezTo>
                  <a:pt x="1353" y="22"/>
                  <a:pt x="1353" y="22"/>
                  <a:pt x="1353" y="22"/>
                </a:cubicBezTo>
                <a:cubicBezTo>
                  <a:pt x="1352" y="22"/>
                  <a:pt x="1352" y="22"/>
                  <a:pt x="1352" y="22"/>
                </a:cubicBezTo>
                <a:cubicBezTo>
                  <a:pt x="1352" y="22"/>
                  <a:pt x="1352" y="22"/>
                  <a:pt x="1352" y="22"/>
                </a:cubicBezTo>
                <a:cubicBezTo>
                  <a:pt x="1351" y="21"/>
                  <a:pt x="1351" y="21"/>
                  <a:pt x="1351" y="21"/>
                </a:cubicBezTo>
                <a:cubicBezTo>
                  <a:pt x="1352" y="20"/>
                  <a:pt x="1352" y="20"/>
                  <a:pt x="1352" y="20"/>
                </a:cubicBezTo>
                <a:cubicBezTo>
                  <a:pt x="1352" y="21"/>
                  <a:pt x="1352" y="21"/>
                  <a:pt x="1352" y="21"/>
                </a:cubicBezTo>
                <a:cubicBezTo>
                  <a:pt x="1353" y="21"/>
                  <a:pt x="1353" y="21"/>
                  <a:pt x="1353" y="21"/>
                </a:cubicBezTo>
                <a:cubicBezTo>
                  <a:pt x="1355" y="21"/>
                  <a:pt x="1355" y="21"/>
                  <a:pt x="1355" y="21"/>
                </a:cubicBezTo>
                <a:cubicBezTo>
                  <a:pt x="1358" y="21"/>
                  <a:pt x="1358" y="21"/>
                  <a:pt x="1358" y="21"/>
                </a:cubicBezTo>
                <a:cubicBezTo>
                  <a:pt x="1359" y="21"/>
                  <a:pt x="1359" y="21"/>
                  <a:pt x="1359" y="21"/>
                </a:cubicBezTo>
                <a:cubicBezTo>
                  <a:pt x="1360" y="21"/>
                  <a:pt x="1360" y="21"/>
                  <a:pt x="1360" y="21"/>
                </a:cubicBezTo>
                <a:cubicBezTo>
                  <a:pt x="1361" y="20"/>
                  <a:pt x="1361" y="20"/>
                  <a:pt x="1361" y="20"/>
                </a:cubicBezTo>
                <a:cubicBezTo>
                  <a:pt x="1363" y="21"/>
                  <a:pt x="1363" y="21"/>
                  <a:pt x="1363" y="21"/>
                </a:cubicBezTo>
                <a:cubicBezTo>
                  <a:pt x="1363" y="21"/>
                  <a:pt x="1363" y="21"/>
                  <a:pt x="1363" y="21"/>
                </a:cubicBezTo>
                <a:cubicBezTo>
                  <a:pt x="1365" y="21"/>
                  <a:pt x="1365" y="21"/>
                  <a:pt x="1365" y="21"/>
                </a:cubicBezTo>
                <a:cubicBezTo>
                  <a:pt x="1365" y="20"/>
                  <a:pt x="1365" y="20"/>
                  <a:pt x="1365" y="20"/>
                </a:cubicBezTo>
                <a:cubicBezTo>
                  <a:pt x="1365" y="19"/>
                  <a:pt x="1365" y="19"/>
                  <a:pt x="1365" y="19"/>
                </a:cubicBezTo>
                <a:cubicBezTo>
                  <a:pt x="1365" y="17"/>
                  <a:pt x="1365" y="17"/>
                  <a:pt x="1365" y="17"/>
                </a:cubicBezTo>
                <a:cubicBezTo>
                  <a:pt x="1365" y="16"/>
                  <a:pt x="1365" y="16"/>
                  <a:pt x="1365" y="16"/>
                </a:cubicBezTo>
                <a:cubicBezTo>
                  <a:pt x="1364" y="16"/>
                  <a:pt x="1364" y="16"/>
                  <a:pt x="1364" y="16"/>
                </a:cubicBezTo>
                <a:cubicBezTo>
                  <a:pt x="1363" y="16"/>
                  <a:pt x="1363" y="16"/>
                  <a:pt x="1363" y="16"/>
                </a:cubicBezTo>
                <a:cubicBezTo>
                  <a:pt x="1362" y="17"/>
                  <a:pt x="1362" y="17"/>
                  <a:pt x="1362" y="17"/>
                </a:cubicBezTo>
                <a:cubicBezTo>
                  <a:pt x="1360" y="16"/>
                  <a:pt x="1360" y="16"/>
                  <a:pt x="1360" y="16"/>
                </a:cubicBezTo>
                <a:cubicBezTo>
                  <a:pt x="1358" y="16"/>
                  <a:pt x="1358" y="16"/>
                  <a:pt x="1358" y="16"/>
                </a:cubicBezTo>
                <a:cubicBezTo>
                  <a:pt x="1357" y="15"/>
                  <a:pt x="1357" y="15"/>
                  <a:pt x="1357" y="15"/>
                </a:cubicBezTo>
                <a:cubicBezTo>
                  <a:pt x="1356" y="15"/>
                  <a:pt x="1356" y="15"/>
                  <a:pt x="1356" y="15"/>
                </a:cubicBezTo>
                <a:cubicBezTo>
                  <a:pt x="1354" y="15"/>
                  <a:pt x="1354" y="15"/>
                  <a:pt x="1354" y="15"/>
                </a:cubicBezTo>
                <a:cubicBezTo>
                  <a:pt x="1353" y="16"/>
                  <a:pt x="1353" y="16"/>
                  <a:pt x="1353" y="16"/>
                </a:cubicBezTo>
                <a:cubicBezTo>
                  <a:pt x="1352" y="16"/>
                  <a:pt x="1352" y="16"/>
                  <a:pt x="1352" y="16"/>
                </a:cubicBezTo>
                <a:cubicBezTo>
                  <a:pt x="1352" y="14"/>
                  <a:pt x="1352" y="14"/>
                  <a:pt x="1352" y="14"/>
                </a:cubicBezTo>
                <a:cubicBezTo>
                  <a:pt x="1353" y="13"/>
                  <a:pt x="1353" y="13"/>
                  <a:pt x="1353" y="13"/>
                </a:cubicBezTo>
                <a:cubicBezTo>
                  <a:pt x="1352" y="12"/>
                  <a:pt x="1352" y="12"/>
                  <a:pt x="1352" y="12"/>
                </a:cubicBezTo>
                <a:cubicBezTo>
                  <a:pt x="1350" y="12"/>
                  <a:pt x="1350" y="12"/>
                  <a:pt x="1350" y="12"/>
                </a:cubicBezTo>
                <a:cubicBezTo>
                  <a:pt x="1349" y="12"/>
                  <a:pt x="1349" y="12"/>
                  <a:pt x="1349" y="12"/>
                </a:cubicBezTo>
                <a:cubicBezTo>
                  <a:pt x="1347" y="12"/>
                  <a:pt x="1347" y="12"/>
                  <a:pt x="1347" y="12"/>
                </a:cubicBezTo>
                <a:cubicBezTo>
                  <a:pt x="1348" y="11"/>
                  <a:pt x="1348" y="11"/>
                  <a:pt x="1348" y="11"/>
                </a:cubicBezTo>
                <a:cubicBezTo>
                  <a:pt x="1349" y="11"/>
                  <a:pt x="1349" y="11"/>
                  <a:pt x="1349" y="11"/>
                </a:cubicBezTo>
                <a:cubicBezTo>
                  <a:pt x="1351" y="11"/>
                  <a:pt x="1351" y="11"/>
                  <a:pt x="1351" y="11"/>
                </a:cubicBezTo>
                <a:cubicBezTo>
                  <a:pt x="1352" y="11"/>
                  <a:pt x="1352" y="11"/>
                  <a:pt x="1352" y="11"/>
                </a:cubicBezTo>
                <a:cubicBezTo>
                  <a:pt x="1352" y="10"/>
                  <a:pt x="1352" y="10"/>
                  <a:pt x="1352" y="10"/>
                </a:cubicBezTo>
                <a:cubicBezTo>
                  <a:pt x="1351" y="9"/>
                  <a:pt x="1351" y="9"/>
                  <a:pt x="1351" y="9"/>
                </a:cubicBezTo>
                <a:cubicBezTo>
                  <a:pt x="1352" y="8"/>
                  <a:pt x="1352" y="8"/>
                  <a:pt x="1352" y="8"/>
                </a:cubicBezTo>
                <a:cubicBezTo>
                  <a:pt x="1351" y="7"/>
                  <a:pt x="1351" y="7"/>
                  <a:pt x="1351" y="7"/>
                </a:cubicBezTo>
                <a:cubicBezTo>
                  <a:pt x="1351" y="6"/>
                  <a:pt x="1351" y="6"/>
                  <a:pt x="1351" y="6"/>
                </a:cubicBezTo>
                <a:cubicBezTo>
                  <a:pt x="1352" y="5"/>
                  <a:pt x="1352" y="5"/>
                  <a:pt x="1352" y="5"/>
                </a:cubicBezTo>
                <a:cubicBezTo>
                  <a:pt x="1351" y="4"/>
                  <a:pt x="1351" y="4"/>
                  <a:pt x="1351" y="4"/>
                </a:cubicBezTo>
                <a:cubicBezTo>
                  <a:pt x="1351" y="3"/>
                  <a:pt x="1351" y="3"/>
                  <a:pt x="1351" y="3"/>
                </a:cubicBezTo>
                <a:cubicBezTo>
                  <a:pt x="1352" y="2"/>
                  <a:pt x="1352" y="2"/>
                  <a:pt x="1352" y="2"/>
                </a:cubicBezTo>
                <a:cubicBezTo>
                  <a:pt x="1353" y="3"/>
                  <a:pt x="1353" y="3"/>
                  <a:pt x="1353" y="3"/>
                </a:cubicBezTo>
                <a:cubicBezTo>
                  <a:pt x="1352" y="4"/>
                  <a:pt x="1352" y="4"/>
                  <a:pt x="1352" y="4"/>
                </a:cubicBezTo>
                <a:cubicBezTo>
                  <a:pt x="1353" y="5"/>
                  <a:pt x="1353" y="5"/>
                  <a:pt x="1353" y="5"/>
                </a:cubicBezTo>
                <a:cubicBezTo>
                  <a:pt x="1354" y="5"/>
                  <a:pt x="1354" y="5"/>
                  <a:pt x="1354" y="5"/>
                </a:cubicBezTo>
                <a:cubicBezTo>
                  <a:pt x="1356" y="4"/>
                  <a:pt x="1356" y="4"/>
                  <a:pt x="1356" y="4"/>
                </a:cubicBezTo>
                <a:cubicBezTo>
                  <a:pt x="1358" y="2"/>
                  <a:pt x="1358" y="2"/>
                  <a:pt x="1358" y="2"/>
                </a:cubicBezTo>
                <a:cubicBezTo>
                  <a:pt x="1359" y="2"/>
                  <a:pt x="1359" y="2"/>
                  <a:pt x="1359" y="2"/>
                </a:cubicBezTo>
                <a:cubicBezTo>
                  <a:pt x="1360" y="1"/>
                  <a:pt x="1360" y="1"/>
                  <a:pt x="1360" y="1"/>
                </a:cubicBezTo>
                <a:cubicBezTo>
                  <a:pt x="1359" y="0"/>
                  <a:pt x="1359" y="0"/>
                  <a:pt x="1359" y="0"/>
                </a:cubicBezTo>
                <a:cubicBezTo>
                  <a:pt x="1087" y="0"/>
                  <a:pt x="1087" y="0"/>
                  <a:pt x="1087" y="0"/>
                </a:cubicBezTo>
                <a:cubicBezTo>
                  <a:pt x="1087" y="0"/>
                  <a:pt x="1087" y="0"/>
                  <a:pt x="1087" y="0"/>
                </a:cubicBezTo>
                <a:cubicBezTo>
                  <a:pt x="1087" y="1"/>
                  <a:pt x="1087" y="1"/>
                  <a:pt x="1087" y="1"/>
                </a:cubicBezTo>
                <a:cubicBezTo>
                  <a:pt x="1086" y="2"/>
                  <a:pt x="1086" y="2"/>
                  <a:pt x="1086" y="2"/>
                </a:cubicBezTo>
                <a:cubicBezTo>
                  <a:pt x="1085" y="4"/>
                  <a:pt x="1085" y="4"/>
                  <a:pt x="1085" y="4"/>
                </a:cubicBezTo>
                <a:cubicBezTo>
                  <a:pt x="1084" y="5"/>
                  <a:pt x="1084" y="5"/>
                  <a:pt x="1084" y="5"/>
                </a:cubicBezTo>
                <a:cubicBezTo>
                  <a:pt x="1084" y="6"/>
                  <a:pt x="1084" y="6"/>
                  <a:pt x="1084" y="6"/>
                </a:cubicBezTo>
                <a:cubicBezTo>
                  <a:pt x="1086" y="6"/>
                  <a:pt x="1086" y="6"/>
                  <a:pt x="1086" y="6"/>
                </a:cubicBezTo>
                <a:cubicBezTo>
                  <a:pt x="1086" y="6"/>
                  <a:pt x="1086" y="6"/>
                  <a:pt x="1086" y="6"/>
                </a:cubicBezTo>
                <a:cubicBezTo>
                  <a:pt x="1086" y="7"/>
                  <a:pt x="1086" y="7"/>
                  <a:pt x="1086" y="7"/>
                </a:cubicBezTo>
                <a:cubicBezTo>
                  <a:pt x="1084" y="8"/>
                  <a:pt x="1084" y="8"/>
                  <a:pt x="1084" y="8"/>
                </a:cubicBezTo>
                <a:cubicBezTo>
                  <a:pt x="1082" y="10"/>
                  <a:pt x="1082" y="10"/>
                  <a:pt x="1082" y="10"/>
                </a:cubicBezTo>
                <a:cubicBezTo>
                  <a:pt x="1082" y="10"/>
                  <a:pt x="1082" y="10"/>
                  <a:pt x="1082" y="10"/>
                </a:cubicBezTo>
                <a:cubicBezTo>
                  <a:pt x="1082" y="11"/>
                  <a:pt x="1082" y="11"/>
                  <a:pt x="1082" y="11"/>
                </a:cubicBezTo>
                <a:cubicBezTo>
                  <a:pt x="1083" y="12"/>
                  <a:pt x="1083" y="12"/>
                  <a:pt x="1083" y="12"/>
                </a:cubicBezTo>
                <a:cubicBezTo>
                  <a:pt x="1083" y="13"/>
                  <a:pt x="1083" y="13"/>
                  <a:pt x="1083" y="13"/>
                </a:cubicBezTo>
                <a:cubicBezTo>
                  <a:pt x="1083" y="14"/>
                  <a:pt x="1083" y="14"/>
                  <a:pt x="1083" y="14"/>
                </a:cubicBezTo>
                <a:cubicBezTo>
                  <a:pt x="1087" y="17"/>
                  <a:pt x="1087" y="17"/>
                  <a:pt x="1087" y="17"/>
                </a:cubicBezTo>
                <a:cubicBezTo>
                  <a:pt x="1088" y="18"/>
                  <a:pt x="1088" y="18"/>
                  <a:pt x="1088" y="18"/>
                </a:cubicBezTo>
                <a:cubicBezTo>
                  <a:pt x="1088" y="20"/>
                  <a:pt x="1088" y="20"/>
                  <a:pt x="1088" y="20"/>
                </a:cubicBezTo>
                <a:cubicBezTo>
                  <a:pt x="1088" y="21"/>
                  <a:pt x="1088" y="21"/>
                  <a:pt x="1088" y="21"/>
                </a:cubicBezTo>
                <a:cubicBezTo>
                  <a:pt x="1087" y="22"/>
                  <a:pt x="1087" y="22"/>
                  <a:pt x="1087" y="22"/>
                </a:cubicBezTo>
                <a:cubicBezTo>
                  <a:pt x="1087" y="23"/>
                  <a:pt x="1087" y="23"/>
                  <a:pt x="1087" y="23"/>
                </a:cubicBezTo>
                <a:cubicBezTo>
                  <a:pt x="1088" y="24"/>
                  <a:pt x="1088" y="24"/>
                  <a:pt x="1088" y="24"/>
                </a:cubicBezTo>
                <a:cubicBezTo>
                  <a:pt x="1089" y="24"/>
                  <a:pt x="1089" y="24"/>
                  <a:pt x="1089" y="24"/>
                </a:cubicBezTo>
                <a:cubicBezTo>
                  <a:pt x="1090" y="25"/>
                  <a:pt x="1090" y="25"/>
                  <a:pt x="1090" y="25"/>
                </a:cubicBezTo>
                <a:cubicBezTo>
                  <a:pt x="1090" y="26"/>
                  <a:pt x="1090" y="26"/>
                  <a:pt x="1090" y="26"/>
                </a:cubicBezTo>
                <a:cubicBezTo>
                  <a:pt x="1091" y="28"/>
                  <a:pt x="1091" y="28"/>
                  <a:pt x="1091" y="28"/>
                </a:cubicBezTo>
                <a:cubicBezTo>
                  <a:pt x="1092" y="29"/>
                  <a:pt x="1092" y="29"/>
                  <a:pt x="1092" y="29"/>
                </a:cubicBezTo>
                <a:cubicBezTo>
                  <a:pt x="1092" y="31"/>
                  <a:pt x="1092" y="31"/>
                  <a:pt x="1092" y="31"/>
                </a:cubicBezTo>
                <a:cubicBezTo>
                  <a:pt x="1092" y="32"/>
                  <a:pt x="1092" y="32"/>
                  <a:pt x="1092" y="32"/>
                </a:cubicBezTo>
                <a:cubicBezTo>
                  <a:pt x="1090" y="33"/>
                  <a:pt x="1090" y="33"/>
                  <a:pt x="1090" y="33"/>
                </a:cubicBezTo>
                <a:cubicBezTo>
                  <a:pt x="1089" y="34"/>
                  <a:pt x="1089" y="34"/>
                  <a:pt x="1089" y="34"/>
                </a:cubicBezTo>
                <a:cubicBezTo>
                  <a:pt x="1088" y="35"/>
                  <a:pt x="1088" y="35"/>
                  <a:pt x="1088" y="35"/>
                </a:cubicBezTo>
                <a:cubicBezTo>
                  <a:pt x="1087" y="37"/>
                  <a:pt x="1087" y="37"/>
                  <a:pt x="1087" y="37"/>
                </a:cubicBezTo>
                <a:cubicBezTo>
                  <a:pt x="1086" y="37"/>
                  <a:pt x="1086" y="37"/>
                  <a:pt x="1086" y="37"/>
                </a:cubicBezTo>
                <a:cubicBezTo>
                  <a:pt x="1084" y="38"/>
                  <a:pt x="1084" y="38"/>
                  <a:pt x="1084" y="38"/>
                </a:cubicBezTo>
                <a:cubicBezTo>
                  <a:pt x="1084" y="39"/>
                  <a:pt x="1084" y="39"/>
                  <a:pt x="1084" y="39"/>
                </a:cubicBezTo>
                <a:cubicBezTo>
                  <a:pt x="1085" y="39"/>
                  <a:pt x="1085" y="39"/>
                  <a:pt x="1085" y="39"/>
                </a:cubicBezTo>
                <a:cubicBezTo>
                  <a:pt x="1086" y="39"/>
                  <a:pt x="1086" y="39"/>
                  <a:pt x="1086" y="39"/>
                </a:cubicBezTo>
                <a:cubicBezTo>
                  <a:pt x="1086" y="38"/>
                  <a:pt x="1086" y="38"/>
                  <a:pt x="1086" y="38"/>
                </a:cubicBezTo>
                <a:cubicBezTo>
                  <a:pt x="1088" y="38"/>
                  <a:pt x="1088" y="38"/>
                  <a:pt x="1088" y="38"/>
                </a:cubicBezTo>
                <a:cubicBezTo>
                  <a:pt x="1089" y="36"/>
                  <a:pt x="1089" y="36"/>
                  <a:pt x="1089" y="36"/>
                </a:cubicBezTo>
                <a:cubicBezTo>
                  <a:pt x="1090" y="36"/>
                  <a:pt x="1090" y="36"/>
                  <a:pt x="1090" y="36"/>
                </a:cubicBezTo>
                <a:cubicBezTo>
                  <a:pt x="1091" y="36"/>
                  <a:pt x="1091" y="36"/>
                  <a:pt x="1091" y="36"/>
                </a:cubicBezTo>
                <a:cubicBezTo>
                  <a:pt x="1090" y="39"/>
                  <a:pt x="1090" y="39"/>
                  <a:pt x="1090" y="39"/>
                </a:cubicBezTo>
                <a:cubicBezTo>
                  <a:pt x="1090" y="40"/>
                  <a:pt x="1090" y="40"/>
                  <a:pt x="1090" y="40"/>
                </a:cubicBezTo>
                <a:cubicBezTo>
                  <a:pt x="1090" y="41"/>
                  <a:pt x="1090" y="41"/>
                  <a:pt x="1090" y="41"/>
                </a:cubicBezTo>
                <a:cubicBezTo>
                  <a:pt x="1090" y="42"/>
                  <a:pt x="1090" y="42"/>
                  <a:pt x="1090" y="42"/>
                </a:cubicBezTo>
                <a:cubicBezTo>
                  <a:pt x="1091" y="44"/>
                  <a:pt x="1091" y="44"/>
                  <a:pt x="1091" y="44"/>
                </a:cubicBezTo>
                <a:cubicBezTo>
                  <a:pt x="1091" y="45"/>
                  <a:pt x="1091" y="45"/>
                  <a:pt x="1091" y="45"/>
                </a:cubicBezTo>
                <a:cubicBezTo>
                  <a:pt x="1090" y="47"/>
                  <a:pt x="1090" y="47"/>
                  <a:pt x="1090" y="47"/>
                </a:cubicBezTo>
                <a:cubicBezTo>
                  <a:pt x="1090" y="48"/>
                  <a:pt x="1090" y="48"/>
                  <a:pt x="1090" y="48"/>
                </a:cubicBezTo>
                <a:cubicBezTo>
                  <a:pt x="1091" y="49"/>
                  <a:pt x="1091" y="49"/>
                  <a:pt x="1091" y="49"/>
                </a:cubicBezTo>
                <a:cubicBezTo>
                  <a:pt x="1091" y="50"/>
                  <a:pt x="1091" y="50"/>
                  <a:pt x="1091" y="50"/>
                </a:cubicBezTo>
                <a:cubicBezTo>
                  <a:pt x="1090" y="49"/>
                  <a:pt x="1090" y="49"/>
                  <a:pt x="1090" y="49"/>
                </a:cubicBezTo>
                <a:cubicBezTo>
                  <a:pt x="1089" y="49"/>
                  <a:pt x="1089" y="49"/>
                  <a:pt x="1089" y="49"/>
                </a:cubicBezTo>
                <a:cubicBezTo>
                  <a:pt x="1090" y="51"/>
                  <a:pt x="1090" y="51"/>
                  <a:pt x="1090" y="51"/>
                </a:cubicBezTo>
                <a:cubicBezTo>
                  <a:pt x="1091" y="53"/>
                  <a:pt x="1091" y="53"/>
                  <a:pt x="1091" y="53"/>
                </a:cubicBezTo>
                <a:cubicBezTo>
                  <a:pt x="1091" y="54"/>
                  <a:pt x="1091" y="54"/>
                  <a:pt x="1091" y="54"/>
                </a:cubicBezTo>
                <a:cubicBezTo>
                  <a:pt x="1090" y="54"/>
                  <a:pt x="1090" y="54"/>
                  <a:pt x="1090" y="54"/>
                </a:cubicBezTo>
                <a:cubicBezTo>
                  <a:pt x="1089" y="55"/>
                  <a:pt x="1089" y="55"/>
                  <a:pt x="1089" y="55"/>
                </a:cubicBezTo>
                <a:cubicBezTo>
                  <a:pt x="1090" y="56"/>
                  <a:pt x="1090" y="56"/>
                  <a:pt x="1090" y="56"/>
                </a:cubicBezTo>
                <a:cubicBezTo>
                  <a:pt x="1090" y="57"/>
                  <a:pt x="1090" y="57"/>
                  <a:pt x="1090" y="57"/>
                </a:cubicBezTo>
                <a:cubicBezTo>
                  <a:pt x="1092" y="57"/>
                  <a:pt x="1092" y="57"/>
                  <a:pt x="1092" y="57"/>
                </a:cubicBezTo>
                <a:cubicBezTo>
                  <a:pt x="1092" y="58"/>
                  <a:pt x="1092" y="58"/>
                  <a:pt x="1092" y="58"/>
                </a:cubicBezTo>
                <a:cubicBezTo>
                  <a:pt x="1092" y="59"/>
                  <a:pt x="1092" y="59"/>
                  <a:pt x="1092" y="59"/>
                </a:cubicBezTo>
                <a:cubicBezTo>
                  <a:pt x="1091" y="60"/>
                  <a:pt x="1091" y="60"/>
                  <a:pt x="1091" y="60"/>
                </a:cubicBezTo>
                <a:cubicBezTo>
                  <a:pt x="1091" y="61"/>
                  <a:pt x="1091" y="61"/>
                  <a:pt x="1091" y="61"/>
                </a:cubicBezTo>
                <a:cubicBezTo>
                  <a:pt x="1090" y="63"/>
                  <a:pt x="1090" y="63"/>
                  <a:pt x="1090" y="63"/>
                </a:cubicBezTo>
                <a:cubicBezTo>
                  <a:pt x="1089" y="63"/>
                  <a:pt x="1089" y="63"/>
                  <a:pt x="1089" y="63"/>
                </a:cubicBezTo>
                <a:cubicBezTo>
                  <a:pt x="1088" y="63"/>
                  <a:pt x="1088" y="63"/>
                  <a:pt x="1088" y="63"/>
                </a:cubicBezTo>
                <a:cubicBezTo>
                  <a:pt x="1087" y="63"/>
                  <a:pt x="1087" y="63"/>
                  <a:pt x="1087" y="63"/>
                </a:cubicBezTo>
                <a:cubicBezTo>
                  <a:pt x="1087" y="64"/>
                  <a:pt x="1087" y="64"/>
                  <a:pt x="1087" y="64"/>
                </a:cubicBezTo>
                <a:cubicBezTo>
                  <a:pt x="1088" y="65"/>
                  <a:pt x="1088" y="65"/>
                  <a:pt x="1088" y="65"/>
                </a:cubicBezTo>
                <a:cubicBezTo>
                  <a:pt x="1089" y="65"/>
                  <a:pt x="1089" y="65"/>
                  <a:pt x="1089" y="65"/>
                </a:cubicBezTo>
                <a:cubicBezTo>
                  <a:pt x="1090" y="66"/>
                  <a:pt x="1090" y="66"/>
                  <a:pt x="1090" y="66"/>
                </a:cubicBezTo>
                <a:cubicBezTo>
                  <a:pt x="1091" y="66"/>
                  <a:pt x="1091" y="66"/>
                  <a:pt x="1091" y="66"/>
                </a:cubicBezTo>
                <a:cubicBezTo>
                  <a:pt x="1093" y="66"/>
                  <a:pt x="1093" y="66"/>
                  <a:pt x="1093" y="66"/>
                </a:cubicBezTo>
                <a:cubicBezTo>
                  <a:pt x="1093" y="67"/>
                  <a:pt x="1093" y="67"/>
                  <a:pt x="1093" y="67"/>
                </a:cubicBezTo>
                <a:cubicBezTo>
                  <a:pt x="1093" y="69"/>
                  <a:pt x="1093" y="69"/>
                  <a:pt x="1093" y="69"/>
                </a:cubicBezTo>
                <a:cubicBezTo>
                  <a:pt x="1093" y="71"/>
                  <a:pt x="1093" y="71"/>
                  <a:pt x="1093" y="71"/>
                </a:cubicBezTo>
                <a:cubicBezTo>
                  <a:pt x="1091" y="73"/>
                  <a:pt x="1091" y="73"/>
                  <a:pt x="1091" y="73"/>
                </a:cubicBezTo>
                <a:cubicBezTo>
                  <a:pt x="1091" y="75"/>
                  <a:pt x="1091" y="75"/>
                  <a:pt x="1091" y="75"/>
                </a:cubicBezTo>
                <a:cubicBezTo>
                  <a:pt x="1092" y="75"/>
                  <a:pt x="1092" y="75"/>
                  <a:pt x="1092" y="75"/>
                </a:cubicBezTo>
                <a:cubicBezTo>
                  <a:pt x="1091" y="78"/>
                  <a:pt x="1091" y="78"/>
                  <a:pt x="1091" y="78"/>
                </a:cubicBezTo>
                <a:cubicBezTo>
                  <a:pt x="1089" y="79"/>
                  <a:pt x="1089" y="79"/>
                  <a:pt x="1089" y="79"/>
                </a:cubicBezTo>
                <a:cubicBezTo>
                  <a:pt x="1087" y="79"/>
                  <a:pt x="1087" y="79"/>
                  <a:pt x="1087" y="79"/>
                </a:cubicBezTo>
                <a:cubicBezTo>
                  <a:pt x="1086" y="78"/>
                  <a:pt x="1086" y="78"/>
                  <a:pt x="1086" y="78"/>
                </a:cubicBezTo>
                <a:cubicBezTo>
                  <a:pt x="1085" y="78"/>
                  <a:pt x="1085" y="78"/>
                  <a:pt x="1085" y="78"/>
                </a:cubicBezTo>
                <a:cubicBezTo>
                  <a:pt x="1083" y="80"/>
                  <a:pt x="1083" y="80"/>
                  <a:pt x="1083" y="80"/>
                </a:cubicBezTo>
                <a:cubicBezTo>
                  <a:pt x="1083" y="81"/>
                  <a:pt x="1083" y="81"/>
                  <a:pt x="1083" y="81"/>
                </a:cubicBezTo>
                <a:cubicBezTo>
                  <a:pt x="1083" y="81"/>
                  <a:pt x="1083" y="81"/>
                  <a:pt x="1083" y="81"/>
                </a:cubicBezTo>
                <a:cubicBezTo>
                  <a:pt x="1084" y="81"/>
                  <a:pt x="1084" y="81"/>
                  <a:pt x="1084" y="81"/>
                </a:cubicBezTo>
                <a:cubicBezTo>
                  <a:pt x="1087" y="82"/>
                  <a:pt x="1087" y="82"/>
                  <a:pt x="1087" y="82"/>
                </a:cubicBezTo>
                <a:cubicBezTo>
                  <a:pt x="1088" y="81"/>
                  <a:pt x="1088" y="81"/>
                  <a:pt x="1088" y="81"/>
                </a:cubicBezTo>
                <a:cubicBezTo>
                  <a:pt x="1088" y="80"/>
                  <a:pt x="1088" y="80"/>
                  <a:pt x="1088" y="80"/>
                </a:cubicBezTo>
                <a:cubicBezTo>
                  <a:pt x="1088" y="81"/>
                  <a:pt x="1088" y="81"/>
                  <a:pt x="1088" y="81"/>
                </a:cubicBezTo>
                <a:cubicBezTo>
                  <a:pt x="1089" y="82"/>
                  <a:pt x="1089" y="82"/>
                  <a:pt x="1089" y="82"/>
                </a:cubicBezTo>
                <a:cubicBezTo>
                  <a:pt x="1089" y="82"/>
                  <a:pt x="1089" y="82"/>
                  <a:pt x="1089" y="82"/>
                </a:cubicBezTo>
                <a:cubicBezTo>
                  <a:pt x="1088" y="83"/>
                  <a:pt x="1088" y="83"/>
                  <a:pt x="1088" y="83"/>
                </a:cubicBezTo>
                <a:cubicBezTo>
                  <a:pt x="1087" y="83"/>
                  <a:pt x="1087" y="83"/>
                  <a:pt x="1087" y="83"/>
                </a:cubicBezTo>
                <a:cubicBezTo>
                  <a:pt x="1087" y="84"/>
                  <a:pt x="1087" y="84"/>
                  <a:pt x="1087" y="84"/>
                </a:cubicBezTo>
                <a:cubicBezTo>
                  <a:pt x="1087" y="85"/>
                  <a:pt x="1087" y="85"/>
                  <a:pt x="1087" y="85"/>
                </a:cubicBezTo>
                <a:cubicBezTo>
                  <a:pt x="1087" y="86"/>
                  <a:pt x="1087" y="86"/>
                  <a:pt x="1087" y="86"/>
                </a:cubicBezTo>
                <a:cubicBezTo>
                  <a:pt x="1085" y="86"/>
                  <a:pt x="1085" y="86"/>
                  <a:pt x="1085" y="86"/>
                </a:cubicBezTo>
                <a:cubicBezTo>
                  <a:pt x="1083" y="88"/>
                  <a:pt x="1083" y="88"/>
                  <a:pt x="1083" y="88"/>
                </a:cubicBezTo>
                <a:cubicBezTo>
                  <a:pt x="1081" y="89"/>
                  <a:pt x="1081" y="89"/>
                  <a:pt x="1081" y="89"/>
                </a:cubicBezTo>
                <a:cubicBezTo>
                  <a:pt x="1081" y="90"/>
                  <a:pt x="1081" y="90"/>
                  <a:pt x="1081" y="90"/>
                </a:cubicBezTo>
                <a:cubicBezTo>
                  <a:pt x="1083" y="91"/>
                  <a:pt x="1083" y="91"/>
                  <a:pt x="1083" y="91"/>
                </a:cubicBezTo>
                <a:cubicBezTo>
                  <a:pt x="1085" y="92"/>
                  <a:pt x="1085" y="92"/>
                  <a:pt x="1085" y="92"/>
                </a:cubicBezTo>
                <a:cubicBezTo>
                  <a:pt x="1087" y="91"/>
                  <a:pt x="1087" y="91"/>
                  <a:pt x="1087" y="91"/>
                </a:cubicBezTo>
                <a:cubicBezTo>
                  <a:pt x="1089" y="89"/>
                  <a:pt x="1089" y="89"/>
                  <a:pt x="1089" y="89"/>
                </a:cubicBezTo>
                <a:cubicBezTo>
                  <a:pt x="1090" y="87"/>
                  <a:pt x="1090" y="87"/>
                  <a:pt x="1090" y="87"/>
                </a:cubicBezTo>
                <a:cubicBezTo>
                  <a:pt x="1091" y="87"/>
                  <a:pt x="1091" y="87"/>
                  <a:pt x="1091" y="87"/>
                </a:cubicBezTo>
                <a:cubicBezTo>
                  <a:pt x="1091" y="87"/>
                  <a:pt x="1091" y="87"/>
                  <a:pt x="1091" y="87"/>
                </a:cubicBezTo>
                <a:cubicBezTo>
                  <a:pt x="1091" y="88"/>
                  <a:pt x="1091" y="88"/>
                  <a:pt x="1091" y="88"/>
                </a:cubicBezTo>
                <a:cubicBezTo>
                  <a:pt x="1090" y="91"/>
                  <a:pt x="1090" y="91"/>
                  <a:pt x="1090" y="91"/>
                </a:cubicBezTo>
                <a:cubicBezTo>
                  <a:pt x="1088" y="93"/>
                  <a:pt x="1088" y="93"/>
                  <a:pt x="1088" y="93"/>
                </a:cubicBezTo>
                <a:cubicBezTo>
                  <a:pt x="1087" y="93"/>
                  <a:pt x="1087" y="93"/>
                  <a:pt x="1087" y="93"/>
                </a:cubicBezTo>
                <a:cubicBezTo>
                  <a:pt x="1084" y="93"/>
                  <a:pt x="1084" y="93"/>
                  <a:pt x="1084" y="93"/>
                </a:cubicBezTo>
                <a:cubicBezTo>
                  <a:pt x="1083" y="93"/>
                  <a:pt x="1083" y="93"/>
                  <a:pt x="1083" y="93"/>
                </a:cubicBezTo>
                <a:cubicBezTo>
                  <a:pt x="1082" y="95"/>
                  <a:pt x="1082" y="95"/>
                  <a:pt x="1082" y="95"/>
                </a:cubicBezTo>
                <a:cubicBezTo>
                  <a:pt x="1081" y="95"/>
                  <a:pt x="1081" y="95"/>
                  <a:pt x="1081" y="95"/>
                </a:cubicBezTo>
                <a:cubicBezTo>
                  <a:pt x="1079" y="95"/>
                  <a:pt x="1079" y="95"/>
                  <a:pt x="1079" y="95"/>
                </a:cubicBezTo>
                <a:cubicBezTo>
                  <a:pt x="1078" y="96"/>
                  <a:pt x="1078" y="96"/>
                  <a:pt x="1078" y="96"/>
                </a:cubicBezTo>
                <a:cubicBezTo>
                  <a:pt x="1078" y="97"/>
                  <a:pt x="1078" y="97"/>
                  <a:pt x="1078" y="97"/>
                </a:cubicBezTo>
                <a:cubicBezTo>
                  <a:pt x="1078" y="97"/>
                  <a:pt x="1078" y="97"/>
                  <a:pt x="1078" y="97"/>
                </a:cubicBezTo>
                <a:cubicBezTo>
                  <a:pt x="1079" y="99"/>
                  <a:pt x="1079" y="99"/>
                  <a:pt x="1079" y="99"/>
                </a:cubicBezTo>
                <a:cubicBezTo>
                  <a:pt x="1078" y="100"/>
                  <a:pt x="1078" y="100"/>
                  <a:pt x="1078" y="100"/>
                </a:cubicBezTo>
                <a:cubicBezTo>
                  <a:pt x="1079" y="102"/>
                  <a:pt x="1079" y="102"/>
                  <a:pt x="1079" y="102"/>
                </a:cubicBezTo>
                <a:cubicBezTo>
                  <a:pt x="1079" y="102"/>
                  <a:pt x="1079" y="102"/>
                  <a:pt x="1079" y="102"/>
                </a:cubicBezTo>
                <a:cubicBezTo>
                  <a:pt x="1080" y="101"/>
                  <a:pt x="1080" y="101"/>
                  <a:pt x="1080" y="101"/>
                </a:cubicBezTo>
                <a:cubicBezTo>
                  <a:pt x="1081" y="101"/>
                  <a:pt x="1081" y="101"/>
                  <a:pt x="1081" y="101"/>
                </a:cubicBezTo>
                <a:cubicBezTo>
                  <a:pt x="1081" y="102"/>
                  <a:pt x="1081" y="102"/>
                  <a:pt x="1081" y="102"/>
                </a:cubicBezTo>
                <a:cubicBezTo>
                  <a:pt x="1082" y="103"/>
                  <a:pt x="1082" y="103"/>
                  <a:pt x="1082" y="103"/>
                </a:cubicBezTo>
                <a:cubicBezTo>
                  <a:pt x="1082" y="104"/>
                  <a:pt x="1082" y="104"/>
                  <a:pt x="1082" y="104"/>
                </a:cubicBezTo>
                <a:cubicBezTo>
                  <a:pt x="1083" y="105"/>
                  <a:pt x="1083" y="105"/>
                  <a:pt x="1083" y="105"/>
                </a:cubicBezTo>
                <a:cubicBezTo>
                  <a:pt x="1085" y="105"/>
                  <a:pt x="1085" y="105"/>
                  <a:pt x="1085" y="105"/>
                </a:cubicBezTo>
                <a:cubicBezTo>
                  <a:pt x="1087" y="104"/>
                  <a:pt x="1087" y="104"/>
                  <a:pt x="1087" y="104"/>
                </a:cubicBezTo>
                <a:cubicBezTo>
                  <a:pt x="1087" y="104"/>
                  <a:pt x="1087" y="104"/>
                  <a:pt x="1087" y="104"/>
                </a:cubicBezTo>
                <a:cubicBezTo>
                  <a:pt x="1088" y="104"/>
                  <a:pt x="1088" y="104"/>
                  <a:pt x="1088" y="104"/>
                </a:cubicBezTo>
                <a:cubicBezTo>
                  <a:pt x="1090" y="104"/>
                  <a:pt x="1090" y="104"/>
                  <a:pt x="1090" y="104"/>
                </a:cubicBezTo>
                <a:cubicBezTo>
                  <a:pt x="1091" y="102"/>
                  <a:pt x="1091" y="102"/>
                  <a:pt x="1091" y="102"/>
                </a:cubicBezTo>
                <a:cubicBezTo>
                  <a:pt x="1091" y="101"/>
                  <a:pt x="1091" y="101"/>
                  <a:pt x="1091" y="101"/>
                </a:cubicBezTo>
                <a:cubicBezTo>
                  <a:pt x="1091" y="99"/>
                  <a:pt x="1091" y="99"/>
                  <a:pt x="1091" y="99"/>
                </a:cubicBezTo>
                <a:cubicBezTo>
                  <a:pt x="1090" y="99"/>
                  <a:pt x="1090" y="99"/>
                  <a:pt x="1090" y="99"/>
                </a:cubicBezTo>
                <a:cubicBezTo>
                  <a:pt x="1091" y="99"/>
                  <a:pt x="1091" y="99"/>
                  <a:pt x="1091" y="99"/>
                </a:cubicBezTo>
                <a:cubicBezTo>
                  <a:pt x="1092" y="99"/>
                  <a:pt x="1092" y="99"/>
                  <a:pt x="1092" y="99"/>
                </a:cubicBezTo>
                <a:cubicBezTo>
                  <a:pt x="1092" y="98"/>
                  <a:pt x="1092" y="98"/>
                  <a:pt x="1092" y="98"/>
                </a:cubicBezTo>
                <a:cubicBezTo>
                  <a:pt x="1092" y="96"/>
                  <a:pt x="1092" y="96"/>
                  <a:pt x="1092" y="96"/>
                </a:cubicBezTo>
                <a:cubicBezTo>
                  <a:pt x="1093" y="97"/>
                  <a:pt x="1093" y="97"/>
                  <a:pt x="1093" y="97"/>
                </a:cubicBezTo>
                <a:cubicBezTo>
                  <a:pt x="1094" y="98"/>
                  <a:pt x="1094" y="98"/>
                  <a:pt x="1094" y="98"/>
                </a:cubicBezTo>
                <a:cubicBezTo>
                  <a:pt x="1095" y="98"/>
                  <a:pt x="1095" y="98"/>
                  <a:pt x="1095" y="98"/>
                </a:cubicBezTo>
                <a:cubicBezTo>
                  <a:pt x="1096" y="96"/>
                  <a:pt x="1096" y="96"/>
                  <a:pt x="1096" y="96"/>
                </a:cubicBezTo>
                <a:cubicBezTo>
                  <a:pt x="1096" y="94"/>
                  <a:pt x="1096" y="94"/>
                  <a:pt x="1096" y="94"/>
                </a:cubicBezTo>
                <a:cubicBezTo>
                  <a:pt x="1096" y="92"/>
                  <a:pt x="1096" y="92"/>
                  <a:pt x="1096" y="92"/>
                </a:cubicBezTo>
                <a:cubicBezTo>
                  <a:pt x="1095" y="90"/>
                  <a:pt x="1095" y="90"/>
                  <a:pt x="1095" y="90"/>
                </a:cubicBezTo>
                <a:cubicBezTo>
                  <a:pt x="1095" y="88"/>
                  <a:pt x="1095" y="88"/>
                  <a:pt x="1095" y="88"/>
                </a:cubicBezTo>
                <a:cubicBezTo>
                  <a:pt x="1095" y="85"/>
                  <a:pt x="1095" y="85"/>
                  <a:pt x="1095" y="85"/>
                </a:cubicBezTo>
                <a:cubicBezTo>
                  <a:pt x="1096" y="84"/>
                  <a:pt x="1096" y="84"/>
                  <a:pt x="1096" y="84"/>
                </a:cubicBezTo>
                <a:cubicBezTo>
                  <a:pt x="1096" y="84"/>
                  <a:pt x="1096" y="84"/>
                  <a:pt x="1096" y="84"/>
                </a:cubicBezTo>
                <a:cubicBezTo>
                  <a:pt x="1096" y="85"/>
                  <a:pt x="1096" y="85"/>
                  <a:pt x="1096" y="85"/>
                </a:cubicBezTo>
                <a:cubicBezTo>
                  <a:pt x="1096" y="87"/>
                  <a:pt x="1096" y="87"/>
                  <a:pt x="1096" y="87"/>
                </a:cubicBezTo>
                <a:cubicBezTo>
                  <a:pt x="1096" y="89"/>
                  <a:pt x="1096" y="89"/>
                  <a:pt x="1096" y="89"/>
                </a:cubicBezTo>
                <a:cubicBezTo>
                  <a:pt x="1097" y="91"/>
                  <a:pt x="1097" y="91"/>
                  <a:pt x="1097" y="91"/>
                </a:cubicBezTo>
                <a:cubicBezTo>
                  <a:pt x="1097" y="93"/>
                  <a:pt x="1097" y="93"/>
                  <a:pt x="1097" y="93"/>
                </a:cubicBezTo>
                <a:cubicBezTo>
                  <a:pt x="1096" y="96"/>
                  <a:pt x="1096" y="96"/>
                  <a:pt x="1096" y="96"/>
                </a:cubicBezTo>
                <a:cubicBezTo>
                  <a:pt x="1096" y="97"/>
                  <a:pt x="1096" y="97"/>
                  <a:pt x="1096" y="97"/>
                </a:cubicBezTo>
                <a:cubicBezTo>
                  <a:pt x="1097" y="97"/>
                  <a:pt x="1097" y="97"/>
                  <a:pt x="1097" y="97"/>
                </a:cubicBezTo>
                <a:cubicBezTo>
                  <a:pt x="1097" y="97"/>
                  <a:pt x="1097" y="97"/>
                  <a:pt x="1097" y="97"/>
                </a:cubicBezTo>
                <a:cubicBezTo>
                  <a:pt x="1099" y="96"/>
                  <a:pt x="1099" y="96"/>
                  <a:pt x="1099" y="96"/>
                </a:cubicBezTo>
                <a:cubicBezTo>
                  <a:pt x="1099" y="95"/>
                  <a:pt x="1099" y="95"/>
                  <a:pt x="1099" y="95"/>
                </a:cubicBezTo>
                <a:cubicBezTo>
                  <a:pt x="1101" y="93"/>
                  <a:pt x="1101" y="93"/>
                  <a:pt x="1101" y="93"/>
                </a:cubicBezTo>
                <a:cubicBezTo>
                  <a:pt x="1102" y="92"/>
                  <a:pt x="1102" y="92"/>
                  <a:pt x="1102" y="92"/>
                </a:cubicBezTo>
                <a:cubicBezTo>
                  <a:pt x="1103" y="92"/>
                  <a:pt x="1103" y="92"/>
                  <a:pt x="1103" y="92"/>
                </a:cubicBezTo>
                <a:cubicBezTo>
                  <a:pt x="1103" y="92"/>
                  <a:pt x="1103" y="92"/>
                  <a:pt x="1103" y="92"/>
                </a:cubicBezTo>
                <a:cubicBezTo>
                  <a:pt x="1102" y="93"/>
                  <a:pt x="1102" y="93"/>
                  <a:pt x="1102" y="93"/>
                </a:cubicBezTo>
                <a:cubicBezTo>
                  <a:pt x="1101" y="94"/>
                  <a:pt x="1101" y="94"/>
                  <a:pt x="1101" y="94"/>
                </a:cubicBezTo>
                <a:cubicBezTo>
                  <a:pt x="1100" y="96"/>
                  <a:pt x="1100" y="96"/>
                  <a:pt x="1100" y="96"/>
                </a:cubicBezTo>
                <a:cubicBezTo>
                  <a:pt x="1099" y="97"/>
                  <a:pt x="1099" y="97"/>
                  <a:pt x="1099" y="97"/>
                </a:cubicBezTo>
                <a:cubicBezTo>
                  <a:pt x="1099" y="98"/>
                  <a:pt x="1099" y="98"/>
                  <a:pt x="1099" y="98"/>
                </a:cubicBezTo>
                <a:cubicBezTo>
                  <a:pt x="1099" y="99"/>
                  <a:pt x="1099" y="99"/>
                  <a:pt x="1099" y="99"/>
                </a:cubicBezTo>
                <a:cubicBezTo>
                  <a:pt x="1101" y="99"/>
                  <a:pt x="1101" y="99"/>
                  <a:pt x="1101" y="99"/>
                </a:cubicBezTo>
                <a:cubicBezTo>
                  <a:pt x="1102" y="99"/>
                  <a:pt x="1102" y="99"/>
                  <a:pt x="1102" y="99"/>
                </a:cubicBezTo>
                <a:cubicBezTo>
                  <a:pt x="1103" y="100"/>
                  <a:pt x="1103" y="100"/>
                  <a:pt x="1103" y="100"/>
                </a:cubicBezTo>
                <a:cubicBezTo>
                  <a:pt x="1104" y="101"/>
                  <a:pt x="1104" y="101"/>
                  <a:pt x="1104" y="101"/>
                </a:cubicBezTo>
                <a:cubicBezTo>
                  <a:pt x="1106" y="100"/>
                  <a:pt x="1106" y="100"/>
                  <a:pt x="1106" y="100"/>
                </a:cubicBezTo>
                <a:cubicBezTo>
                  <a:pt x="1107" y="99"/>
                  <a:pt x="1107" y="99"/>
                  <a:pt x="1107" y="99"/>
                </a:cubicBezTo>
                <a:cubicBezTo>
                  <a:pt x="1108" y="99"/>
                  <a:pt x="1108" y="99"/>
                  <a:pt x="1108" y="99"/>
                </a:cubicBezTo>
                <a:cubicBezTo>
                  <a:pt x="1109" y="100"/>
                  <a:pt x="1109" y="100"/>
                  <a:pt x="1109" y="100"/>
                </a:cubicBezTo>
                <a:cubicBezTo>
                  <a:pt x="1108" y="100"/>
                  <a:pt x="1108" y="100"/>
                  <a:pt x="1108" y="100"/>
                </a:cubicBezTo>
                <a:cubicBezTo>
                  <a:pt x="1106" y="102"/>
                  <a:pt x="1106" y="102"/>
                  <a:pt x="1106" y="102"/>
                </a:cubicBezTo>
                <a:cubicBezTo>
                  <a:pt x="1103" y="102"/>
                  <a:pt x="1103" y="102"/>
                  <a:pt x="1103" y="102"/>
                </a:cubicBezTo>
                <a:cubicBezTo>
                  <a:pt x="1100" y="103"/>
                  <a:pt x="1100" y="103"/>
                  <a:pt x="1100" y="103"/>
                </a:cubicBezTo>
                <a:cubicBezTo>
                  <a:pt x="1099" y="104"/>
                  <a:pt x="1099" y="104"/>
                  <a:pt x="1099" y="104"/>
                </a:cubicBezTo>
                <a:cubicBezTo>
                  <a:pt x="1098" y="104"/>
                  <a:pt x="1098" y="104"/>
                  <a:pt x="1098" y="104"/>
                </a:cubicBezTo>
                <a:cubicBezTo>
                  <a:pt x="1098" y="105"/>
                  <a:pt x="1098" y="105"/>
                  <a:pt x="1098" y="105"/>
                </a:cubicBezTo>
                <a:cubicBezTo>
                  <a:pt x="1099" y="106"/>
                  <a:pt x="1099" y="106"/>
                  <a:pt x="1099" y="106"/>
                </a:cubicBezTo>
                <a:cubicBezTo>
                  <a:pt x="1101" y="106"/>
                  <a:pt x="1101" y="106"/>
                  <a:pt x="1101" y="106"/>
                </a:cubicBezTo>
                <a:cubicBezTo>
                  <a:pt x="1102" y="106"/>
                  <a:pt x="1102" y="106"/>
                  <a:pt x="1102" y="106"/>
                </a:cubicBezTo>
                <a:cubicBezTo>
                  <a:pt x="1103" y="106"/>
                  <a:pt x="1103" y="106"/>
                  <a:pt x="1103" y="106"/>
                </a:cubicBezTo>
                <a:cubicBezTo>
                  <a:pt x="1104" y="105"/>
                  <a:pt x="1104" y="105"/>
                  <a:pt x="1104" y="105"/>
                </a:cubicBezTo>
                <a:cubicBezTo>
                  <a:pt x="1107" y="105"/>
                  <a:pt x="1107" y="105"/>
                  <a:pt x="1107" y="105"/>
                </a:cubicBezTo>
                <a:cubicBezTo>
                  <a:pt x="1107" y="105"/>
                  <a:pt x="1107" y="105"/>
                  <a:pt x="1107" y="105"/>
                </a:cubicBezTo>
                <a:cubicBezTo>
                  <a:pt x="1107" y="106"/>
                  <a:pt x="1107" y="106"/>
                  <a:pt x="1107" y="106"/>
                </a:cubicBezTo>
                <a:cubicBezTo>
                  <a:pt x="1105" y="106"/>
                  <a:pt x="1105" y="106"/>
                  <a:pt x="1105" y="106"/>
                </a:cubicBezTo>
                <a:cubicBezTo>
                  <a:pt x="1104" y="107"/>
                  <a:pt x="1104" y="107"/>
                  <a:pt x="1104" y="107"/>
                </a:cubicBezTo>
                <a:cubicBezTo>
                  <a:pt x="1103" y="107"/>
                  <a:pt x="1103" y="107"/>
                  <a:pt x="1103" y="107"/>
                </a:cubicBezTo>
                <a:cubicBezTo>
                  <a:pt x="1102" y="107"/>
                  <a:pt x="1102" y="107"/>
                  <a:pt x="1102" y="107"/>
                </a:cubicBezTo>
                <a:cubicBezTo>
                  <a:pt x="1101" y="109"/>
                  <a:pt x="1101" y="109"/>
                  <a:pt x="1101" y="109"/>
                </a:cubicBezTo>
                <a:cubicBezTo>
                  <a:pt x="1100" y="110"/>
                  <a:pt x="1100" y="110"/>
                  <a:pt x="1100" y="110"/>
                </a:cubicBezTo>
                <a:cubicBezTo>
                  <a:pt x="1099" y="111"/>
                  <a:pt x="1099" y="111"/>
                  <a:pt x="1099" y="111"/>
                </a:cubicBezTo>
                <a:cubicBezTo>
                  <a:pt x="1099" y="112"/>
                  <a:pt x="1099" y="112"/>
                  <a:pt x="1099" y="112"/>
                </a:cubicBezTo>
                <a:cubicBezTo>
                  <a:pt x="1100" y="112"/>
                  <a:pt x="1100" y="112"/>
                  <a:pt x="1100" y="112"/>
                </a:cubicBezTo>
                <a:cubicBezTo>
                  <a:pt x="1103" y="110"/>
                  <a:pt x="1103" y="110"/>
                  <a:pt x="1103" y="110"/>
                </a:cubicBezTo>
                <a:cubicBezTo>
                  <a:pt x="1104" y="109"/>
                  <a:pt x="1104" y="109"/>
                  <a:pt x="1104" y="109"/>
                </a:cubicBezTo>
                <a:cubicBezTo>
                  <a:pt x="1105" y="109"/>
                  <a:pt x="1105" y="109"/>
                  <a:pt x="1105" y="109"/>
                </a:cubicBezTo>
                <a:cubicBezTo>
                  <a:pt x="1105" y="108"/>
                  <a:pt x="1105" y="108"/>
                  <a:pt x="1105" y="108"/>
                </a:cubicBezTo>
                <a:cubicBezTo>
                  <a:pt x="1106" y="108"/>
                  <a:pt x="1106" y="108"/>
                  <a:pt x="1106" y="108"/>
                </a:cubicBezTo>
                <a:cubicBezTo>
                  <a:pt x="1107" y="110"/>
                  <a:pt x="1107" y="110"/>
                  <a:pt x="1107" y="110"/>
                </a:cubicBezTo>
                <a:cubicBezTo>
                  <a:pt x="1107" y="111"/>
                  <a:pt x="1107" y="111"/>
                  <a:pt x="1107" y="111"/>
                </a:cubicBezTo>
                <a:cubicBezTo>
                  <a:pt x="1107" y="112"/>
                  <a:pt x="1107" y="112"/>
                  <a:pt x="1107" y="112"/>
                </a:cubicBezTo>
                <a:cubicBezTo>
                  <a:pt x="1106" y="111"/>
                  <a:pt x="1106" y="111"/>
                  <a:pt x="1106" y="111"/>
                </a:cubicBezTo>
                <a:cubicBezTo>
                  <a:pt x="1105" y="110"/>
                  <a:pt x="1105" y="110"/>
                  <a:pt x="1105" y="110"/>
                </a:cubicBezTo>
                <a:cubicBezTo>
                  <a:pt x="1103" y="112"/>
                  <a:pt x="1103" y="112"/>
                  <a:pt x="1103" y="112"/>
                </a:cubicBezTo>
                <a:cubicBezTo>
                  <a:pt x="1102" y="112"/>
                  <a:pt x="1102" y="112"/>
                  <a:pt x="1102" y="112"/>
                </a:cubicBezTo>
                <a:cubicBezTo>
                  <a:pt x="1102" y="113"/>
                  <a:pt x="1102" y="113"/>
                  <a:pt x="1102" y="113"/>
                </a:cubicBezTo>
                <a:cubicBezTo>
                  <a:pt x="1104" y="114"/>
                  <a:pt x="1104" y="114"/>
                  <a:pt x="1104" y="114"/>
                </a:cubicBezTo>
                <a:cubicBezTo>
                  <a:pt x="1106" y="113"/>
                  <a:pt x="1106" y="113"/>
                  <a:pt x="1106" y="113"/>
                </a:cubicBezTo>
                <a:cubicBezTo>
                  <a:pt x="1107" y="113"/>
                  <a:pt x="1107" y="113"/>
                  <a:pt x="1107" y="113"/>
                </a:cubicBezTo>
                <a:cubicBezTo>
                  <a:pt x="1108" y="113"/>
                  <a:pt x="1108" y="113"/>
                  <a:pt x="1108" y="113"/>
                </a:cubicBezTo>
                <a:cubicBezTo>
                  <a:pt x="1109" y="115"/>
                  <a:pt x="1109" y="115"/>
                  <a:pt x="1109" y="115"/>
                </a:cubicBezTo>
                <a:cubicBezTo>
                  <a:pt x="1109" y="116"/>
                  <a:pt x="1109" y="116"/>
                  <a:pt x="1109" y="116"/>
                </a:cubicBezTo>
                <a:cubicBezTo>
                  <a:pt x="1108" y="116"/>
                  <a:pt x="1108" y="116"/>
                  <a:pt x="1108" y="116"/>
                </a:cubicBezTo>
                <a:cubicBezTo>
                  <a:pt x="1104" y="115"/>
                  <a:pt x="1104" y="115"/>
                  <a:pt x="1104" y="115"/>
                </a:cubicBezTo>
                <a:cubicBezTo>
                  <a:pt x="1102" y="114"/>
                  <a:pt x="1102" y="114"/>
                  <a:pt x="1102" y="114"/>
                </a:cubicBezTo>
                <a:cubicBezTo>
                  <a:pt x="1102" y="115"/>
                  <a:pt x="1102" y="115"/>
                  <a:pt x="1102" y="115"/>
                </a:cubicBezTo>
                <a:cubicBezTo>
                  <a:pt x="1102" y="116"/>
                  <a:pt x="1102" y="116"/>
                  <a:pt x="1102" y="116"/>
                </a:cubicBezTo>
                <a:cubicBezTo>
                  <a:pt x="1104" y="117"/>
                  <a:pt x="1104" y="117"/>
                  <a:pt x="1104" y="117"/>
                </a:cubicBezTo>
                <a:cubicBezTo>
                  <a:pt x="1106" y="120"/>
                  <a:pt x="1106" y="120"/>
                  <a:pt x="1106" y="120"/>
                </a:cubicBezTo>
                <a:cubicBezTo>
                  <a:pt x="1107" y="121"/>
                  <a:pt x="1107" y="121"/>
                  <a:pt x="1107" y="121"/>
                </a:cubicBezTo>
                <a:cubicBezTo>
                  <a:pt x="1106" y="121"/>
                  <a:pt x="1106" y="121"/>
                  <a:pt x="1106" y="121"/>
                </a:cubicBezTo>
                <a:cubicBezTo>
                  <a:pt x="1105" y="120"/>
                  <a:pt x="1105" y="120"/>
                  <a:pt x="1105" y="120"/>
                </a:cubicBezTo>
                <a:cubicBezTo>
                  <a:pt x="1104" y="119"/>
                  <a:pt x="1104" y="119"/>
                  <a:pt x="1104" y="119"/>
                </a:cubicBezTo>
                <a:cubicBezTo>
                  <a:pt x="1104" y="120"/>
                  <a:pt x="1104" y="120"/>
                  <a:pt x="1104" y="120"/>
                </a:cubicBezTo>
                <a:cubicBezTo>
                  <a:pt x="1104" y="121"/>
                  <a:pt x="1104" y="121"/>
                  <a:pt x="1104" y="121"/>
                </a:cubicBezTo>
                <a:cubicBezTo>
                  <a:pt x="1106" y="123"/>
                  <a:pt x="1106" y="123"/>
                  <a:pt x="1106" y="123"/>
                </a:cubicBezTo>
                <a:cubicBezTo>
                  <a:pt x="1109" y="125"/>
                  <a:pt x="1109" y="125"/>
                  <a:pt x="1109" y="125"/>
                </a:cubicBezTo>
                <a:cubicBezTo>
                  <a:pt x="1109" y="126"/>
                  <a:pt x="1109" y="126"/>
                  <a:pt x="1109" y="126"/>
                </a:cubicBezTo>
                <a:cubicBezTo>
                  <a:pt x="1107" y="126"/>
                  <a:pt x="1107" y="126"/>
                  <a:pt x="1107" y="126"/>
                </a:cubicBezTo>
                <a:cubicBezTo>
                  <a:pt x="1107" y="127"/>
                  <a:pt x="1107" y="127"/>
                  <a:pt x="1107" y="127"/>
                </a:cubicBezTo>
                <a:cubicBezTo>
                  <a:pt x="1106" y="127"/>
                  <a:pt x="1106" y="127"/>
                  <a:pt x="1106" y="127"/>
                </a:cubicBezTo>
                <a:cubicBezTo>
                  <a:pt x="1105" y="125"/>
                  <a:pt x="1105" y="125"/>
                  <a:pt x="1105" y="125"/>
                </a:cubicBezTo>
                <a:cubicBezTo>
                  <a:pt x="1104" y="125"/>
                  <a:pt x="1104" y="125"/>
                  <a:pt x="1104" y="125"/>
                </a:cubicBezTo>
                <a:cubicBezTo>
                  <a:pt x="1104" y="126"/>
                  <a:pt x="1104" y="126"/>
                  <a:pt x="1104" y="126"/>
                </a:cubicBezTo>
                <a:cubicBezTo>
                  <a:pt x="1106" y="128"/>
                  <a:pt x="1106" y="128"/>
                  <a:pt x="1106" y="128"/>
                </a:cubicBezTo>
                <a:cubicBezTo>
                  <a:pt x="1107" y="129"/>
                  <a:pt x="1107" y="129"/>
                  <a:pt x="1107" y="129"/>
                </a:cubicBezTo>
                <a:cubicBezTo>
                  <a:pt x="1108" y="129"/>
                  <a:pt x="1108" y="129"/>
                  <a:pt x="1108" y="129"/>
                </a:cubicBezTo>
                <a:cubicBezTo>
                  <a:pt x="1109" y="128"/>
                  <a:pt x="1109" y="128"/>
                  <a:pt x="1109" y="128"/>
                </a:cubicBezTo>
                <a:cubicBezTo>
                  <a:pt x="1110" y="129"/>
                  <a:pt x="1110" y="129"/>
                  <a:pt x="1110" y="129"/>
                </a:cubicBezTo>
                <a:cubicBezTo>
                  <a:pt x="1109" y="130"/>
                  <a:pt x="1109" y="130"/>
                  <a:pt x="1109" y="130"/>
                </a:cubicBezTo>
                <a:cubicBezTo>
                  <a:pt x="1108" y="131"/>
                  <a:pt x="1108" y="131"/>
                  <a:pt x="1108" y="131"/>
                </a:cubicBezTo>
                <a:cubicBezTo>
                  <a:pt x="1106" y="130"/>
                  <a:pt x="1106" y="130"/>
                  <a:pt x="1106" y="130"/>
                </a:cubicBezTo>
                <a:cubicBezTo>
                  <a:pt x="1104" y="129"/>
                  <a:pt x="1104" y="129"/>
                  <a:pt x="1104" y="129"/>
                </a:cubicBezTo>
                <a:cubicBezTo>
                  <a:pt x="1102" y="127"/>
                  <a:pt x="1102" y="127"/>
                  <a:pt x="1102" y="127"/>
                </a:cubicBezTo>
                <a:cubicBezTo>
                  <a:pt x="1101" y="126"/>
                  <a:pt x="1101" y="126"/>
                  <a:pt x="1101" y="126"/>
                </a:cubicBezTo>
                <a:cubicBezTo>
                  <a:pt x="1100" y="122"/>
                  <a:pt x="1100" y="122"/>
                  <a:pt x="1100" y="122"/>
                </a:cubicBezTo>
                <a:cubicBezTo>
                  <a:pt x="1099" y="121"/>
                  <a:pt x="1099" y="121"/>
                  <a:pt x="1099" y="121"/>
                </a:cubicBezTo>
                <a:cubicBezTo>
                  <a:pt x="1098" y="120"/>
                  <a:pt x="1098" y="120"/>
                  <a:pt x="1098" y="120"/>
                </a:cubicBezTo>
                <a:cubicBezTo>
                  <a:pt x="1096" y="120"/>
                  <a:pt x="1096" y="120"/>
                  <a:pt x="1096" y="120"/>
                </a:cubicBezTo>
                <a:cubicBezTo>
                  <a:pt x="1095" y="119"/>
                  <a:pt x="1095" y="119"/>
                  <a:pt x="1095" y="119"/>
                </a:cubicBezTo>
                <a:cubicBezTo>
                  <a:pt x="1093" y="119"/>
                  <a:pt x="1093" y="119"/>
                  <a:pt x="1093" y="119"/>
                </a:cubicBezTo>
                <a:cubicBezTo>
                  <a:pt x="1092" y="118"/>
                  <a:pt x="1092" y="118"/>
                  <a:pt x="1092" y="118"/>
                </a:cubicBezTo>
                <a:cubicBezTo>
                  <a:pt x="1091" y="118"/>
                  <a:pt x="1091" y="118"/>
                  <a:pt x="1091" y="118"/>
                </a:cubicBezTo>
                <a:cubicBezTo>
                  <a:pt x="1089" y="118"/>
                  <a:pt x="1089" y="118"/>
                  <a:pt x="1089" y="118"/>
                </a:cubicBezTo>
                <a:cubicBezTo>
                  <a:pt x="1087" y="116"/>
                  <a:pt x="1087" y="116"/>
                  <a:pt x="1087" y="116"/>
                </a:cubicBezTo>
                <a:cubicBezTo>
                  <a:pt x="1085" y="116"/>
                  <a:pt x="1085" y="116"/>
                  <a:pt x="1085" y="116"/>
                </a:cubicBezTo>
                <a:cubicBezTo>
                  <a:pt x="1084" y="116"/>
                  <a:pt x="1084" y="116"/>
                  <a:pt x="1084" y="116"/>
                </a:cubicBezTo>
                <a:cubicBezTo>
                  <a:pt x="1083" y="116"/>
                  <a:pt x="1083" y="116"/>
                  <a:pt x="1083" y="116"/>
                </a:cubicBezTo>
                <a:cubicBezTo>
                  <a:pt x="1081" y="116"/>
                  <a:pt x="1081" y="116"/>
                  <a:pt x="1081" y="116"/>
                </a:cubicBezTo>
                <a:cubicBezTo>
                  <a:pt x="1079" y="118"/>
                  <a:pt x="1079" y="118"/>
                  <a:pt x="1079" y="118"/>
                </a:cubicBezTo>
                <a:cubicBezTo>
                  <a:pt x="1079" y="119"/>
                  <a:pt x="1079" y="119"/>
                  <a:pt x="1079" y="119"/>
                </a:cubicBezTo>
                <a:cubicBezTo>
                  <a:pt x="1080" y="120"/>
                  <a:pt x="1080" y="120"/>
                  <a:pt x="1080" y="120"/>
                </a:cubicBezTo>
                <a:cubicBezTo>
                  <a:pt x="1081" y="121"/>
                  <a:pt x="1081" y="121"/>
                  <a:pt x="1081" y="121"/>
                </a:cubicBezTo>
                <a:cubicBezTo>
                  <a:pt x="1082" y="124"/>
                  <a:pt x="1082" y="124"/>
                  <a:pt x="1082" y="124"/>
                </a:cubicBezTo>
                <a:cubicBezTo>
                  <a:pt x="1082" y="125"/>
                  <a:pt x="1082" y="125"/>
                  <a:pt x="1082" y="125"/>
                </a:cubicBezTo>
                <a:cubicBezTo>
                  <a:pt x="1084" y="127"/>
                  <a:pt x="1084" y="127"/>
                  <a:pt x="1084" y="127"/>
                </a:cubicBezTo>
                <a:cubicBezTo>
                  <a:pt x="1086" y="128"/>
                  <a:pt x="1086" y="128"/>
                  <a:pt x="1086" y="128"/>
                </a:cubicBezTo>
                <a:cubicBezTo>
                  <a:pt x="1090" y="129"/>
                  <a:pt x="1090" y="129"/>
                  <a:pt x="1090" y="129"/>
                </a:cubicBezTo>
                <a:cubicBezTo>
                  <a:pt x="1092" y="131"/>
                  <a:pt x="1092" y="131"/>
                  <a:pt x="1092" y="131"/>
                </a:cubicBezTo>
                <a:cubicBezTo>
                  <a:pt x="1093" y="133"/>
                  <a:pt x="1093" y="133"/>
                  <a:pt x="1093" y="133"/>
                </a:cubicBezTo>
                <a:cubicBezTo>
                  <a:pt x="1093" y="134"/>
                  <a:pt x="1093" y="134"/>
                  <a:pt x="1093" y="134"/>
                </a:cubicBezTo>
                <a:cubicBezTo>
                  <a:pt x="1094" y="134"/>
                  <a:pt x="1094" y="134"/>
                  <a:pt x="1094" y="134"/>
                </a:cubicBezTo>
                <a:cubicBezTo>
                  <a:pt x="1096" y="134"/>
                  <a:pt x="1096" y="134"/>
                  <a:pt x="1096" y="134"/>
                </a:cubicBezTo>
                <a:cubicBezTo>
                  <a:pt x="1097" y="136"/>
                  <a:pt x="1097" y="136"/>
                  <a:pt x="1097" y="136"/>
                </a:cubicBezTo>
                <a:cubicBezTo>
                  <a:pt x="1099" y="136"/>
                  <a:pt x="1099" y="136"/>
                  <a:pt x="1099" y="136"/>
                </a:cubicBezTo>
                <a:cubicBezTo>
                  <a:pt x="1100" y="136"/>
                  <a:pt x="1100" y="136"/>
                  <a:pt x="1100" y="136"/>
                </a:cubicBezTo>
                <a:cubicBezTo>
                  <a:pt x="1101" y="137"/>
                  <a:pt x="1101" y="137"/>
                  <a:pt x="1101" y="137"/>
                </a:cubicBezTo>
                <a:cubicBezTo>
                  <a:pt x="1102" y="137"/>
                  <a:pt x="1102" y="137"/>
                  <a:pt x="1102" y="137"/>
                </a:cubicBezTo>
                <a:cubicBezTo>
                  <a:pt x="1103" y="136"/>
                  <a:pt x="1103" y="136"/>
                  <a:pt x="1103" y="136"/>
                </a:cubicBezTo>
                <a:cubicBezTo>
                  <a:pt x="1104" y="137"/>
                  <a:pt x="1104" y="137"/>
                  <a:pt x="1104" y="137"/>
                </a:cubicBezTo>
                <a:cubicBezTo>
                  <a:pt x="1106" y="137"/>
                  <a:pt x="1106" y="137"/>
                  <a:pt x="1106" y="137"/>
                </a:cubicBezTo>
                <a:cubicBezTo>
                  <a:pt x="1108" y="136"/>
                  <a:pt x="1108" y="136"/>
                  <a:pt x="1108" y="136"/>
                </a:cubicBezTo>
                <a:cubicBezTo>
                  <a:pt x="1109" y="136"/>
                  <a:pt x="1109" y="136"/>
                  <a:pt x="1109" y="136"/>
                </a:cubicBezTo>
                <a:cubicBezTo>
                  <a:pt x="1110" y="136"/>
                  <a:pt x="1110" y="136"/>
                  <a:pt x="1110" y="136"/>
                </a:cubicBezTo>
                <a:cubicBezTo>
                  <a:pt x="1111" y="138"/>
                  <a:pt x="1111" y="138"/>
                  <a:pt x="1111" y="138"/>
                </a:cubicBezTo>
                <a:cubicBezTo>
                  <a:pt x="1109" y="138"/>
                  <a:pt x="1109" y="138"/>
                  <a:pt x="1109" y="138"/>
                </a:cubicBezTo>
                <a:cubicBezTo>
                  <a:pt x="1108" y="138"/>
                  <a:pt x="1108" y="138"/>
                  <a:pt x="1108" y="138"/>
                </a:cubicBezTo>
                <a:cubicBezTo>
                  <a:pt x="1108" y="139"/>
                  <a:pt x="1108" y="139"/>
                  <a:pt x="1108" y="139"/>
                </a:cubicBezTo>
                <a:cubicBezTo>
                  <a:pt x="1109" y="139"/>
                  <a:pt x="1109" y="139"/>
                  <a:pt x="1109" y="139"/>
                </a:cubicBezTo>
                <a:cubicBezTo>
                  <a:pt x="1110" y="140"/>
                  <a:pt x="1110" y="140"/>
                  <a:pt x="1110" y="140"/>
                </a:cubicBezTo>
                <a:cubicBezTo>
                  <a:pt x="1109" y="141"/>
                  <a:pt x="1109" y="141"/>
                  <a:pt x="1109" y="141"/>
                </a:cubicBezTo>
                <a:cubicBezTo>
                  <a:pt x="1109" y="142"/>
                  <a:pt x="1109" y="142"/>
                  <a:pt x="1109" y="142"/>
                </a:cubicBezTo>
                <a:cubicBezTo>
                  <a:pt x="1107" y="142"/>
                  <a:pt x="1107" y="142"/>
                  <a:pt x="1107" y="142"/>
                </a:cubicBezTo>
                <a:cubicBezTo>
                  <a:pt x="1107" y="143"/>
                  <a:pt x="1107" y="143"/>
                  <a:pt x="1107" y="143"/>
                </a:cubicBezTo>
                <a:cubicBezTo>
                  <a:pt x="1105" y="144"/>
                  <a:pt x="1105" y="144"/>
                  <a:pt x="1105" y="144"/>
                </a:cubicBezTo>
                <a:cubicBezTo>
                  <a:pt x="1104" y="145"/>
                  <a:pt x="1104" y="145"/>
                  <a:pt x="1104" y="145"/>
                </a:cubicBezTo>
                <a:cubicBezTo>
                  <a:pt x="1105" y="145"/>
                  <a:pt x="1105" y="145"/>
                  <a:pt x="1105" y="145"/>
                </a:cubicBezTo>
                <a:cubicBezTo>
                  <a:pt x="1106" y="145"/>
                  <a:pt x="1106" y="145"/>
                  <a:pt x="1106" y="145"/>
                </a:cubicBezTo>
                <a:cubicBezTo>
                  <a:pt x="1107" y="146"/>
                  <a:pt x="1107" y="146"/>
                  <a:pt x="1107" y="146"/>
                </a:cubicBezTo>
                <a:cubicBezTo>
                  <a:pt x="1108" y="147"/>
                  <a:pt x="1108" y="147"/>
                  <a:pt x="1108" y="147"/>
                </a:cubicBezTo>
                <a:cubicBezTo>
                  <a:pt x="1106" y="147"/>
                  <a:pt x="1106" y="147"/>
                  <a:pt x="1106" y="147"/>
                </a:cubicBezTo>
                <a:cubicBezTo>
                  <a:pt x="1105" y="147"/>
                  <a:pt x="1105" y="147"/>
                  <a:pt x="1105" y="147"/>
                </a:cubicBezTo>
                <a:cubicBezTo>
                  <a:pt x="1105" y="147"/>
                  <a:pt x="1105" y="147"/>
                  <a:pt x="1105" y="147"/>
                </a:cubicBezTo>
                <a:cubicBezTo>
                  <a:pt x="1104" y="147"/>
                  <a:pt x="1104" y="147"/>
                  <a:pt x="1104" y="147"/>
                </a:cubicBezTo>
                <a:cubicBezTo>
                  <a:pt x="1102" y="150"/>
                  <a:pt x="1102" y="150"/>
                  <a:pt x="1102" y="150"/>
                </a:cubicBezTo>
                <a:cubicBezTo>
                  <a:pt x="1101" y="150"/>
                  <a:pt x="1101" y="150"/>
                  <a:pt x="1101" y="150"/>
                </a:cubicBezTo>
                <a:cubicBezTo>
                  <a:pt x="1100" y="151"/>
                  <a:pt x="1100" y="151"/>
                  <a:pt x="1100" y="151"/>
                </a:cubicBezTo>
                <a:cubicBezTo>
                  <a:pt x="1100" y="152"/>
                  <a:pt x="1100" y="152"/>
                  <a:pt x="1100" y="152"/>
                </a:cubicBezTo>
                <a:cubicBezTo>
                  <a:pt x="1102" y="152"/>
                  <a:pt x="1102" y="152"/>
                  <a:pt x="1102" y="152"/>
                </a:cubicBezTo>
                <a:cubicBezTo>
                  <a:pt x="1103" y="152"/>
                  <a:pt x="1103" y="152"/>
                  <a:pt x="1103" y="152"/>
                </a:cubicBezTo>
                <a:cubicBezTo>
                  <a:pt x="1104" y="151"/>
                  <a:pt x="1104" y="151"/>
                  <a:pt x="1104" y="151"/>
                </a:cubicBezTo>
                <a:cubicBezTo>
                  <a:pt x="1104" y="152"/>
                  <a:pt x="1104" y="152"/>
                  <a:pt x="1104" y="152"/>
                </a:cubicBezTo>
                <a:cubicBezTo>
                  <a:pt x="1105" y="153"/>
                  <a:pt x="1105" y="153"/>
                  <a:pt x="1105" y="153"/>
                </a:cubicBezTo>
                <a:cubicBezTo>
                  <a:pt x="1106" y="153"/>
                  <a:pt x="1106" y="153"/>
                  <a:pt x="1106" y="153"/>
                </a:cubicBezTo>
                <a:cubicBezTo>
                  <a:pt x="1107" y="153"/>
                  <a:pt x="1107" y="153"/>
                  <a:pt x="1107" y="153"/>
                </a:cubicBezTo>
                <a:cubicBezTo>
                  <a:pt x="1107" y="154"/>
                  <a:pt x="1107" y="154"/>
                  <a:pt x="1107" y="154"/>
                </a:cubicBezTo>
                <a:cubicBezTo>
                  <a:pt x="1105" y="154"/>
                  <a:pt x="1105" y="154"/>
                  <a:pt x="1105" y="154"/>
                </a:cubicBezTo>
                <a:cubicBezTo>
                  <a:pt x="1103" y="155"/>
                  <a:pt x="1103" y="155"/>
                  <a:pt x="1103" y="155"/>
                </a:cubicBezTo>
                <a:cubicBezTo>
                  <a:pt x="1103" y="155"/>
                  <a:pt x="1103" y="155"/>
                  <a:pt x="1103" y="155"/>
                </a:cubicBezTo>
                <a:cubicBezTo>
                  <a:pt x="1106" y="155"/>
                  <a:pt x="1106" y="155"/>
                  <a:pt x="1106" y="155"/>
                </a:cubicBezTo>
                <a:cubicBezTo>
                  <a:pt x="1107" y="156"/>
                  <a:pt x="1107" y="156"/>
                  <a:pt x="1107" y="156"/>
                </a:cubicBezTo>
                <a:cubicBezTo>
                  <a:pt x="1107" y="157"/>
                  <a:pt x="1107" y="157"/>
                  <a:pt x="1107" y="157"/>
                </a:cubicBezTo>
                <a:cubicBezTo>
                  <a:pt x="1106" y="157"/>
                  <a:pt x="1106" y="157"/>
                  <a:pt x="1106" y="157"/>
                </a:cubicBezTo>
                <a:cubicBezTo>
                  <a:pt x="1105" y="157"/>
                  <a:pt x="1105" y="157"/>
                  <a:pt x="1105" y="157"/>
                </a:cubicBezTo>
                <a:cubicBezTo>
                  <a:pt x="1105" y="157"/>
                  <a:pt x="1105" y="157"/>
                  <a:pt x="1105" y="157"/>
                </a:cubicBezTo>
                <a:cubicBezTo>
                  <a:pt x="1104" y="157"/>
                  <a:pt x="1104" y="157"/>
                  <a:pt x="1104" y="157"/>
                </a:cubicBezTo>
                <a:cubicBezTo>
                  <a:pt x="1103" y="157"/>
                  <a:pt x="1103" y="157"/>
                  <a:pt x="1103" y="157"/>
                </a:cubicBezTo>
                <a:cubicBezTo>
                  <a:pt x="1102" y="157"/>
                  <a:pt x="1102" y="157"/>
                  <a:pt x="1102" y="157"/>
                </a:cubicBezTo>
                <a:cubicBezTo>
                  <a:pt x="1100" y="156"/>
                  <a:pt x="1100" y="156"/>
                  <a:pt x="1100" y="156"/>
                </a:cubicBezTo>
                <a:cubicBezTo>
                  <a:pt x="1100" y="155"/>
                  <a:pt x="1100" y="155"/>
                  <a:pt x="1100" y="155"/>
                </a:cubicBezTo>
                <a:cubicBezTo>
                  <a:pt x="1101" y="155"/>
                  <a:pt x="1101" y="155"/>
                  <a:pt x="1101" y="155"/>
                </a:cubicBezTo>
                <a:cubicBezTo>
                  <a:pt x="1100" y="153"/>
                  <a:pt x="1100" y="153"/>
                  <a:pt x="1100" y="153"/>
                </a:cubicBezTo>
                <a:cubicBezTo>
                  <a:pt x="1099" y="153"/>
                  <a:pt x="1099" y="153"/>
                  <a:pt x="1099" y="153"/>
                </a:cubicBezTo>
                <a:cubicBezTo>
                  <a:pt x="1098" y="153"/>
                  <a:pt x="1098" y="153"/>
                  <a:pt x="1098" y="153"/>
                </a:cubicBezTo>
                <a:cubicBezTo>
                  <a:pt x="1098" y="155"/>
                  <a:pt x="1098" y="155"/>
                  <a:pt x="1098" y="155"/>
                </a:cubicBezTo>
                <a:cubicBezTo>
                  <a:pt x="1097" y="158"/>
                  <a:pt x="1097" y="158"/>
                  <a:pt x="1097" y="158"/>
                </a:cubicBezTo>
                <a:cubicBezTo>
                  <a:pt x="1096" y="160"/>
                  <a:pt x="1096" y="160"/>
                  <a:pt x="1096" y="160"/>
                </a:cubicBezTo>
                <a:cubicBezTo>
                  <a:pt x="1097" y="161"/>
                  <a:pt x="1097" y="161"/>
                  <a:pt x="1097" y="161"/>
                </a:cubicBezTo>
                <a:cubicBezTo>
                  <a:pt x="1098" y="161"/>
                  <a:pt x="1098" y="161"/>
                  <a:pt x="1098" y="161"/>
                </a:cubicBezTo>
                <a:cubicBezTo>
                  <a:pt x="1099" y="160"/>
                  <a:pt x="1099" y="160"/>
                  <a:pt x="1099" y="160"/>
                </a:cubicBezTo>
                <a:cubicBezTo>
                  <a:pt x="1100" y="160"/>
                  <a:pt x="1100" y="160"/>
                  <a:pt x="1100" y="160"/>
                </a:cubicBezTo>
                <a:cubicBezTo>
                  <a:pt x="1099" y="161"/>
                  <a:pt x="1099" y="161"/>
                  <a:pt x="1099" y="161"/>
                </a:cubicBezTo>
                <a:cubicBezTo>
                  <a:pt x="1098" y="162"/>
                  <a:pt x="1098" y="162"/>
                  <a:pt x="1098" y="162"/>
                </a:cubicBezTo>
                <a:cubicBezTo>
                  <a:pt x="1097" y="163"/>
                  <a:pt x="1097" y="163"/>
                  <a:pt x="1097" y="163"/>
                </a:cubicBezTo>
                <a:cubicBezTo>
                  <a:pt x="1096" y="163"/>
                  <a:pt x="1096" y="163"/>
                  <a:pt x="1096" y="163"/>
                </a:cubicBezTo>
                <a:cubicBezTo>
                  <a:pt x="1096" y="164"/>
                  <a:pt x="1096" y="164"/>
                  <a:pt x="1096" y="164"/>
                </a:cubicBezTo>
                <a:cubicBezTo>
                  <a:pt x="1094" y="164"/>
                  <a:pt x="1094" y="164"/>
                  <a:pt x="1094" y="164"/>
                </a:cubicBezTo>
                <a:cubicBezTo>
                  <a:pt x="1092" y="164"/>
                  <a:pt x="1092" y="164"/>
                  <a:pt x="1092" y="164"/>
                </a:cubicBezTo>
                <a:cubicBezTo>
                  <a:pt x="1090" y="164"/>
                  <a:pt x="1090" y="164"/>
                  <a:pt x="1090" y="164"/>
                </a:cubicBezTo>
                <a:cubicBezTo>
                  <a:pt x="1090" y="164"/>
                  <a:pt x="1090" y="164"/>
                  <a:pt x="1090" y="164"/>
                </a:cubicBezTo>
                <a:cubicBezTo>
                  <a:pt x="1087" y="164"/>
                  <a:pt x="1087" y="164"/>
                  <a:pt x="1087" y="164"/>
                </a:cubicBezTo>
                <a:cubicBezTo>
                  <a:pt x="1086" y="164"/>
                  <a:pt x="1086" y="164"/>
                  <a:pt x="1086" y="164"/>
                </a:cubicBezTo>
                <a:cubicBezTo>
                  <a:pt x="1084" y="165"/>
                  <a:pt x="1084" y="165"/>
                  <a:pt x="1084" y="165"/>
                </a:cubicBezTo>
                <a:cubicBezTo>
                  <a:pt x="1081" y="166"/>
                  <a:pt x="1081" y="166"/>
                  <a:pt x="1081" y="166"/>
                </a:cubicBezTo>
                <a:cubicBezTo>
                  <a:pt x="1082" y="166"/>
                  <a:pt x="1082" y="166"/>
                  <a:pt x="1082" y="166"/>
                </a:cubicBezTo>
                <a:cubicBezTo>
                  <a:pt x="1084" y="166"/>
                  <a:pt x="1084" y="166"/>
                  <a:pt x="1084" y="166"/>
                </a:cubicBezTo>
                <a:cubicBezTo>
                  <a:pt x="1085" y="166"/>
                  <a:pt x="1085" y="166"/>
                  <a:pt x="1085" y="166"/>
                </a:cubicBezTo>
                <a:cubicBezTo>
                  <a:pt x="1084" y="167"/>
                  <a:pt x="1084" y="167"/>
                  <a:pt x="1084" y="167"/>
                </a:cubicBezTo>
                <a:cubicBezTo>
                  <a:pt x="1083" y="167"/>
                  <a:pt x="1083" y="167"/>
                  <a:pt x="1083" y="167"/>
                </a:cubicBezTo>
                <a:cubicBezTo>
                  <a:pt x="1083" y="168"/>
                  <a:pt x="1083" y="168"/>
                  <a:pt x="1083" y="168"/>
                </a:cubicBezTo>
                <a:cubicBezTo>
                  <a:pt x="1085" y="169"/>
                  <a:pt x="1085" y="169"/>
                  <a:pt x="1085" y="169"/>
                </a:cubicBezTo>
                <a:cubicBezTo>
                  <a:pt x="1086" y="170"/>
                  <a:pt x="1086" y="170"/>
                  <a:pt x="1086" y="170"/>
                </a:cubicBezTo>
                <a:cubicBezTo>
                  <a:pt x="1087" y="170"/>
                  <a:pt x="1087" y="170"/>
                  <a:pt x="1087" y="170"/>
                </a:cubicBezTo>
                <a:cubicBezTo>
                  <a:pt x="1089" y="170"/>
                  <a:pt x="1089" y="170"/>
                  <a:pt x="1089" y="170"/>
                </a:cubicBezTo>
                <a:cubicBezTo>
                  <a:pt x="1090" y="170"/>
                  <a:pt x="1090" y="170"/>
                  <a:pt x="1090" y="170"/>
                </a:cubicBezTo>
                <a:cubicBezTo>
                  <a:pt x="1092" y="170"/>
                  <a:pt x="1092" y="170"/>
                  <a:pt x="1092" y="170"/>
                </a:cubicBezTo>
                <a:cubicBezTo>
                  <a:pt x="1093" y="169"/>
                  <a:pt x="1093" y="169"/>
                  <a:pt x="1093" y="169"/>
                </a:cubicBezTo>
                <a:cubicBezTo>
                  <a:pt x="1091" y="168"/>
                  <a:pt x="1091" y="168"/>
                  <a:pt x="1091" y="168"/>
                </a:cubicBezTo>
                <a:cubicBezTo>
                  <a:pt x="1091" y="167"/>
                  <a:pt x="1091" y="167"/>
                  <a:pt x="1091" y="167"/>
                </a:cubicBezTo>
                <a:cubicBezTo>
                  <a:pt x="1091" y="167"/>
                  <a:pt x="1091" y="167"/>
                  <a:pt x="1091" y="167"/>
                </a:cubicBezTo>
                <a:cubicBezTo>
                  <a:pt x="1094" y="167"/>
                  <a:pt x="1094" y="167"/>
                  <a:pt x="1094" y="167"/>
                </a:cubicBezTo>
                <a:cubicBezTo>
                  <a:pt x="1095" y="166"/>
                  <a:pt x="1095" y="166"/>
                  <a:pt x="1095" y="166"/>
                </a:cubicBezTo>
                <a:cubicBezTo>
                  <a:pt x="1097" y="166"/>
                  <a:pt x="1097" y="166"/>
                  <a:pt x="1097" y="166"/>
                </a:cubicBezTo>
                <a:cubicBezTo>
                  <a:pt x="1097" y="167"/>
                  <a:pt x="1097" y="167"/>
                  <a:pt x="1097" y="167"/>
                </a:cubicBezTo>
                <a:cubicBezTo>
                  <a:pt x="1096" y="167"/>
                  <a:pt x="1096" y="167"/>
                  <a:pt x="1096" y="167"/>
                </a:cubicBezTo>
                <a:cubicBezTo>
                  <a:pt x="1095" y="168"/>
                  <a:pt x="1095" y="168"/>
                  <a:pt x="1095" y="168"/>
                </a:cubicBezTo>
                <a:cubicBezTo>
                  <a:pt x="1095" y="170"/>
                  <a:pt x="1095" y="170"/>
                  <a:pt x="1095" y="170"/>
                </a:cubicBezTo>
                <a:cubicBezTo>
                  <a:pt x="1093" y="170"/>
                  <a:pt x="1093" y="170"/>
                  <a:pt x="1093" y="170"/>
                </a:cubicBezTo>
                <a:cubicBezTo>
                  <a:pt x="1093" y="171"/>
                  <a:pt x="1093" y="171"/>
                  <a:pt x="1093" y="171"/>
                </a:cubicBezTo>
                <a:cubicBezTo>
                  <a:pt x="1093" y="172"/>
                  <a:pt x="1093" y="172"/>
                  <a:pt x="1093" y="172"/>
                </a:cubicBezTo>
                <a:cubicBezTo>
                  <a:pt x="1097" y="175"/>
                  <a:pt x="1097" y="175"/>
                  <a:pt x="1097" y="175"/>
                </a:cubicBezTo>
                <a:cubicBezTo>
                  <a:pt x="1099" y="177"/>
                  <a:pt x="1099" y="177"/>
                  <a:pt x="1099" y="177"/>
                </a:cubicBezTo>
                <a:cubicBezTo>
                  <a:pt x="1099" y="178"/>
                  <a:pt x="1099" y="178"/>
                  <a:pt x="1099" y="178"/>
                </a:cubicBezTo>
                <a:cubicBezTo>
                  <a:pt x="1097" y="178"/>
                  <a:pt x="1097" y="178"/>
                  <a:pt x="1097" y="178"/>
                </a:cubicBezTo>
                <a:cubicBezTo>
                  <a:pt x="1097" y="177"/>
                  <a:pt x="1097" y="177"/>
                  <a:pt x="1097" y="177"/>
                </a:cubicBezTo>
                <a:cubicBezTo>
                  <a:pt x="1095" y="176"/>
                  <a:pt x="1095" y="176"/>
                  <a:pt x="1095" y="176"/>
                </a:cubicBezTo>
                <a:cubicBezTo>
                  <a:pt x="1093" y="175"/>
                  <a:pt x="1093" y="175"/>
                  <a:pt x="1093" y="175"/>
                </a:cubicBezTo>
                <a:cubicBezTo>
                  <a:pt x="1092" y="174"/>
                  <a:pt x="1092" y="174"/>
                  <a:pt x="1092" y="174"/>
                </a:cubicBezTo>
                <a:cubicBezTo>
                  <a:pt x="1090" y="174"/>
                  <a:pt x="1090" y="174"/>
                  <a:pt x="1090" y="174"/>
                </a:cubicBezTo>
                <a:cubicBezTo>
                  <a:pt x="1090" y="175"/>
                  <a:pt x="1090" y="175"/>
                  <a:pt x="1090" y="175"/>
                </a:cubicBezTo>
                <a:cubicBezTo>
                  <a:pt x="1088" y="175"/>
                  <a:pt x="1088" y="175"/>
                  <a:pt x="1088" y="175"/>
                </a:cubicBezTo>
                <a:cubicBezTo>
                  <a:pt x="1085" y="173"/>
                  <a:pt x="1085" y="173"/>
                  <a:pt x="1085" y="173"/>
                </a:cubicBezTo>
                <a:cubicBezTo>
                  <a:pt x="1084" y="172"/>
                  <a:pt x="1084" y="172"/>
                  <a:pt x="1084" y="172"/>
                </a:cubicBezTo>
                <a:cubicBezTo>
                  <a:pt x="1083" y="170"/>
                  <a:pt x="1083" y="170"/>
                  <a:pt x="1083" y="170"/>
                </a:cubicBezTo>
                <a:cubicBezTo>
                  <a:pt x="1083" y="170"/>
                  <a:pt x="1083" y="170"/>
                  <a:pt x="1083" y="170"/>
                </a:cubicBezTo>
                <a:cubicBezTo>
                  <a:pt x="1083" y="172"/>
                  <a:pt x="1083" y="172"/>
                  <a:pt x="1083" y="172"/>
                </a:cubicBezTo>
                <a:cubicBezTo>
                  <a:pt x="1084" y="173"/>
                  <a:pt x="1084" y="173"/>
                  <a:pt x="1084" y="173"/>
                </a:cubicBezTo>
                <a:cubicBezTo>
                  <a:pt x="1083" y="174"/>
                  <a:pt x="1083" y="174"/>
                  <a:pt x="1083" y="174"/>
                </a:cubicBezTo>
                <a:cubicBezTo>
                  <a:pt x="1082" y="172"/>
                  <a:pt x="1082" y="172"/>
                  <a:pt x="1082" y="172"/>
                </a:cubicBezTo>
                <a:cubicBezTo>
                  <a:pt x="1080" y="170"/>
                  <a:pt x="1080" y="170"/>
                  <a:pt x="1080" y="170"/>
                </a:cubicBezTo>
                <a:cubicBezTo>
                  <a:pt x="1077" y="169"/>
                  <a:pt x="1077" y="169"/>
                  <a:pt x="1077" y="169"/>
                </a:cubicBezTo>
                <a:cubicBezTo>
                  <a:pt x="1077" y="169"/>
                  <a:pt x="1077" y="169"/>
                  <a:pt x="1077" y="169"/>
                </a:cubicBezTo>
                <a:cubicBezTo>
                  <a:pt x="1077" y="170"/>
                  <a:pt x="1077" y="170"/>
                  <a:pt x="1077" y="170"/>
                </a:cubicBezTo>
                <a:cubicBezTo>
                  <a:pt x="1078" y="171"/>
                  <a:pt x="1078" y="171"/>
                  <a:pt x="1078" y="171"/>
                </a:cubicBezTo>
                <a:cubicBezTo>
                  <a:pt x="1078" y="172"/>
                  <a:pt x="1078" y="172"/>
                  <a:pt x="1078" y="172"/>
                </a:cubicBezTo>
                <a:cubicBezTo>
                  <a:pt x="1081" y="174"/>
                  <a:pt x="1081" y="174"/>
                  <a:pt x="1081" y="174"/>
                </a:cubicBezTo>
                <a:cubicBezTo>
                  <a:pt x="1082" y="175"/>
                  <a:pt x="1082" y="175"/>
                  <a:pt x="1082" y="175"/>
                </a:cubicBezTo>
                <a:cubicBezTo>
                  <a:pt x="1083" y="175"/>
                  <a:pt x="1083" y="175"/>
                  <a:pt x="1083" y="175"/>
                </a:cubicBezTo>
                <a:cubicBezTo>
                  <a:pt x="1084" y="175"/>
                  <a:pt x="1084" y="175"/>
                  <a:pt x="1084" y="175"/>
                </a:cubicBezTo>
                <a:cubicBezTo>
                  <a:pt x="1085" y="176"/>
                  <a:pt x="1085" y="176"/>
                  <a:pt x="1085" y="176"/>
                </a:cubicBezTo>
                <a:cubicBezTo>
                  <a:pt x="1082" y="176"/>
                  <a:pt x="1082" y="176"/>
                  <a:pt x="1082" y="176"/>
                </a:cubicBezTo>
                <a:cubicBezTo>
                  <a:pt x="1080" y="175"/>
                  <a:pt x="1080" y="175"/>
                  <a:pt x="1080" y="175"/>
                </a:cubicBezTo>
                <a:cubicBezTo>
                  <a:pt x="1078" y="174"/>
                  <a:pt x="1078" y="174"/>
                  <a:pt x="1078" y="174"/>
                </a:cubicBezTo>
                <a:cubicBezTo>
                  <a:pt x="1077" y="174"/>
                  <a:pt x="1077" y="174"/>
                  <a:pt x="1077" y="174"/>
                </a:cubicBezTo>
                <a:cubicBezTo>
                  <a:pt x="1077" y="175"/>
                  <a:pt x="1077" y="175"/>
                  <a:pt x="1077" y="175"/>
                </a:cubicBezTo>
                <a:cubicBezTo>
                  <a:pt x="1077" y="176"/>
                  <a:pt x="1077" y="176"/>
                  <a:pt x="1077" y="176"/>
                </a:cubicBezTo>
                <a:cubicBezTo>
                  <a:pt x="1076" y="177"/>
                  <a:pt x="1076" y="177"/>
                  <a:pt x="1076" y="177"/>
                </a:cubicBezTo>
                <a:cubicBezTo>
                  <a:pt x="1075" y="177"/>
                  <a:pt x="1075" y="177"/>
                  <a:pt x="1075" y="177"/>
                </a:cubicBezTo>
                <a:cubicBezTo>
                  <a:pt x="1075" y="178"/>
                  <a:pt x="1075" y="178"/>
                  <a:pt x="1075" y="178"/>
                </a:cubicBezTo>
                <a:cubicBezTo>
                  <a:pt x="1074" y="179"/>
                  <a:pt x="1074" y="179"/>
                  <a:pt x="1074" y="179"/>
                </a:cubicBezTo>
                <a:cubicBezTo>
                  <a:pt x="1074" y="179"/>
                  <a:pt x="1074" y="179"/>
                  <a:pt x="1074" y="179"/>
                </a:cubicBezTo>
                <a:cubicBezTo>
                  <a:pt x="1071" y="182"/>
                  <a:pt x="1071" y="182"/>
                  <a:pt x="1071" y="182"/>
                </a:cubicBezTo>
                <a:cubicBezTo>
                  <a:pt x="1071" y="183"/>
                  <a:pt x="1071" y="183"/>
                  <a:pt x="1071" y="183"/>
                </a:cubicBezTo>
                <a:cubicBezTo>
                  <a:pt x="1072" y="183"/>
                  <a:pt x="1072" y="183"/>
                  <a:pt x="1072" y="183"/>
                </a:cubicBezTo>
                <a:cubicBezTo>
                  <a:pt x="1073" y="183"/>
                  <a:pt x="1073" y="183"/>
                  <a:pt x="1073" y="183"/>
                </a:cubicBezTo>
                <a:cubicBezTo>
                  <a:pt x="1075" y="180"/>
                  <a:pt x="1075" y="180"/>
                  <a:pt x="1075" y="180"/>
                </a:cubicBezTo>
                <a:cubicBezTo>
                  <a:pt x="1077" y="179"/>
                  <a:pt x="1077" y="179"/>
                  <a:pt x="1077" y="179"/>
                </a:cubicBezTo>
                <a:cubicBezTo>
                  <a:pt x="1078" y="179"/>
                  <a:pt x="1078" y="179"/>
                  <a:pt x="1078" y="179"/>
                </a:cubicBezTo>
                <a:cubicBezTo>
                  <a:pt x="1081" y="179"/>
                  <a:pt x="1081" y="179"/>
                  <a:pt x="1081" y="179"/>
                </a:cubicBezTo>
                <a:cubicBezTo>
                  <a:pt x="1081" y="178"/>
                  <a:pt x="1081" y="178"/>
                  <a:pt x="1081" y="178"/>
                </a:cubicBezTo>
                <a:cubicBezTo>
                  <a:pt x="1082" y="178"/>
                  <a:pt x="1082" y="178"/>
                  <a:pt x="1082" y="178"/>
                </a:cubicBezTo>
                <a:cubicBezTo>
                  <a:pt x="1082" y="179"/>
                  <a:pt x="1082" y="179"/>
                  <a:pt x="1082" y="179"/>
                </a:cubicBezTo>
                <a:cubicBezTo>
                  <a:pt x="1083" y="180"/>
                  <a:pt x="1083" y="180"/>
                  <a:pt x="1083" y="180"/>
                </a:cubicBezTo>
                <a:cubicBezTo>
                  <a:pt x="1085" y="180"/>
                  <a:pt x="1085" y="180"/>
                  <a:pt x="1085" y="180"/>
                </a:cubicBezTo>
                <a:cubicBezTo>
                  <a:pt x="1087" y="182"/>
                  <a:pt x="1087" y="182"/>
                  <a:pt x="1087" y="182"/>
                </a:cubicBezTo>
                <a:cubicBezTo>
                  <a:pt x="1088" y="182"/>
                  <a:pt x="1088" y="182"/>
                  <a:pt x="1088" y="182"/>
                </a:cubicBezTo>
                <a:cubicBezTo>
                  <a:pt x="1089" y="181"/>
                  <a:pt x="1089" y="181"/>
                  <a:pt x="1089" y="181"/>
                </a:cubicBezTo>
                <a:cubicBezTo>
                  <a:pt x="1090" y="180"/>
                  <a:pt x="1090" y="180"/>
                  <a:pt x="1090" y="180"/>
                </a:cubicBezTo>
                <a:cubicBezTo>
                  <a:pt x="1090" y="179"/>
                  <a:pt x="1090" y="179"/>
                  <a:pt x="1090" y="179"/>
                </a:cubicBezTo>
                <a:cubicBezTo>
                  <a:pt x="1090" y="178"/>
                  <a:pt x="1090" y="178"/>
                  <a:pt x="1090" y="178"/>
                </a:cubicBezTo>
                <a:cubicBezTo>
                  <a:pt x="1090" y="177"/>
                  <a:pt x="1090" y="177"/>
                  <a:pt x="1090" y="177"/>
                </a:cubicBezTo>
                <a:cubicBezTo>
                  <a:pt x="1091" y="177"/>
                  <a:pt x="1091" y="177"/>
                  <a:pt x="1091" y="177"/>
                </a:cubicBezTo>
                <a:cubicBezTo>
                  <a:pt x="1092" y="177"/>
                  <a:pt x="1092" y="177"/>
                  <a:pt x="1092" y="177"/>
                </a:cubicBezTo>
                <a:cubicBezTo>
                  <a:pt x="1092" y="177"/>
                  <a:pt x="1092" y="177"/>
                  <a:pt x="1092" y="177"/>
                </a:cubicBezTo>
                <a:cubicBezTo>
                  <a:pt x="1093" y="177"/>
                  <a:pt x="1093" y="177"/>
                  <a:pt x="1093" y="177"/>
                </a:cubicBezTo>
                <a:cubicBezTo>
                  <a:pt x="1094" y="178"/>
                  <a:pt x="1094" y="178"/>
                  <a:pt x="1094" y="178"/>
                </a:cubicBezTo>
                <a:cubicBezTo>
                  <a:pt x="1094" y="179"/>
                  <a:pt x="1094" y="179"/>
                  <a:pt x="1094" y="179"/>
                </a:cubicBezTo>
                <a:cubicBezTo>
                  <a:pt x="1093" y="178"/>
                  <a:pt x="1093" y="178"/>
                  <a:pt x="1093" y="178"/>
                </a:cubicBezTo>
                <a:cubicBezTo>
                  <a:pt x="1092" y="179"/>
                  <a:pt x="1092" y="179"/>
                  <a:pt x="1092" y="179"/>
                </a:cubicBezTo>
                <a:cubicBezTo>
                  <a:pt x="1092" y="180"/>
                  <a:pt x="1092" y="180"/>
                  <a:pt x="1092" y="180"/>
                </a:cubicBezTo>
                <a:cubicBezTo>
                  <a:pt x="1093" y="181"/>
                  <a:pt x="1093" y="181"/>
                  <a:pt x="1093" y="181"/>
                </a:cubicBezTo>
                <a:cubicBezTo>
                  <a:pt x="1096" y="181"/>
                  <a:pt x="1096" y="181"/>
                  <a:pt x="1096" y="181"/>
                </a:cubicBezTo>
                <a:cubicBezTo>
                  <a:pt x="1096" y="181"/>
                  <a:pt x="1096" y="181"/>
                  <a:pt x="1096" y="181"/>
                </a:cubicBezTo>
                <a:cubicBezTo>
                  <a:pt x="1096" y="180"/>
                  <a:pt x="1096" y="180"/>
                  <a:pt x="1096" y="180"/>
                </a:cubicBezTo>
                <a:cubicBezTo>
                  <a:pt x="1096" y="179"/>
                  <a:pt x="1096" y="179"/>
                  <a:pt x="1096" y="179"/>
                </a:cubicBezTo>
                <a:cubicBezTo>
                  <a:pt x="1097" y="179"/>
                  <a:pt x="1097" y="179"/>
                  <a:pt x="1097" y="179"/>
                </a:cubicBezTo>
                <a:cubicBezTo>
                  <a:pt x="1099" y="179"/>
                  <a:pt x="1099" y="179"/>
                  <a:pt x="1099" y="179"/>
                </a:cubicBezTo>
                <a:cubicBezTo>
                  <a:pt x="1100" y="180"/>
                  <a:pt x="1100" y="180"/>
                  <a:pt x="1100" y="180"/>
                </a:cubicBezTo>
                <a:cubicBezTo>
                  <a:pt x="1099" y="181"/>
                  <a:pt x="1099" y="181"/>
                  <a:pt x="1099" y="181"/>
                </a:cubicBezTo>
                <a:cubicBezTo>
                  <a:pt x="1096" y="182"/>
                  <a:pt x="1096" y="182"/>
                  <a:pt x="1096" y="182"/>
                </a:cubicBezTo>
                <a:cubicBezTo>
                  <a:pt x="1093" y="182"/>
                  <a:pt x="1093" y="182"/>
                  <a:pt x="1093" y="182"/>
                </a:cubicBezTo>
                <a:cubicBezTo>
                  <a:pt x="1092" y="182"/>
                  <a:pt x="1092" y="182"/>
                  <a:pt x="1092" y="182"/>
                </a:cubicBezTo>
                <a:cubicBezTo>
                  <a:pt x="1092" y="183"/>
                  <a:pt x="1092" y="183"/>
                  <a:pt x="1092" y="183"/>
                </a:cubicBezTo>
                <a:cubicBezTo>
                  <a:pt x="1094" y="186"/>
                  <a:pt x="1094" y="186"/>
                  <a:pt x="1094" y="186"/>
                </a:cubicBezTo>
                <a:cubicBezTo>
                  <a:pt x="1096" y="187"/>
                  <a:pt x="1096" y="187"/>
                  <a:pt x="1096" y="187"/>
                </a:cubicBezTo>
                <a:cubicBezTo>
                  <a:pt x="1098" y="187"/>
                  <a:pt x="1098" y="187"/>
                  <a:pt x="1098" y="187"/>
                </a:cubicBezTo>
                <a:cubicBezTo>
                  <a:pt x="1098" y="187"/>
                  <a:pt x="1098" y="187"/>
                  <a:pt x="1098" y="187"/>
                </a:cubicBezTo>
                <a:cubicBezTo>
                  <a:pt x="1100" y="186"/>
                  <a:pt x="1100" y="186"/>
                  <a:pt x="1100" y="186"/>
                </a:cubicBezTo>
                <a:cubicBezTo>
                  <a:pt x="1100" y="187"/>
                  <a:pt x="1100" y="187"/>
                  <a:pt x="1100" y="187"/>
                </a:cubicBezTo>
                <a:cubicBezTo>
                  <a:pt x="1100" y="188"/>
                  <a:pt x="1100" y="188"/>
                  <a:pt x="1100" y="188"/>
                </a:cubicBezTo>
                <a:cubicBezTo>
                  <a:pt x="1099" y="188"/>
                  <a:pt x="1099" y="188"/>
                  <a:pt x="1099" y="188"/>
                </a:cubicBezTo>
                <a:cubicBezTo>
                  <a:pt x="1098" y="188"/>
                  <a:pt x="1098" y="188"/>
                  <a:pt x="1098" y="188"/>
                </a:cubicBezTo>
                <a:cubicBezTo>
                  <a:pt x="1095" y="188"/>
                  <a:pt x="1095" y="188"/>
                  <a:pt x="1095" y="188"/>
                </a:cubicBezTo>
                <a:cubicBezTo>
                  <a:pt x="1093" y="186"/>
                  <a:pt x="1093" y="186"/>
                  <a:pt x="1093" y="186"/>
                </a:cubicBezTo>
                <a:cubicBezTo>
                  <a:pt x="1091" y="184"/>
                  <a:pt x="1091" y="184"/>
                  <a:pt x="1091" y="184"/>
                </a:cubicBezTo>
                <a:cubicBezTo>
                  <a:pt x="1089" y="183"/>
                  <a:pt x="1089" y="183"/>
                  <a:pt x="1089" y="183"/>
                </a:cubicBezTo>
                <a:cubicBezTo>
                  <a:pt x="1087" y="184"/>
                  <a:pt x="1087" y="184"/>
                  <a:pt x="1087" y="184"/>
                </a:cubicBezTo>
                <a:cubicBezTo>
                  <a:pt x="1085" y="182"/>
                  <a:pt x="1085" y="182"/>
                  <a:pt x="1085" y="182"/>
                </a:cubicBezTo>
                <a:cubicBezTo>
                  <a:pt x="1083" y="181"/>
                  <a:pt x="1083" y="181"/>
                  <a:pt x="1083" y="181"/>
                </a:cubicBezTo>
                <a:cubicBezTo>
                  <a:pt x="1083" y="181"/>
                  <a:pt x="1083" y="181"/>
                  <a:pt x="1083" y="181"/>
                </a:cubicBezTo>
                <a:cubicBezTo>
                  <a:pt x="1081" y="181"/>
                  <a:pt x="1081" y="181"/>
                  <a:pt x="1081" y="181"/>
                </a:cubicBezTo>
                <a:cubicBezTo>
                  <a:pt x="1080" y="181"/>
                  <a:pt x="1080" y="181"/>
                  <a:pt x="1080" y="181"/>
                </a:cubicBezTo>
                <a:cubicBezTo>
                  <a:pt x="1078" y="181"/>
                  <a:pt x="1078" y="181"/>
                  <a:pt x="1078" y="181"/>
                </a:cubicBezTo>
                <a:cubicBezTo>
                  <a:pt x="1078" y="181"/>
                  <a:pt x="1078" y="181"/>
                  <a:pt x="1078" y="181"/>
                </a:cubicBezTo>
                <a:cubicBezTo>
                  <a:pt x="1077" y="181"/>
                  <a:pt x="1077" y="181"/>
                  <a:pt x="1077" y="181"/>
                </a:cubicBezTo>
                <a:cubicBezTo>
                  <a:pt x="1075" y="182"/>
                  <a:pt x="1075" y="182"/>
                  <a:pt x="1075" y="182"/>
                </a:cubicBezTo>
                <a:cubicBezTo>
                  <a:pt x="1075" y="184"/>
                  <a:pt x="1075" y="184"/>
                  <a:pt x="1075" y="184"/>
                </a:cubicBezTo>
                <a:cubicBezTo>
                  <a:pt x="1073" y="184"/>
                  <a:pt x="1073" y="184"/>
                  <a:pt x="1073" y="184"/>
                </a:cubicBezTo>
                <a:cubicBezTo>
                  <a:pt x="1071" y="185"/>
                  <a:pt x="1071" y="185"/>
                  <a:pt x="1071" y="185"/>
                </a:cubicBezTo>
                <a:cubicBezTo>
                  <a:pt x="1070" y="186"/>
                  <a:pt x="1070" y="186"/>
                  <a:pt x="1070" y="186"/>
                </a:cubicBezTo>
                <a:cubicBezTo>
                  <a:pt x="1068" y="188"/>
                  <a:pt x="1068" y="188"/>
                  <a:pt x="1068" y="188"/>
                </a:cubicBezTo>
                <a:cubicBezTo>
                  <a:pt x="1068" y="189"/>
                  <a:pt x="1068" y="189"/>
                  <a:pt x="1068" y="189"/>
                </a:cubicBezTo>
                <a:cubicBezTo>
                  <a:pt x="1069" y="190"/>
                  <a:pt x="1069" y="190"/>
                  <a:pt x="1069" y="190"/>
                </a:cubicBezTo>
                <a:cubicBezTo>
                  <a:pt x="1070" y="189"/>
                  <a:pt x="1070" y="189"/>
                  <a:pt x="1070" y="189"/>
                </a:cubicBezTo>
                <a:cubicBezTo>
                  <a:pt x="1072" y="188"/>
                  <a:pt x="1072" y="188"/>
                  <a:pt x="1072" y="188"/>
                </a:cubicBezTo>
                <a:cubicBezTo>
                  <a:pt x="1073" y="188"/>
                  <a:pt x="1073" y="188"/>
                  <a:pt x="1073" y="188"/>
                </a:cubicBezTo>
                <a:cubicBezTo>
                  <a:pt x="1074" y="189"/>
                  <a:pt x="1074" y="189"/>
                  <a:pt x="1074" y="189"/>
                </a:cubicBezTo>
                <a:cubicBezTo>
                  <a:pt x="1076" y="189"/>
                  <a:pt x="1076" y="189"/>
                  <a:pt x="1076" y="189"/>
                </a:cubicBezTo>
                <a:cubicBezTo>
                  <a:pt x="1079" y="188"/>
                  <a:pt x="1079" y="188"/>
                  <a:pt x="1079" y="188"/>
                </a:cubicBezTo>
                <a:cubicBezTo>
                  <a:pt x="1082" y="188"/>
                  <a:pt x="1082" y="188"/>
                  <a:pt x="1082" y="188"/>
                </a:cubicBezTo>
                <a:cubicBezTo>
                  <a:pt x="1084" y="189"/>
                  <a:pt x="1084" y="189"/>
                  <a:pt x="1084" y="189"/>
                </a:cubicBezTo>
                <a:cubicBezTo>
                  <a:pt x="1085" y="190"/>
                  <a:pt x="1085" y="190"/>
                  <a:pt x="1085" y="190"/>
                </a:cubicBezTo>
                <a:cubicBezTo>
                  <a:pt x="1084" y="190"/>
                  <a:pt x="1084" y="190"/>
                  <a:pt x="1084" y="190"/>
                </a:cubicBezTo>
                <a:cubicBezTo>
                  <a:pt x="1081" y="190"/>
                  <a:pt x="1081" y="190"/>
                  <a:pt x="1081" y="190"/>
                </a:cubicBezTo>
                <a:cubicBezTo>
                  <a:pt x="1080" y="190"/>
                  <a:pt x="1080" y="190"/>
                  <a:pt x="1080" y="190"/>
                </a:cubicBezTo>
                <a:cubicBezTo>
                  <a:pt x="1073" y="190"/>
                  <a:pt x="1073" y="190"/>
                  <a:pt x="1073" y="190"/>
                </a:cubicBezTo>
                <a:cubicBezTo>
                  <a:pt x="1071" y="190"/>
                  <a:pt x="1071" y="190"/>
                  <a:pt x="1071" y="190"/>
                </a:cubicBezTo>
                <a:cubicBezTo>
                  <a:pt x="1071" y="191"/>
                  <a:pt x="1071" y="191"/>
                  <a:pt x="1071" y="191"/>
                </a:cubicBezTo>
                <a:cubicBezTo>
                  <a:pt x="1068" y="191"/>
                  <a:pt x="1068" y="191"/>
                  <a:pt x="1068" y="191"/>
                </a:cubicBezTo>
                <a:cubicBezTo>
                  <a:pt x="1068" y="192"/>
                  <a:pt x="1068" y="192"/>
                  <a:pt x="1068" y="192"/>
                </a:cubicBezTo>
                <a:cubicBezTo>
                  <a:pt x="1069" y="192"/>
                  <a:pt x="1069" y="192"/>
                  <a:pt x="1069" y="192"/>
                </a:cubicBezTo>
                <a:cubicBezTo>
                  <a:pt x="1070" y="192"/>
                  <a:pt x="1070" y="192"/>
                  <a:pt x="1070" y="192"/>
                </a:cubicBezTo>
                <a:cubicBezTo>
                  <a:pt x="1071" y="193"/>
                  <a:pt x="1071" y="193"/>
                  <a:pt x="1071" y="193"/>
                </a:cubicBezTo>
                <a:cubicBezTo>
                  <a:pt x="1070" y="193"/>
                  <a:pt x="1070" y="193"/>
                  <a:pt x="1070" y="193"/>
                </a:cubicBezTo>
                <a:cubicBezTo>
                  <a:pt x="1069" y="193"/>
                  <a:pt x="1069" y="193"/>
                  <a:pt x="1069" y="193"/>
                </a:cubicBezTo>
                <a:cubicBezTo>
                  <a:pt x="1067" y="193"/>
                  <a:pt x="1067" y="193"/>
                  <a:pt x="1067" y="193"/>
                </a:cubicBezTo>
                <a:cubicBezTo>
                  <a:pt x="1067" y="193"/>
                  <a:pt x="1067" y="193"/>
                  <a:pt x="1067" y="193"/>
                </a:cubicBezTo>
                <a:cubicBezTo>
                  <a:pt x="1068" y="194"/>
                  <a:pt x="1068" y="194"/>
                  <a:pt x="1068" y="194"/>
                </a:cubicBezTo>
                <a:cubicBezTo>
                  <a:pt x="1069" y="194"/>
                  <a:pt x="1069" y="194"/>
                  <a:pt x="1069" y="194"/>
                </a:cubicBezTo>
                <a:cubicBezTo>
                  <a:pt x="1074" y="196"/>
                  <a:pt x="1074" y="196"/>
                  <a:pt x="1074" y="196"/>
                </a:cubicBezTo>
                <a:cubicBezTo>
                  <a:pt x="1075" y="196"/>
                  <a:pt x="1075" y="196"/>
                  <a:pt x="1075" y="196"/>
                </a:cubicBezTo>
                <a:cubicBezTo>
                  <a:pt x="1076" y="195"/>
                  <a:pt x="1076" y="195"/>
                  <a:pt x="1076" y="195"/>
                </a:cubicBezTo>
                <a:cubicBezTo>
                  <a:pt x="1077" y="195"/>
                  <a:pt x="1077" y="195"/>
                  <a:pt x="1077" y="195"/>
                </a:cubicBezTo>
                <a:cubicBezTo>
                  <a:pt x="1078" y="195"/>
                  <a:pt x="1078" y="195"/>
                  <a:pt x="1078" y="195"/>
                </a:cubicBezTo>
                <a:cubicBezTo>
                  <a:pt x="1078" y="197"/>
                  <a:pt x="1078" y="197"/>
                  <a:pt x="1078" y="197"/>
                </a:cubicBezTo>
                <a:cubicBezTo>
                  <a:pt x="1078" y="198"/>
                  <a:pt x="1078" y="198"/>
                  <a:pt x="1078" y="198"/>
                </a:cubicBezTo>
                <a:cubicBezTo>
                  <a:pt x="1077" y="198"/>
                  <a:pt x="1077" y="198"/>
                  <a:pt x="1077" y="198"/>
                </a:cubicBezTo>
                <a:cubicBezTo>
                  <a:pt x="1076" y="198"/>
                  <a:pt x="1076" y="198"/>
                  <a:pt x="1076" y="198"/>
                </a:cubicBezTo>
                <a:cubicBezTo>
                  <a:pt x="1075" y="198"/>
                  <a:pt x="1075" y="198"/>
                  <a:pt x="1075" y="198"/>
                </a:cubicBezTo>
                <a:cubicBezTo>
                  <a:pt x="1074" y="198"/>
                  <a:pt x="1074" y="198"/>
                  <a:pt x="1074" y="198"/>
                </a:cubicBezTo>
                <a:cubicBezTo>
                  <a:pt x="1073" y="198"/>
                  <a:pt x="1073" y="198"/>
                  <a:pt x="1073" y="198"/>
                </a:cubicBezTo>
                <a:cubicBezTo>
                  <a:pt x="1073" y="199"/>
                  <a:pt x="1073" y="199"/>
                  <a:pt x="1073" y="199"/>
                </a:cubicBezTo>
                <a:cubicBezTo>
                  <a:pt x="1073" y="200"/>
                  <a:pt x="1073" y="200"/>
                  <a:pt x="1073" y="200"/>
                </a:cubicBezTo>
                <a:cubicBezTo>
                  <a:pt x="1074" y="200"/>
                  <a:pt x="1074" y="200"/>
                  <a:pt x="1074" y="200"/>
                </a:cubicBezTo>
                <a:cubicBezTo>
                  <a:pt x="1075" y="200"/>
                  <a:pt x="1075" y="200"/>
                  <a:pt x="1075" y="200"/>
                </a:cubicBezTo>
                <a:cubicBezTo>
                  <a:pt x="1075" y="201"/>
                  <a:pt x="1075" y="201"/>
                  <a:pt x="1075" y="201"/>
                </a:cubicBezTo>
                <a:cubicBezTo>
                  <a:pt x="1074" y="201"/>
                  <a:pt x="1074" y="201"/>
                  <a:pt x="1074" y="201"/>
                </a:cubicBezTo>
                <a:cubicBezTo>
                  <a:pt x="1072" y="201"/>
                  <a:pt x="1072" y="201"/>
                  <a:pt x="1072" y="201"/>
                </a:cubicBezTo>
                <a:cubicBezTo>
                  <a:pt x="1070" y="200"/>
                  <a:pt x="1070" y="200"/>
                  <a:pt x="1070" y="200"/>
                </a:cubicBezTo>
                <a:cubicBezTo>
                  <a:pt x="1068" y="201"/>
                  <a:pt x="1068" y="201"/>
                  <a:pt x="1068" y="201"/>
                </a:cubicBezTo>
                <a:cubicBezTo>
                  <a:pt x="1068" y="201"/>
                  <a:pt x="1068" y="201"/>
                  <a:pt x="1068" y="201"/>
                </a:cubicBezTo>
                <a:cubicBezTo>
                  <a:pt x="1069" y="203"/>
                  <a:pt x="1069" y="203"/>
                  <a:pt x="1069" y="203"/>
                </a:cubicBezTo>
                <a:cubicBezTo>
                  <a:pt x="1070" y="203"/>
                  <a:pt x="1070" y="203"/>
                  <a:pt x="1070" y="203"/>
                </a:cubicBezTo>
                <a:cubicBezTo>
                  <a:pt x="1071" y="202"/>
                  <a:pt x="1071" y="202"/>
                  <a:pt x="1071" y="202"/>
                </a:cubicBezTo>
                <a:cubicBezTo>
                  <a:pt x="1073" y="202"/>
                  <a:pt x="1073" y="202"/>
                  <a:pt x="1073" y="202"/>
                </a:cubicBezTo>
                <a:cubicBezTo>
                  <a:pt x="1074" y="203"/>
                  <a:pt x="1074" y="203"/>
                  <a:pt x="1074" y="203"/>
                </a:cubicBezTo>
                <a:cubicBezTo>
                  <a:pt x="1075" y="204"/>
                  <a:pt x="1075" y="204"/>
                  <a:pt x="1075" y="204"/>
                </a:cubicBezTo>
                <a:cubicBezTo>
                  <a:pt x="1073" y="204"/>
                  <a:pt x="1073" y="204"/>
                  <a:pt x="1073" y="204"/>
                </a:cubicBezTo>
                <a:cubicBezTo>
                  <a:pt x="1071" y="204"/>
                  <a:pt x="1071" y="204"/>
                  <a:pt x="1071" y="204"/>
                </a:cubicBezTo>
                <a:cubicBezTo>
                  <a:pt x="1069" y="204"/>
                  <a:pt x="1069" y="204"/>
                  <a:pt x="1069" y="204"/>
                </a:cubicBezTo>
                <a:cubicBezTo>
                  <a:pt x="1068" y="203"/>
                  <a:pt x="1068" y="203"/>
                  <a:pt x="1068" y="203"/>
                </a:cubicBezTo>
                <a:cubicBezTo>
                  <a:pt x="1067" y="203"/>
                  <a:pt x="1067" y="203"/>
                  <a:pt x="1067" y="203"/>
                </a:cubicBezTo>
                <a:cubicBezTo>
                  <a:pt x="1066" y="205"/>
                  <a:pt x="1066" y="205"/>
                  <a:pt x="1066" y="205"/>
                </a:cubicBezTo>
                <a:cubicBezTo>
                  <a:pt x="1066" y="208"/>
                  <a:pt x="1066" y="208"/>
                  <a:pt x="1066" y="208"/>
                </a:cubicBezTo>
                <a:cubicBezTo>
                  <a:pt x="1065" y="209"/>
                  <a:pt x="1065" y="209"/>
                  <a:pt x="1065" y="209"/>
                </a:cubicBezTo>
                <a:cubicBezTo>
                  <a:pt x="1066" y="210"/>
                  <a:pt x="1066" y="210"/>
                  <a:pt x="1066" y="210"/>
                </a:cubicBezTo>
                <a:cubicBezTo>
                  <a:pt x="1067" y="210"/>
                  <a:pt x="1067" y="210"/>
                  <a:pt x="1067" y="210"/>
                </a:cubicBezTo>
                <a:cubicBezTo>
                  <a:pt x="1071" y="208"/>
                  <a:pt x="1071" y="208"/>
                  <a:pt x="1071" y="208"/>
                </a:cubicBezTo>
                <a:cubicBezTo>
                  <a:pt x="1072" y="208"/>
                  <a:pt x="1072" y="208"/>
                  <a:pt x="1072" y="208"/>
                </a:cubicBezTo>
                <a:cubicBezTo>
                  <a:pt x="1075" y="207"/>
                  <a:pt x="1075" y="207"/>
                  <a:pt x="1075" y="207"/>
                </a:cubicBezTo>
                <a:cubicBezTo>
                  <a:pt x="1077" y="206"/>
                  <a:pt x="1077" y="206"/>
                  <a:pt x="1077" y="206"/>
                </a:cubicBezTo>
                <a:cubicBezTo>
                  <a:pt x="1079" y="204"/>
                  <a:pt x="1079" y="204"/>
                  <a:pt x="1079" y="204"/>
                </a:cubicBezTo>
                <a:cubicBezTo>
                  <a:pt x="1081" y="201"/>
                  <a:pt x="1081" y="201"/>
                  <a:pt x="1081" y="201"/>
                </a:cubicBezTo>
                <a:cubicBezTo>
                  <a:pt x="1086" y="199"/>
                  <a:pt x="1086" y="199"/>
                  <a:pt x="1086" y="199"/>
                </a:cubicBezTo>
                <a:cubicBezTo>
                  <a:pt x="1089" y="198"/>
                  <a:pt x="1089" y="198"/>
                  <a:pt x="1089" y="198"/>
                </a:cubicBezTo>
                <a:cubicBezTo>
                  <a:pt x="1090" y="199"/>
                  <a:pt x="1090" y="199"/>
                  <a:pt x="1090" y="199"/>
                </a:cubicBezTo>
                <a:cubicBezTo>
                  <a:pt x="1090" y="199"/>
                  <a:pt x="1090" y="199"/>
                  <a:pt x="1090" y="199"/>
                </a:cubicBezTo>
                <a:cubicBezTo>
                  <a:pt x="1089" y="200"/>
                  <a:pt x="1089" y="200"/>
                  <a:pt x="1089" y="200"/>
                </a:cubicBezTo>
                <a:cubicBezTo>
                  <a:pt x="1088" y="200"/>
                  <a:pt x="1088" y="200"/>
                  <a:pt x="1088" y="200"/>
                </a:cubicBezTo>
                <a:cubicBezTo>
                  <a:pt x="1085" y="201"/>
                  <a:pt x="1085" y="201"/>
                  <a:pt x="1085" y="201"/>
                </a:cubicBezTo>
                <a:cubicBezTo>
                  <a:pt x="1082" y="203"/>
                  <a:pt x="1082" y="203"/>
                  <a:pt x="1082" y="203"/>
                </a:cubicBezTo>
                <a:cubicBezTo>
                  <a:pt x="1079" y="206"/>
                  <a:pt x="1079" y="206"/>
                  <a:pt x="1079" y="206"/>
                </a:cubicBezTo>
                <a:cubicBezTo>
                  <a:pt x="1077" y="208"/>
                  <a:pt x="1077" y="208"/>
                  <a:pt x="1077" y="208"/>
                </a:cubicBezTo>
                <a:cubicBezTo>
                  <a:pt x="1074" y="208"/>
                  <a:pt x="1074" y="208"/>
                  <a:pt x="1074" y="208"/>
                </a:cubicBezTo>
                <a:cubicBezTo>
                  <a:pt x="1073" y="209"/>
                  <a:pt x="1073" y="209"/>
                  <a:pt x="1073" y="209"/>
                </a:cubicBezTo>
                <a:cubicBezTo>
                  <a:pt x="1070" y="211"/>
                  <a:pt x="1070" y="211"/>
                  <a:pt x="1070" y="211"/>
                </a:cubicBezTo>
                <a:cubicBezTo>
                  <a:pt x="1067" y="212"/>
                  <a:pt x="1067" y="212"/>
                  <a:pt x="1067" y="212"/>
                </a:cubicBezTo>
                <a:cubicBezTo>
                  <a:pt x="1066" y="212"/>
                  <a:pt x="1066" y="212"/>
                  <a:pt x="1066" y="212"/>
                </a:cubicBezTo>
                <a:cubicBezTo>
                  <a:pt x="1066" y="213"/>
                  <a:pt x="1066" y="213"/>
                  <a:pt x="1066" y="213"/>
                </a:cubicBezTo>
                <a:cubicBezTo>
                  <a:pt x="1067" y="213"/>
                  <a:pt x="1067" y="213"/>
                  <a:pt x="1067" y="213"/>
                </a:cubicBezTo>
                <a:cubicBezTo>
                  <a:pt x="1068" y="213"/>
                  <a:pt x="1068" y="213"/>
                  <a:pt x="1068" y="213"/>
                </a:cubicBezTo>
                <a:cubicBezTo>
                  <a:pt x="1069" y="213"/>
                  <a:pt x="1069" y="213"/>
                  <a:pt x="1069" y="213"/>
                </a:cubicBezTo>
                <a:cubicBezTo>
                  <a:pt x="1069" y="214"/>
                  <a:pt x="1069" y="214"/>
                  <a:pt x="1069" y="214"/>
                </a:cubicBezTo>
                <a:cubicBezTo>
                  <a:pt x="1071" y="213"/>
                  <a:pt x="1071" y="213"/>
                  <a:pt x="1071" y="213"/>
                </a:cubicBezTo>
                <a:cubicBezTo>
                  <a:pt x="1072" y="212"/>
                  <a:pt x="1072" y="212"/>
                  <a:pt x="1072" y="212"/>
                </a:cubicBezTo>
                <a:cubicBezTo>
                  <a:pt x="1073" y="212"/>
                  <a:pt x="1073" y="212"/>
                  <a:pt x="1073" y="212"/>
                </a:cubicBezTo>
                <a:cubicBezTo>
                  <a:pt x="1074" y="213"/>
                  <a:pt x="1074" y="213"/>
                  <a:pt x="1074" y="213"/>
                </a:cubicBezTo>
                <a:cubicBezTo>
                  <a:pt x="1075" y="213"/>
                  <a:pt x="1075" y="213"/>
                  <a:pt x="1075" y="213"/>
                </a:cubicBezTo>
                <a:cubicBezTo>
                  <a:pt x="1076" y="212"/>
                  <a:pt x="1076" y="212"/>
                  <a:pt x="1076" y="212"/>
                </a:cubicBezTo>
                <a:cubicBezTo>
                  <a:pt x="1078" y="211"/>
                  <a:pt x="1078" y="211"/>
                  <a:pt x="1078" y="211"/>
                </a:cubicBezTo>
                <a:cubicBezTo>
                  <a:pt x="1079" y="211"/>
                  <a:pt x="1079" y="211"/>
                  <a:pt x="1079" y="211"/>
                </a:cubicBezTo>
                <a:cubicBezTo>
                  <a:pt x="1080" y="212"/>
                  <a:pt x="1080" y="212"/>
                  <a:pt x="1080" y="212"/>
                </a:cubicBezTo>
                <a:cubicBezTo>
                  <a:pt x="1079" y="213"/>
                  <a:pt x="1079" y="213"/>
                  <a:pt x="1079" y="213"/>
                </a:cubicBezTo>
                <a:cubicBezTo>
                  <a:pt x="1078" y="213"/>
                  <a:pt x="1078" y="213"/>
                  <a:pt x="1078" y="213"/>
                </a:cubicBezTo>
                <a:cubicBezTo>
                  <a:pt x="1076" y="214"/>
                  <a:pt x="1076" y="214"/>
                  <a:pt x="1076" y="214"/>
                </a:cubicBezTo>
                <a:cubicBezTo>
                  <a:pt x="1075" y="214"/>
                  <a:pt x="1075" y="214"/>
                  <a:pt x="1075" y="214"/>
                </a:cubicBezTo>
                <a:cubicBezTo>
                  <a:pt x="1073" y="214"/>
                  <a:pt x="1073" y="214"/>
                  <a:pt x="1073" y="214"/>
                </a:cubicBezTo>
                <a:cubicBezTo>
                  <a:pt x="1072" y="213"/>
                  <a:pt x="1072" y="213"/>
                  <a:pt x="1072" y="213"/>
                </a:cubicBezTo>
                <a:cubicBezTo>
                  <a:pt x="1071" y="214"/>
                  <a:pt x="1071" y="214"/>
                  <a:pt x="1071" y="214"/>
                </a:cubicBezTo>
                <a:cubicBezTo>
                  <a:pt x="1070" y="215"/>
                  <a:pt x="1070" y="215"/>
                  <a:pt x="1070" y="215"/>
                </a:cubicBezTo>
                <a:cubicBezTo>
                  <a:pt x="1068" y="216"/>
                  <a:pt x="1068" y="216"/>
                  <a:pt x="1068" y="216"/>
                </a:cubicBezTo>
                <a:cubicBezTo>
                  <a:pt x="1068" y="216"/>
                  <a:pt x="1068" y="216"/>
                  <a:pt x="1068" y="216"/>
                </a:cubicBezTo>
                <a:cubicBezTo>
                  <a:pt x="1069" y="217"/>
                  <a:pt x="1069" y="217"/>
                  <a:pt x="1069" y="217"/>
                </a:cubicBezTo>
                <a:cubicBezTo>
                  <a:pt x="1070" y="217"/>
                  <a:pt x="1070" y="217"/>
                  <a:pt x="1070" y="217"/>
                </a:cubicBezTo>
                <a:cubicBezTo>
                  <a:pt x="1072" y="219"/>
                  <a:pt x="1072" y="219"/>
                  <a:pt x="1072" y="219"/>
                </a:cubicBezTo>
                <a:cubicBezTo>
                  <a:pt x="1070" y="220"/>
                  <a:pt x="1070" y="220"/>
                  <a:pt x="1070" y="220"/>
                </a:cubicBezTo>
                <a:cubicBezTo>
                  <a:pt x="1070" y="221"/>
                  <a:pt x="1070" y="221"/>
                  <a:pt x="1070" y="221"/>
                </a:cubicBezTo>
                <a:cubicBezTo>
                  <a:pt x="1072" y="221"/>
                  <a:pt x="1072" y="221"/>
                  <a:pt x="1072" y="221"/>
                </a:cubicBezTo>
                <a:cubicBezTo>
                  <a:pt x="1071" y="222"/>
                  <a:pt x="1071" y="222"/>
                  <a:pt x="1071" y="222"/>
                </a:cubicBezTo>
                <a:cubicBezTo>
                  <a:pt x="1072" y="223"/>
                  <a:pt x="1072" y="223"/>
                  <a:pt x="1072" y="223"/>
                </a:cubicBezTo>
                <a:cubicBezTo>
                  <a:pt x="1072" y="223"/>
                  <a:pt x="1072" y="223"/>
                  <a:pt x="1072" y="223"/>
                </a:cubicBezTo>
                <a:cubicBezTo>
                  <a:pt x="1074" y="221"/>
                  <a:pt x="1074" y="221"/>
                  <a:pt x="1074" y="221"/>
                </a:cubicBezTo>
                <a:cubicBezTo>
                  <a:pt x="1075" y="221"/>
                  <a:pt x="1075" y="221"/>
                  <a:pt x="1075" y="221"/>
                </a:cubicBezTo>
                <a:cubicBezTo>
                  <a:pt x="1076" y="220"/>
                  <a:pt x="1076" y="220"/>
                  <a:pt x="1076" y="220"/>
                </a:cubicBezTo>
                <a:cubicBezTo>
                  <a:pt x="1077" y="219"/>
                  <a:pt x="1077" y="219"/>
                  <a:pt x="1077" y="219"/>
                </a:cubicBezTo>
                <a:cubicBezTo>
                  <a:pt x="1078" y="218"/>
                  <a:pt x="1078" y="218"/>
                  <a:pt x="1078" y="218"/>
                </a:cubicBezTo>
                <a:cubicBezTo>
                  <a:pt x="1079" y="218"/>
                  <a:pt x="1079" y="218"/>
                  <a:pt x="1079" y="218"/>
                </a:cubicBezTo>
                <a:cubicBezTo>
                  <a:pt x="1083" y="216"/>
                  <a:pt x="1083" y="216"/>
                  <a:pt x="1083" y="216"/>
                </a:cubicBezTo>
                <a:cubicBezTo>
                  <a:pt x="1084" y="216"/>
                  <a:pt x="1084" y="216"/>
                  <a:pt x="1084" y="216"/>
                </a:cubicBezTo>
                <a:cubicBezTo>
                  <a:pt x="1084" y="217"/>
                  <a:pt x="1084" y="217"/>
                  <a:pt x="1084" y="217"/>
                </a:cubicBezTo>
                <a:cubicBezTo>
                  <a:pt x="1086" y="218"/>
                  <a:pt x="1086" y="218"/>
                  <a:pt x="1086" y="218"/>
                </a:cubicBezTo>
                <a:cubicBezTo>
                  <a:pt x="1086" y="219"/>
                  <a:pt x="1086" y="219"/>
                  <a:pt x="1086" y="219"/>
                </a:cubicBezTo>
                <a:cubicBezTo>
                  <a:pt x="1085" y="219"/>
                  <a:pt x="1085" y="219"/>
                  <a:pt x="1085" y="219"/>
                </a:cubicBezTo>
                <a:cubicBezTo>
                  <a:pt x="1084" y="218"/>
                  <a:pt x="1084" y="218"/>
                  <a:pt x="1084" y="218"/>
                </a:cubicBezTo>
                <a:cubicBezTo>
                  <a:pt x="1081" y="219"/>
                  <a:pt x="1081" y="219"/>
                  <a:pt x="1081" y="219"/>
                </a:cubicBezTo>
                <a:cubicBezTo>
                  <a:pt x="1080" y="219"/>
                  <a:pt x="1080" y="219"/>
                  <a:pt x="1080" y="219"/>
                </a:cubicBezTo>
                <a:cubicBezTo>
                  <a:pt x="1080" y="219"/>
                  <a:pt x="1080" y="219"/>
                  <a:pt x="1080" y="219"/>
                </a:cubicBezTo>
                <a:cubicBezTo>
                  <a:pt x="1079" y="219"/>
                  <a:pt x="1079" y="219"/>
                  <a:pt x="1079" y="219"/>
                </a:cubicBezTo>
                <a:cubicBezTo>
                  <a:pt x="1078" y="221"/>
                  <a:pt x="1078" y="221"/>
                  <a:pt x="1078" y="221"/>
                </a:cubicBezTo>
                <a:cubicBezTo>
                  <a:pt x="1077" y="221"/>
                  <a:pt x="1077" y="221"/>
                  <a:pt x="1077" y="221"/>
                </a:cubicBezTo>
                <a:cubicBezTo>
                  <a:pt x="1076" y="222"/>
                  <a:pt x="1076" y="222"/>
                  <a:pt x="1076" y="222"/>
                </a:cubicBezTo>
                <a:cubicBezTo>
                  <a:pt x="1074" y="223"/>
                  <a:pt x="1074" y="223"/>
                  <a:pt x="1074" y="223"/>
                </a:cubicBezTo>
                <a:cubicBezTo>
                  <a:pt x="1073" y="224"/>
                  <a:pt x="1073" y="224"/>
                  <a:pt x="1073" y="224"/>
                </a:cubicBezTo>
                <a:cubicBezTo>
                  <a:pt x="1071" y="224"/>
                  <a:pt x="1071" y="224"/>
                  <a:pt x="1071" y="224"/>
                </a:cubicBezTo>
                <a:cubicBezTo>
                  <a:pt x="1069" y="225"/>
                  <a:pt x="1069" y="225"/>
                  <a:pt x="1069" y="225"/>
                </a:cubicBezTo>
                <a:cubicBezTo>
                  <a:pt x="1070" y="226"/>
                  <a:pt x="1070" y="226"/>
                  <a:pt x="1070" y="226"/>
                </a:cubicBezTo>
                <a:cubicBezTo>
                  <a:pt x="1071" y="227"/>
                  <a:pt x="1071" y="227"/>
                  <a:pt x="1071" y="227"/>
                </a:cubicBezTo>
                <a:cubicBezTo>
                  <a:pt x="1072" y="226"/>
                  <a:pt x="1072" y="226"/>
                  <a:pt x="1072" y="226"/>
                </a:cubicBezTo>
                <a:cubicBezTo>
                  <a:pt x="1072" y="225"/>
                  <a:pt x="1072" y="225"/>
                  <a:pt x="1072" y="225"/>
                </a:cubicBezTo>
                <a:cubicBezTo>
                  <a:pt x="1073" y="227"/>
                  <a:pt x="1073" y="227"/>
                  <a:pt x="1073" y="227"/>
                </a:cubicBezTo>
                <a:cubicBezTo>
                  <a:pt x="1073" y="229"/>
                  <a:pt x="1073" y="229"/>
                  <a:pt x="1073" y="229"/>
                </a:cubicBezTo>
                <a:cubicBezTo>
                  <a:pt x="1072" y="229"/>
                  <a:pt x="1072" y="229"/>
                  <a:pt x="1072" y="229"/>
                </a:cubicBezTo>
                <a:cubicBezTo>
                  <a:pt x="1072" y="232"/>
                  <a:pt x="1072" y="232"/>
                  <a:pt x="1072" y="232"/>
                </a:cubicBezTo>
                <a:cubicBezTo>
                  <a:pt x="1072" y="233"/>
                  <a:pt x="1072" y="233"/>
                  <a:pt x="1072" y="233"/>
                </a:cubicBezTo>
                <a:cubicBezTo>
                  <a:pt x="1074" y="234"/>
                  <a:pt x="1074" y="234"/>
                  <a:pt x="1074" y="234"/>
                </a:cubicBezTo>
                <a:cubicBezTo>
                  <a:pt x="1075" y="233"/>
                  <a:pt x="1075" y="233"/>
                  <a:pt x="1075" y="233"/>
                </a:cubicBezTo>
                <a:cubicBezTo>
                  <a:pt x="1076" y="231"/>
                  <a:pt x="1076" y="231"/>
                  <a:pt x="1076" y="231"/>
                </a:cubicBezTo>
                <a:cubicBezTo>
                  <a:pt x="1077" y="232"/>
                  <a:pt x="1077" y="232"/>
                  <a:pt x="1077" y="232"/>
                </a:cubicBezTo>
                <a:cubicBezTo>
                  <a:pt x="1078" y="231"/>
                  <a:pt x="1078" y="231"/>
                  <a:pt x="1078" y="231"/>
                </a:cubicBezTo>
                <a:cubicBezTo>
                  <a:pt x="1079" y="231"/>
                  <a:pt x="1079" y="231"/>
                  <a:pt x="1079" y="231"/>
                </a:cubicBezTo>
                <a:cubicBezTo>
                  <a:pt x="1080" y="232"/>
                  <a:pt x="1080" y="232"/>
                  <a:pt x="1080" y="232"/>
                </a:cubicBezTo>
                <a:cubicBezTo>
                  <a:pt x="1079" y="232"/>
                  <a:pt x="1079" y="232"/>
                  <a:pt x="1079" y="232"/>
                </a:cubicBezTo>
                <a:cubicBezTo>
                  <a:pt x="1077" y="234"/>
                  <a:pt x="1077" y="234"/>
                  <a:pt x="1077" y="234"/>
                </a:cubicBezTo>
                <a:cubicBezTo>
                  <a:pt x="1076" y="233"/>
                  <a:pt x="1076" y="233"/>
                  <a:pt x="1076" y="233"/>
                </a:cubicBezTo>
                <a:cubicBezTo>
                  <a:pt x="1073" y="234"/>
                  <a:pt x="1073" y="234"/>
                  <a:pt x="1073" y="234"/>
                </a:cubicBezTo>
                <a:cubicBezTo>
                  <a:pt x="1072" y="235"/>
                  <a:pt x="1072" y="235"/>
                  <a:pt x="1072" y="235"/>
                </a:cubicBezTo>
                <a:cubicBezTo>
                  <a:pt x="1072" y="236"/>
                  <a:pt x="1072" y="236"/>
                  <a:pt x="1072" y="236"/>
                </a:cubicBezTo>
                <a:cubicBezTo>
                  <a:pt x="1071" y="238"/>
                  <a:pt x="1071" y="238"/>
                  <a:pt x="1071" y="238"/>
                </a:cubicBezTo>
                <a:cubicBezTo>
                  <a:pt x="1073" y="239"/>
                  <a:pt x="1073" y="239"/>
                  <a:pt x="1073" y="239"/>
                </a:cubicBezTo>
                <a:cubicBezTo>
                  <a:pt x="1072" y="240"/>
                  <a:pt x="1072" y="240"/>
                  <a:pt x="1072" y="240"/>
                </a:cubicBezTo>
                <a:cubicBezTo>
                  <a:pt x="1071" y="242"/>
                  <a:pt x="1071" y="242"/>
                  <a:pt x="1071" y="242"/>
                </a:cubicBezTo>
                <a:cubicBezTo>
                  <a:pt x="1072" y="244"/>
                  <a:pt x="1072" y="244"/>
                  <a:pt x="1072" y="244"/>
                </a:cubicBezTo>
                <a:cubicBezTo>
                  <a:pt x="1073" y="244"/>
                  <a:pt x="1073" y="244"/>
                  <a:pt x="1073" y="244"/>
                </a:cubicBezTo>
                <a:cubicBezTo>
                  <a:pt x="1074" y="241"/>
                  <a:pt x="1074" y="241"/>
                  <a:pt x="1074" y="241"/>
                </a:cubicBezTo>
                <a:cubicBezTo>
                  <a:pt x="1075" y="241"/>
                  <a:pt x="1075" y="241"/>
                  <a:pt x="1075" y="241"/>
                </a:cubicBezTo>
                <a:cubicBezTo>
                  <a:pt x="1078" y="239"/>
                  <a:pt x="1078" y="239"/>
                  <a:pt x="1078" y="239"/>
                </a:cubicBezTo>
                <a:cubicBezTo>
                  <a:pt x="1078" y="238"/>
                  <a:pt x="1078" y="238"/>
                  <a:pt x="1078" y="238"/>
                </a:cubicBezTo>
                <a:cubicBezTo>
                  <a:pt x="1079" y="237"/>
                  <a:pt x="1079" y="237"/>
                  <a:pt x="1079" y="237"/>
                </a:cubicBezTo>
                <a:cubicBezTo>
                  <a:pt x="1080" y="237"/>
                  <a:pt x="1080" y="237"/>
                  <a:pt x="1080" y="237"/>
                </a:cubicBezTo>
                <a:cubicBezTo>
                  <a:pt x="1081" y="237"/>
                  <a:pt x="1081" y="237"/>
                  <a:pt x="1081" y="237"/>
                </a:cubicBezTo>
                <a:cubicBezTo>
                  <a:pt x="1080" y="238"/>
                  <a:pt x="1080" y="238"/>
                  <a:pt x="1080" y="238"/>
                </a:cubicBezTo>
                <a:cubicBezTo>
                  <a:pt x="1080" y="239"/>
                  <a:pt x="1080" y="239"/>
                  <a:pt x="1080" y="239"/>
                </a:cubicBezTo>
                <a:cubicBezTo>
                  <a:pt x="1080" y="239"/>
                  <a:pt x="1080" y="239"/>
                  <a:pt x="1080" y="239"/>
                </a:cubicBezTo>
                <a:cubicBezTo>
                  <a:pt x="1082" y="238"/>
                  <a:pt x="1082" y="238"/>
                  <a:pt x="1082" y="238"/>
                </a:cubicBezTo>
                <a:cubicBezTo>
                  <a:pt x="1084" y="236"/>
                  <a:pt x="1084" y="236"/>
                  <a:pt x="1084" y="236"/>
                </a:cubicBezTo>
                <a:cubicBezTo>
                  <a:pt x="1084" y="235"/>
                  <a:pt x="1084" y="235"/>
                  <a:pt x="1084" y="235"/>
                </a:cubicBezTo>
                <a:cubicBezTo>
                  <a:pt x="1085" y="237"/>
                  <a:pt x="1085" y="237"/>
                  <a:pt x="1085" y="237"/>
                </a:cubicBezTo>
                <a:cubicBezTo>
                  <a:pt x="1086" y="237"/>
                  <a:pt x="1086" y="237"/>
                  <a:pt x="1086" y="237"/>
                </a:cubicBezTo>
                <a:cubicBezTo>
                  <a:pt x="1087" y="235"/>
                  <a:pt x="1087" y="235"/>
                  <a:pt x="1087" y="235"/>
                </a:cubicBezTo>
                <a:cubicBezTo>
                  <a:pt x="1089" y="236"/>
                  <a:pt x="1089" y="236"/>
                  <a:pt x="1089" y="236"/>
                </a:cubicBezTo>
                <a:cubicBezTo>
                  <a:pt x="1088" y="236"/>
                  <a:pt x="1088" y="236"/>
                  <a:pt x="1088" y="236"/>
                </a:cubicBezTo>
                <a:cubicBezTo>
                  <a:pt x="1087" y="237"/>
                  <a:pt x="1087" y="237"/>
                  <a:pt x="1087" y="237"/>
                </a:cubicBezTo>
                <a:cubicBezTo>
                  <a:pt x="1087" y="241"/>
                  <a:pt x="1087" y="241"/>
                  <a:pt x="1087" y="241"/>
                </a:cubicBezTo>
                <a:cubicBezTo>
                  <a:pt x="1088" y="241"/>
                  <a:pt x="1088" y="241"/>
                  <a:pt x="1088" y="241"/>
                </a:cubicBezTo>
                <a:cubicBezTo>
                  <a:pt x="1089" y="243"/>
                  <a:pt x="1089" y="243"/>
                  <a:pt x="1089" y="243"/>
                </a:cubicBezTo>
                <a:cubicBezTo>
                  <a:pt x="1089" y="243"/>
                  <a:pt x="1089" y="243"/>
                  <a:pt x="1089" y="243"/>
                </a:cubicBezTo>
                <a:cubicBezTo>
                  <a:pt x="1087" y="242"/>
                  <a:pt x="1087" y="242"/>
                  <a:pt x="1087" y="242"/>
                </a:cubicBezTo>
                <a:cubicBezTo>
                  <a:pt x="1086" y="240"/>
                  <a:pt x="1086" y="240"/>
                  <a:pt x="1086" y="240"/>
                </a:cubicBezTo>
                <a:cubicBezTo>
                  <a:pt x="1085" y="239"/>
                  <a:pt x="1085" y="239"/>
                  <a:pt x="1085" y="239"/>
                </a:cubicBezTo>
                <a:cubicBezTo>
                  <a:pt x="1084" y="239"/>
                  <a:pt x="1084" y="239"/>
                  <a:pt x="1084" y="239"/>
                </a:cubicBezTo>
                <a:cubicBezTo>
                  <a:pt x="1083" y="240"/>
                  <a:pt x="1083" y="240"/>
                  <a:pt x="1083" y="240"/>
                </a:cubicBezTo>
                <a:cubicBezTo>
                  <a:pt x="1082" y="240"/>
                  <a:pt x="1082" y="240"/>
                  <a:pt x="1082" y="240"/>
                </a:cubicBezTo>
                <a:cubicBezTo>
                  <a:pt x="1082" y="240"/>
                  <a:pt x="1082" y="240"/>
                  <a:pt x="1082" y="240"/>
                </a:cubicBezTo>
                <a:cubicBezTo>
                  <a:pt x="1083" y="241"/>
                  <a:pt x="1083" y="241"/>
                  <a:pt x="1083" y="241"/>
                </a:cubicBezTo>
                <a:cubicBezTo>
                  <a:pt x="1084" y="241"/>
                  <a:pt x="1084" y="241"/>
                  <a:pt x="1084" y="241"/>
                </a:cubicBezTo>
                <a:cubicBezTo>
                  <a:pt x="1085" y="243"/>
                  <a:pt x="1085" y="243"/>
                  <a:pt x="1085" y="243"/>
                </a:cubicBezTo>
                <a:cubicBezTo>
                  <a:pt x="1086" y="243"/>
                  <a:pt x="1086" y="243"/>
                  <a:pt x="1086" y="243"/>
                </a:cubicBezTo>
                <a:cubicBezTo>
                  <a:pt x="1086" y="244"/>
                  <a:pt x="1086" y="244"/>
                  <a:pt x="1086" y="244"/>
                </a:cubicBezTo>
                <a:cubicBezTo>
                  <a:pt x="1085" y="244"/>
                  <a:pt x="1085" y="244"/>
                  <a:pt x="1085" y="244"/>
                </a:cubicBezTo>
                <a:cubicBezTo>
                  <a:pt x="1083" y="243"/>
                  <a:pt x="1083" y="243"/>
                  <a:pt x="1083" y="243"/>
                </a:cubicBezTo>
                <a:cubicBezTo>
                  <a:pt x="1082" y="242"/>
                  <a:pt x="1082" y="242"/>
                  <a:pt x="1082" y="242"/>
                </a:cubicBezTo>
                <a:cubicBezTo>
                  <a:pt x="1081" y="243"/>
                  <a:pt x="1081" y="243"/>
                  <a:pt x="1081" y="243"/>
                </a:cubicBezTo>
                <a:cubicBezTo>
                  <a:pt x="1079" y="245"/>
                  <a:pt x="1079" y="245"/>
                  <a:pt x="1079" y="245"/>
                </a:cubicBezTo>
                <a:cubicBezTo>
                  <a:pt x="1078" y="246"/>
                  <a:pt x="1078" y="246"/>
                  <a:pt x="1078" y="246"/>
                </a:cubicBezTo>
                <a:cubicBezTo>
                  <a:pt x="1074" y="246"/>
                  <a:pt x="1074" y="246"/>
                  <a:pt x="1074" y="246"/>
                </a:cubicBezTo>
                <a:cubicBezTo>
                  <a:pt x="1074" y="246"/>
                  <a:pt x="1074" y="246"/>
                  <a:pt x="1074" y="246"/>
                </a:cubicBezTo>
                <a:cubicBezTo>
                  <a:pt x="1075" y="247"/>
                  <a:pt x="1075" y="247"/>
                  <a:pt x="1075" y="247"/>
                </a:cubicBezTo>
                <a:cubicBezTo>
                  <a:pt x="1077" y="247"/>
                  <a:pt x="1077" y="247"/>
                  <a:pt x="1077" y="247"/>
                </a:cubicBezTo>
                <a:cubicBezTo>
                  <a:pt x="1078" y="246"/>
                  <a:pt x="1078" y="246"/>
                  <a:pt x="1078" y="246"/>
                </a:cubicBezTo>
                <a:cubicBezTo>
                  <a:pt x="1081" y="246"/>
                  <a:pt x="1081" y="246"/>
                  <a:pt x="1081" y="246"/>
                </a:cubicBezTo>
                <a:cubicBezTo>
                  <a:pt x="1083" y="245"/>
                  <a:pt x="1083" y="245"/>
                  <a:pt x="1083" y="245"/>
                </a:cubicBezTo>
                <a:cubicBezTo>
                  <a:pt x="1084" y="245"/>
                  <a:pt x="1084" y="245"/>
                  <a:pt x="1084" y="245"/>
                </a:cubicBezTo>
                <a:cubicBezTo>
                  <a:pt x="1086" y="245"/>
                  <a:pt x="1086" y="245"/>
                  <a:pt x="1086" y="245"/>
                </a:cubicBezTo>
                <a:cubicBezTo>
                  <a:pt x="1086" y="246"/>
                  <a:pt x="1086" y="246"/>
                  <a:pt x="1086" y="246"/>
                </a:cubicBezTo>
                <a:cubicBezTo>
                  <a:pt x="1084" y="247"/>
                  <a:pt x="1084" y="247"/>
                  <a:pt x="1084" y="247"/>
                </a:cubicBezTo>
                <a:cubicBezTo>
                  <a:pt x="1082" y="247"/>
                  <a:pt x="1082" y="247"/>
                  <a:pt x="1082" y="247"/>
                </a:cubicBezTo>
                <a:cubicBezTo>
                  <a:pt x="1079" y="248"/>
                  <a:pt x="1079" y="248"/>
                  <a:pt x="1079" y="248"/>
                </a:cubicBezTo>
                <a:cubicBezTo>
                  <a:pt x="1075" y="247"/>
                  <a:pt x="1075" y="247"/>
                  <a:pt x="1075" y="247"/>
                </a:cubicBezTo>
                <a:cubicBezTo>
                  <a:pt x="1074" y="248"/>
                  <a:pt x="1074" y="248"/>
                  <a:pt x="1074" y="248"/>
                </a:cubicBezTo>
                <a:cubicBezTo>
                  <a:pt x="1073" y="249"/>
                  <a:pt x="1073" y="249"/>
                  <a:pt x="1073" y="249"/>
                </a:cubicBezTo>
                <a:cubicBezTo>
                  <a:pt x="1074" y="251"/>
                  <a:pt x="1074" y="251"/>
                  <a:pt x="1074" y="251"/>
                </a:cubicBezTo>
                <a:cubicBezTo>
                  <a:pt x="1075" y="251"/>
                  <a:pt x="1075" y="251"/>
                  <a:pt x="1075" y="251"/>
                </a:cubicBezTo>
                <a:cubicBezTo>
                  <a:pt x="1077" y="251"/>
                  <a:pt x="1077" y="251"/>
                  <a:pt x="1077" y="251"/>
                </a:cubicBezTo>
                <a:cubicBezTo>
                  <a:pt x="1078" y="251"/>
                  <a:pt x="1078" y="251"/>
                  <a:pt x="1078" y="251"/>
                </a:cubicBezTo>
                <a:cubicBezTo>
                  <a:pt x="1076" y="252"/>
                  <a:pt x="1076" y="252"/>
                  <a:pt x="1076" y="252"/>
                </a:cubicBezTo>
                <a:cubicBezTo>
                  <a:pt x="1074" y="252"/>
                  <a:pt x="1074" y="252"/>
                  <a:pt x="1074" y="252"/>
                </a:cubicBezTo>
                <a:cubicBezTo>
                  <a:pt x="1073" y="254"/>
                  <a:pt x="1073" y="254"/>
                  <a:pt x="1073" y="254"/>
                </a:cubicBezTo>
                <a:cubicBezTo>
                  <a:pt x="1073" y="255"/>
                  <a:pt x="1073" y="255"/>
                  <a:pt x="1073" y="255"/>
                </a:cubicBezTo>
                <a:cubicBezTo>
                  <a:pt x="1075" y="256"/>
                  <a:pt x="1075" y="256"/>
                  <a:pt x="1075" y="256"/>
                </a:cubicBezTo>
                <a:cubicBezTo>
                  <a:pt x="1076" y="255"/>
                  <a:pt x="1076" y="255"/>
                  <a:pt x="1076" y="255"/>
                </a:cubicBezTo>
                <a:cubicBezTo>
                  <a:pt x="1077" y="254"/>
                  <a:pt x="1077" y="254"/>
                  <a:pt x="1077" y="254"/>
                </a:cubicBezTo>
                <a:cubicBezTo>
                  <a:pt x="1078" y="254"/>
                  <a:pt x="1078" y="254"/>
                  <a:pt x="1078" y="254"/>
                </a:cubicBezTo>
                <a:cubicBezTo>
                  <a:pt x="1079" y="254"/>
                  <a:pt x="1079" y="254"/>
                  <a:pt x="1079" y="254"/>
                </a:cubicBezTo>
                <a:cubicBezTo>
                  <a:pt x="1080" y="254"/>
                  <a:pt x="1080" y="254"/>
                  <a:pt x="1080" y="254"/>
                </a:cubicBezTo>
                <a:cubicBezTo>
                  <a:pt x="1081" y="254"/>
                  <a:pt x="1081" y="254"/>
                  <a:pt x="1081" y="254"/>
                </a:cubicBezTo>
                <a:cubicBezTo>
                  <a:pt x="1082" y="254"/>
                  <a:pt x="1082" y="254"/>
                  <a:pt x="1082" y="254"/>
                </a:cubicBezTo>
                <a:cubicBezTo>
                  <a:pt x="1083" y="254"/>
                  <a:pt x="1083" y="254"/>
                  <a:pt x="1083" y="254"/>
                </a:cubicBezTo>
                <a:cubicBezTo>
                  <a:pt x="1082" y="255"/>
                  <a:pt x="1082" y="255"/>
                  <a:pt x="1082" y="255"/>
                </a:cubicBezTo>
                <a:cubicBezTo>
                  <a:pt x="1080" y="256"/>
                  <a:pt x="1080" y="256"/>
                  <a:pt x="1080" y="256"/>
                </a:cubicBezTo>
                <a:cubicBezTo>
                  <a:pt x="1079" y="255"/>
                  <a:pt x="1079" y="255"/>
                  <a:pt x="1079" y="255"/>
                </a:cubicBezTo>
                <a:cubicBezTo>
                  <a:pt x="1077" y="255"/>
                  <a:pt x="1077" y="255"/>
                  <a:pt x="1077" y="255"/>
                </a:cubicBezTo>
                <a:cubicBezTo>
                  <a:pt x="1077" y="255"/>
                  <a:pt x="1077" y="255"/>
                  <a:pt x="1077" y="255"/>
                </a:cubicBezTo>
                <a:cubicBezTo>
                  <a:pt x="1078" y="256"/>
                  <a:pt x="1078" y="256"/>
                  <a:pt x="1078" y="256"/>
                </a:cubicBezTo>
                <a:cubicBezTo>
                  <a:pt x="1079" y="256"/>
                  <a:pt x="1079" y="256"/>
                  <a:pt x="1079" y="256"/>
                </a:cubicBezTo>
                <a:cubicBezTo>
                  <a:pt x="1080" y="257"/>
                  <a:pt x="1080" y="257"/>
                  <a:pt x="1080" y="257"/>
                </a:cubicBezTo>
                <a:cubicBezTo>
                  <a:pt x="1079" y="257"/>
                  <a:pt x="1079" y="257"/>
                  <a:pt x="1079" y="257"/>
                </a:cubicBezTo>
                <a:cubicBezTo>
                  <a:pt x="1077" y="257"/>
                  <a:pt x="1077" y="257"/>
                  <a:pt x="1077" y="257"/>
                </a:cubicBezTo>
                <a:cubicBezTo>
                  <a:pt x="1075" y="259"/>
                  <a:pt x="1075" y="259"/>
                  <a:pt x="1075" y="259"/>
                </a:cubicBezTo>
                <a:cubicBezTo>
                  <a:pt x="1076" y="260"/>
                  <a:pt x="1076" y="260"/>
                  <a:pt x="1076" y="260"/>
                </a:cubicBezTo>
                <a:cubicBezTo>
                  <a:pt x="1077" y="260"/>
                  <a:pt x="1077" y="260"/>
                  <a:pt x="1077" y="260"/>
                </a:cubicBezTo>
                <a:cubicBezTo>
                  <a:pt x="1078" y="259"/>
                  <a:pt x="1078" y="259"/>
                  <a:pt x="1078" y="259"/>
                </a:cubicBezTo>
                <a:cubicBezTo>
                  <a:pt x="1080" y="259"/>
                  <a:pt x="1080" y="259"/>
                  <a:pt x="1080" y="259"/>
                </a:cubicBezTo>
                <a:cubicBezTo>
                  <a:pt x="1081" y="260"/>
                  <a:pt x="1081" y="260"/>
                  <a:pt x="1081" y="260"/>
                </a:cubicBezTo>
                <a:cubicBezTo>
                  <a:pt x="1082" y="260"/>
                  <a:pt x="1082" y="260"/>
                  <a:pt x="1082" y="260"/>
                </a:cubicBezTo>
                <a:cubicBezTo>
                  <a:pt x="1081" y="260"/>
                  <a:pt x="1081" y="260"/>
                  <a:pt x="1081" y="260"/>
                </a:cubicBezTo>
                <a:cubicBezTo>
                  <a:pt x="1078" y="261"/>
                  <a:pt x="1078" y="261"/>
                  <a:pt x="1078" y="261"/>
                </a:cubicBezTo>
                <a:cubicBezTo>
                  <a:pt x="1077" y="260"/>
                  <a:pt x="1077" y="260"/>
                  <a:pt x="1077" y="260"/>
                </a:cubicBezTo>
                <a:cubicBezTo>
                  <a:pt x="1075" y="261"/>
                  <a:pt x="1075" y="261"/>
                  <a:pt x="1075" y="261"/>
                </a:cubicBezTo>
                <a:cubicBezTo>
                  <a:pt x="1075" y="262"/>
                  <a:pt x="1075" y="262"/>
                  <a:pt x="1075" y="262"/>
                </a:cubicBezTo>
                <a:cubicBezTo>
                  <a:pt x="1076" y="263"/>
                  <a:pt x="1076" y="263"/>
                  <a:pt x="1076" y="263"/>
                </a:cubicBezTo>
                <a:cubicBezTo>
                  <a:pt x="1077" y="263"/>
                  <a:pt x="1077" y="263"/>
                  <a:pt x="1077" y="263"/>
                </a:cubicBezTo>
                <a:cubicBezTo>
                  <a:pt x="1078" y="262"/>
                  <a:pt x="1078" y="262"/>
                  <a:pt x="1078" y="262"/>
                </a:cubicBezTo>
                <a:cubicBezTo>
                  <a:pt x="1080" y="262"/>
                  <a:pt x="1080" y="262"/>
                  <a:pt x="1080" y="262"/>
                </a:cubicBezTo>
                <a:cubicBezTo>
                  <a:pt x="1081" y="263"/>
                  <a:pt x="1081" y="263"/>
                  <a:pt x="1081" y="263"/>
                </a:cubicBezTo>
                <a:cubicBezTo>
                  <a:pt x="1081" y="264"/>
                  <a:pt x="1081" y="264"/>
                  <a:pt x="1081" y="264"/>
                </a:cubicBezTo>
                <a:cubicBezTo>
                  <a:pt x="1078" y="265"/>
                  <a:pt x="1078" y="265"/>
                  <a:pt x="1078" y="265"/>
                </a:cubicBezTo>
                <a:cubicBezTo>
                  <a:pt x="1078" y="266"/>
                  <a:pt x="1078" y="266"/>
                  <a:pt x="1078" y="266"/>
                </a:cubicBezTo>
                <a:cubicBezTo>
                  <a:pt x="1079" y="268"/>
                  <a:pt x="1079" y="268"/>
                  <a:pt x="1079" y="268"/>
                </a:cubicBezTo>
                <a:cubicBezTo>
                  <a:pt x="1079" y="268"/>
                  <a:pt x="1079" y="268"/>
                  <a:pt x="1079" y="268"/>
                </a:cubicBezTo>
                <a:cubicBezTo>
                  <a:pt x="1080" y="267"/>
                  <a:pt x="1080" y="267"/>
                  <a:pt x="1080" y="267"/>
                </a:cubicBezTo>
                <a:cubicBezTo>
                  <a:pt x="1081" y="267"/>
                  <a:pt x="1081" y="267"/>
                  <a:pt x="1081" y="267"/>
                </a:cubicBezTo>
                <a:cubicBezTo>
                  <a:pt x="1082" y="268"/>
                  <a:pt x="1082" y="268"/>
                  <a:pt x="1082" y="268"/>
                </a:cubicBezTo>
                <a:cubicBezTo>
                  <a:pt x="1082" y="267"/>
                  <a:pt x="1082" y="267"/>
                  <a:pt x="1082" y="267"/>
                </a:cubicBezTo>
                <a:cubicBezTo>
                  <a:pt x="1083" y="267"/>
                  <a:pt x="1083" y="267"/>
                  <a:pt x="1083" y="267"/>
                </a:cubicBezTo>
                <a:cubicBezTo>
                  <a:pt x="1084" y="268"/>
                  <a:pt x="1084" y="268"/>
                  <a:pt x="1084" y="268"/>
                </a:cubicBezTo>
                <a:cubicBezTo>
                  <a:pt x="1083" y="268"/>
                  <a:pt x="1083" y="268"/>
                  <a:pt x="1083" y="268"/>
                </a:cubicBezTo>
                <a:cubicBezTo>
                  <a:pt x="1083" y="270"/>
                  <a:pt x="1083" y="270"/>
                  <a:pt x="1083" y="270"/>
                </a:cubicBezTo>
                <a:cubicBezTo>
                  <a:pt x="1084" y="270"/>
                  <a:pt x="1084" y="270"/>
                  <a:pt x="1084" y="270"/>
                </a:cubicBezTo>
                <a:cubicBezTo>
                  <a:pt x="1082" y="273"/>
                  <a:pt x="1082" y="273"/>
                  <a:pt x="1082" y="273"/>
                </a:cubicBezTo>
                <a:cubicBezTo>
                  <a:pt x="1081" y="273"/>
                  <a:pt x="1081" y="273"/>
                  <a:pt x="1081" y="273"/>
                </a:cubicBezTo>
                <a:cubicBezTo>
                  <a:pt x="1080" y="274"/>
                  <a:pt x="1080" y="274"/>
                  <a:pt x="1080" y="274"/>
                </a:cubicBezTo>
                <a:cubicBezTo>
                  <a:pt x="1079" y="276"/>
                  <a:pt x="1079" y="276"/>
                  <a:pt x="1079" y="276"/>
                </a:cubicBezTo>
                <a:cubicBezTo>
                  <a:pt x="1080" y="276"/>
                  <a:pt x="1080" y="276"/>
                  <a:pt x="1080" y="276"/>
                </a:cubicBezTo>
                <a:cubicBezTo>
                  <a:pt x="1081" y="276"/>
                  <a:pt x="1081" y="276"/>
                  <a:pt x="1081" y="276"/>
                </a:cubicBezTo>
                <a:cubicBezTo>
                  <a:pt x="1082" y="275"/>
                  <a:pt x="1082" y="275"/>
                  <a:pt x="1082" y="275"/>
                </a:cubicBezTo>
                <a:cubicBezTo>
                  <a:pt x="1083" y="276"/>
                  <a:pt x="1083" y="276"/>
                  <a:pt x="1083" y="276"/>
                </a:cubicBezTo>
                <a:cubicBezTo>
                  <a:pt x="1083" y="277"/>
                  <a:pt x="1083" y="277"/>
                  <a:pt x="1083" y="277"/>
                </a:cubicBezTo>
                <a:cubicBezTo>
                  <a:pt x="1083" y="278"/>
                  <a:pt x="1083" y="278"/>
                  <a:pt x="1083" y="278"/>
                </a:cubicBezTo>
                <a:cubicBezTo>
                  <a:pt x="1083" y="278"/>
                  <a:pt x="1083" y="278"/>
                  <a:pt x="1083" y="278"/>
                </a:cubicBezTo>
                <a:cubicBezTo>
                  <a:pt x="1084" y="278"/>
                  <a:pt x="1084" y="278"/>
                  <a:pt x="1084" y="278"/>
                </a:cubicBezTo>
                <a:cubicBezTo>
                  <a:pt x="1085" y="279"/>
                  <a:pt x="1085" y="279"/>
                  <a:pt x="1085" y="279"/>
                </a:cubicBezTo>
                <a:cubicBezTo>
                  <a:pt x="1085" y="280"/>
                  <a:pt x="1085" y="280"/>
                  <a:pt x="1085" y="280"/>
                </a:cubicBezTo>
                <a:cubicBezTo>
                  <a:pt x="1084" y="280"/>
                  <a:pt x="1084" y="280"/>
                  <a:pt x="1084" y="280"/>
                </a:cubicBezTo>
                <a:cubicBezTo>
                  <a:pt x="1085" y="281"/>
                  <a:pt x="1085" y="281"/>
                  <a:pt x="1085" y="281"/>
                </a:cubicBezTo>
                <a:cubicBezTo>
                  <a:pt x="1084" y="282"/>
                  <a:pt x="1084" y="282"/>
                  <a:pt x="1084" y="282"/>
                </a:cubicBezTo>
                <a:cubicBezTo>
                  <a:pt x="1083" y="283"/>
                  <a:pt x="1083" y="283"/>
                  <a:pt x="1083" y="283"/>
                </a:cubicBezTo>
                <a:cubicBezTo>
                  <a:pt x="1082" y="284"/>
                  <a:pt x="1082" y="284"/>
                  <a:pt x="1082" y="284"/>
                </a:cubicBezTo>
                <a:cubicBezTo>
                  <a:pt x="1084" y="284"/>
                  <a:pt x="1084" y="284"/>
                  <a:pt x="1084" y="284"/>
                </a:cubicBezTo>
                <a:cubicBezTo>
                  <a:pt x="1085" y="283"/>
                  <a:pt x="1085" y="283"/>
                  <a:pt x="1085" y="283"/>
                </a:cubicBezTo>
                <a:cubicBezTo>
                  <a:pt x="1086" y="282"/>
                  <a:pt x="1086" y="282"/>
                  <a:pt x="1086" y="282"/>
                </a:cubicBezTo>
                <a:cubicBezTo>
                  <a:pt x="1088" y="281"/>
                  <a:pt x="1088" y="281"/>
                  <a:pt x="1088" y="281"/>
                </a:cubicBezTo>
                <a:cubicBezTo>
                  <a:pt x="1089" y="282"/>
                  <a:pt x="1089" y="282"/>
                  <a:pt x="1089" y="282"/>
                </a:cubicBezTo>
                <a:cubicBezTo>
                  <a:pt x="1088" y="283"/>
                  <a:pt x="1088" y="283"/>
                  <a:pt x="1088" y="283"/>
                </a:cubicBezTo>
                <a:cubicBezTo>
                  <a:pt x="1088" y="284"/>
                  <a:pt x="1088" y="284"/>
                  <a:pt x="1088" y="284"/>
                </a:cubicBezTo>
                <a:cubicBezTo>
                  <a:pt x="1087" y="285"/>
                  <a:pt x="1087" y="285"/>
                  <a:pt x="1087" y="285"/>
                </a:cubicBezTo>
                <a:cubicBezTo>
                  <a:pt x="1086" y="286"/>
                  <a:pt x="1086" y="286"/>
                  <a:pt x="1086" y="286"/>
                </a:cubicBezTo>
                <a:cubicBezTo>
                  <a:pt x="1085" y="286"/>
                  <a:pt x="1085" y="286"/>
                  <a:pt x="1085" y="286"/>
                </a:cubicBezTo>
                <a:cubicBezTo>
                  <a:pt x="1084" y="286"/>
                  <a:pt x="1084" y="286"/>
                  <a:pt x="1084" y="286"/>
                </a:cubicBezTo>
                <a:cubicBezTo>
                  <a:pt x="1083" y="287"/>
                  <a:pt x="1083" y="287"/>
                  <a:pt x="1083" y="287"/>
                </a:cubicBezTo>
                <a:cubicBezTo>
                  <a:pt x="1084" y="288"/>
                  <a:pt x="1084" y="288"/>
                  <a:pt x="1084" y="288"/>
                </a:cubicBezTo>
                <a:cubicBezTo>
                  <a:pt x="1085" y="287"/>
                  <a:pt x="1085" y="287"/>
                  <a:pt x="1085" y="287"/>
                </a:cubicBezTo>
                <a:cubicBezTo>
                  <a:pt x="1086" y="286"/>
                  <a:pt x="1086" y="286"/>
                  <a:pt x="1086" y="286"/>
                </a:cubicBezTo>
                <a:cubicBezTo>
                  <a:pt x="1088" y="287"/>
                  <a:pt x="1088" y="287"/>
                  <a:pt x="1088" y="287"/>
                </a:cubicBezTo>
                <a:cubicBezTo>
                  <a:pt x="1089" y="287"/>
                  <a:pt x="1089" y="287"/>
                  <a:pt x="1089" y="287"/>
                </a:cubicBezTo>
                <a:cubicBezTo>
                  <a:pt x="1088" y="288"/>
                  <a:pt x="1088" y="288"/>
                  <a:pt x="1088" y="288"/>
                </a:cubicBezTo>
                <a:cubicBezTo>
                  <a:pt x="1086" y="289"/>
                  <a:pt x="1086" y="289"/>
                  <a:pt x="1086" y="289"/>
                </a:cubicBezTo>
                <a:cubicBezTo>
                  <a:pt x="1086" y="291"/>
                  <a:pt x="1086" y="291"/>
                  <a:pt x="1086" y="291"/>
                </a:cubicBezTo>
                <a:cubicBezTo>
                  <a:pt x="1085" y="291"/>
                  <a:pt x="1085" y="291"/>
                  <a:pt x="1085" y="291"/>
                </a:cubicBezTo>
                <a:cubicBezTo>
                  <a:pt x="1083" y="292"/>
                  <a:pt x="1083" y="292"/>
                  <a:pt x="1083" y="292"/>
                </a:cubicBezTo>
                <a:cubicBezTo>
                  <a:pt x="1083" y="293"/>
                  <a:pt x="1083" y="293"/>
                  <a:pt x="1083" y="293"/>
                </a:cubicBezTo>
                <a:cubicBezTo>
                  <a:pt x="1084" y="294"/>
                  <a:pt x="1084" y="294"/>
                  <a:pt x="1084" y="294"/>
                </a:cubicBezTo>
                <a:cubicBezTo>
                  <a:pt x="1087" y="293"/>
                  <a:pt x="1087" y="293"/>
                  <a:pt x="1087" y="293"/>
                </a:cubicBezTo>
                <a:cubicBezTo>
                  <a:pt x="1088" y="292"/>
                  <a:pt x="1088" y="292"/>
                  <a:pt x="1088" y="292"/>
                </a:cubicBezTo>
                <a:cubicBezTo>
                  <a:pt x="1090" y="292"/>
                  <a:pt x="1090" y="292"/>
                  <a:pt x="1090" y="292"/>
                </a:cubicBezTo>
                <a:cubicBezTo>
                  <a:pt x="1091" y="292"/>
                  <a:pt x="1091" y="292"/>
                  <a:pt x="1091" y="292"/>
                </a:cubicBezTo>
                <a:cubicBezTo>
                  <a:pt x="1092" y="293"/>
                  <a:pt x="1092" y="293"/>
                  <a:pt x="1092" y="293"/>
                </a:cubicBezTo>
                <a:cubicBezTo>
                  <a:pt x="1091" y="293"/>
                  <a:pt x="1091" y="293"/>
                  <a:pt x="1091" y="293"/>
                </a:cubicBezTo>
                <a:cubicBezTo>
                  <a:pt x="1090" y="293"/>
                  <a:pt x="1090" y="293"/>
                  <a:pt x="1090" y="293"/>
                </a:cubicBezTo>
                <a:cubicBezTo>
                  <a:pt x="1087" y="294"/>
                  <a:pt x="1087" y="294"/>
                  <a:pt x="1087" y="294"/>
                </a:cubicBezTo>
                <a:cubicBezTo>
                  <a:pt x="1087" y="295"/>
                  <a:pt x="1087" y="295"/>
                  <a:pt x="1087" y="295"/>
                </a:cubicBezTo>
                <a:cubicBezTo>
                  <a:pt x="1089" y="295"/>
                  <a:pt x="1089" y="295"/>
                  <a:pt x="1089" y="295"/>
                </a:cubicBezTo>
                <a:cubicBezTo>
                  <a:pt x="1089" y="296"/>
                  <a:pt x="1089" y="296"/>
                  <a:pt x="1089" y="296"/>
                </a:cubicBezTo>
                <a:cubicBezTo>
                  <a:pt x="1088" y="297"/>
                  <a:pt x="1088" y="297"/>
                  <a:pt x="1088" y="297"/>
                </a:cubicBezTo>
                <a:cubicBezTo>
                  <a:pt x="1088" y="299"/>
                  <a:pt x="1088" y="299"/>
                  <a:pt x="1088" y="299"/>
                </a:cubicBezTo>
                <a:cubicBezTo>
                  <a:pt x="1090" y="299"/>
                  <a:pt x="1090" y="299"/>
                  <a:pt x="1090" y="299"/>
                </a:cubicBezTo>
                <a:cubicBezTo>
                  <a:pt x="1092" y="297"/>
                  <a:pt x="1092" y="297"/>
                  <a:pt x="1092" y="297"/>
                </a:cubicBezTo>
                <a:cubicBezTo>
                  <a:pt x="1093" y="297"/>
                  <a:pt x="1093" y="297"/>
                  <a:pt x="1093" y="297"/>
                </a:cubicBezTo>
                <a:cubicBezTo>
                  <a:pt x="1094" y="298"/>
                  <a:pt x="1094" y="298"/>
                  <a:pt x="1094" y="298"/>
                </a:cubicBezTo>
                <a:cubicBezTo>
                  <a:pt x="1095" y="299"/>
                  <a:pt x="1095" y="299"/>
                  <a:pt x="1095" y="299"/>
                </a:cubicBezTo>
                <a:cubicBezTo>
                  <a:pt x="1095" y="301"/>
                  <a:pt x="1095" y="301"/>
                  <a:pt x="1095" y="301"/>
                </a:cubicBezTo>
                <a:cubicBezTo>
                  <a:pt x="1097" y="302"/>
                  <a:pt x="1097" y="302"/>
                  <a:pt x="1097" y="302"/>
                </a:cubicBezTo>
                <a:cubicBezTo>
                  <a:pt x="1097" y="302"/>
                  <a:pt x="1097" y="302"/>
                  <a:pt x="1097" y="302"/>
                </a:cubicBezTo>
                <a:cubicBezTo>
                  <a:pt x="1096" y="303"/>
                  <a:pt x="1096" y="303"/>
                  <a:pt x="1096" y="303"/>
                </a:cubicBezTo>
                <a:cubicBezTo>
                  <a:pt x="1094" y="303"/>
                  <a:pt x="1094" y="303"/>
                  <a:pt x="1094" y="303"/>
                </a:cubicBezTo>
                <a:cubicBezTo>
                  <a:pt x="1093" y="305"/>
                  <a:pt x="1093" y="305"/>
                  <a:pt x="1093" y="305"/>
                </a:cubicBezTo>
                <a:cubicBezTo>
                  <a:pt x="1094" y="306"/>
                  <a:pt x="1094" y="306"/>
                  <a:pt x="1094" y="306"/>
                </a:cubicBezTo>
                <a:cubicBezTo>
                  <a:pt x="1097" y="306"/>
                  <a:pt x="1097" y="306"/>
                  <a:pt x="1097" y="306"/>
                </a:cubicBezTo>
                <a:cubicBezTo>
                  <a:pt x="1097" y="306"/>
                  <a:pt x="1097" y="306"/>
                  <a:pt x="1097" y="306"/>
                </a:cubicBezTo>
                <a:cubicBezTo>
                  <a:pt x="1097" y="305"/>
                  <a:pt x="1097" y="305"/>
                  <a:pt x="1097" y="305"/>
                </a:cubicBezTo>
                <a:cubicBezTo>
                  <a:pt x="1097" y="304"/>
                  <a:pt x="1097" y="304"/>
                  <a:pt x="1097" y="304"/>
                </a:cubicBezTo>
                <a:cubicBezTo>
                  <a:pt x="1098" y="304"/>
                  <a:pt x="1098" y="304"/>
                  <a:pt x="1098" y="304"/>
                </a:cubicBezTo>
                <a:cubicBezTo>
                  <a:pt x="1099" y="304"/>
                  <a:pt x="1099" y="304"/>
                  <a:pt x="1099" y="304"/>
                </a:cubicBezTo>
                <a:cubicBezTo>
                  <a:pt x="1100" y="303"/>
                  <a:pt x="1100" y="303"/>
                  <a:pt x="1100" y="303"/>
                </a:cubicBezTo>
                <a:cubicBezTo>
                  <a:pt x="1102" y="303"/>
                  <a:pt x="1102" y="303"/>
                  <a:pt x="1102" y="303"/>
                </a:cubicBezTo>
                <a:cubicBezTo>
                  <a:pt x="1103" y="304"/>
                  <a:pt x="1103" y="304"/>
                  <a:pt x="1103" y="304"/>
                </a:cubicBezTo>
                <a:cubicBezTo>
                  <a:pt x="1104" y="304"/>
                  <a:pt x="1104" y="304"/>
                  <a:pt x="1104" y="304"/>
                </a:cubicBezTo>
                <a:cubicBezTo>
                  <a:pt x="1105" y="304"/>
                  <a:pt x="1105" y="304"/>
                  <a:pt x="1105" y="304"/>
                </a:cubicBezTo>
                <a:cubicBezTo>
                  <a:pt x="1106" y="302"/>
                  <a:pt x="1106" y="302"/>
                  <a:pt x="1106" y="302"/>
                </a:cubicBezTo>
                <a:cubicBezTo>
                  <a:pt x="1107" y="302"/>
                  <a:pt x="1107" y="302"/>
                  <a:pt x="1107" y="302"/>
                </a:cubicBezTo>
                <a:cubicBezTo>
                  <a:pt x="1108" y="302"/>
                  <a:pt x="1108" y="302"/>
                  <a:pt x="1108" y="302"/>
                </a:cubicBezTo>
                <a:cubicBezTo>
                  <a:pt x="1109" y="301"/>
                  <a:pt x="1109" y="301"/>
                  <a:pt x="1109" y="301"/>
                </a:cubicBezTo>
                <a:cubicBezTo>
                  <a:pt x="1110" y="302"/>
                  <a:pt x="1110" y="302"/>
                  <a:pt x="1110" y="302"/>
                </a:cubicBezTo>
                <a:cubicBezTo>
                  <a:pt x="1112" y="301"/>
                  <a:pt x="1112" y="301"/>
                  <a:pt x="1112" y="301"/>
                </a:cubicBezTo>
                <a:cubicBezTo>
                  <a:pt x="1112" y="300"/>
                  <a:pt x="1112" y="300"/>
                  <a:pt x="1112" y="300"/>
                </a:cubicBezTo>
                <a:cubicBezTo>
                  <a:pt x="1111" y="299"/>
                  <a:pt x="1111" y="299"/>
                  <a:pt x="1111" y="299"/>
                </a:cubicBezTo>
                <a:cubicBezTo>
                  <a:pt x="1111" y="298"/>
                  <a:pt x="1111" y="298"/>
                  <a:pt x="1111" y="298"/>
                </a:cubicBezTo>
                <a:cubicBezTo>
                  <a:pt x="1112" y="298"/>
                  <a:pt x="1112" y="298"/>
                  <a:pt x="1112" y="298"/>
                </a:cubicBezTo>
                <a:cubicBezTo>
                  <a:pt x="1113" y="298"/>
                  <a:pt x="1113" y="298"/>
                  <a:pt x="1113" y="298"/>
                </a:cubicBezTo>
                <a:cubicBezTo>
                  <a:pt x="1114" y="300"/>
                  <a:pt x="1114" y="300"/>
                  <a:pt x="1114" y="300"/>
                </a:cubicBezTo>
                <a:cubicBezTo>
                  <a:pt x="1113" y="302"/>
                  <a:pt x="1113" y="302"/>
                  <a:pt x="1113" y="302"/>
                </a:cubicBezTo>
                <a:cubicBezTo>
                  <a:pt x="1112" y="303"/>
                  <a:pt x="1112" y="303"/>
                  <a:pt x="1112" y="303"/>
                </a:cubicBezTo>
                <a:cubicBezTo>
                  <a:pt x="1111" y="303"/>
                  <a:pt x="1111" y="303"/>
                  <a:pt x="1111" y="303"/>
                </a:cubicBezTo>
                <a:cubicBezTo>
                  <a:pt x="1110" y="304"/>
                  <a:pt x="1110" y="304"/>
                  <a:pt x="1110" y="304"/>
                </a:cubicBezTo>
                <a:cubicBezTo>
                  <a:pt x="1110" y="305"/>
                  <a:pt x="1110" y="305"/>
                  <a:pt x="1110" y="305"/>
                </a:cubicBezTo>
                <a:cubicBezTo>
                  <a:pt x="1112" y="304"/>
                  <a:pt x="1112" y="304"/>
                  <a:pt x="1112" y="304"/>
                </a:cubicBezTo>
                <a:cubicBezTo>
                  <a:pt x="1115" y="302"/>
                  <a:pt x="1115" y="302"/>
                  <a:pt x="1115" y="302"/>
                </a:cubicBezTo>
                <a:cubicBezTo>
                  <a:pt x="1117" y="300"/>
                  <a:pt x="1117" y="300"/>
                  <a:pt x="1117" y="300"/>
                </a:cubicBezTo>
                <a:cubicBezTo>
                  <a:pt x="1118" y="300"/>
                  <a:pt x="1118" y="300"/>
                  <a:pt x="1118" y="300"/>
                </a:cubicBezTo>
                <a:cubicBezTo>
                  <a:pt x="1119" y="301"/>
                  <a:pt x="1119" y="301"/>
                  <a:pt x="1119" y="301"/>
                </a:cubicBezTo>
                <a:cubicBezTo>
                  <a:pt x="1119" y="302"/>
                  <a:pt x="1119" y="302"/>
                  <a:pt x="1119" y="302"/>
                </a:cubicBezTo>
                <a:cubicBezTo>
                  <a:pt x="1117" y="303"/>
                  <a:pt x="1117" y="303"/>
                  <a:pt x="1117" y="303"/>
                </a:cubicBezTo>
                <a:cubicBezTo>
                  <a:pt x="1116" y="304"/>
                  <a:pt x="1116" y="304"/>
                  <a:pt x="1116" y="304"/>
                </a:cubicBezTo>
                <a:cubicBezTo>
                  <a:pt x="1114" y="305"/>
                  <a:pt x="1114" y="305"/>
                  <a:pt x="1114" y="305"/>
                </a:cubicBezTo>
                <a:cubicBezTo>
                  <a:pt x="1113" y="306"/>
                  <a:pt x="1113" y="306"/>
                  <a:pt x="1113" y="306"/>
                </a:cubicBezTo>
                <a:cubicBezTo>
                  <a:pt x="1112" y="306"/>
                  <a:pt x="1112" y="306"/>
                  <a:pt x="1112" y="306"/>
                </a:cubicBezTo>
                <a:cubicBezTo>
                  <a:pt x="1112" y="307"/>
                  <a:pt x="1112" y="307"/>
                  <a:pt x="1112" y="307"/>
                </a:cubicBezTo>
                <a:cubicBezTo>
                  <a:pt x="1114" y="306"/>
                  <a:pt x="1114" y="306"/>
                  <a:pt x="1114" y="306"/>
                </a:cubicBezTo>
                <a:cubicBezTo>
                  <a:pt x="1116" y="305"/>
                  <a:pt x="1116" y="305"/>
                  <a:pt x="1116" y="305"/>
                </a:cubicBezTo>
                <a:cubicBezTo>
                  <a:pt x="1117" y="305"/>
                  <a:pt x="1117" y="305"/>
                  <a:pt x="1117" y="305"/>
                </a:cubicBezTo>
                <a:cubicBezTo>
                  <a:pt x="1115" y="307"/>
                  <a:pt x="1115" y="307"/>
                  <a:pt x="1115" y="307"/>
                </a:cubicBezTo>
                <a:cubicBezTo>
                  <a:pt x="1113" y="307"/>
                  <a:pt x="1113" y="307"/>
                  <a:pt x="1113" y="307"/>
                </a:cubicBezTo>
                <a:cubicBezTo>
                  <a:pt x="1113" y="309"/>
                  <a:pt x="1113" y="309"/>
                  <a:pt x="1113" y="309"/>
                </a:cubicBezTo>
                <a:cubicBezTo>
                  <a:pt x="1110" y="311"/>
                  <a:pt x="1110" y="311"/>
                  <a:pt x="1110" y="311"/>
                </a:cubicBezTo>
                <a:cubicBezTo>
                  <a:pt x="1110" y="312"/>
                  <a:pt x="1110" y="312"/>
                  <a:pt x="1110" y="312"/>
                </a:cubicBezTo>
                <a:cubicBezTo>
                  <a:pt x="1111" y="312"/>
                  <a:pt x="1111" y="312"/>
                  <a:pt x="1111" y="312"/>
                </a:cubicBezTo>
                <a:cubicBezTo>
                  <a:pt x="1112" y="311"/>
                  <a:pt x="1112" y="311"/>
                  <a:pt x="1112" y="311"/>
                </a:cubicBezTo>
                <a:cubicBezTo>
                  <a:pt x="1112" y="311"/>
                  <a:pt x="1112" y="311"/>
                  <a:pt x="1112" y="311"/>
                </a:cubicBezTo>
                <a:cubicBezTo>
                  <a:pt x="1113" y="311"/>
                  <a:pt x="1113" y="311"/>
                  <a:pt x="1113" y="311"/>
                </a:cubicBezTo>
                <a:cubicBezTo>
                  <a:pt x="1113" y="313"/>
                  <a:pt x="1113" y="313"/>
                  <a:pt x="1113" y="313"/>
                </a:cubicBezTo>
                <a:cubicBezTo>
                  <a:pt x="1114" y="312"/>
                  <a:pt x="1114" y="312"/>
                  <a:pt x="1114" y="312"/>
                </a:cubicBezTo>
                <a:cubicBezTo>
                  <a:pt x="1115" y="311"/>
                  <a:pt x="1115" y="311"/>
                  <a:pt x="1115" y="311"/>
                </a:cubicBezTo>
                <a:cubicBezTo>
                  <a:pt x="1116" y="310"/>
                  <a:pt x="1116" y="310"/>
                  <a:pt x="1116" y="310"/>
                </a:cubicBezTo>
                <a:cubicBezTo>
                  <a:pt x="1116" y="310"/>
                  <a:pt x="1116" y="310"/>
                  <a:pt x="1116" y="310"/>
                </a:cubicBezTo>
                <a:cubicBezTo>
                  <a:pt x="1117" y="310"/>
                  <a:pt x="1117" y="310"/>
                  <a:pt x="1117" y="310"/>
                </a:cubicBezTo>
                <a:cubicBezTo>
                  <a:pt x="1116" y="311"/>
                  <a:pt x="1116" y="311"/>
                  <a:pt x="1116" y="311"/>
                </a:cubicBezTo>
                <a:cubicBezTo>
                  <a:pt x="1115" y="313"/>
                  <a:pt x="1115" y="313"/>
                  <a:pt x="1115" y="313"/>
                </a:cubicBezTo>
                <a:cubicBezTo>
                  <a:pt x="1115" y="313"/>
                  <a:pt x="1115" y="313"/>
                  <a:pt x="1115" y="313"/>
                </a:cubicBezTo>
                <a:cubicBezTo>
                  <a:pt x="1117" y="313"/>
                  <a:pt x="1117" y="313"/>
                  <a:pt x="1117" y="313"/>
                </a:cubicBezTo>
                <a:cubicBezTo>
                  <a:pt x="1118" y="312"/>
                  <a:pt x="1118" y="312"/>
                  <a:pt x="1118" y="312"/>
                </a:cubicBezTo>
                <a:cubicBezTo>
                  <a:pt x="1118" y="312"/>
                  <a:pt x="1118" y="312"/>
                  <a:pt x="1118" y="312"/>
                </a:cubicBezTo>
                <a:cubicBezTo>
                  <a:pt x="1120" y="311"/>
                  <a:pt x="1120" y="311"/>
                  <a:pt x="1120" y="311"/>
                </a:cubicBezTo>
                <a:cubicBezTo>
                  <a:pt x="1118" y="313"/>
                  <a:pt x="1118" y="313"/>
                  <a:pt x="1118" y="313"/>
                </a:cubicBezTo>
                <a:cubicBezTo>
                  <a:pt x="1118" y="315"/>
                  <a:pt x="1118" y="315"/>
                  <a:pt x="1118" y="315"/>
                </a:cubicBezTo>
                <a:cubicBezTo>
                  <a:pt x="1116" y="317"/>
                  <a:pt x="1116" y="317"/>
                  <a:pt x="1116" y="317"/>
                </a:cubicBezTo>
                <a:cubicBezTo>
                  <a:pt x="1116" y="318"/>
                  <a:pt x="1116" y="318"/>
                  <a:pt x="1116" y="318"/>
                </a:cubicBezTo>
                <a:cubicBezTo>
                  <a:pt x="1117" y="318"/>
                  <a:pt x="1117" y="318"/>
                  <a:pt x="1117" y="318"/>
                </a:cubicBezTo>
                <a:cubicBezTo>
                  <a:pt x="1118" y="317"/>
                  <a:pt x="1118" y="317"/>
                  <a:pt x="1118" y="317"/>
                </a:cubicBezTo>
                <a:cubicBezTo>
                  <a:pt x="1120" y="313"/>
                  <a:pt x="1120" y="313"/>
                  <a:pt x="1120" y="313"/>
                </a:cubicBezTo>
                <a:cubicBezTo>
                  <a:pt x="1121" y="312"/>
                  <a:pt x="1121" y="312"/>
                  <a:pt x="1121" y="312"/>
                </a:cubicBezTo>
                <a:cubicBezTo>
                  <a:pt x="1121" y="313"/>
                  <a:pt x="1121" y="313"/>
                  <a:pt x="1121" y="313"/>
                </a:cubicBezTo>
                <a:cubicBezTo>
                  <a:pt x="1120" y="315"/>
                  <a:pt x="1120" y="315"/>
                  <a:pt x="1120" y="315"/>
                </a:cubicBezTo>
                <a:cubicBezTo>
                  <a:pt x="1120" y="317"/>
                  <a:pt x="1120" y="317"/>
                  <a:pt x="1120" y="317"/>
                </a:cubicBezTo>
                <a:cubicBezTo>
                  <a:pt x="1119" y="318"/>
                  <a:pt x="1119" y="318"/>
                  <a:pt x="1119" y="318"/>
                </a:cubicBezTo>
                <a:cubicBezTo>
                  <a:pt x="1118" y="320"/>
                  <a:pt x="1118" y="320"/>
                  <a:pt x="1118" y="320"/>
                </a:cubicBezTo>
                <a:cubicBezTo>
                  <a:pt x="1120" y="321"/>
                  <a:pt x="1120" y="321"/>
                  <a:pt x="1120" y="321"/>
                </a:cubicBezTo>
                <a:cubicBezTo>
                  <a:pt x="1120" y="320"/>
                  <a:pt x="1120" y="320"/>
                  <a:pt x="1120" y="320"/>
                </a:cubicBezTo>
                <a:cubicBezTo>
                  <a:pt x="1120" y="318"/>
                  <a:pt x="1120" y="318"/>
                  <a:pt x="1120" y="318"/>
                </a:cubicBezTo>
                <a:cubicBezTo>
                  <a:pt x="1121" y="317"/>
                  <a:pt x="1121" y="317"/>
                  <a:pt x="1121" y="317"/>
                </a:cubicBezTo>
                <a:cubicBezTo>
                  <a:pt x="1121" y="317"/>
                  <a:pt x="1121" y="317"/>
                  <a:pt x="1121" y="317"/>
                </a:cubicBezTo>
                <a:cubicBezTo>
                  <a:pt x="1123" y="318"/>
                  <a:pt x="1123" y="318"/>
                  <a:pt x="1123" y="318"/>
                </a:cubicBezTo>
                <a:cubicBezTo>
                  <a:pt x="1123" y="315"/>
                  <a:pt x="1123" y="315"/>
                  <a:pt x="1123" y="315"/>
                </a:cubicBezTo>
                <a:cubicBezTo>
                  <a:pt x="1123" y="315"/>
                  <a:pt x="1123" y="315"/>
                  <a:pt x="1123" y="315"/>
                </a:cubicBezTo>
                <a:cubicBezTo>
                  <a:pt x="1124" y="314"/>
                  <a:pt x="1124" y="314"/>
                  <a:pt x="1124" y="314"/>
                </a:cubicBezTo>
                <a:cubicBezTo>
                  <a:pt x="1125" y="314"/>
                  <a:pt x="1125" y="314"/>
                  <a:pt x="1125" y="314"/>
                </a:cubicBezTo>
                <a:cubicBezTo>
                  <a:pt x="1125" y="315"/>
                  <a:pt x="1125" y="315"/>
                  <a:pt x="1125" y="315"/>
                </a:cubicBezTo>
                <a:cubicBezTo>
                  <a:pt x="1125" y="315"/>
                  <a:pt x="1125" y="315"/>
                  <a:pt x="1125" y="315"/>
                </a:cubicBezTo>
                <a:cubicBezTo>
                  <a:pt x="1124" y="317"/>
                  <a:pt x="1124" y="317"/>
                  <a:pt x="1124" y="317"/>
                </a:cubicBezTo>
                <a:cubicBezTo>
                  <a:pt x="1125" y="318"/>
                  <a:pt x="1125" y="318"/>
                  <a:pt x="1125" y="318"/>
                </a:cubicBezTo>
                <a:cubicBezTo>
                  <a:pt x="1127" y="318"/>
                  <a:pt x="1127" y="318"/>
                  <a:pt x="1127" y="318"/>
                </a:cubicBezTo>
                <a:cubicBezTo>
                  <a:pt x="1132" y="320"/>
                  <a:pt x="1132" y="320"/>
                  <a:pt x="1132" y="320"/>
                </a:cubicBezTo>
                <a:cubicBezTo>
                  <a:pt x="1132" y="320"/>
                  <a:pt x="1132" y="320"/>
                  <a:pt x="1132" y="320"/>
                </a:cubicBezTo>
                <a:cubicBezTo>
                  <a:pt x="1132" y="319"/>
                  <a:pt x="1132" y="319"/>
                  <a:pt x="1132" y="319"/>
                </a:cubicBezTo>
                <a:cubicBezTo>
                  <a:pt x="1133" y="319"/>
                  <a:pt x="1133" y="319"/>
                  <a:pt x="1133" y="319"/>
                </a:cubicBezTo>
                <a:cubicBezTo>
                  <a:pt x="1134" y="318"/>
                  <a:pt x="1134" y="318"/>
                  <a:pt x="1134" y="318"/>
                </a:cubicBezTo>
                <a:cubicBezTo>
                  <a:pt x="1134" y="318"/>
                  <a:pt x="1134" y="318"/>
                  <a:pt x="1134" y="318"/>
                </a:cubicBezTo>
                <a:cubicBezTo>
                  <a:pt x="1134" y="317"/>
                  <a:pt x="1134" y="317"/>
                  <a:pt x="1134" y="317"/>
                </a:cubicBezTo>
                <a:cubicBezTo>
                  <a:pt x="1133" y="317"/>
                  <a:pt x="1133" y="317"/>
                  <a:pt x="1133" y="317"/>
                </a:cubicBezTo>
                <a:cubicBezTo>
                  <a:pt x="1132" y="317"/>
                  <a:pt x="1132" y="317"/>
                  <a:pt x="1132" y="317"/>
                </a:cubicBezTo>
                <a:cubicBezTo>
                  <a:pt x="1131" y="317"/>
                  <a:pt x="1131" y="317"/>
                  <a:pt x="1131" y="317"/>
                </a:cubicBezTo>
                <a:cubicBezTo>
                  <a:pt x="1131" y="316"/>
                  <a:pt x="1131" y="316"/>
                  <a:pt x="1131" y="316"/>
                </a:cubicBezTo>
                <a:cubicBezTo>
                  <a:pt x="1132" y="315"/>
                  <a:pt x="1132" y="315"/>
                  <a:pt x="1132" y="315"/>
                </a:cubicBezTo>
                <a:cubicBezTo>
                  <a:pt x="1132" y="315"/>
                  <a:pt x="1132" y="315"/>
                  <a:pt x="1132" y="315"/>
                </a:cubicBezTo>
                <a:cubicBezTo>
                  <a:pt x="1130" y="314"/>
                  <a:pt x="1130" y="314"/>
                  <a:pt x="1130" y="314"/>
                </a:cubicBezTo>
                <a:cubicBezTo>
                  <a:pt x="1127" y="312"/>
                  <a:pt x="1127" y="312"/>
                  <a:pt x="1127" y="312"/>
                </a:cubicBezTo>
                <a:cubicBezTo>
                  <a:pt x="1126" y="311"/>
                  <a:pt x="1126" y="311"/>
                  <a:pt x="1126" y="311"/>
                </a:cubicBezTo>
                <a:cubicBezTo>
                  <a:pt x="1127" y="311"/>
                  <a:pt x="1127" y="311"/>
                  <a:pt x="1127" y="311"/>
                </a:cubicBezTo>
                <a:cubicBezTo>
                  <a:pt x="1128" y="311"/>
                  <a:pt x="1128" y="311"/>
                  <a:pt x="1128" y="311"/>
                </a:cubicBezTo>
                <a:cubicBezTo>
                  <a:pt x="1129" y="311"/>
                  <a:pt x="1129" y="311"/>
                  <a:pt x="1129" y="311"/>
                </a:cubicBezTo>
                <a:cubicBezTo>
                  <a:pt x="1130" y="311"/>
                  <a:pt x="1130" y="311"/>
                  <a:pt x="1130" y="311"/>
                </a:cubicBezTo>
                <a:cubicBezTo>
                  <a:pt x="1130" y="312"/>
                  <a:pt x="1130" y="312"/>
                  <a:pt x="1130" y="312"/>
                </a:cubicBezTo>
                <a:cubicBezTo>
                  <a:pt x="1132" y="313"/>
                  <a:pt x="1132" y="313"/>
                  <a:pt x="1132" y="313"/>
                </a:cubicBezTo>
                <a:cubicBezTo>
                  <a:pt x="1133" y="314"/>
                  <a:pt x="1133" y="314"/>
                  <a:pt x="1133" y="314"/>
                </a:cubicBezTo>
                <a:cubicBezTo>
                  <a:pt x="1134" y="314"/>
                  <a:pt x="1134" y="314"/>
                  <a:pt x="1134" y="314"/>
                </a:cubicBezTo>
                <a:cubicBezTo>
                  <a:pt x="1136" y="313"/>
                  <a:pt x="1136" y="313"/>
                  <a:pt x="1136" y="313"/>
                </a:cubicBezTo>
                <a:cubicBezTo>
                  <a:pt x="1137" y="312"/>
                  <a:pt x="1137" y="312"/>
                  <a:pt x="1137" y="312"/>
                </a:cubicBezTo>
                <a:cubicBezTo>
                  <a:pt x="1137" y="312"/>
                  <a:pt x="1137" y="312"/>
                  <a:pt x="1137" y="312"/>
                </a:cubicBezTo>
                <a:cubicBezTo>
                  <a:pt x="1136" y="311"/>
                  <a:pt x="1136" y="311"/>
                  <a:pt x="1136" y="311"/>
                </a:cubicBezTo>
                <a:cubicBezTo>
                  <a:pt x="1134" y="312"/>
                  <a:pt x="1134" y="312"/>
                  <a:pt x="1134" y="312"/>
                </a:cubicBezTo>
                <a:cubicBezTo>
                  <a:pt x="1133" y="311"/>
                  <a:pt x="1133" y="311"/>
                  <a:pt x="1133" y="311"/>
                </a:cubicBezTo>
                <a:cubicBezTo>
                  <a:pt x="1133" y="311"/>
                  <a:pt x="1133" y="311"/>
                  <a:pt x="1133" y="311"/>
                </a:cubicBezTo>
                <a:cubicBezTo>
                  <a:pt x="1134" y="311"/>
                  <a:pt x="1134" y="311"/>
                  <a:pt x="1134" y="311"/>
                </a:cubicBezTo>
                <a:cubicBezTo>
                  <a:pt x="1136" y="311"/>
                  <a:pt x="1136" y="311"/>
                  <a:pt x="1136" y="311"/>
                </a:cubicBezTo>
                <a:cubicBezTo>
                  <a:pt x="1137" y="310"/>
                  <a:pt x="1137" y="310"/>
                  <a:pt x="1137" y="310"/>
                </a:cubicBezTo>
                <a:cubicBezTo>
                  <a:pt x="1137" y="309"/>
                  <a:pt x="1137" y="309"/>
                  <a:pt x="1137" y="309"/>
                </a:cubicBezTo>
                <a:cubicBezTo>
                  <a:pt x="1135" y="309"/>
                  <a:pt x="1135" y="309"/>
                  <a:pt x="1135" y="309"/>
                </a:cubicBezTo>
                <a:cubicBezTo>
                  <a:pt x="1134" y="308"/>
                  <a:pt x="1134" y="308"/>
                  <a:pt x="1134" y="308"/>
                </a:cubicBezTo>
                <a:cubicBezTo>
                  <a:pt x="1134" y="308"/>
                  <a:pt x="1134" y="308"/>
                  <a:pt x="1134" y="308"/>
                </a:cubicBezTo>
                <a:cubicBezTo>
                  <a:pt x="1135" y="308"/>
                  <a:pt x="1135" y="308"/>
                  <a:pt x="1135" y="308"/>
                </a:cubicBezTo>
                <a:cubicBezTo>
                  <a:pt x="1135" y="307"/>
                  <a:pt x="1135" y="307"/>
                  <a:pt x="1135" y="307"/>
                </a:cubicBezTo>
                <a:cubicBezTo>
                  <a:pt x="1134" y="307"/>
                  <a:pt x="1134" y="307"/>
                  <a:pt x="1134" y="307"/>
                </a:cubicBezTo>
                <a:cubicBezTo>
                  <a:pt x="1132" y="306"/>
                  <a:pt x="1132" y="306"/>
                  <a:pt x="1132" y="306"/>
                </a:cubicBezTo>
                <a:cubicBezTo>
                  <a:pt x="1132" y="305"/>
                  <a:pt x="1132" y="305"/>
                  <a:pt x="1132" y="305"/>
                </a:cubicBezTo>
                <a:cubicBezTo>
                  <a:pt x="1132" y="305"/>
                  <a:pt x="1132" y="305"/>
                  <a:pt x="1132" y="305"/>
                </a:cubicBezTo>
                <a:cubicBezTo>
                  <a:pt x="1134" y="306"/>
                  <a:pt x="1134" y="306"/>
                  <a:pt x="1134" y="306"/>
                </a:cubicBezTo>
                <a:cubicBezTo>
                  <a:pt x="1136" y="306"/>
                  <a:pt x="1136" y="306"/>
                  <a:pt x="1136" y="306"/>
                </a:cubicBezTo>
                <a:cubicBezTo>
                  <a:pt x="1138" y="306"/>
                  <a:pt x="1138" y="306"/>
                  <a:pt x="1138" y="306"/>
                </a:cubicBezTo>
                <a:cubicBezTo>
                  <a:pt x="1140" y="305"/>
                  <a:pt x="1140" y="305"/>
                  <a:pt x="1140" y="305"/>
                </a:cubicBezTo>
                <a:cubicBezTo>
                  <a:pt x="1140" y="304"/>
                  <a:pt x="1140" y="304"/>
                  <a:pt x="1140" y="304"/>
                </a:cubicBezTo>
                <a:cubicBezTo>
                  <a:pt x="1139" y="303"/>
                  <a:pt x="1139" y="303"/>
                  <a:pt x="1139" y="303"/>
                </a:cubicBezTo>
                <a:cubicBezTo>
                  <a:pt x="1138" y="303"/>
                  <a:pt x="1138" y="303"/>
                  <a:pt x="1138" y="303"/>
                </a:cubicBezTo>
                <a:cubicBezTo>
                  <a:pt x="1134" y="302"/>
                  <a:pt x="1134" y="302"/>
                  <a:pt x="1134" y="302"/>
                </a:cubicBezTo>
                <a:cubicBezTo>
                  <a:pt x="1133" y="302"/>
                  <a:pt x="1133" y="302"/>
                  <a:pt x="1133" y="302"/>
                </a:cubicBezTo>
                <a:cubicBezTo>
                  <a:pt x="1133" y="301"/>
                  <a:pt x="1133" y="301"/>
                  <a:pt x="1133" y="301"/>
                </a:cubicBezTo>
                <a:cubicBezTo>
                  <a:pt x="1134" y="301"/>
                  <a:pt x="1134" y="301"/>
                  <a:pt x="1134" y="301"/>
                </a:cubicBezTo>
                <a:cubicBezTo>
                  <a:pt x="1135" y="302"/>
                  <a:pt x="1135" y="302"/>
                  <a:pt x="1135" y="302"/>
                </a:cubicBezTo>
                <a:cubicBezTo>
                  <a:pt x="1137" y="302"/>
                  <a:pt x="1137" y="302"/>
                  <a:pt x="1137" y="302"/>
                </a:cubicBezTo>
                <a:cubicBezTo>
                  <a:pt x="1139" y="301"/>
                  <a:pt x="1139" y="301"/>
                  <a:pt x="1139" y="301"/>
                </a:cubicBezTo>
                <a:cubicBezTo>
                  <a:pt x="1139" y="300"/>
                  <a:pt x="1139" y="300"/>
                  <a:pt x="1139" y="300"/>
                </a:cubicBezTo>
                <a:cubicBezTo>
                  <a:pt x="1138" y="299"/>
                  <a:pt x="1138" y="299"/>
                  <a:pt x="1138" y="299"/>
                </a:cubicBezTo>
                <a:cubicBezTo>
                  <a:pt x="1136" y="298"/>
                  <a:pt x="1136" y="298"/>
                  <a:pt x="1136" y="298"/>
                </a:cubicBezTo>
                <a:cubicBezTo>
                  <a:pt x="1136" y="297"/>
                  <a:pt x="1136" y="297"/>
                  <a:pt x="1136" y="297"/>
                </a:cubicBezTo>
                <a:cubicBezTo>
                  <a:pt x="1137" y="297"/>
                  <a:pt x="1137" y="297"/>
                  <a:pt x="1137" y="297"/>
                </a:cubicBezTo>
                <a:cubicBezTo>
                  <a:pt x="1138" y="298"/>
                  <a:pt x="1138" y="298"/>
                  <a:pt x="1138" y="298"/>
                </a:cubicBezTo>
                <a:cubicBezTo>
                  <a:pt x="1139" y="299"/>
                  <a:pt x="1139" y="299"/>
                  <a:pt x="1139" y="299"/>
                </a:cubicBezTo>
                <a:cubicBezTo>
                  <a:pt x="1140" y="298"/>
                  <a:pt x="1140" y="298"/>
                  <a:pt x="1140" y="298"/>
                </a:cubicBezTo>
                <a:cubicBezTo>
                  <a:pt x="1141" y="297"/>
                  <a:pt x="1141" y="297"/>
                  <a:pt x="1141" y="297"/>
                </a:cubicBezTo>
                <a:cubicBezTo>
                  <a:pt x="1141" y="296"/>
                  <a:pt x="1141" y="296"/>
                  <a:pt x="1141" y="296"/>
                </a:cubicBezTo>
                <a:cubicBezTo>
                  <a:pt x="1140" y="296"/>
                  <a:pt x="1140" y="296"/>
                  <a:pt x="1140" y="296"/>
                </a:cubicBezTo>
                <a:cubicBezTo>
                  <a:pt x="1139" y="295"/>
                  <a:pt x="1139" y="295"/>
                  <a:pt x="1139" y="295"/>
                </a:cubicBezTo>
                <a:cubicBezTo>
                  <a:pt x="1139" y="294"/>
                  <a:pt x="1139" y="294"/>
                  <a:pt x="1139" y="294"/>
                </a:cubicBezTo>
                <a:cubicBezTo>
                  <a:pt x="1140" y="294"/>
                  <a:pt x="1140" y="294"/>
                  <a:pt x="1140" y="294"/>
                </a:cubicBezTo>
                <a:cubicBezTo>
                  <a:pt x="1140" y="295"/>
                  <a:pt x="1140" y="295"/>
                  <a:pt x="1140" y="295"/>
                </a:cubicBezTo>
                <a:cubicBezTo>
                  <a:pt x="1141" y="295"/>
                  <a:pt x="1141" y="295"/>
                  <a:pt x="1141" y="295"/>
                </a:cubicBezTo>
                <a:cubicBezTo>
                  <a:pt x="1143" y="294"/>
                  <a:pt x="1143" y="294"/>
                  <a:pt x="1143" y="294"/>
                </a:cubicBezTo>
                <a:cubicBezTo>
                  <a:pt x="1143" y="293"/>
                  <a:pt x="1143" y="293"/>
                  <a:pt x="1143" y="293"/>
                </a:cubicBezTo>
                <a:cubicBezTo>
                  <a:pt x="1141" y="293"/>
                  <a:pt x="1141" y="293"/>
                  <a:pt x="1141" y="293"/>
                </a:cubicBezTo>
                <a:cubicBezTo>
                  <a:pt x="1139" y="292"/>
                  <a:pt x="1139" y="292"/>
                  <a:pt x="1139" y="292"/>
                </a:cubicBezTo>
                <a:cubicBezTo>
                  <a:pt x="1139" y="291"/>
                  <a:pt x="1139" y="291"/>
                  <a:pt x="1139" y="291"/>
                </a:cubicBezTo>
                <a:cubicBezTo>
                  <a:pt x="1139" y="291"/>
                  <a:pt x="1139" y="291"/>
                  <a:pt x="1139" y="291"/>
                </a:cubicBezTo>
                <a:cubicBezTo>
                  <a:pt x="1141" y="292"/>
                  <a:pt x="1141" y="292"/>
                  <a:pt x="1141" y="292"/>
                </a:cubicBezTo>
                <a:cubicBezTo>
                  <a:pt x="1142" y="292"/>
                  <a:pt x="1142" y="292"/>
                  <a:pt x="1142" y="292"/>
                </a:cubicBezTo>
                <a:cubicBezTo>
                  <a:pt x="1143" y="293"/>
                  <a:pt x="1143" y="293"/>
                  <a:pt x="1143" y="293"/>
                </a:cubicBezTo>
                <a:cubicBezTo>
                  <a:pt x="1144" y="293"/>
                  <a:pt x="1144" y="293"/>
                  <a:pt x="1144" y="293"/>
                </a:cubicBezTo>
                <a:cubicBezTo>
                  <a:pt x="1145" y="291"/>
                  <a:pt x="1145" y="291"/>
                  <a:pt x="1145" y="291"/>
                </a:cubicBezTo>
                <a:cubicBezTo>
                  <a:pt x="1145" y="290"/>
                  <a:pt x="1145" y="290"/>
                  <a:pt x="1145" y="290"/>
                </a:cubicBezTo>
                <a:cubicBezTo>
                  <a:pt x="1146" y="289"/>
                  <a:pt x="1146" y="289"/>
                  <a:pt x="1146" y="289"/>
                </a:cubicBezTo>
                <a:cubicBezTo>
                  <a:pt x="1146" y="289"/>
                  <a:pt x="1146" y="289"/>
                  <a:pt x="1146" y="289"/>
                </a:cubicBezTo>
                <a:cubicBezTo>
                  <a:pt x="1146" y="288"/>
                  <a:pt x="1146" y="288"/>
                  <a:pt x="1146" y="288"/>
                </a:cubicBezTo>
                <a:cubicBezTo>
                  <a:pt x="1146" y="286"/>
                  <a:pt x="1146" y="286"/>
                  <a:pt x="1146" y="286"/>
                </a:cubicBezTo>
                <a:cubicBezTo>
                  <a:pt x="1146" y="285"/>
                  <a:pt x="1146" y="285"/>
                  <a:pt x="1146" y="285"/>
                </a:cubicBezTo>
                <a:cubicBezTo>
                  <a:pt x="1145" y="283"/>
                  <a:pt x="1145" y="283"/>
                  <a:pt x="1145" y="283"/>
                </a:cubicBezTo>
                <a:cubicBezTo>
                  <a:pt x="1143" y="281"/>
                  <a:pt x="1143" y="281"/>
                  <a:pt x="1143" y="281"/>
                </a:cubicBezTo>
                <a:cubicBezTo>
                  <a:pt x="1141" y="281"/>
                  <a:pt x="1141" y="281"/>
                  <a:pt x="1141" y="281"/>
                </a:cubicBezTo>
                <a:cubicBezTo>
                  <a:pt x="1140" y="280"/>
                  <a:pt x="1140" y="280"/>
                  <a:pt x="1140" y="280"/>
                </a:cubicBezTo>
                <a:cubicBezTo>
                  <a:pt x="1140" y="280"/>
                  <a:pt x="1140" y="280"/>
                  <a:pt x="1140" y="280"/>
                </a:cubicBezTo>
                <a:cubicBezTo>
                  <a:pt x="1141" y="279"/>
                  <a:pt x="1141" y="279"/>
                  <a:pt x="1141" y="279"/>
                </a:cubicBezTo>
                <a:cubicBezTo>
                  <a:pt x="1142" y="280"/>
                  <a:pt x="1142" y="280"/>
                  <a:pt x="1142" y="280"/>
                </a:cubicBezTo>
                <a:cubicBezTo>
                  <a:pt x="1145" y="282"/>
                  <a:pt x="1145" y="282"/>
                  <a:pt x="1145" y="282"/>
                </a:cubicBezTo>
                <a:cubicBezTo>
                  <a:pt x="1146" y="283"/>
                  <a:pt x="1146" y="283"/>
                  <a:pt x="1146" y="283"/>
                </a:cubicBezTo>
                <a:cubicBezTo>
                  <a:pt x="1147" y="283"/>
                  <a:pt x="1147" y="283"/>
                  <a:pt x="1147" y="283"/>
                </a:cubicBezTo>
                <a:cubicBezTo>
                  <a:pt x="1148" y="283"/>
                  <a:pt x="1148" y="283"/>
                  <a:pt x="1148" y="283"/>
                </a:cubicBezTo>
                <a:cubicBezTo>
                  <a:pt x="1147" y="280"/>
                  <a:pt x="1147" y="280"/>
                  <a:pt x="1147" y="280"/>
                </a:cubicBezTo>
                <a:cubicBezTo>
                  <a:pt x="1146" y="279"/>
                  <a:pt x="1146" y="279"/>
                  <a:pt x="1146" y="279"/>
                </a:cubicBezTo>
                <a:cubicBezTo>
                  <a:pt x="1144" y="278"/>
                  <a:pt x="1144" y="278"/>
                  <a:pt x="1144" y="278"/>
                </a:cubicBezTo>
                <a:cubicBezTo>
                  <a:pt x="1141" y="277"/>
                  <a:pt x="1141" y="277"/>
                  <a:pt x="1141" y="277"/>
                </a:cubicBezTo>
                <a:cubicBezTo>
                  <a:pt x="1140" y="276"/>
                  <a:pt x="1140" y="276"/>
                  <a:pt x="1140" y="276"/>
                </a:cubicBezTo>
                <a:cubicBezTo>
                  <a:pt x="1140" y="275"/>
                  <a:pt x="1140" y="275"/>
                  <a:pt x="1140" y="275"/>
                </a:cubicBezTo>
                <a:cubicBezTo>
                  <a:pt x="1141" y="275"/>
                  <a:pt x="1141" y="275"/>
                  <a:pt x="1141" y="275"/>
                </a:cubicBezTo>
                <a:cubicBezTo>
                  <a:pt x="1142" y="276"/>
                  <a:pt x="1142" y="276"/>
                  <a:pt x="1142" y="276"/>
                </a:cubicBezTo>
                <a:cubicBezTo>
                  <a:pt x="1143" y="277"/>
                  <a:pt x="1143" y="277"/>
                  <a:pt x="1143" y="277"/>
                </a:cubicBezTo>
                <a:cubicBezTo>
                  <a:pt x="1145" y="277"/>
                  <a:pt x="1145" y="277"/>
                  <a:pt x="1145" y="277"/>
                </a:cubicBezTo>
                <a:cubicBezTo>
                  <a:pt x="1146" y="275"/>
                  <a:pt x="1146" y="275"/>
                  <a:pt x="1146" y="275"/>
                </a:cubicBezTo>
                <a:cubicBezTo>
                  <a:pt x="1146" y="274"/>
                  <a:pt x="1146" y="274"/>
                  <a:pt x="1146" y="274"/>
                </a:cubicBezTo>
                <a:cubicBezTo>
                  <a:pt x="1146" y="273"/>
                  <a:pt x="1146" y="273"/>
                  <a:pt x="1146" y="273"/>
                </a:cubicBezTo>
                <a:cubicBezTo>
                  <a:pt x="1147" y="273"/>
                  <a:pt x="1147" y="273"/>
                  <a:pt x="1147" y="273"/>
                </a:cubicBezTo>
                <a:cubicBezTo>
                  <a:pt x="1148" y="273"/>
                  <a:pt x="1148" y="273"/>
                  <a:pt x="1148" y="273"/>
                </a:cubicBezTo>
                <a:cubicBezTo>
                  <a:pt x="1148" y="274"/>
                  <a:pt x="1148" y="274"/>
                  <a:pt x="1148" y="274"/>
                </a:cubicBezTo>
                <a:cubicBezTo>
                  <a:pt x="1148" y="275"/>
                  <a:pt x="1148" y="275"/>
                  <a:pt x="1148" y="275"/>
                </a:cubicBezTo>
                <a:cubicBezTo>
                  <a:pt x="1149" y="276"/>
                  <a:pt x="1149" y="276"/>
                  <a:pt x="1149" y="276"/>
                </a:cubicBezTo>
                <a:cubicBezTo>
                  <a:pt x="1151" y="276"/>
                  <a:pt x="1151" y="276"/>
                  <a:pt x="1151" y="276"/>
                </a:cubicBezTo>
                <a:cubicBezTo>
                  <a:pt x="1152" y="276"/>
                  <a:pt x="1152" y="276"/>
                  <a:pt x="1152" y="276"/>
                </a:cubicBezTo>
                <a:cubicBezTo>
                  <a:pt x="1153" y="276"/>
                  <a:pt x="1153" y="276"/>
                  <a:pt x="1153" y="276"/>
                </a:cubicBezTo>
                <a:cubicBezTo>
                  <a:pt x="1153" y="275"/>
                  <a:pt x="1153" y="275"/>
                  <a:pt x="1153" y="275"/>
                </a:cubicBezTo>
                <a:cubicBezTo>
                  <a:pt x="1154" y="274"/>
                  <a:pt x="1154" y="274"/>
                  <a:pt x="1154" y="274"/>
                </a:cubicBezTo>
                <a:cubicBezTo>
                  <a:pt x="1155" y="274"/>
                  <a:pt x="1155" y="274"/>
                  <a:pt x="1155" y="274"/>
                </a:cubicBezTo>
                <a:cubicBezTo>
                  <a:pt x="1154" y="273"/>
                  <a:pt x="1154" y="273"/>
                  <a:pt x="1154" y="273"/>
                </a:cubicBezTo>
                <a:cubicBezTo>
                  <a:pt x="1153" y="272"/>
                  <a:pt x="1153" y="272"/>
                  <a:pt x="1153" y="272"/>
                </a:cubicBezTo>
                <a:cubicBezTo>
                  <a:pt x="1150" y="272"/>
                  <a:pt x="1150" y="272"/>
                  <a:pt x="1150" y="272"/>
                </a:cubicBezTo>
                <a:cubicBezTo>
                  <a:pt x="1150" y="272"/>
                  <a:pt x="1150" y="272"/>
                  <a:pt x="1150" y="272"/>
                </a:cubicBezTo>
                <a:cubicBezTo>
                  <a:pt x="1150" y="271"/>
                  <a:pt x="1150" y="271"/>
                  <a:pt x="1150" y="271"/>
                </a:cubicBezTo>
                <a:cubicBezTo>
                  <a:pt x="1150" y="270"/>
                  <a:pt x="1150" y="270"/>
                  <a:pt x="1150" y="270"/>
                </a:cubicBezTo>
                <a:cubicBezTo>
                  <a:pt x="1149" y="269"/>
                  <a:pt x="1149" y="269"/>
                  <a:pt x="1149" y="269"/>
                </a:cubicBezTo>
                <a:cubicBezTo>
                  <a:pt x="1149" y="268"/>
                  <a:pt x="1149" y="268"/>
                  <a:pt x="1149" y="268"/>
                </a:cubicBezTo>
                <a:cubicBezTo>
                  <a:pt x="1149" y="267"/>
                  <a:pt x="1149" y="267"/>
                  <a:pt x="1149" y="267"/>
                </a:cubicBezTo>
                <a:cubicBezTo>
                  <a:pt x="1150" y="267"/>
                  <a:pt x="1150" y="267"/>
                  <a:pt x="1150" y="267"/>
                </a:cubicBezTo>
                <a:cubicBezTo>
                  <a:pt x="1151" y="268"/>
                  <a:pt x="1151" y="268"/>
                  <a:pt x="1151" y="268"/>
                </a:cubicBezTo>
                <a:cubicBezTo>
                  <a:pt x="1151" y="270"/>
                  <a:pt x="1151" y="270"/>
                  <a:pt x="1151" y="270"/>
                </a:cubicBezTo>
                <a:cubicBezTo>
                  <a:pt x="1152" y="271"/>
                  <a:pt x="1152" y="271"/>
                  <a:pt x="1152" y="271"/>
                </a:cubicBezTo>
                <a:cubicBezTo>
                  <a:pt x="1154" y="271"/>
                  <a:pt x="1154" y="271"/>
                  <a:pt x="1154" y="271"/>
                </a:cubicBezTo>
                <a:cubicBezTo>
                  <a:pt x="1155" y="270"/>
                  <a:pt x="1155" y="270"/>
                  <a:pt x="1155" y="270"/>
                </a:cubicBezTo>
                <a:cubicBezTo>
                  <a:pt x="1155" y="270"/>
                  <a:pt x="1155" y="270"/>
                  <a:pt x="1155" y="270"/>
                </a:cubicBezTo>
                <a:cubicBezTo>
                  <a:pt x="1155" y="269"/>
                  <a:pt x="1155" y="269"/>
                  <a:pt x="1155" y="269"/>
                </a:cubicBezTo>
                <a:cubicBezTo>
                  <a:pt x="1153" y="268"/>
                  <a:pt x="1153" y="268"/>
                  <a:pt x="1153" y="268"/>
                </a:cubicBezTo>
                <a:cubicBezTo>
                  <a:pt x="1151" y="267"/>
                  <a:pt x="1151" y="267"/>
                  <a:pt x="1151" y="267"/>
                </a:cubicBezTo>
                <a:cubicBezTo>
                  <a:pt x="1151" y="265"/>
                  <a:pt x="1151" y="265"/>
                  <a:pt x="1151" y="265"/>
                </a:cubicBezTo>
                <a:cubicBezTo>
                  <a:pt x="1152" y="265"/>
                  <a:pt x="1152" y="265"/>
                  <a:pt x="1152" y="265"/>
                </a:cubicBezTo>
                <a:cubicBezTo>
                  <a:pt x="1152" y="266"/>
                  <a:pt x="1152" y="266"/>
                  <a:pt x="1152" y="266"/>
                </a:cubicBezTo>
                <a:cubicBezTo>
                  <a:pt x="1154" y="267"/>
                  <a:pt x="1154" y="267"/>
                  <a:pt x="1154" y="267"/>
                </a:cubicBezTo>
                <a:cubicBezTo>
                  <a:pt x="1155" y="268"/>
                  <a:pt x="1155" y="268"/>
                  <a:pt x="1155" y="268"/>
                </a:cubicBezTo>
                <a:cubicBezTo>
                  <a:pt x="1157" y="269"/>
                  <a:pt x="1157" y="269"/>
                  <a:pt x="1157" y="269"/>
                </a:cubicBezTo>
                <a:cubicBezTo>
                  <a:pt x="1157" y="268"/>
                  <a:pt x="1157" y="268"/>
                  <a:pt x="1157" y="268"/>
                </a:cubicBezTo>
                <a:cubicBezTo>
                  <a:pt x="1157" y="267"/>
                  <a:pt x="1157" y="267"/>
                  <a:pt x="1157" y="267"/>
                </a:cubicBezTo>
                <a:cubicBezTo>
                  <a:pt x="1157" y="266"/>
                  <a:pt x="1157" y="266"/>
                  <a:pt x="1157" y="266"/>
                </a:cubicBezTo>
                <a:cubicBezTo>
                  <a:pt x="1155" y="265"/>
                  <a:pt x="1155" y="265"/>
                  <a:pt x="1155" y="265"/>
                </a:cubicBezTo>
                <a:cubicBezTo>
                  <a:pt x="1153" y="264"/>
                  <a:pt x="1153" y="264"/>
                  <a:pt x="1153" y="264"/>
                </a:cubicBezTo>
                <a:cubicBezTo>
                  <a:pt x="1153" y="263"/>
                  <a:pt x="1153" y="263"/>
                  <a:pt x="1153" y="263"/>
                </a:cubicBezTo>
                <a:cubicBezTo>
                  <a:pt x="1154" y="262"/>
                  <a:pt x="1154" y="262"/>
                  <a:pt x="1154" y="262"/>
                </a:cubicBezTo>
                <a:cubicBezTo>
                  <a:pt x="1155" y="261"/>
                  <a:pt x="1155" y="261"/>
                  <a:pt x="1155" y="261"/>
                </a:cubicBezTo>
                <a:cubicBezTo>
                  <a:pt x="1156" y="261"/>
                  <a:pt x="1156" y="261"/>
                  <a:pt x="1156" y="261"/>
                </a:cubicBezTo>
                <a:cubicBezTo>
                  <a:pt x="1156" y="262"/>
                  <a:pt x="1156" y="262"/>
                  <a:pt x="1156" y="262"/>
                </a:cubicBezTo>
                <a:cubicBezTo>
                  <a:pt x="1158" y="264"/>
                  <a:pt x="1158" y="264"/>
                  <a:pt x="1158" y="264"/>
                </a:cubicBezTo>
                <a:cubicBezTo>
                  <a:pt x="1160" y="264"/>
                  <a:pt x="1160" y="264"/>
                  <a:pt x="1160" y="264"/>
                </a:cubicBezTo>
                <a:cubicBezTo>
                  <a:pt x="1160" y="264"/>
                  <a:pt x="1160" y="264"/>
                  <a:pt x="1160" y="264"/>
                </a:cubicBezTo>
                <a:cubicBezTo>
                  <a:pt x="1162" y="264"/>
                  <a:pt x="1162" y="264"/>
                  <a:pt x="1162" y="264"/>
                </a:cubicBezTo>
                <a:cubicBezTo>
                  <a:pt x="1163" y="263"/>
                  <a:pt x="1163" y="263"/>
                  <a:pt x="1163" y="263"/>
                </a:cubicBezTo>
                <a:cubicBezTo>
                  <a:pt x="1164" y="262"/>
                  <a:pt x="1164" y="262"/>
                  <a:pt x="1164" y="262"/>
                </a:cubicBezTo>
                <a:cubicBezTo>
                  <a:pt x="1163" y="261"/>
                  <a:pt x="1163" y="261"/>
                  <a:pt x="1163" y="261"/>
                </a:cubicBezTo>
                <a:cubicBezTo>
                  <a:pt x="1162" y="261"/>
                  <a:pt x="1162" y="261"/>
                  <a:pt x="1162" y="261"/>
                </a:cubicBezTo>
                <a:cubicBezTo>
                  <a:pt x="1161" y="260"/>
                  <a:pt x="1161" y="260"/>
                  <a:pt x="1161" y="260"/>
                </a:cubicBezTo>
                <a:cubicBezTo>
                  <a:pt x="1159" y="259"/>
                  <a:pt x="1159" y="259"/>
                  <a:pt x="1159" y="259"/>
                </a:cubicBezTo>
                <a:cubicBezTo>
                  <a:pt x="1158" y="258"/>
                  <a:pt x="1158" y="258"/>
                  <a:pt x="1158" y="258"/>
                </a:cubicBezTo>
                <a:cubicBezTo>
                  <a:pt x="1156" y="258"/>
                  <a:pt x="1156" y="258"/>
                  <a:pt x="1156" y="258"/>
                </a:cubicBezTo>
                <a:cubicBezTo>
                  <a:pt x="1157" y="257"/>
                  <a:pt x="1157" y="257"/>
                  <a:pt x="1157" y="257"/>
                </a:cubicBezTo>
                <a:cubicBezTo>
                  <a:pt x="1157" y="256"/>
                  <a:pt x="1157" y="256"/>
                  <a:pt x="1157" y="256"/>
                </a:cubicBezTo>
                <a:cubicBezTo>
                  <a:pt x="1158" y="257"/>
                  <a:pt x="1158" y="257"/>
                  <a:pt x="1158" y="257"/>
                </a:cubicBezTo>
                <a:cubicBezTo>
                  <a:pt x="1159" y="258"/>
                  <a:pt x="1159" y="258"/>
                  <a:pt x="1159" y="258"/>
                </a:cubicBezTo>
                <a:cubicBezTo>
                  <a:pt x="1160" y="258"/>
                  <a:pt x="1160" y="258"/>
                  <a:pt x="1160" y="258"/>
                </a:cubicBezTo>
                <a:cubicBezTo>
                  <a:pt x="1161" y="258"/>
                  <a:pt x="1161" y="258"/>
                  <a:pt x="1161" y="258"/>
                </a:cubicBezTo>
                <a:cubicBezTo>
                  <a:pt x="1162" y="260"/>
                  <a:pt x="1162" y="260"/>
                  <a:pt x="1162" y="260"/>
                </a:cubicBezTo>
                <a:cubicBezTo>
                  <a:pt x="1164" y="261"/>
                  <a:pt x="1164" y="261"/>
                  <a:pt x="1164" y="261"/>
                </a:cubicBezTo>
                <a:cubicBezTo>
                  <a:pt x="1164" y="260"/>
                  <a:pt x="1164" y="260"/>
                  <a:pt x="1164" y="260"/>
                </a:cubicBezTo>
                <a:cubicBezTo>
                  <a:pt x="1165" y="259"/>
                  <a:pt x="1165" y="259"/>
                  <a:pt x="1165" y="259"/>
                </a:cubicBezTo>
                <a:cubicBezTo>
                  <a:pt x="1165" y="258"/>
                  <a:pt x="1165" y="258"/>
                  <a:pt x="1165" y="258"/>
                </a:cubicBezTo>
                <a:cubicBezTo>
                  <a:pt x="1165" y="257"/>
                  <a:pt x="1165" y="257"/>
                  <a:pt x="1165" y="257"/>
                </a:cubicBezTo>
                <a:cubicBezTo>
                  <a:pt x="1165" y="256"/>
                  <a:pt x="1165" y="256"/>
                  <a:pt x="1165" y="256"/>
                </a:cubicBezTo>
                <a:cubicBezTo>
                  <a:pt x="1164" y="255"/>
                  <a:pt x="1164" y="255"/>
                  <a:pt x="1164" y="255"/>
                </a:cubicBezTo>
                <a:cubicBezTo>
                  <a:pt x="1164" y="255"/>
                  <a:pt x="1164" y="255"/>
                  <a:pt x="1164" y="255"/>
                </a:cubicBezTo>
                <a:cubicBezTo>
                  <a:pt x="1165" y="255"/>
                  <a:pt x="1165" y="255"/>
                  <a:pt x="1165" y="255"/>
                </a:cubicBezTo>
                <a:cubicBezTo>
                  <a:pt x="1166" y="255"/>
                  <a:pt x="1166" y="255"/>
                  <a:pt x="1166" y="255"/>
                </a:cubicBezTo>
                <a:cubicBezTo>
                  <a:pt x="1166" y="253"/>
                  <a:pt x="1166" y="253"/>
                  <a:pt x="1166" y="253"/>
                </a:cubicBezTo>
                <a:cubicBezTo>
                  <a:pt x="1166" y="252"/>
                  <a:pt x="1166" y="252"/>
                  <a:pt x="1166" y="252"/>
                </a:cubicBezTo>
                <a:cubicBezTo>
                  <a:pt x="1165" y="252"/>
                  <a:pt x="1165" y="252"/>
                  <a:pt x="1165" y="252"/>
                </a:cubicBezTo>
                <a:cubicBezTo>
                  <a:pt x="1164" y="252"/>
                  <a:pt x="1164" y="252"/>
                  <a:pt x="1164" y="252"/>
                </a:cubicBezTo>
                <a:cubicBezTo>
                  <a:pt x="1164" y="252"/>
                  <a:pt x="1164" y="252"/>
                  <a:pt x="1164" y="252"/>
                </a:cubicBezTo>
                <a:cubicBezTo>
                  <a:pt x="1163" y="251"/>
                  <a:pt x="1163" y="251"/>
                  <a:pt x="1163" y="251"/>
                </a:cubicBezTo>
                <a:cubicBezTo>
                  <a:pt x="1161" y="251"/>
                  <a:pt x="1161" y="251"/>
                  <a:pt x="1161" y="251"/>
                </a:cubicBezTo>
                <a:cubicBezTo>
                  <a:pt x="1159" y="249"/>
                  <a:pt x="1159" y="249"/>
                  <a:pt x="1159" y="249"/>
                </a:cubicBezTo>
                <a:cubicBezTo>
                  <a:pt x="1158" y="249"/>
                  <a:pt x="1158" y="249"/>
                  <a:pt x="1158" y="249"/>
                </a:cubicBezTo>
                <a:cubicBezTo>
                  <a:pt x="1159" y="248"/>
                  <a:pt x="1159" y="248"/>
                  <a:pt x="1159" y="248"/>
                </a:cubicBezTo>
                <a:cubicBezTo>
                  <a:pt x="1161" y="248"/>
                  <a:pt x="1161" y="248"/>
                  <a:pt x="1161" y="248"/>
                </a:cubicBezTo>
                <a:cubicBezTo>
                  <a:pt x="1163" y="248"/>
                  <a:pt x="1163" y="248"/>
                  <a:pt x="1163" y="248"/>
                </a:cubicBezTo>
                <a:cubicBezTo>
                  <a:pt x="1165" y="248"/>
                  <a:pt x="1165" y="248"/>
                  <a:pt x="1165" y="248"/>
                </a:cubicBezTo>
                <a:cubicBezTo>
                  <a:pt x="1165" y="247"/>
                  <a:pt x="1165" y="247"/>
                  <a:pt x="1165" y="247"/>
                </a:cubicBezTo>
                <a:cubicBezTo>
                  <a:pt x="1166" y="247"/>
                  <a:pt x="1166" y="247"/>
                  <a:pt x="1166" y="247"/>
                </a:cubicBezTo>
                <a:cubicBezTo>
                  <a:pt x="1167" y="248"/>
                  <a:pt x="1167" y="248"/>
                  <a:pt x="1167" y="248"/>
                </a:cubicBezTo>
                <a:cubicBezTo>
                  <a:pt x="1168" y="246"/>
                  <a:pt x="1168" y="246"/>
                  <a:pt x="1168" y="246"/>
                </a:cubicBezTo>
                <a:cubicBezTo>
                  <a:pt x="1167" y="243"/>
                  <a:pt x="1167" y="243"/>
                  <a:pt x="1167" y="243"/>
                </a:cubicBezTo>
                <a:cubicBezTo>
                  <a:pt x="1167" y="241"/>
                  <a:pt x="1167" y="241"/>
                  <a:pt x="1167" y="241"/>
                </a:cubicBezTo>
                <a:cubicBezTo>
                  <a:pt x="1165" y="240"/>
                  <a:pt x="1165" y="240"/>
                  <a:pt x="1165" y="240"/>
                </a:cubicBezTo>
                <a:cubicBezTo>
                  <a:pt x="1165" y="239"/>
                  <a:pt x="1165" y="239"/>
                  <a:pt x="1165" y="239"/>
                </a:cubicBezTo>
                <a:cubicBezTo>
                  <a:pt x="1165" y="238"/>
                  <a:pt x="1165" y="238"/>
                  <a:pt x="1165" y="238"/>
                </a:cubicBezTo>
                <a:cubicBezTo>
                  <a:pt x="1166" y="237"/>
                  <a:pt x="1166" y="237"/>
                  <a:pt x="1166" y="237"/>
                </a:cubicBezTo>
                <a:cubicBezTo>
                  <a:pt x="1165" y="235"/>
                  <a:pt x="1165" y="235"/>
                  <a:pt x="1165" y="235"/>
                </a:cubicBezTo>
                <a:cubicBezTo>
                  <a:pt x="1165" y="235"/>
                  <a:pt x="1165" y="235"/>
                  <a:pt x="1165" y="235"/>
                </a:cubicBezTo>
                <a:cubicBezTo>
                  <a:pt x="1165" y="234"/>
                  <a:pt x="1165" y="234"/>
                  <a:pt x="1165" y="234"/>
                </a:cubicBezTo>
                <a:cubicBezTo>
                  <a:pt x="1166" y="234"/>
                  <a:pt x="1166" y="234"/>
                  <a:pt x="1166" y="234"/>
                </a:cubicBezTo>
                <a:cubicBezTo>
                  <a:pt x="1167" y="235"/>
                  <a:pt x="1167" y="235"/>
                  <a:pt x="1167" y="235"/>
                </a:cubicBezTo>
                <a:cubicBezTo>
                  <a:pt x="1168" y="236"/>
                  <a:pt x="1168" y="236"/>
                  <a:pt x="1168" y="236"/>
                </a:cubicBezTo>
                <a:cubicBezTo>
                  <a:pt x="1168" y="235"/>
                  <a:pt x="1168" y="235"/>
                  <a:pt x="1168" y="235"/>
                </a:cubicBezTo>
                <a:cubicBezTo>
                  <a:pt x="1169" y="235"/>
                  <a:pt x="1169" y="235"/>
                  <a:pt x="1169" y="235"/>
                </a:cubicBezTo>
                <a:cubicBezTo>
                  <a:pt x="1170" y="235"/>
                  <a:pt x="1170" y="235"/>
                  <a:pt x="1170" y="235"/>
                </a:cubicBezTo>
                <a:cubicBezTo>
                  <a:pt x="1171" y="237"/>
                  <a:pt x="1171" y="237"/>
                  <a:pt x="1171" y="237"/>
                </a:cubicBezTo>
                <a:cubicBezTo>
                  <a:pt x="1172" y="238"/>
                  <a:pt x="1172" y="238"/>
                  <a:pt x="1172" y="238"/>
                </a:cubicBezTo>
                <a:cubicBezTo>
                  <a:pt x="1173" y="238"/>
                  <a:pt x="1173" y="238"/>
                  <a:pt x="1173" y="238"/>
                </a:cubicBezTo>
                <a:cubicBezTo>
                  <a:pt x="1175" y="236"/>
                  <a:pt x="1175" y="236"/>
                  <a:pt x="1175" y="236"/>
                </a:cubicBezTo>
                <a:cubicBezTo>
                  <a:pt x="1176" y="233"/>
                  <a:pt x="1176" y="233"/>
                  <a:pt x="1176" y="233"/>
                </a:cubicBezTo>
                <a:cubicBezTo>
                  <a:pt x="1176" y="231"/>
                  <a:pt x="1176" y="231"/>
                  <a:pt x="1176" y="231"/>
                </a:cubicBezTo>
                <a:cubicBezTo>
                  <a:pt x="1175" y="230"/>
                  <a:pt x="1175" y="230"/>
                  <a:pt x="1175" y="230"/>
                </a:cubicBezTo>
                <a:cubicBezTo>
                  <a:pt x="1175" y="229"/>
                  <a:pt x="1175" y="229"/>
                  <a:pt x="1175" y="229"/>
                </a:cubicBezTo>
                <a:cubicBezTo>
                  <a:pt x="1176" y="228"/>
                  <a:pt x="1176" y="228"/>
                  <a:pt x="1176" y="228"/>
                </a:cubicBezTo>
                <a:cubicBezTo>
                  <a:pt x="1177" y="228"/>
                  <a:pt x="1177" y="228"/>
                  <a:pt x="1177" y="228"/>
                </a:cubicBezTo>
                <a:cubicBezTo>
                  <a:pt x="1177" y="228"/>
                  <a:pt x="1177" y="228"/>
                  <a:pt x="1177" y="228"/>
                </a:cubicBezTo>
                <a:cubicBezTo>
                  <a:pt x="1178" y="227"/>
                  <a:pt x="1178" y="227"/>
                  <a:pt x="1178" y="227"/>
                </a:cubicBezTo>
                <a:cubicBezTo>
                  <a:pt x="1179" y="228"/>
                  <a:pt x="1179" y="228"/>
                  <a:pt x="1179" y="228"/>
                </a:cubicBezTo>
                <a:cubicBezTo>
                  <a:pt x="1179" y="230"/>
                  <a:pt x="1179" y="230"/>
                  <a:pt x="1179" y="230"/>
                </a:cubicBezTo>
                <a:cubicBezTo>
                  <a:pt x="1180" y="230"/>
                  <a:pt x="1180" y="230"/>
                  <a:pt x="1180" y="230"/>
                </a:cubicBezTo>
                <a:cubicBezTo>
                  <a:pt x="1181" y="229"/>
                  <a:pt x="1181" y="229"/>
                  <a:pt x="1181" y="229"/>
                </a:cubicBezTo>
                <a:cubicBezTo>
                  <a:pt x="1181" y="228"/>
                  <a:pt x="1181" y="228"/>
                  <a:pt x="1181" y="228"/>
                </a:cubicBezTo>
                <a:cubicBezTo>
                  <a:pt x="1182" y="227"/>
                  <a:pt x="1182" y="227"/>
                  <a:pt x="1182" y="227"/>
                </a:cubicBezTo>
                <a:cubicBezTo>
                  <a:pt x="1182" y="227"/>
                  <a:pt x="1182" y="227"/>
                  <a:pt x="1182" y="227"/>
                </a:cubicBezTo>
                <a:cubicBezTo>
                  <a:pt x="1183" y="228"/>
                  <a:pt x="1183" y="228"/>
                  <a:pt x="1183" y="228"/>
                </a:cubicBezTo>
                <a:cubicBezTo>
                  <a:pt x="1183" y="230"/>
                  <a:pt x="1183" y="230"/>
                  <a:pt x="1183" y="230"/>
                </a:cubicBezTo>
                <a:cubicBezTo>
                  <a:pt x="1184" y="231"/>
                  <a:pt x="1184" y="231"/>
                  <a:pt x="1184" y="231"/>
                </a:cubicBezTo>
                <a:cubicBezTo>
                  <a:pt x="1186" y="230"/>
                  <a:pt x="1186" y="230"/>
                  <a:pt x="1186" y="230"/>
                </a:cubicBezTo>
                <a:cubicBezTo>
                  <a:pt x="1186" y="229"/>
                  <a:pt x="1186" y="229"/>
                  <a:pt x="1186" y="229"/>
                </a:cubicBezTo>
                <a:cubicBezTo>
                  <a:pt x="1187" y="228"/>
                  <a:pt x="1187" y="228"/>
                  <a:pt x="1187" y="228"/>
                </a:cubicBezTo>
                <a:cubicBezTo>
                  <a:pt x="1188" y="229"/>
                  <a:pt x="1188" y="229"/>
                  <a:pt x="1188" y="229"/>
                </a:cubicBezTo>
                <a:cubicBezTo>
                  <a:pt x="1189" y="229"/>
                  <a:pt x="1189" y="229"/>
                  <a:pt x="1189" y="229"/>
                </a:cubicBezTo>
                <a:cubicBezTo>
                  <a:pt x="1191" y="229"/>
                  <a:pt x="1191" y="229"/>
                  <a:pt x="1191" y="229"/>
                </a:cubicBezTo>
                <a:cubicBezTo>
                  <a:pt x="1191" y="227"/>
                  <a:pt x="1191" y="227"/>
                  <a:pt x="1191" y="227"/>
                </a:cubicBezTo>
                <a:cubicBezTo>
                  <a:pt x="1192" y="227"/>
                  <a:pt x="1192" y="227"/>
                  <a:pt x="1192" y="227"/>
                </a:cubicBezTo>
                <a:cubicBezTo>
                  <a:pt x="1192" y="226"/>
                  <a:pt x="1192" y="226"/>
                  <a:pt x="1192" y="226"/>
                </a:cubicBezTo>
                <a:cubicBezTo>
                  <a:pt x="1191" y="225"/>
                  <a:pt x="1191" y="225"/>
                  <a:pt x="1191" y="225"/>
                </a:cubicBezTo>
                <a:cubicBezTo>
                  <a:pt x="1190" y="223"/>
                  <a:pt x="1190" y="223"/>
                  <a:pt x="1190" y="223"/>
                </a:cubicBezTo>
                <a:cubicBezTo>
                  <a:pt x="1190" y="222"/>
                  <a:pt x="1190" y="222"/>
                  <a:pt x="1190" y="222"/>
                </a:cubicBezTo>
                <a:cubicBezTo>
                  <a:pt x="1190" y="221"/>
                  <a:pt x="1190" y="221"/>
                  <a:pt x="1190" y="221"/>
                </a:cubicBezTo>
                <a:cubicBezTo>
                  <a:pt x="1191" y="221"/>
                  <a:pt x="1191" y="221"/>
                  <a:pt x="1191" y="221"/>
                </a:cubicBezTo>
                <a:cubicBezTo>
                  <a:pt x="1191" y="223"/>
                  <a:pt x="1191" y="223"/>
                  <a:pt x="1191" y="223"/>
                </a:cubicBezTo>
                <a:cubicBezTo>
                  <a:pt x="1192" y="223"/>
                  <a:pt x="1192" y="223"/>
                  <a:pt x="1192" y="223"/>
                </a:cubicBezTo>
                <a:cubicBezTo>
                  <a:pt x="1194" y="221"/>
                  <a:pt x="1194" y="221"/>
                  <a:pt x="1194" y="221"/>
                </a:cubicBezTo>
                <a:cubicBezTo>
                  <a:pt x="1194" y="220"/>
                  <a:pt x="1194" y="220"/>
                  <a:pt x="1194" y="220"/>
                </a:cubicBezTo>
                <a:cubicBezTo>
                  <a:pt x="1195" y="219"/>
                  <a:pt x="1195" y="219"/>
                  <a:pt x="1195" y="219"/>
                </a:cubicBezTo>
                <a:cubicBezTo>
                  <a:pt x="1195" y="218"/>
                  <a:pt x="1195" y="218"/>
                  <a:pt x="1195" y="218"/>
                </a:cubicBezTo>
                <a:cubicBezTo>
                  <a:pt x="1194" y="216"/>
                  <a:pt x="1194" y="216"/>
                  <a:pt x="1194" y="216"/>
                </a:cubicBezTo>
                <a:cubicBezTo>
                  <a:pt x="1194" y="215"/>
                  <a:pt x="1194" y="215"/>
                  <a:pt x="1194" y="215"/>
                </a:cubicBezTo>
                <a:cubicBezTo>
                  <a:pt x="1195" y="214"/>
                  <a:pt x="1195" y="214"/>
                  <a:pt x="1195" y="214"/>
                </a:cubicBezTo>
                <a:cubicBezTo>
                  <a:pt x="1195" y="214"/>
                  <a:pt x="1195" y="214"/>
                  <a:pt x="1195" y="214"/>
                </a:cubicBezTo>
                <a:cubicBezTo>
                  <a:pt x="1196" y="214"/>
                  <a:pt x="1196" y="214"/>
                  <a:pt x="1196" y="214"/>
                </a:cubicBezTo>
                <a:cubicBezTo>
                  <a:pt x="1196" y="215"/>
                  <a:pt x="1196" y="215"/>
                  <a:pt x="1196" y="215"/>
                </a:cubicBezTo>
                <a:cubicBezTo>
                  <a:pt x="1197" y="216"/>
                  <a:pt x="1197" y="216"/>
                  <a:pt x="1197" y="216"/>
                </a:cubicBezTo>
                <a:cubicBezTo>
                  <a:pt x="1199" y="216"/>
                  <a:pt x="1199" y="216"/>
                  <a:pt x="1199" y="216"/>
                </a:cubicBezTo>
                <a:cubicBezTo>
                  <a:pt x="1199" y="217"/>
                  <a:pt x="1199" y="217"/>
                  <a:pt x="1199" y="217"/>
                </a:cubicBezTo>
                <a:cubicBezTo>
                  <a:pt x="1198" y="218"/>
                  <a:pt x="1198" y="218"/>
                  <a:pt x="1198" y="218"/>
                </a:cubicBezTo>
                <a:cubicBezTo>
                  <a:pt x="1197" y="219"/>
                  <a:pt x="1197" y="219"/>
                  <a:pt x="1197" y="219"/>
                </a:cubicBezTo>
                <a:cubicBezTo>
                  <a:pt x="1196" y="221"/>
                  <a:pt x="1196" y="221"/>
                  <a:pt x="1196" y="221"/>
                </a:cubicBezTo>
                <a:cubicBezTo>
                  <a:pt x="1196" y="222"/>
                  <a:pt x="1196" y="222"/>
                  <a:pt x="1196" y="222"/>
                </a:cubicBezTo>
                <a:cubicBezTo>
                  <a:pt x="1198" y="225"/>
                  <a:pt x="1198" y="225"/>
                  <a:pt x="1198" y="225"/>
                </a:cubicBezTo>
                <a:cubicBezTo>
                  <a:pt x="1199" y="226"/>
                  <a:pt x="1199" y="226"/>
                  <a:pt x="1199" y="226"/>
                </a:cubicBezTo>
                <a:cubicBezTo>
                  <a:pt x="1200" y="224"/>
                  <a:pt x="1200" y="224"/>
                  <a:pt x="1200" y="224"/>
                </a:cubicBezTo>
                <a:cubicBezTo>
                  <a:pt x="1200" y="223"/>
                  <a:pt x="1200" y="223"/>
                  <a:pt x="1200" y="223"/>
                </a:cubicBezTo>
                <a:cubicBezTo>
                  <a:pt x="1200" y="222"/>
                  <a:pt x="1200" y="222"/>
                  <a:pt x="1200" y="222"/>
                </a:cubicBezTo>
                <a:cubicBezTo>
                  <a:pt x="1200" y="220"/>
                  <a:pt x="1200" y="220"/>
                  <a:pt x="1200" y="220"/>
                </a:cubicBezTo>
                <a:cubicBezTo>
                  <a:pt x="1201" y="220"/>
                  <a:pt x="1201" y="220"/>
                  <a:pt x="1201" y="220"/>
                </a:cubicBezTo>
                <a:cubicBezTo>
                  <a:pt x="1201" y="221"/>
                  <a:pt x="1201" y="221"/>
                  <a:pt x="1201" y="221"/>
                </a:cubicBezTo>
                <a:cubicBezTo>
                  <a:pt x="1201" y="222"/>
                  <a:pt x="1201" y="222"/>
                  <a:pt x="1201" y="222"/>
                </a:cubicBezTo>
                <a:cubicBezTo>
                  <a:pt x="1201" y="223"/>
                  <a:pt x="1201" y="223"/>
                  <a:pt x="1201" y="223"/>
                </a:cubicBezTo>
                <a:cubicBezTo>
                  <a:pt x="1202" y="225"/>
                  <a:pt x="1202" y="225"/>
                  <a:pt x="1202" y="225"/>
                </a:cubicBezTo>
                <a:cubicBezTo>
                  <a:pt x="1203" y="225"/>
                  <a:pt x="1203" y="225"/>
                  <a:pt x="1203" y="225"/>
                </a:cubicBezTo>
                <a:cubicBezTo>
                  <a:pt x="1205" y="225"/>
                  <a:pt x="1205" y="225"/>
                  <a:pt x="1205" y="225"/>
                </a:cubicBezTo>
                <a:cubicBezTo>
                  <a:pt x="1206" y="225"/>
                  <a:pt x="1206" y="225"/>
                  <a:pt x="1206" y="225"/>
                </a:cubicBezTo>
                <a:cubicBezTo>
                  <a:pt x="1206" y="224"/>
                  <a:pt x="1206" y="224"/>
                  <a:pt x="1206" y="224"/>
                </a:cubicBezTo>
                <a:cubicBezTo>
                  <a:pt x="1206" y="223"/>
                  <a:pt x="1206" y="223"/>
                  <a:pt x="1206" y="223"/>
                </a:cubicBezTo>
                <a:cubicBezTo>
                  <a:pt x="1206" y="222"/>
                  <a:pt x="1206" y="222"/>
                  <a:pt x="1206" y="222"/>
                </a:cubicBezTo>
                <a:cubicBezTo>
                  <a:pt x="1207" y="222"/>
                  <a:pt x="1207" y="222"/>
                  <a:pt x="1207" y="222"/>
                </a:cubicBezTo>
                <a:cubicBezTo>
                  <a:pt x="1208" y="222"/>
                  <a:pt x="1208" y="222"/>
                  <a:pt x="1208" y="222"/>
                </a:cubicBezTo>
                <a:cubicBezTo>
                  <a:pt x="1207" y="223"/>
                  <a:pt x="1207" y="223"/>
                  <a:pt x="1207" y="223"/>
                </a:cubicBezTo>
                <a:cubicBezTo>
                  <a:pt x="1207" y="224"/>
                  <a:pt x="1207" y="224"/>
                  <a:pt x="1207" y="224"/>
                </a:cubicBezTo>
                <a:cubicBezTo>
                  <a:pt x="1208" y="225"/>
                  <a:pt x="1208" y="225"/>
                  <a:pt x="1208" y="225"/>
                </a:cubicBezTo>
                <a:cubicBezTo>
                  <a:pt x="1210" y="225"/>
                  <a:pt x="1210" y="225"/>
                  <a:pt x="1210" y="225"/>
                </a:cubicBezTo>
                <a:cubicBezTo>
                  <a:pt x="1211" y="223"/>
                  <a:pt x="1211" y="223"/>
                  <a:pt x="1211" y="223"/>
                </a:cubicBezTo>
                <a:cubicBezTo>
                  <a:pt x="1214" y="221"/>
                  <a:pt x="1214" y="221"/>
                  <a:pt x="1214" y="221"/>
                </a:cubicBezTo>
                <a:cubicBezTo>
                  <a:pt x="1214" y="221"/>
                  <a:pt x="1214" y="221"/>
                  <a:pt x="1214" y="221"/>
                </a:cubicBezTo>
                <a:cubicBezTo>
                  <a:pt x="1215" y="221"/>
                  <a:pt x="1215" y="221"/>
                  <a:pt x="1215" y="221"/>
                </a:cubicBezTo>
                <a:cubicBezTo>
                  <a:pt x="1215" y="219"/>
                  <a:pt x="1215" y="219"/>
                  <a:pt x="1215" y="219"/>
                </a:cubicBezTo>
                <a:cubicBezTo>
                  <a:pt x="1215" y="218"/>
                  <a:pt x="1215" y="218"/>
                  <a:pt x="1215" y="218"/>
                </a:cubicBezTo>
                <a:cubicBezTo>
                  <a:pt x="1214" y="217"/>
                  <a:pt x="1214" y="217"/>
                  <a:pt x="1214" y="217"/>
                </a:cubicBezTo>
                <a:cubicBezTo>
                  <a:pt x="1213" y="216"/>
                  <a:pt x="1213" y="216"/>
                  <a:pt x="1213" y="216"/>
                </a:cubicBezTo>
                <a:cubicBezTo>
                  <a:pt x="1213" y="216"/>
                  <a:pt x="1213" y="216"/>
                  <a:pt x="1213" y="216"/>
                </a:cubicBezTo>
                <a:cubicBezTo>
                  <a:pt x="1214" y="216"/>
                  <a:pt x="1214" y="216"/>
                  <a:pt x="1214" y="216"/>
                </a:cubicBezTo>
                <a:cubicBezTo>
                  <a:pt x="1215" y="217"/>
                  <a:pt x="1215" y="217"/>
                  <a:pt x="1215" y="217"/>
                </a:cubicBezTo>
                <a:cubicBezTo>
                  <a:pt x="1217" y="218"/>
                  <a:pt x="1217" y="218"/>
                  <a:pt x="1217" y="218"/>
                </a:cubicBezTo>
                <a:cubicBezTo>
                  <a:pt x="1218" y="218"/>
                  <a:pt x="1218" y="218"/>
                  <a:pt x="1218" y="218"/>
                </a:cubicBezTo>
                <a:cubicBezTo>
                  <a:pt x="1218" y="217"/>
                  <a:pt x="1218" y="217"/>
                  <a:pt x="1218" y="217"/>
                </a:cubicBezTo>
                <a:cubicBezTo>
                  <a:pt x="1219" y="217"/>
                  <a:pt x="1219" y="217"/>
                  <a:pt x="1219" y="217"/>
                </a:cubicBezTo>
                <a:cubicBezTo>
                  <a:pt x="1219" y="217"/>
                  <a:pt x="1219" y="217"/>
                  <a:pt x="1219" y="217"/>
                </a:cubicBezTo>
                <a:cubicBezTo>
                  <a:pt x="1219" y="219"/>
                  <a:pt x="1219" y="219"/>
                  <a:pt x="1219" y="219"/>
                </a:cubicBezTo>
                <a:cubicBezTo>
                  <a:pt x="1220" y="219"/>
                  <a:pt x="1220" y="219"/>
                  <a:pt x="1220" y="219"/>
                </a:cubicBezTo>
                <a:cubicBezTo>
                  <a:pt x="1221" y="218"/>
                  <a:pt x="1221" y="218"/>
                  <a:pt x="1221" y="218"/>
                </a:cubicBezTo>
                <a:cubicBezTo>
                  <a:pt x="1223" y="216"/>
                  <a:pt x="1223" y="216"/>
                  <a:pt x="1223" y="216"/>
                </a:cubicBezTo>
                <a:cubicBezTo>
                  <a:pt x="1224" y="215"/>
                  <a:pt x="1224" y="215"/>
                  <a:pt x="1224" y="215"/>
                </a:cubicBezTo>
                <a:cubicBezTo>
                  <a:pt x="1223" y="215"/>
                  <a:pt x="1223" y="215"/>
                  <a:pt x="1223" y="215"/>
                </a:cubicBezTo>
                <a:cubicBezTo>
                  <a:pt x="1224" y="213"/>
                  <a:pt x="1224" y="213"/>
                  <a:pt x="1224" y="213"/>
                </a:cubicBezTo>
                <a:cubicBezTo>
                  <a:pt x="1224" y="213"/>
                  <a:pt x="1224" y="213"/>
                  <a:pt x="1224" y="213"/>
                </a:cubicBezTo>
                <a:cubicBezTo>
                  <a:pt x="1225" y="212"/>
                  <a:pt x="1225" y="212"/>
                  <a:pt x="1225" y="212"/>
                </a:cubicBezTo>
                <a:cubicBezTo>
                  <a:pt x="1225" y="213"/>
                  <a:pt x="1225" y="213"/>
                  <a:pt x="1225" y="213"/>
                </a:cubicBezTo>
                <a:cubicBezTo>
                  <a:pt x="1225" y="214"/>
                  <a:pt x="1225" y="214"/>
                  <a:pt x="1225" y="214"/>
                </a:cubicBezTo>
                <a:cubicBezTo>
                  <a:pt x="1226" y="214"/>
                  <a:pt x="1226" y="214"/>
                  <a:pt x="1226" y="214"/>
                </a:cubicBezTo>
                <a:cubicBezTo>
                  <a:pt x="1227" y="214"/>
                  <a:pt x="1227" y="214"/>
                  <a:pt x="1227" y="214"/>
                </a:cubicBezTo>
                <a:cubicBezTo>
                  <a:pt x="1228" y="212"/>
                  <a:pt x="1228" y="212"/>
                  <a:pt x="1228" y="212"/>
                </a:cubicBezTo>
                <a:cubicBezTo>
                  <a:pt x="1229" y="210"/>
                  <a:pt x="1229" y="210"/>
                  <a:pt x="1229" y="210"/>
                </a:cubicBezTo>
                <a:cubicBezTo>
                  <a:pt x="1229" y="209"/>
                  <a:pt x="1229" y="209"/>
                  <a:pt x="1229" y="209"/>
                </a:cubicBezTo>
                <a:cubicBezTo>
                  <a:pt x="1229" y="208"/>
                  <a:pt x="1229" y="208"/>
                  <a:pt x="1229" y="208"/>
                </a:cubicBezTo>
                <a:cubicBezTo>
                  <a:pt x="1231" y="205"/>
                  <a:pt x="1231" y="205"/>
                  <a:pt x="1231" y="205"/>
                </a:cubicBezTo>
                <a:cubicBezTo>
                  <a:pt x="1233" y="205"/>
                  <a:pt x="1233" y="205"/>
                  <a:pt x="1233" y="205"/>
                </a:cubicBezTo>
                <a:cubicBezTo>
                  <a:pt x="1233" y="204"/>
                  <a:pt x="1233" y="204"/>
                  <a:pt x="1233" y="204"/>
                </a:cubicBezTo>
                <a:cubicBezTo>
                  <a:pt x="1233" y="203"/>
                  <a:pt x="1233" y="203"/>
                  <a:pt x="1233" y="203"/>
                </a:cubicBezTo>
                <a:cubicBezTo>
                  <a:pt x="1233" y="202"/>
                  <a:pt x="1233" y="202"/>
                  <a:pt x="1233" y="202"/>
                </a:cubicBezTo>
                <a:cubicBezTo>
                  <a:pt x="1233" y="202"/>
                  <a:pt x="1233" y="202"/>
                  <a:pt x="1233" y="202"/>
                </a:cubicBezTo>
                <a:cubicBezTo>
                  <a:pt x="1234" y="202"/>
                  <a:pt x="1234" y="202"/>
                  <a:pt x="1234" y="202"/>
                </a:cubicBezTo>
                <a:cubicBezTo>
                  <a:pt x="1235" y="202"/>
                  <a:pt x="1235" y="202"/>
                  <a:pt x="1235" y="202"/>
                </a:cubicBezTo>
                <a:cubicBezTo>
                  <a:pt x="1235" y="202"/>
                  <a:pt x="1235" y="202"/>
                  <a:pt x="1235" y="202"/>
                </a:cubicBezTo>
                <a:cubicBezTo>
                  <a:pt x="1236" y="201"/>
                  <a:pt x="1236" y="201"/>
                  <a:pt x="1236" y="201"/>
                </a:cubicBezTo>
                <a:cubicBezTo>
                  <a:pt x="1236" y="200"/>
                  <a:pt x="1236" y="200"/>
                  <a:pt x="1236" y="200"/>
                </a:cubicBezTo>
                <a:cubicBezTo>
                  <a:pt x="1235" y="199"/>
                  <a:pt x="1235" y="199"/>
                  <a:pt x="1235" y="199"/>
                </a:cubicBezTo>
                <a:cubicBezTo>
                  <a:pt x="1236" y="200"/>
                  <a:pt x="1236" y="200"/>
                  <a:pt x="1236" y="200"/>
                </a:cubicBezTo>
                <a:cubicBezTo>
                  <a:pt x="1237" y="201"/>
                  <a:pt x="1237" y="201"/>
                  <a:pt x="1237" y="201"/>
                </a:cubicBezTo>
                <a:cubicBezTo>
                  <a:pt x="1237" y="200"/>
                  <a:pt x="1237" y="200"/>
                  <a:pt x="1237" y="200"/>
                </a:cubicBezTo>
                <a:cubicBezTo>
                  <a:pt x="1237" y="199"/>
                  <a:pt x="1237" y="199"/>
                  <a:pt x="1237" y="199"/>
                </a:cubicBezTo>
                <a:cubicBezTo>
                  <a:pt x="1237" y="197"/>
                  <a:pt x="1237" y="197"/>
                  <a:pt x="1237" y="197"/>
                </a:cubicBezTo>
                <a:cubicBezTo>
                  <a:pt x="1238" y="197"/>
                  <a:pt x="1238" y="197"/>
                  <a:pt x="1238" y="197"/>
                </a:cubicBezTo>
                <a:cubicBezTo>
                  <a:pt x="1240" y="197"/>
                  <a:pt x="1240" y="197"/>
                  <a:pt x="1240" y="197"/>
                </a:cubicBezTo>
                <a:cubicBezTo>
                  <a:pt x="1240" y="195"/>
                  <a:pt x="1240" y="195"/>
                  <a:pt x="1240" y="195"/>
                </a:cubicBezTo>
                <a:cubicBezTo>
                  <a:pt x="1239" y="195"/>
                  <a:pt x="1239" y="195"/>
                  <a:pt x="1239" y="195"/>
                </a:cubicBezTo>
                <a:cubicBezTo>
                  <a:pt x="1240" y="194"/>
                  <a:pt x="1240" y="194"/>
                  <a:pt x="1240" y="194"/>
                </a:cubicBezTo>
                <a:cubicBezTo>
                  <a:pt x="1241" y="194"/>
                  <a:pt x="1241" y="194"/>
                  <a:pt x="1241" y="194"/>
                </a:cubicBezTo>
                <a:cubicBezTo>
                  <a:pt x="1242" y="194"/>
                  <a:pt x="1242" y="194"/>
                  <a:pt x="1242" y="194"/>
                </a:cubicBezTo>
                <a:cubicBezTo>
                  <a:pt x="1243" y="192"/>
                  <a:pt x="1243" y="192"/>
                  <a:pt x="1243" y="192"/>
                </a:cubicBezTo>
                <a:cubicBezTo>
                  <a:pt x="1245" y="191"/>
                  <a:pt x="1245" y="191"/>
                  <a:pt x="1245" y="191"/>
                </a:cubicBezTo>
                <a:cubicBezTo>
                  <a:pt x="1246" y="191"/>
                  <a:pt x="1246" y="191"/>
                  <a:pt x="1246" y="191"/>
                </a:cubicBezTo>
                <a:cubicBezTo>
                  <a:pt x="1246" y="192"/>
                  <a:pt x="1246" y="192"/>
                  <a:pt x="1246" y="192"/>
                </a:cubicBezTo>
                <a:cubicBezTo>
                  <a:pt x="1247" y="191"/>
                  <a:pt x="1247" y="191"/>
                  <a:pt x="1247" y="191"/>
                </a:cubicBezTo>
                <a:cubicBezTo>
                  <a:pt x="1248" y="190"/>
                  <a:pt x="1248" y="190"/>
                  <a:pt x="1248" y="190"/>
                </a:cubicBezTo>
                <a:cubicBezTo>
                  <a:pt x="1249" y="188"/>
                  <a:pt x="1249" y="188"/>
                  <a:pt x="1249" y="188"/>
                </a:cubicBezTo>
                <a:cubicBezTo>
                  <a:pt x="1249" y="186"/>
                  <a:pt x="1249" y="186"/>
                  <a:pt x="1249" y="186"/>
                </a:cubicBezTo>
                <a:cubicBezTo>
                  <a:pt x="1247" y="185"/>
                  <a:pt x="1247" y="185"/>
                  <a:pt x="1247" y="185"/>
                </a:cubicBezTo>
                <a:cubicBezTo>
                  <a:pt x="1247" y="185"/>
                  <a:pt x="1247" y="185"/>
                  <a:pt x="1247" y="185"/>
                </a:cubicBezTo>
                <a:cubicBezTo>
                  <a:pt x="1248" y="184"/>
                  <a:pt x="1248" y="184"/>
                  <a:pt x="1248" y="184"/>
                </a:cubicBezTo>
                <a:cubicBezTo>
                  <a:pt x="1248" y="182"/>
                  <a:pt x="1248" y="182"/>
                  <a:pt x="1248" y="182"/>
                </a:cubicBezTo>
                <a:cubicBezTo>
                  <a:pt x="1247" y="181"/>
                  <a:pt x="1247" y="181"/>
                  <a:pt x="1247" y="181"/>
                </a:cubicBezTo>
                <a:cubicBezTo>
                  <a:pt x="1246" y="180"/>
                  <a:pt x="1246" y="180"/>
                  <a:pt x="1246" y="180"/>
                </a:cubicBezTo>
                <a:cubicBezTo>
                  <a:pt x="1246" y="178"/>
                  <a:pt x="1246" y="178"/>
                  <a:pt x="1246" y="178"/>
                </a:cubicBezTo>
                <a:cubicBezTo>
                  <a:pt x="1245" y="177"/>
                  <a:pt x="1245" y="177"/>
                  <a:pt x="1245" y="177"/>
                </a:cubicBezTo>
                <a:cubicBezTo>
                  <a:pt x="1245" y="176"/>
                  <a:pt x="1245" y="176"/>
                  <a:pt x="1245" y="176"/>
                </a:cubicBezTo>
                <a:cubicBezTo>
                  <a:pt x="1246" y="176"/>
                  <a:pt x="1246" y="176"/>
                  <a:pt x="1246" y="176"/>
                </a:cubicBezTo>
                <a:cubicBezTo>
                  <a:pt x="1247" y="176"/>
                  <a:pt x="1247" y="176"/>
                  <a:pt x="1247" y="176"/>
                </a:cubicBezTo>
                <a:cubicBezTo>
                  <a:pt x="1247" y="178"/>
                  <a:pt x="1247" y="178"/>
                  <a:pt x="1247" y="178"/>
                </a:cubicBezTo>
                <a:cubicBezTo>
                  <a:pt x="1248" y="179"/>
                  <a:pt x="1248" y="179"/>
                  <a:pt x="1248" y="179"/>
                </a:cubicBezTo>
                <a:cubicBezTo>
                  <a:pt x="1248" y="181"/>
                  <a:pt x="1248" y="181"/>
                  <a:pt x="1248" y="181"/>
                </a:cubicBezTo>
                <a:cubicBezTo>
                  <a:pt x="1249" y="183"/>
                  <a:pt x="1249" y="183"/>
                  <a:pt x="1249" y="183"/>
                </a:cubicBezTo>
                <a:cubicBezTo>
                  <a:pt x="1250" y="183"/>
                  <a:pt x="1250" y="183"/>
                  <a:pt x="1250" y="183"/>
                </a:cubicBezTo>
                <a:cubicBezTo>
                  <a:pt x="1251" y="184"/>
                  <a:pt x="1251" y="184"/>
                  <a:pt x="1251" y="184"/>
                </a:cubicBezTo>
                <a:cubicBezTo>
                  <a:pt x="1251" y="185"/>
                  <a:pt x="1251" y="185"/>
                  <a:pt x="1251" y="185"/>
                </a:cubicBezTo>
                <a:cubicBezTo>
                  <a:pt x="1251" y="187"/>
                  <a:pt x="1251" y="187"/>
                  <a:pt x="1251" y="187"/>
                </a:cubicBezTo>
                <a:cubicBezTo>
                  <a:pt x="1253" y="188"/>
                  <a:pt x="1253" y="188"/>
                  <a:pt x="1253" y="188"/>
                </a:cubicBezTo>
                <a:cubicBezTo>
                  <a:pt x="1254" y="188"/>
                  <a:pt x="1254" y="188"/>
                  <a:pt x="1254" y="188"/>
                </a:cubicBezTo>
                <a:cubicBezTo>
                  <a:pt x="1254" y="187"/>
                  <a:pt x="1254" y="187"/>
                  <a:pt x="1254" y="187"/>
                </a:cubicBezTo>
                <a:cubicBezTo>
                  <a:pt x="1255" y="186"/>
                  <a:pt x="1255" y="186"/>
                  <a:pt x="1255" y="186"/>
                </a:cubicBezTo>
                <a:cubicBezTo>
                  <a:pt x="1255" y="186"/>
                  <a:pt x="1255" y="186"/>
                  <a:pt x="1255" y="186"/>
                </a:cubicBezTo>
                <a:cubicBezTo>
                  <a:pt x="1256" y="187"/>
                  <a:pt x="1256" y="187"/>
                  <a:pt x="1256" y="187"/>
                </a:cubicBezTo>
                <a:cubicBezTo>
                  <a:pt x="1258" y="188"/>
                  <a:pt x="1258" y="188"/>
                  <a:pt x="1258" y="188"/>
                </a:cubicBezTo>
                <a:cubicBezTo>
                  <a:pt x="1259" y="187"/>
                  <a:pt x="1259" y="187"/>
                  <a:pt x="1259" y="187"/>
                </a:cubicBezTo>
                <a:cubicBezTo>
                  <a:pt x="1260" y="186"/>
                  <a:pt x="1260" y="186"/>
                  <a:pt x="1260" y="186"/>
                </a:cubicBezTo>
                <a:cubicBezTo>
                  <a:pt x="1261" y="187"/>
                  <a:pt x="1261" y="187"/>
                  <a:pt x="1261" y="187"/>
                </a:cubicBezTo>
                <a:cubicBezTo>
                  <a:pt x="1262" y="187"/>
                  <a:pt x="1262" y="187"/>
                  <a:pt x="1262" y="187"/>
                </a:cubicBezTo>
                <a:cubicBezTo>
                  <a:pt x="1263" y="186"/>
                  <a:pt x="1263" y="186"/>
                  <a:pt x="1263" y="186"/>
                </a:cubicBezTo>
                <a:cubicBezTo>
                  <a:pt x="1263" y="185"/>
                  <a:pt x="1263" y="185"/>
                  <a:pt x="1263" y="185"/>
                </a:cubicBezTo>
                <a:cubicBezTo>
                  <a:pt x="1264" y="185"/>
                  <a:pt x="1264" y="185"/>
                  <a:pt x="1264" y="185"/>
                </a:cubicBezTo>
                <a:cubicBezTo>
                  <a:pt x="1264" y="184"/>
                  <a:pt x="1264" y="184"/>
                  <a:pt x="1264" y="184"/>
                </a:cubicBezTo>
                <a:cubicBezTo>
                  <a:pt x="1265" y="183"/>
                  <a:pt x="1265" y="183"/>
                  <a:pt x="1265" y="183"/>
                </a:cubicBezTo>
                <a:cubicBezTo>
                  <a:pt x="1266" y="184"/>
                  <a:pt x="1266" y="184"/>
                  <a:pt x="1266" y="184"/>
                </a:cubicBezTo>
                <a:cubicBezTo>
                  <a:pt x="1268" y="186"/>
                  <a:pt x="1268" y="186"/>
                  <a:pt x="1268" y="186"/>
                </a:cubicBezTo>
                <a:cubicBezTo>
                  <a:pt x="1269" y="187"/>
                  <a:pt x="1269" y="187"/>
                  <a:pt x="1269" y="187"/>
                </a:cubicBezTo>
                <a:cubicBezTo>
                  <a:pt x="1270" y="187"/>
                  <a:pt x="1270" y="187"/>
                  <a:pt x="1270" y="187"/>
                </a:cubicBezTo>
                <a:cubicBezTo>
                  <a:pt x="1270" y="186"/>
                  <a:pt x="1270" y="186"/>
                  <a:pt x="1270" y="186"/>
                </a:cubicBezTo>
                <a:cubicBezTo>
                  <a:pt x="1271" y="186"/>
                  <a:pt x="1271" y="186"/>
                  <a:pt x="1271" y="186"/>
                </a:cubicBezTo>
                <a:cubicBezTo>
                  <a:pt x="1272" y="184"/>
                  <a:pt x="1272" y="184"/>
                  <a:pt x="1272" y="184"/>
                </a:cubicBezTo>
                <a:cubicBezTo>
                  <a:pt x="1272" y="184"/>
                  <a:pt x="1272" y="184"/>
                  <a:pt x="1272" y="184"/>
                </a:cubicBezTo>
                <a:cubicBezTo>
                  <a:pt x="1273" y="184"/>
                  <a:pt x="1273" y="184"/>
                  <a:pt x="1273" y="184"/>
                </a:cubicBezTo>
                <a:cubicBezTo>
                  <a:pt x="1273" y="184"/>
                  <a:pt x="1273" y="184"/>
                  <a:pt x="1273" y="184"/>
                </a:cubicBezTo>
                <a:cubicBezTo>
                  <a:pt x="1274" y="183"/>
                  <a:pt x="1274" y="183"/>
                  <a:pt x="1274" y="183"/>
                </a:cubicBezTo>
                <a:cubicBezTo>
                  <a:pt x="1274" y="183"/>
                  <a:pt x="1274" y="183"/>
                  <a:pt x="1274" y="183"/>
                </a:cubicBezTo>
                <a:cubicBezTo>
                  <a:pt x="1275" y="184"/>
                  <a:pt x="1275" y="184"/>
                  <a:pt x="1275" y="184"/>
                </a:cubicBezTo>
                <a:cubicBezTo>
                  <a:pt x="1276" y="184"/>
                  <a:pt x="1276" y="184"/>
                  <a:pt x="1276" y="184"/>
                </a:cubicBezTo>
                <a:cubicBezTo>
                  <a:pt x="1276" y="183"/>
                  <a:pt x="1276" y="183"/>
                  <a:pt x="1276" y="183"/>
                </a:cubicBezTo>
                <a:cubicBezTo>
                  <a:pt x="1276" y="182"/>
                  <a:pt x="1276" y="182"/>
                  <a:pt x="1276" y="182"/>
                </a:cubicBezTo>
                <a:cubicBezTo>
                  <a:pt x="1277" y="182"/>
                  <a:pt x="1277" y="182"/>
                  <a:pt x="1277" y="182"/>
                </a:cubicBezTo>
                <a:cubicBezTo>
                  <a:pt x="1279" y="182"/>
                  <a:pt x="1279" y="182"/>
                  <a:pt x="1279" y="182"/>
                </a:cubicBezTo>
                <a:cubicBezTo>
                  <a:pt x="1280" y="181"/>
                  <a:pt x="1280" y="181"/>
                  <a:pt x="1280" y="181"/>
                </a:cubicBezTo>
                <a:cubicBezTo>
                  <a:pt x="1280" y="180"/>
                  <a:pt x="1280" y="180"/>
                  <a:pt x="1280" y="180"/>
                </a:cubicBezTo>
                <a:cubicBezTo>
                  <a:pt x="1280" y="180"/>
                  <a:pt x="1280" y="180"/>
                  <a:pt x="1280" y="180"/>
                </a:cubicBezTo>
                <a:cubicBezTo>
                  <a:pt x="1280" y="181"/>
                  <a:pt x="1280" y="181"/>
                  <a:pt x="1280" y="181"/>
                </a:cubicBezTo>
                <a:cubicBezTo>
                  <a:pt x="1281" y="182"/>
                  <a:pt x="1281" y="182"/>
                  <a:pt x="1281" y="182"/>
                </a:cubicBezTo>
                <a:cubicBezTo>
                  <a:pt x="1282" y="181"/>
                  <a:pt x="1282" y="181"/>
                  <a:pt x="1282" y="181"/>
                </a:cubicBezTo>
                <a:cubicBezTo>
                  <a:pt x="1283" y="179"/>
                  <a:pt x="1283" y="179"/>
                  <a:pt x="1283" y="179"/>
                </a:cubicBezTo>
                <a:cubicBezTo>
                  <a:pt x="1283" y="180"/>
                  <a:pt x="1283" y="180"/>
                  <a:pt x="1283" y="180"/>
                </a:cubicBezTo>
                <a:cubicBezTo>
                  <a:pt x="1284" y="181"/>
                  <a:pt x="1284" y="181"/>
                  <a:pt x="1284" y="181"/>
                </a:cubicBezTo>
                <a:cubicBezTo>
                  <a:pt x="1285" y="181"/>
                  <a:pt x="1285" y="181"/>
                  <a:pt x="1285" y="181"/>
                </a:cubicBezTo>
                <a:cubicBezTo>
                  <a:pt x="1286" y="179"/>
                  <a:pt x="1286" y="179"/>
                  <a:pt x="1286" y="179"/>
                </a:cubicBezTo>
                <a:cubicBezTo>
                  <a:pt x="1287" y="179"/>
                  <a:pt x="1287" y="179"/>
                  <a:pt x="1287" y="179"/>
                </a:cubicBezTo>
                <a:cubicBezTo>
                  <a:pt x="1287" y="180"/>
                  <a:pt x="1287" y="180"/>
                  <a:pt x="1287" y="180"/>
                </a:cubicBezTo>
                <a:cubicBezTo>
                  <a:pt x="1288" y="180"/>
                  <a:pt x="1288" y="180"/>
                  <a:pt x="1288" y="180"/>
                </a:cubicBezTo>
                <a:cubicBezTo>
                  <a:pt x="1289" y="180"/>
                  <a:pt x="1289" y="180"/>
                  <a:pt x="1289" y="180"/>
                </a:cubicBezTo>
                <a:cubicBezTo>
                  <a:pt x="1290" y="179"/>
                  <a:pt x="1290" y="179"/>
                  <a:pt x="1290" y="179"/>
                </a:cubicBezTo>
                <a:cubicBezTo>
                  <a:pt x="1291" y="179"/>
                  <a:pt x="1291" y="179"/>
                  <a:pt x="1291" y="179"/>
                </a:cubicBezTo>
                <a:cubicBezTo>
                  <a:pt x="1292" y="179"/>
                  <a:pt x="1292" y="179"/>
                  <a:pt x="1292" y="179"/>
                </a:cubicBezTo>
                <a:cubicBezTo>
                  <a:pt x="1294" y="178"/>
                  <a:pt x="1294" y="178"/>
                  <a:pt x="1294" y="178"/>
                </a:cubicBezTo>
                <a:cubicBezTo>
                  <a:pt x="1295" y="178"/>
                  <a:pt x="1295" y="178"/>
                  <a:pt x="1295" y="178"/>
                </a:cubicBezTo>
                <a:cubicBezTo>
                  <a:pt x="1296" y="179"/>
                  <a:pt x="1296" y="179"/>
                  <a:pt x="1296" y="179"/>
                </a:cubicBezTo>
                <a:cubicBezTo>
                  <a:pt x="1296" y="179"/>
                  <a:pt x="1296" y="179"/>
                  <a:pt x="1296" y="179"/>
                </a:cubicBezTo>
                <a:cubicBezTo>
                  <a:pt x="1297" y="177"/>
                  <a:pt x="1297" y="177"/>
                  <a:pt x="1297" y="177"/>
                </a:cubicBezTo>
                <a:cubicBezTo>
                  <a:pt x="1298" y="176"/>
                  <a:pt x="1298" y="176"/>
                  <a:pt x="1298" y="176"/>
                </a:cubicBezTo>
                <a:cubicBezTo>
                  <a:pt x="1300" y="176"/>
                  <a:pt x="1300" y="176"/>
                  <a:pt x="1300" y="176"/>
                </a:cubicBezTo>
                <a:cubicBezTo>
                  <a:pt x="1301" y="175"/>
                  <a:pt x="1301" y="175"/>
                  <a:pt x="1301" y="175"/>
                </a:cubicBezTo>
                <a:cubicBezTo>
                  <a:pt x="1302" y="175"/>
                  <a:pt x="1302" y="175"/>
                  <a:pt x="1302" y="175"/>
                </a:cubicBezTo>
                <a:cubicBezTo>
                  <a:pt x="1303" y="174"/>
                  <a:pt x="1303" y="174"/>
                  <a:pt x="1303" y="174"/>
                </a:cubicBezTo>
                <a:cubicBezTo>
                  <a:pt x="1303" y="173"/>
                  <a:pt x="1303" y="173"/>
                  <a:pt x="1303" y="173"/>
                </a:cubicBezTo>
                <a:cubicBezTo>
                  <a:pt x="1303" y="172"/>
                  <a:pt x="1303" y="172"/>
                  <a:pt x="1303" y="172"/>
                </a:cubicBezTo>
                <a:cubicBezTo>
                  <a:pt x="1303" y="171"/>
                  <a:pt x="1303" y="171"/>
                  <a:pt x="1303" y="171"/>
                </a:cubicBezTo>
                <a:lnTo>
                  <a:pt x="1304" y="171"/>
                </a:lnTo>
                <a:close/>
                <a:moveTo>
                  <a:pt x="1370" y="3"/>
                </a:moveTo>
                <a:cubicBezTo>
                  <a:pt x="1370" y="2"/>
                  <a:pt x="1370" y="2"/>
                  <a:pt x="1370" y="2"/>
                </a:cubicBezTo>
                <a:cubicBezTo>
                  <a:pt x="1371" y="3"/>
                  <a:pt x="1371" y="3"/>
                  <a:pt x="1371" y="3"/>
                </a:cubicBezTo>
                <a:cubicBezTo>
                  <a:pt x="1372" y="4"/>
                  <a:pt x="1372" y="4"/>
                  <a:pt x="1372" y="4"/>
                </a:cubicBezTo>
                <a:cubicBezTo>
                  <a:pt x="1374" y="5"/>
                  <a:pt x="1374" y="5"/>
                  <a:pt x="1374" y="5"/>
                </a:cubicBezTo>
                <a:cubicBezTo>
                  <a:pt x="1375" y="6"/>
                  <a:pt x="1375" y="6"/>
                  <a:pt x="1375" y="6"/>
                </a:cubicBezTo>
                <a:cubicBezTo>
                  <a:pt x="1376" y="7"/>
                  <a:pt x="1376" y="7"/>
                  <a:pt x="1376" y="7"/>
                </a:cubicBezTo>
                <a:cubicBezTo>
                  <a:pt x="1376" y="6"/>
                  <a:pt x="1376" y="6"/>
                  <a:pt x="1376" y="6"/>
                </a:cubicBezTo>
                <a:cubicBezTo>
                  <a:pt x="1377" y="4"/>
                  <a:pt x="1377" y="4"/>
                  <a:pt x="1377" y="4"/>
                </a:cubicBezTo>
                <a:cubicBezTo>
                  <a:pt x="1377" y="3"/>
                  <a:pt x="1377" y="3"/>
                  <a:pt x="1377" y="3"/>
                </a:cubicBezTo>
                <a:cubicBezTo>
                  <a:pt x="1378" y="0"/>
                  <a:pt x="1378" y="0"/>
                  <a:pt x="1378" y="0"/>
                </a:cubicBezTo>
                <a:cubicBezTo>
                  <a:pt x="1368" y="0"/>
                  <a:pt x="1368" y="0"/>
                  <a:pt x="1368" y="0"/>
                </a:cubicBezTo>
                <a:cubicBezTo>
                  <a:pt x="1368" y="2"/>
                  <a:pt x="1368" y="2"/>
                  <a:pt x="1368" y="2"/>
                </a:cubicBezTo>
                <a:cubicBezTo>
                  <a:pt x="1368" y="2"/>
                  <a:pt x="1368" y="2"/>
                  <a:pt x="1368" y="2"/>
                </a:cubicBezTo>
                <a:lnTo>
                  <a:pt x="1370" y="3"/>
                </a:lnTo>
                <a:close/>
                <a:moveTo>
                  <a:pt x="3232" y="1495"/>
                </a:moveTo>
                <a:cubicBezTo>
                  <a:pt x="3231" y="1495"/>
                  <a:pt x="3231" y="1495"/>
                  <a:pt x="3231" y="1495"/>
                </a:cubicBezTo>
                <a:cubicBezTo>
                  <a:pt x="3232" y="1496"/>
                  <a:pt x="3232" y="1496"/>
                  <a:pt x="3232" y="1496"/>
                </a:cubicBezTo>
                <a:lnTo>
                  <a:pt x="3232" y="1495"/>
                </a:lnTo>
                <a:close/>
                <a:moveTo>
                  <a:pt x="3229" y="1505"/>
                </a:moveTo>
                <a:cubicBezTo>
                  <a:pt x="3230" y="1505"/>
                  <a:pt x="3230" y="1505"/>
                  <a:pt x="3230" y="1505"/>
                </a:cubicBezTo>
                <a:cubicBezTo>
                  <a:pt x="3230" y="1504"/>
                  <a:pt x="3230" y="1504"/>
                  <a:pt x="3230" y="1504"/>
                </a:cubicBezTo>
                <a:cubicBezTo>
                  <a:pt x="3229" y="1504"/>
                  <a:pt x="3229" y="1504"/>
                  <a:pt x="3229" y="1504"/>
                </a:cubicBezTo>
                <a:lnTo>
                  <a:pt x="3229" y="1505"/>
                </a:lnTo>
                <a:close/>
                <a:moveTo>
                  <a:pt x="1906" y="57"/>
                </a:moveTo>
                <a:cubicBezTo>
                  <a:pt x="1907" y="56"/>
                  <a:pt x="1907" y="56"/>
                  <a:pt x="1907" y="56"/>
                </a:cubicBezTo>
                <a:cubicBezTo>
                  <a:pt x="1907" y="55"/>
                  <a:pt x="1907" y="55"/>
                  <a:pt x="1907" y="55"/>
                </a:cubicBezTo>
                <a:cubicBezTo>
                  <a:pt x="1908" y="54"/>
                  <a:pt x="1908" y="54"/>
                  <a:pt x="1908" y="54"/>
                </a:cubicBezTo>
                <a:cubicBezTo>
                  <a:pt x="1911" y="52"/>
                  <a:pt x="1911" y="52"/>
                  <a:pt x="1911" y="52"/>
                </a:cubicBezTo>
                <a:cubicBezTo>
                  <a:pt x="1913" y="51"/>
                  <a:pt x="1913" y="51"/>
                  <a:pt x="1913" y="51"/>
                </a:cubicBezTo>
                <a:cubicBezTo>
                  <a:pt x="1915" y="52"/>
                  <a:pt x="1915" y="52"/>
                  <a:pt x="1915" y="52"/>
                </a:cubicBezTo>
                <a:cubicBezTo>
                  <a:pt x="1916" y="52"/>
                  <a:pt x="1916" y="52"/>
                  <a:pt x="1916" y="52"/>
                </a:cubicBezTo>
                <a:cubicBezTo>
                  <a:pt x="1916" y="53"/>
                  <a:pt x="1916" y="53"/>
                  <a:pt x="1916" y="53"/>
                </a:cubicBezTo>
                <a:cubicBezTo>
                  <a:pt x="1915" y="53"/>
                  <a:pt x="1915" y="53"/>
                  <a:pt x="1915" y="53"/>
                </a:cubicBezTo>
                <a:cubicBezTo>
                  <a:pt x="1914" y="52"/>
                  <a:pt x="1914" y="52"/>
                  <a:pt x="1914" y="52"/>
                </a:cubicBezTo>
                <a:cubicBezTo>
                  <a:pt x="1913" y="52"/>
                  <a:pt x="1913" y="52"/>
                  <a:pt x="1913" y="52"/>
                </a:cubicBezTo>
                <a:cubicBezTo>
                  <a:pt x="1912" y="54"/>
                  <a:pt x="1912" y="54"/>
                  <a:pt x="1912" y="54"/>
                </a:cubicBezTo>
                <a:cubicBezTo>
                  <a:pt x="1909" y="55"/>
                  <a:pt x="1909" y="55"/>
                  <a:pt x="1909" y="55"/>
                </a:cubicBezTo>
                <a:cubicBezTo>
                  <a:pt x="1908" y="57"/>
                  <a:pt x="1908" y="57"/>
                  <a:pt x="1908" y="57"/>
                </a:cubicBezTo>
                <a:cubicBezTo>
                  <a:pt x="1908" y="59"/>
                  <a:pt x="1908" y="59"/>
                  <a:pt x="1908" y="59"/>
                </a:cubicBezTo>
                <a:cubicBezTo>
                  <a:pt x="1908" y="60"/>
                  <a:pt x="1908" y="60"/>
                  <a:pt x="1908" y="60"/>
                </a:cubicBezTo>
                <a:cubicBezTo>
                  <a:pt x="1908" y="61"/>
                  <a:pt x="1908" y="61"/>
                  <a:pt x="1908" y="61"/>
                </a:cubicBezTo>
                <a:cubicBezTo>
                  <a:pt x="1908" y="61"/>
                  <a:pt x="1908" y="62"/>
                  <a:pt x="1908" y="62"/>
                </a:cubicBezTo>
                <a:cubicBezTo>
                  <a:pt x="1911" y="62"/>
                  <a:pt x="1911" y="62"/>
                  <a:pt x="1911" y="62"/>
                </a:cubicBezTo>
                <a:cubicBezTo>
                  <a:pt x="1914" y="61"/>
                  <a:pt x="1914" y="61"/>
                  <a:pt x="1914" y="61"/>
                </a:cubicBezTo>
                <a:cubicBezTo>
                  <a:pt x="1916" y="60"/>
                  <a:pt x="1916" y="60"/>
                  <a:pt x="1916" y="60"/>
                </a:cubicBezTo>
                <a:cubicBezTo>
                  <a:pt x="1918" y="60"/>
                  <a:pt x="1918" y="60"/>
                  <a:pt x="1918" y="60"/>
                </a:cubicBezTo>
                <a:cubicBezTo>
                  <a:pt x="1919" y="61"/>
                  <a:pt x="1919" y="61"/>
                  <a:pt x="1919" y="61"/>
                </a:cubicBezTo>
                <a:cubicBezTo>
                  <a:pt x="1921" y="62"/>
                  <a:pt x="1921" y="62"/>
                  <a:pt x="1921" y="62"/>
                </a:cubicBezTo>
                <a:cubicBezTo>
                  <a:pt x="1923" y="61"/>
                  <a:pt x="1923" y="61"/>
                  <a:pt x="1923" y="61"/>
                </a:cubicBezTo>
                <a:cubicBezTo>
                  <a:pt x="1922" y="60"/>
                  <a:pt x="1922" y="60"/>
                  <a:pt x="1922" y="60"/>
                </a:cubicBezTo>
                <a:cubicBezTo>
                  <a:pt x="1922" y="58"/>
                  <a:pt x="1922" y="58"/>
                  <a:pt x="1922" y="58"/>
                </a:cubicBezTo>
                <a:cubicBezTo>
                  <a:pt x="1923" y="59"/>
                  <a:pt x="1923" y="59"/>
                  <a:pt x="1923" y="59"/>
                </a:cubicBezTo>
                <a:cubicBezTo>
                  <a:pt x="1924" y="61"/>
                  <a:pt x="1924" y="61"/>
                  <a:pt x="1924" y="61"/>
                </a:cubicBezTo>
                <a:cubicBezTo>
                  <a:pt x="1926" y="61"/>
                  <a:pt x="1926" y="61"/>
                  <a:pt x="1926" y="61"/>
                </a:cubicBezTo>
                <a:cubicBezTo>
                  <a:pt x="1928" y="61"/>
                  <a:pt x="1928" y="61"/>
                  <a:pt x="1928" y="61"/>
                </a:cubicBezTo>
                <a:cubicBezTo>
                  <a:pt x="1929" y="60"/>
                  <a:pt x="1929" y="60"/>
                  <a:pt x="1929" y="60"/>
                </a:cubicBezTo>
                <a:cubicBezTo>
                  <a:pt x="1930" y="60"/>
                  <a:pt x="1930" y="60"/>
                  <a:pt x="1930" y="60"/>
                </a:cubicBezTo>
                <a:cubicBezTo>
                  <a:pt x="1932" y="57"/>
                  <a:pt x="1932" y="57"/>
                  <a:pt x="1932" y="57"/>
                </a:cubicBezTo>
                <a:cubicBezTo>
                  <a:pt x="1931" y="55"/>
                  <a:pt x="1931" y="55"/>
                  <a:pt x="1931" y="55"/>
                </a:cubicBezTo>
                <a:cubicBezTo>
                  <a:pt x="1933" y="53"/>
                  <a:pt x="1933" y="53"/>
                  <a:pt x="1933" y="53"/>
                </a:cubicBezTo>
                <a:cubicBezTo>
                  <a:pt x="1933" y="51"/>
                  <a:pt x="1933" y="51"/>
                  <a:pt x="1933" y="51"/>
                </a:cubicBezTo>
                <a:cubicBezTo>
                  <a:pt x="1932" y="50"/>
                  <a:pt x="1932" y="50"/>
                  <a:pt x="1932" y="50"/>
                </a:cubicBezTo>
                <a:cubicBezTo>
                  <a:pt x="1930" y="48"/>
                  <a:pt x="1930" y="48"/>
                  <a:pt x="1930" y="48"/>
                </a:cubicBezTo>
                <a:cubicBezTo>
                  <a:pt x="1929" y="47"/>
                  <a:pt x="1929" y="47"/>
                  <a:pt x="1929" y="47"/>
                </a:cubicBezTo>
                <a:cubicBezTo>
                  <a:pt x="1927" y="47"/>
                  <a:pt x="1927" y="47"/>
                  <a:pt x="1927" y="47"/>
                </a:cubicBezTo>
                <a:cubicBezTo>
                  <a:pt x="1926" y="46"/>
                  <a:pt x="1926" y="46"/>
                  <a:pt x="1926" y="46"/>
                </a:cubicBezTo>
                <a:cubicBezTo>
                  <a:pt x="1928" y="46"/>
                  <a:pt x="1928" y="46"/>
                  <a:pt x="1928" y="46"/>
                </a:cubicBezTo>
                <a:cubicBezTo>
                  <a:pt x="1929" y="46"/>
                  <a:pt x="1929" y="46"/>
                  <a:pt x="1929" y="46"/>
                </a:cubicBezTo>
                <a:cubicBezTo>
                  <a:pt x="1931" y="46"/>
                  <a:pt x="1931" y="46"/>
                  <a:pt x="1931" y="46"/>
                </a:cubicBezTo>
                <a:cubicBezTo>
                  <a:pt x="1932" y="47"/>
                  <a:pt x="1932" y="47"/>
                  <a:pt x="1932" y="47"/>
                </a:cubicBezTo>
                <a:cubicBezTo>
                  <a:pt x="1932" y="48"/>
                  <a:pt x="1932" y="48"/>
                  <a:pt x="1932" y="48"/>
                </a:cubicBezTo>
                <a:cubicBezTo>
                  <a:pt x="1933" y="49"/>
                  <a:pt x="1933" y="49"/>
                  <a:pt x="1933" y="49"/>
                </a:cubicBezTo>
                <a:cubicBezTo>
                  <a:pt x="1934" y="48"/>
                  <a:pt x="1934" y="48"/>
                  <a:pt x="1934" y="48"/>
                </a:cubicBezTo>
                <a:cubicBezTo>
                  <a:pt x="1933" y="45"/>
                  <a:pt x="1933" y="45"/>
                  <a:pt x="1933" y="45"/>
                </a:cubicBezTo>
                <a:cubicBezTo>
                  <a:pt x="1931" y="42"/>
                  <a:pt x="1931" y="42"/>
                  <a:pt x="1931" y="42"/>
                </a:cubicBezTo>
                <a:cubicBezTo>
                  <a:pt x="1929" y="39"/>
                  <a:pt x="1929" y="39"/>
                  <a:pt x="1929" y="39"/>
                </a:cubicBezTo>
                <a:cubicBezTo>
                  <a:pt x="1929" y="38"/>
                  <a:pt x="1929" y="38"/>
                  <a:pt x="1929" y="38"/>
                </a:cubicBezTo>
                <a:cubicBezTo>
                  <a:pt x="1931" y="40"/>
                  <a:pt x="1931" y="40"/>
                  <a:pt x="1931" y="40"/>
                </a:cubicBezTo>
                <a:cubicBezTo>
                  <a:pt x="1931" y="41"/>
                  <a:pt x="1931" y="41"/>
                  <a:pt x="1931" y="41"/>
                </a:cubicBezTo>
                <a:cubicBezTo>
                  <a:pt x="1933" y="42"/>
                  <a:pt x="1933" y="42"/>
                  <a:pt x="1933" y="42"/>
                </a:cubicBezTo>
                <a:cubicBezTo>
                  <a:pt x="1935" y="42"/>
                  <a:pt x="1935" y="42"/>
                  <a:pt x="1935" y="42"/>
                </a:cubicBezTo>
                <a:cubicBezTo>
                  <a:pt x="1935" y="41"/>
                  <a:pt x="1935" y="41"/>
                  <a:pt x="1935" y="41"/>
                </a:cubicBezTo>
                <a:cubicBezTo>
                  <a:pt x="1935" y="40"/>
                  <a:pt x="1935" y="40"/>
                  <a:pt x="1935" y="40"/>
                </a:cubicBezTo>
                <a:cubicBezTo>
                  <a:pt x="1934" y="39"/>
                  <a:pt x="1934" y="39"/>
                  <a:pt x="1934" y="39"/>
                </a:cubicBezTo>
                <a:cubicBezTo>
                  <a:pt x="1934" y="38"/>
                  <a:pt x="1934" y="38"/>
                  <a:pt x="1934" y="38"/>
                </a:cubicBezTo>
                <a:cubicBezTo>
                  <a:pt x="1935" y="36"/>
                  <a:pt x="1935" y="36"/>
                  <a:pt x="1935" y="36"/>
                </a:cubicBezTo>
                <a:cubicBezTo>
                  <a:pt x="1935" y="34"/>
                  <a:pt x="1935" y="34"/>
                  <a:pt x="1935" y="34"/>
                </a:cubicBezTo>
                <a:cubicBezTo>
                  <a:pt x="1934" y="32"/>
                  <a:pt x="1934" y="32"/>
                  <a:pt x="1934" y="32"/>
                </a:cubicBezTo>
                <a:cubicBezTo>
                  <a:pt x="1932" y="29"/>
                  <a:pt x="1932" y="29"/>
                  <a:pt x="1932" y="29"/>
                </a:cubicBezTo>
                <a:cubicBezTo>
                  <a:pt x="1933" y="29"/>
                  <a:pt x="1933" y="29"/>
                  <a:pt x="1933" y="29"/>
                </a:cubicBezTo>
                <a:cubicBezTo>
                  <a:pt x="1935" y="31"/>
                  <a:pt x="1935" y="31"/>
                  <a:pt x="1935" y="31"/>
                </a:cubicBezTo>
                <a:cubicBezTo>
                  <a:pt x="1936" y="30"/>
                  <a:pt x="1936" y="30"/>
                  <a:pt x="1936" y="30"/>
                </a:cubicBezTo>
                <a:cubicBezTo>
                  <a:pt x="1937" y="28"/>
                  <a:pt x="1937" y="28"/>
                  <a:pt x="1937" y="28"/>
                </a:cubicBezTo>
                <a:cubicBezTo>
                  <a:pt x="1936" y="28"/>
                  <a:pt x="1936" y="28"/>
                  <a:pt x="1936" y="28"/>
                </a:cubicBezTo>
                <a:cubicBezTo>
                  <a:pt x="1935" y="28"/>
                  <a:pt x="1935" y="28"/>
                  <a:pt x="1935" y="28"/>
                </a:cubicBezTo>
                <a:cubicBezTo>
                  <a:pt x="1935" y="25"/>
                  <a:pt x="1935" y="25"/>
                  <a:pt x="1935" y="25"/>
                </a:cubicBezTo>
                <a:cubicBezTo>
                  <a:pt x="1936" y="25"/>
                  <a:pt x="1936" y="25"/>
                  <a:pt x="1936" y="25"/>
                </a:cubicBezTo>
                <a:cubicBezTo>
                  <a:pt x="1938" y="26"/>
                  <a:pt x="1938" y="26"/>
                  <a:pt x="1938" y="26"/>
                </a:cubicBezTo>
                <a:cubicBezTo>
                  <a:pt x="1941" y="27"/>
                  <a:pt x="1941" y="27"/>
                  <a:pt x="1941" y="27"/>
                </a:cubicBezTo>
                <a:cubicBezTo>
                  <a:pt x="1942" y="26"/>
                  <a:pt x="1942" y="26"/>
                  <a:pt x="1942" y="26"/>
                </a:cubicBezTo>
                <a:cubicBezTo>
                  <a:pt x="1940" y="25"/>
                  <a:pt x="1940" y="25"/>
                  <a:pt x="1940" y="25"/>
                </a:cubicBezTo>
                <a:cubicBezTo>
                  <a:pt x="1940" y="24"/>
                  <a:pt x="1940" y="24"/>
                  <a:pt x="1940" y="24"/>
                </a:cubicBezTo>
                <a:cubicBezTo>
                  <a:pt x="1942" y="24"/>
                  <a:pt x="1942" y="24"/>
                  <a:pt x="1942" y="24"/>
                </a:cubicBezTo>
                <a:cubicBezTo>
                  <a:pt x="1943" y="24"/>
                  <a:pt x="1943" y="24"/>
                  <a:pt x="1943" y="24"/>
                </a:cubicBezTo>
                <a:cubicBezTo>
                  <a:pt x="1944" y="23"/>
                  <a:pt x="1944" y="23"/>
                  <a:pt x="1944" y="23"/>
                </a:cubicBezTo>
                <a:cubicBezTo>
                  <a:pt x="1944" y="21"/>
                  <a:pt x="1944" y="21"/>
                  <a:pt x="1944" y="21"/>
                </a:cubicBezTo>
                <a:cubicBezTo>
                  <a:pt x="1944" y="20"/>
                  <a:pt x="1944" y="20"/>
                  <a:pt x="1944" y="20"/>
                </a:cubicBezTo>
                <a:cubicBezTo>
                  <a:pt x="1944" y="19"/>
                  <a:pt x="1944" y="19"/>
                  <a:pt x="1944" y="19"/>
                </a:cubicBezTo>
                <a:cubicBezTo>
                  <a:pt x="1947" y="18"/>
                  <a:pt x="1947" y="18"/>
                  <a:pt x="1947" y="18"/>
                </a:cubicBezTo>
                <a:cubicBezTo>
                  <a:pt x="1947" y="17"/>
                  <a:pt x="1947" y="17"/>
                  <a:pt x="1947" y="17"/>
                </a:cubicBezTo>
                <a:cubicBezTo>
                  <a:pt x="1945" y="16"/>
                  <a:pt x="1945" y="16"/>
                  <a:pt x="1945" y="16"/>
                </a:cubicBezTo>
                <a:cubicBezTo>
                  <a:pt x="1945" y="14"/>
                  <a:pt x="1945" y="14"/>
                  <a:pt x="1945" y="14"/>
                </a:cubicBezTo>
                <a:cubicBezTo>
                  <a:pt x="1946" y="12"/>
                  <a:pt x="1946" y="12"/>
                  <a:pt x="1946" y="12"/>
                </a:cubicBezTo>
                <a:cubicBezTo>
                  <a:pt x="1947" y="14"/>
                  <a:pt x="1947" y="14"/>
                  <a:pt x="1947" y="14"/>
                </a:cubicBezTo>
                <a:cubicBezTo>
                  <a:pt x="1948" y="13"/>
                  <a:pt x="1948" y="13"/>
                  <a:pt x="1948" y="13"/>
                </a:cubicBezTo>
                <a:cubicBezTo>
                  <a:pt x="1951" y="10"/>
                  <a:pt x="1951" y="10"/>
                  <a:pt x="1951" y="10"/>
                </a:cubicBezTo>
                <a:cubicBezTo>
                  <a:pt x="1951" y="7"/>
                  <a:pt x="1951" y="7"/>
                  <a:pt x="1951" y="7"/>
                </a:cubicBezTo>
                <a:cubicBezTo>
                  <a:pt x="1953" y="6"/>
                  <a:pt x="1953" y="6"/>
                  <a:pt x="1953" y="6"/>
                </a:cubicBezTo>
                <a:cubicBezTo>
                  <a:pt x="1953" y="4"/>
                  <a:pt x="1953" y="4"/>
                  <a:pt x="1953" y="4"/>
                </a:cubicBezTo>
                <a:cubicBezTo>
                  <a:pt x="1956" y="2"/>
                  <a:pt x="1956" y="2"/>
                  <a:pt x="1956" y="2"/>
                </a:cubicBezTo>
                <a:cubicBezTo>
                  <a:pt x="1957" y="0"/>
                  <a:pt x="1957" y="0"/>
                  <a:pt x="1957" y="0"/>
                </a:cubicBezTo>
                <a:cubicBezTo>
                  <a:pt x="1921" y="0"/>
                  <a:pt x="1921" y="0"/>
                  <a:pt x="1921" y="0"/>
                </a:cubicBezTo>
                <a:cubicBezTo>
                  <a:pt x="1921" y="1"/>
                  <a:pt x="1921" y="1"/>
                  <a:pt x="1921" y="1"/>
                </a:cubicBezTo>
                <a:cubicBezTo>
                  <a:pt x="1922" y="2"/>
                  <a:pt x="1922" y="2"/>
                  <a:pt x="1922" y="2"/>
                </a:cubicBezTo>
                <a:cubicBezTo>
                  <a:pt x="1923" y="2"/>
                  <a:pt x="1923" y="2"/>
                  <a:pt x="1923" y="2"/>
                </a:cubicBezTo>
                <a:cubicBezTo>
                  <a:pt x="1921" y="3"/>
                  <a:pt x="1921" y="3"/>
                  <a:pt x="1921" y="3"/>
                </a:cubicBezTo>
                <a:cubicBezTo>
                  <a:pt x="1918" y="3"/>
                  <a:pt x="1918" y="3"/>
                  <a:pt x="1918" y="3"/>
                </a:cubicBezTo>
                <a:cubicBezTo>
                  <a:pt x="1917" y="4"/>
                  <a:pt x="1917" y="4"/>
                  <a:pt x="1917" y="4"/>
                </a:cubicBezTo>
                <a:cubicBezTo>
                  <a:pt x="1917" y="7"/>
                  <a:pt x="1917" y="7"/>
                  <a:pt x="1917" y="7"/>
                </a:cubicBezTo>
                <a:cubicBezTo>
                  <a:pt x="1917" y="9"/>
                  <a:pt x="1917" y="9"/>
                  <a:pt x="1917" y="9"/>
                </a:cubicBezTo>
                <a:cubicBezTo>
                  <a:pt x="1918" y="9"/>
                  <a:pt x="1918" y="9"/>
                  <a:pt x="1918" y="9"/>
                </a:cubicBezTo>
                <a:cubicBezTo>
                  <a:pt x="1919" y="8"/>
                  <a:pt x="1919" y="8"/>
                  <a:pt x="1919" y="8"/>
                </a:cubicBezTo>
                <a:cubicBezTo>
                  <a:pt x="1920" y="9"/>
                  <a:pt x="1920" y="9"/>
                  <a:pt x="1920" y="9"/>
                </a:cubicBezTo>
                <a:cubicBezTo>
                  <a:pt x="1920" y="10"/>
                  <a:pt x="1920" y="10"/>
                  <a:pt x="1920" y="10"/>
                </a:cubicBezTo>
                <a:cubicBezTo>
                  <a:pt x="1920" y="12"/>
                  <a:pt x="1920" y="12"/>
                  <a:pt x="1920" y="12"/>
                </a:cubicBezTo>
                <a:cubicBezTo>
                  <a:pt x="1919" y="13"/>
                  <a:pt x="1919" y="13"/>
                  <a:pt x="1919" y="13"/>
                </a:cubicBezTo>
                <a:cubicBezTo>
                  <a:pt x="1917" y="12"/>
                  <a:pt x="1917" y="12"/>
                  <a:pt x="1917" y="12"/>
                </a:cubicBezTo>
                <a:cubicBezTo>
                  <a:pt x="1915" y="12"/>
                  <a:pt x="1915" y="12"/>
                  <a:pt x="1915" y="12"/>
                </a:cubicBezTo>
                <a:cubicBezTo>
                  <a:pt x="1913" y="13"/>
                  <a:pt x="1913" y="13"/>
                  <a:pt x="1913" y="13"/>
                </a:cubicBezTo>
                <a:cubicBezTo>
                  <a:pt x="1912" y="14"/>
                  <a:pt x="1912" y="14"/>
                  <a:pt x="1912" y="14"/>
                </a:cubicBezTo>
                <a:cubicBezTo>
                  <a:pt x="1912" y="16"/>
                  <a:pt x="1912" y="16"/>
                  <a:pt x="1912" y="16"/>
                </a:cubicBezTo>
                <a:cubicBezTo>
                  <a:pt x="1911" y="18"/>
                  <a:pt x="1911" y="18"/>
                  <a:pt x="1911" y="18"/>
                </a:cubicBezTo>
                <a:cubicBezTo>
                  <a:pt x="1910" y="19"/>
                  <a:pt x="1910" y="19"/>
                  <a:pt x="1910" y="19"/>
                </a:cubicBezTo>
                <a:cubicBezTo>
                  <a:pt x="1908" y="18"/>
                  <a:pt x="1908" y="18"/>
                  <a:pt x="1908" y="18"/>
                </a:cubicBezTo>
                <a:cubicBezTo>
                  <a:pt x="1907" y="17"/>
                  <a:pt x="1907" y="17"/>
                  <a:pt x="1907" y="17"/>
                </a:cubicBezTo>
                <a:cubicBezTo>
                  <a:pt x="1907" y="16"/>
                  <a:pt x="1907" y="16"/>
                  <a:pt x="1907" y="16"/>
                </a:cubicBezTo>
                <a:cubicBezTo>
                  <a:pt x="1906" y="16"/>
                  <a:pt x="1906" y="16"/>
                  <a:pt x="1906" y="16"/>
                </a:cubicBezTo>
                <a:cubicBezTo>
                  <a:pt x="1905" y="19"/>
                  <a:pt x="1905" y="19"/>
                  <a:pt x="1905" y="19"/>
                </a:cubicBezTo>
                <a:cubicBezTo>
                  <a:pt x="1906" y="21"/>
                  <a:pt x="1906" y="21"/>
                  <a:pt x="1906" y="21"/>
                </a:cubicBezTo>
                <a:cubicBezTo>
                  <a:pt x="1907" y="22"/>
                  <a:pt x="1907" y="22"/>
                  <a:pt x="1907" y="22"/>
                </a:cubicBezTo>
                <a:cubicBezTo>
                  <a:pt x="1909" y="22"/>
                  <a:pt x="1909" y="22"/>
                  <a:pt x="1909" y="22"/>
                </a:cubicBezTo>
                <a:cubicBezTo>
                  <a:pt x="1909" y="22"/>
                  <a:pt x="1909" y="22"/>
                  <a:pt x="1909" y="22"/>
                </a:cubicBezTo>
                <a:cubicBezTo>
                  <a:pt x="1910" y="23"/>
                  <a:pt x="1910" y="23"/>
                  <a:pt x="1910" y="23"/>
                </a:cubicBezTo>
                <a:cubicBezTo>
                  <a:pt x="1909" y="26"/>
                  <a:pt x="1909" y="26"/>
                  <a:pt x="1909" y="26"/>
                </a:cubicBezTo>
                <a:cubicBezTo>
                  <a:pt x="1909" y="27"/>
                  <a:pt x="1909" y="27"/>
                  <a:pt x="1909" y="27"/>
                </a:cubicBezTo>
                <a:cubicBezTo>
                  <a:pt x="1910" y="27"/>
                  <a:pt x="1910" y="27"/>
                  <a:pt x="1910" y="27"/>
                </a:cubicBezTo>
                <a:cubicBezTo>
                  <a:pt x="1911" y="26"/>
                  <a:pt x="1911" y="26"/>
                  <a:pt x="1911" y="26"/>
                </a:cubicBezTo>
                <a:cubicBezTo>
                  <a:pt x="1912" y="26"/>
                  <a:pt x="1912" y="26"/>
                  <a:pt x="1912" y="26"/>
                </a:cubicBezTo>
                <a:cubicBezTo>
                  <a:pt x="1913" y="27"/>
                  <a:pt x="1913" y="27"/>
                  <a:pt x="1913" y="27"/>
                </a:cubicBezTo>
                <a:cubicBezTo>
                  <a:pt x="1915" y="27"/>
                  <a:pt x="1915" y="27"/>
                  <a:pt x="1915" y="27"/>
                </a:cubicBezTo>
                <a:cubicBezTo>
                  <a:pt x="1916" y="26"/>
                  <a:pt x="1916" y="26"/>
                  <a:pt x="1916" y="26"/>
                </a:cubicBezTo>
                <a:cubicBezTo>
                  <a:pt x="1917" y="26"/>
                  <a:pt x="1917" y="26"/>
                  <a:pt x="1917" y="26"/>
                </a:cubicBezTo>
                <a:cubicBezTo>
                  <a:pt x="1916" y="28"/>
                  <a:pt x="1916" y="28"/>
                  <a:pt x="1916" y="28"/>
                </a:cubicBezTo>
                <a:cubicBezTo>
                  <a:pt x="1914" y="28"/>
                  <a:pt x="1914" y="28"/>
                  <a:pt x="1914" y="28"/>
                </a:cubicBezTo>
                <a:cubicBezTo>
                  <a:pt x="1912" y="28"/>
                  <a:pt x="1912" y="28"/>
                  <a:pt x="1912" y="28"/>
                </a:cubicBezTo>
                <a:cubicBezTo>
                  <a:pt x="1911" y="29"/>
                  <a:pt x="1911" y="29"/>
                  <a:pt x="1911" y="29"/>
                </a:cubicBezTo>
                <a:cubicBezTo>
                  <a:pt x="1910" y="29"/>
                  <a:pt x="1910" y="29"/>
                  <a:pt x="1910" y="29"/>
                </a:cubicBezTo>
                <a:cubicBezTo>
                  <a:pt x="1909" y="30"/>
                  <a:pt x="1909" y="30"/>
                  <a:pt x="1909" y="30"/>
                </a:cubicBezTo>
                <a:cubicBezTo>
                  <a:pt x="1910" y="32"/>
                  <a:pt x="1910" y="32"/>
                  <a:pt x="1910" y="32"/>
                </a:cubicBezTo>
                <a:cubicBezTo>
                  <a:pt x="1911" y="33"/>
                  <a:pt x="1911" y="33"/>
                  <a:pt x="1911" y="33"/>
                </a:cubicBezTo>
                <a:cubicBezTo>
                  <a:pt x="1913" y="33"/>
                  <a:pt x="1913" y="33"/>
                  <a:pt x="1913" y="33"/>
                </a:cubicBezTo>
                <a:cubicBezTo>
                  <a:pt x="1914" y="33"/>
                  <a:pt x="1914" y="33"/>
                  <a:pt x="1914" y="33"/>
                </a:cubicBezTo>
                <a:cubicBezTo>
                  <a:pt x="1915" y="33"/>
                  <a:pt x="1915" y="33"/>
                  <a:pt x="1915" y="33"/>
                </a:cubicBezTo>
                <a:cubicBezTo>
                  <a:pt x="1914" y="34"/>
                  <a:pt x="1914" y="34"/>
                  <a:pt x="1914" y="34"/>
                </a:cubicBezTo>
                <a:cubicBezTo>
                  <a:pt x="1912" y="35"/>
                  <a:pt x="1912" y="35"/>
                  <a:pt x="1912" y="35"/>
                </a:cubicBezTo>
                <a:cubicBezTo>
                  <a:pt x="1910" y="35"/>
                  <a:pt x="1910" y="35"/>
                  <a:pt x="1910" y="35"/>
                </a:cubicBezTo>
                <a:cubicBezTo>
                  <a:pt x="1908" y="36"/>
                  <a:pt x="1908" y="36"/>
                  <a:pt x="1908" y="36"/>
                </a:cubicBezTo>
                <a:cubicBezTo>
                  <a:pt x="1908" y="37"/>
                  <a:pt x="1908" y="37"/>
                  <a:pt x="1908" y="37"/>
                </a:cubicBezTo>
                <a:cubicBezTo>
                  <a:pt x="1909" y="38"/>
                  <a:pt x="1909" y="38"/>
                  <a:pt x="1909" y="38"/>
                </a:cubicBezTo>
                <a:cubicBezTo>
                  <a:pt x="1911" y="37"/>
                  <a:pt x="1911" y="37"/>
                  <a:pt x="1911" y="37"/>
                </a:cubicBezTo>
                <a:cubicBezTo>
                  <a:pt x="1913" y="37"/>
                  <a:pt x="1913" y="37"/>
                  <a:pt x="1913" y="37"/>
                </a:cubicBezTo>
                <a:cubicBezTo>
                  <a:pt x="1913" y="38"/>
                  <a:pt x="1913" y="38"/>
                  <a:pt x="1913" y="38"/>
                </a:cubicBezTo>
                <a:cubicBezTo>
                  <a:pt x="1912" y="39"/>
                  <a:pt x="1912" y="39"/>
                  <a:pt x="1912" y="39"/>
                </a:cubicBezTo>
                <a:cubicBezTo>
                  <a:pt x="1910" y="39"/>
                  <a:pt x="1910" y="39"/>
                  <a:pt x="1910" y="39"/>
                </a:cubicBezTo>
                <a:cubicBezTo>
                  <a:pt x="1910" y="40"/>
                  <a:pt x="1910" y="40"/>
                  <a:pt x="1910" y="40"/>
                </a:cubicBezTo>
                <a:cubicBezTo>
                  <a:pt x="1911" y="40"/>
                  <a:pt x="1911" y="40"/>
                  <a:pt x="1911" y="40"/>
                </a:cubicBezTo>
                <a:cubicBezTo>
                  <a:pt x="1913" y="41"/>
                  <a:pt x="1913" y="41"/>
                  <a:pt x="1913" y="41"/>
                </a:cubicBezTo>
                <a:cubicBezTo>
                  <a:pt x="1916" y="43"/>
                  <a:pt x="1916" y="43"/>
                  <a:pt x="1916" y="43"/>
                </a:cubicBezTo>
                <a:cubicBezTo>
                  <a:pt x="1917" y="43"/>
                  <a:pt x="1917" y="43"/>
                  <a:pt x="1917" y="43"/>
                </a:cubicBezTo>
                <a:cubicBezTo>
                  <a:pt x="1917" y="44"/>
                  <a:pt x="1917" y="44"/>
                  <a:pt x="1917" y="44"/>
                </a:cubicBezTo>
                <a:cubicBezTo>
                  <a:pt x="1918" y="45"/>
                  <a:pt x="1918" y="45"/>
                  <a:pt x="1918" y="45"/>
                </a:cubicBezTo>
                <a:cubicBezTo>
                  <a:pt x="1916" y="44"/>
                  <a:pt x="1916" y="44"/>
                  <a:pt x="1916" y="44"/>
                </a:cubicBezTo>
                <a:cubicBezTo>
                  <a:pt x="1914" y="43"/>
                  <a:pt x="1914" y="43"/>
                  <a:pt x="1914" y="43"/>
                </a:cubicBezTo>
                <a:cubicBezTo>
                  <a:pt x="1912" y="43"/>
                  <a:pt x="1912" y="43"/>
                  <a:pt x="1912" y="43"/>
                </a:cubicBezTo>
                <a:cubicBezTo>
                  <a:pt x="1911" y="42"/>
                  <a:pt x="1911" y="42"/>
                  <a:pt x="1911" y="42"/>
                </a:cubicBezTo>
                <a:cubicBezTo>
                  <a:pt x="1909" y="41"/>
                  <a:pt x="1909" y="41"/>
                  <a:pt x="1909" y="41"/>
                </a:cubicBezTo>
                <a:cubicBezTo>
                  <a:pt x="1908" y="43"/>
                  <a:pt x="1908" y="43"/>
                  <a:pt x="1908" y="43"/>
                </a:cubicBezTo>
                <a:cubicBezTo>
                  <a:pt x="1908" y="44"/>
                  <a:pt x="1908" y="44"/>
                  <a:pt x="1908" y="44"/>
                </a:cubicBezTo>
                <a:cubicBezTo>
                  <a:pt x="1907" y="45"/>
                  <a:pt x="1907" y="45"/>
                  <a:pt x="1907" y="45"/>
                </a:cubicBezTo>
                <a:cubicBezTo>
                  <a:pt x="1907" y="46"/>
                  <a:pt x="1907" y="46"/>
                  <a:pt x="1907" y="46"/>
                </a:cubicBezTo>
                <a:cubicBezTo>
                  <a:pt x="1908" y="47"/>
                  <a:pt x="1908" y="47"/>
                  <a:pt x="1908" y="47"/>
                </a:cubicBezTo>
                <a:cubicBezTo>
                  <a:pt x="1907" y="48"/>
                  <a:pt x="1907" y="48"/>
                  <a:pt x="1907" y="48"/>
                </a:cubicBezTo>
                <a:cubicBezTo>
                  <a:pt x="1906" y="48"/>
                  <a:pt x="1906" y="48"/>
                  <a:pt x="1906" y="48"/>
                </a:cubicBezTo>
                <a:cubicBezTo>
                  <a:pt x="1905" y="48"/>
                  <a:pt x="1905" y="48"/>
                  <a:pt x="1905" y="48"/>
                </a:cubicBezTo>
                <a:cubicBezTo>
                  <a:pt x="1904" y="49"/>
                  <a:pt x="1904" y="49"/>
                  <a:pt x="1904" y="49"/>
                </a:cubicBezTo>
                <a:cubicBezTo>
                  <a:pt x="1904" y="51"/>
                  <a:pt x="1904" y="51"/>
                  <a:pt x="1904" y="51"/>
                </a:cubicBezTo>
                <a:cubicBezTo>
                  <a:pt x="1904" y="52"/>
                  <a:pt x="1904" y="52"/>
                  <a:pt x="1904" y="52"/>
                </a:cubicBezTo>
                <a:cubicBezTo>
                  <a:pt x="1903" y="52"/>
                  <a:pt x="1903" y="52"/>
                  <a:pt x="1903" y="52"/>
                </a:cubicBezTo>
                <a:cubicBezTo>
                  <a:pt x="1902" y="53"/>
                  <a:pt x="1902" y="53"/>
                  <a:pt x="1902" y="53"/>
                </a:cubicBezTo>
                <a:cubicBezTo>
                  <a:pt x="1902" y="53"/>
                  <a:pt x="1902" y="53"/>
                  <a:pt x="1902" y="53"/>
                </a:cubicBezTo>
                <a:cubicBezTo>
                  <a:pt x="1904" y="56"/>
                  <a:pt x="1904" y="56"/>
                  <a:pt x="1904" y="56"/>
                </a:cubicBezTo>
                <a:lnTo>
                  <a:pt x="1906" y="57"/>
                </a:lnTo>
                <a:close/>
                <a:moveTo>
                  <a:pt x="3235" y="1496"/>
                </a:moveTo>
                <a:cubicBezTo>
                  <a:pt x="3235" y="1495"/>
                  <a:pt x="3235" y="1495"/>
                  <a:pt x="3235" y="1495"/>
                </a:cubicBezTo>
                <a:cubicBezTo>
                  <a:pt x="3236" y="1495"/>
                  <a:pt x="3236" y="1495"/>
                  <a:pt x="3236" y="1495"/>
                </a:cubicBezTo>
                <a:cubicBezTo>
                  <a:pt x="3235" y="1494"/>
                  <a:pt x="3235" y="1494"/>
                  <a:pt x="3235" y="1494"/>
                </a:cubicBezTo>
                <a:cubicBezTo>
                  <a:pt x="3235" y="1492"/>
                  <a:pt x="3235" y="1492"/>
                  <a:pt x="3235" y="1492"/>
                </a:cubicBezTo>
                <a:cubicBezTo>
                  <a:pt x="3234" y="1495"/>
                  <a:pt x="3234" y="1495"/>
                  <a:pt x="3234" y="1495"/>
                </a:cubicBezTo>
                <a:cubicBezTo>
                  <a:pt x="3235" y="1496"/>
                  <a:pt x="3235" y="1496"/>
                  <a:pt x="3235" y="1496"/>
                </a:cubicBezTo>
                <a:close/>
                <a:moveTo>
                  <a:pt x="576" y="50"/>
                </a:moveTo>
                <a:cubicBezTo>
                  <a:pt x="577" y="50"/>
                  <a:pt x="577" y="50"/>
                  <a:pt x="577" y="50"/>
                </a:cubicBezTo>
                <a:cubicBezTo>
                  <a:pt x="577" y="51"/>
                  <a:pt x="577" y="51"/>
                  <a:pt x="577" y="51"/>
                </a:cubicBezTo>
                <a:cubicBezTo>
                  <a:pt x="576" y="52"/>
                  <a:pt x="576" y="52"/>
                  <a:pt x="576" y="52"/>
                </a:cubicBezTo>
                <a:cubicBezTo>
                  <a:pt x="578" y="56"/>
                  <a:pt x="578" y="56"/>
                  <a:pt x="578" y="56"/>
                </a:cubicBezTo>
                <a:cubicBezTo>
                  <a:pt x="579" y="57"/>
                  <a:pt x="579" y="57"/>
                  <a:pt x="579" y="57"/>
                </a:cubicBezTo>
                <a:cubicBezTo>
                  <a:pt x="579" y="58"/>
                  <a:pt x="579" y="58"/>
                  <a:pt x="579" y="58"/>
                </a:cubicBezTo>
                <a:cubicBezTo>
                  <a:pt x="582" y="60"/>
                  <a:pt x="582" y="60"/>
                  <a:pt x="582" y="60"/>
                </a:cubicBezTo>
                <a:cubicBezTo>
                  <a:pt x="583" y="61"/>
                  <a:pt x="583" y="61"/>
                  <a:pt x="583" y="61"/>
                </a:cubicBezTo>
                <a:cubicBezTo>
                  <a:pt x="585" y="61"/>
                  <a:pt x="585" y="61"/>
                  <a:pt x="585" y="61"/>
                </a:cubicBezTo>
                <a:cubicBezTo>
                  <a:pt x="586" y="62"/>
                  <a:pt x="586" y="62"/>
                  <a:pt x="586" y="62"/>
                </a:cubicBezTo>
                <a:cubicBezTo>
                  <a:pt x="587" y="62"/>
                  <a:pt x="587" y="62"/>
                  <a:pt x="587" y="62"/>
                </a:cubicBezTo>
                <a:cubicBezTo>
                  <a:pt x="589" y="61"/>
                  <a:pt x="589" y="61"/>
                  <a:pt x="589" y="61"/>
                </a:cubicBezTo>
                <a:cubicBezTo>
                  <a:pt x="591" y="61"/>
                  <a:pt x="591" y="61"/>
                  <a:pt x="591" y="61"/>
                </a:cubicBezTo>
                <a:cubicBezTo>
                  <a:pt x="592" y="63"/>
                  <a:pt x="592" y="63"/>
                  <a:pt x="592" y="63"/>
                </a:cubicBezTo>
                <a:cubicBezTo>
                  <a:pt x="594" y="63"/>
                  <a:pt x="594" y="63"/>
                  <a:pt x="594" y="63"/>
                </a:cubicBezTo>
                <a:cubicBezTo>
                  <a:pt x="596" y="65"/>
                  <a:pt x="596" y="65"/>
                  <a:pt x="596" y="65"/>
                </a:cubicBezTo>
                <a:cubicBezTo>
                  <a:pt x="597" y="65"/>
                  <a:pt x="597" y="65"/>
                  <a:pt x="597" y="65"/>
                </a:cubicBezTo>
                <a:cubicBezTo>
                  <a:pt x="597" y="66"/>
                  <a:pt x="597" y="66"/>
                  <a:pt x="597" y="66"/>
                </a:cubicBezTo>
                <a:cubicBezTo>
                  <a:pt x="595" y="67"/>
                  <a:pt x="595" y="67"/>
                  <a:pt x="595" y="67"/>
                </a:cubicBezTo>
                <a:cubicBezTo>
                  <a:pt x="595" y="68"/>
                  <a:pt x="595" y="68"/>
                  <a:pt x="595" y="68"/>
                </a:cubicBezTo>
                <a:cubicBezTo>
                  <a:pt x="594" y="69"/>
                  <a:pt x="594" y="69"/>
                  <a:pt x="594" y="69"/>
                </a:cubicBezTo>
                <a:cubicBezTo>
                  <a:pt x="594" y="70"/>
                  <a:pt x="594" y="70"/>
                  <a:pt x="594" y="70"/>
                </a:cubicBezTo>
                <a:cubicBezTo>
                  <a:pt x="594" y="72"/>
                  <a:pt x="594" y="72"/>
                  <a:pt x="594" y="72"/>
                </a:cubicBezTo>
                <a:cubicBezTo>
                  <a:pt x="591" y="73"/>
                  <a:pt x="591" y="73"/>
                  <a:pt x="591" y="73"/>
                </a:cubicBezTo>
                <a:cubicBezTo>
                  <a:pt x="591" y="74"/>
                  <a:pt x="591" y="74"/>
                  <a:pt x="591" y="74"/>
                </a:cubicBezTo>
                <a:cubicBezTo>
                  <a:pt x="590" y="75"/>
                  <a:pt x="590" y="75"/>
                  <a:pt x="590" y="75"/>
                </a:cubicBezTo>
                <a:cubicBezTo>
                  <a:pt x="592" y="76"/>
                  <a:pt x="592" y="76"/>
                  <a:pt x="592" y="76"/>
                </a:cubicBezTo>
                <a:cubicBezTo>
                  <a:pt x="592" y="79"/>
                  <a:pt x="592" y="79"/>
                  <a:pt x="592" y="79"/>
                </a:cubicBezTo>
                <a:cubicBezTo>
                  <a:pt x="593" y="81"/>
                  <a:pt x="593" y="81"/>
                  <a:pt x="593" y="81"/>
                </a:cubicBezTo>
                <a:cubicBezTo>
                  <a:pt x="593" y="82"/>
                  <a:pt x="593" y="82"/>
                  <a:pt x="593" y="82"/>
                </a:cubicBezTo>
                <a:cubicBezTo>
                  <a:pt x="591" y="83"/>
                  <a:pt x="591" y="83"/>
                  <a:pt x="591" y="83"/>
                </a:cubicBezTo>
                <a:cubicBezTo>
                  <a:pt x="591" y="84"/>
                  <a:pt x="591" y="84"/>
                  <a:pt x="591" y="84"/>
                </a:cubicBezTo>
                <a:cubicBezTo>
                  <a:pt x="595" y="84"/>
                  <a:pt x="595" y="84"/>
                  <a:pt x="595" y="84"/>
                </a:cubicBezTo>
                <a:cubicBezTo>
                  <a:pt x="596" y="84"/>
                  <a:pt x="596" y="84"/>
                  <a:pt x="596" y="84"/>
                </a:cubicBezTo>
                <a:cubicBezTo>
                  <a:pt x="597" y="84"/>
                  <a:pt x="597" y="84"/>
                  <a:pt x="597" y="84"/>
                </a:cubicBezTo>
                <a:cubicBezTo>
                  <a:pt x="597" y="85"/>
                  <a:pt x="597" y="85"/>
                  <a:pt x="597" y="85"/>
                </a:cubicBezTo>
                <a:cubicBezTo>
                  <a:pt x="598" y="84"/>
                  <a:pt x="598" y="84"/>
                  <a:pt x="598" y="84"/>
                </a:cubicBezTo>
                <a:cubicBezTo>
                  <a:pt x="599" y="83"/>
                  <a:pt x="599" y="83"/>
                  <a:pt x="599" y="83"/>
                </a:cubicBezTo>
                <a:cubicBezTo>
                  <a:pt x="600" y="84"/>
                  <a:pt x="600" y="84"/>
                  <a:pt x="600" y="84"/>
                </a:cubicBezTo>
                <a:cubicBezTo>
                  <a:pt x="603" y="84"/>
                  <a:pt x="603" y="84"/>
                  <a:pt x="603" y="84"/>
                </a:cubicBezTo>
                <a:cubicBezTo>
                  <a:pt x="606" y="85"/>
                  <a:pt x="606" y="85"/>
                  <a:pt x="606" y="85"/>
                </a:cubicBezTo>
                <a:cubicBezTo>
                  <a:pt x="607" y="84"/>
                  <a:pt x="607" y="84"/>
                  <a:pt x="607" y="84"/>
                </a:cubicBezTo>
                <a:cubicBezTo>
                  <a:pt x="610" y="84"/>
                  <a:pt x="610" y="84"/>
                  <a:pt x="610" y="84"/>
                </a:cubicBezTo>
                <a:cubicBezTo>
                  <a:pt x="610" y="85"/>
                  <a:pt x="610" y="85"/>
                  <a:pt x="610" y="85"/>
                </a:cubicBezTo>
                <a:cubicBezTo>
                  <a:pt x="611" y="85"/>
                  <a:pt x="611" y="85"/>
                  <a:pt x="611" y="85"/>
                </a:cubicBezTo>
                <a:cubicBezTo>
                  <a:pt x="612" y="85"/>
                  <a:pt x="612" y="85"/>
                  <a:pt x="612" y="85"/>
                </a:cubicBezTo>
                <a:cubicBezTo>
                  <a:pt x="613" y="84"/>
                  <a:pt x="613" y="84"/>
                  <a:pt x="613" y="84"/>
                </a:cubicBezTo>
                <a:cubicBezTo>
                  <a:pt x="614" y="85"/>
                  <a:pt x="614" y="85"/>
                  <a:pt x="614" y="85"/>
                </a:cubicBezTo>
                <a:cubicBezTo>
                  <a:pt x="614" y="86"/>
                  <a:pt x="614" y="86"/>
                  <a:pt x="614" y="86"/>
                </a:cubicBezTo>
                <a:cubicBezTo>
                  <a:pt x="615" y="86"/>
                  <a:pt x="615" y="86"/>
                  <a:pt x="615" y="86"/>
                </a:cubicBezTo>
                <a:cubicBezTo>
                  <a:pt x="616" y="85"/>
                  <a:pt x="616" y="85"/>
                  <a:pt x="616" y="85"/>
                </a:cubicBezTo>
                <a:cubicBezTo>
                  <a:pt x="617" y="86"/>
                  <a:pt x="617" y="86"/>
                  <a:pt x="617" y="86"/>
                </a:cubicBezTo>
                <a:cubicBezTo>
                  <a:pt x="617" y="87"/>
                  <a:pt x="617" y="87"/>
                  <a:pt x="617" y="87"/>
                </a:cubicBezTo>
                <a:cubicBezTo>
                  <a:pt x="618" y="87"/>
                  <a:pt x="618" y="87"/>
                  <a:pt x="618" y="87"/>
                </a:cubicBezTo>
                <a:cubicBezTo>
                  <a:pt x="619" y="86"/>
                  <a:pt x="619" y="86"/>
                  <a:pt x="619" y="86"/>
                </a:cubicBezTo>
                <a:cubicBezTo>
                  <a:pt x="622" y="86"/>
                  <a:pt x="622" y="86"/>
                  <a:pt x="622" y="86"/>
                </a:cubicBezTo>
                <a:cubicBezTo>
                  <a:pt x="623" y="85"/>
                  <a:pt x="623" y="85"/>
                  <a:pt x="623" y="85"/>
                </a:cubicBezTo>
                <a:cubicBezTo>
                  <a:pt x="625" y="84"/>
                  <a:pt x="625" y="84"/>
                  <a:pt x="625" y="84"/>
                </a:cubicBezTo>
                <a:cubicBezTo>
                  <a:pt x="626" y="84"/>
                  <a:pt x="626" y="84"/>
                  <a:pt x="626" y="84"/>
                </a:cubicBezTo>
                <a:cubicBezTo>
                  <a:pt x="628" y="82"/>
                  <a:pt x="628" y="82"/>
                  <a:pt x="628" y="82"/>
                </a:cubicBezTo>
                <a:cubicBezTo>
                  <a:pt x="630" y="81"/>
                  <a:pt x="630" y="81"/>
                  <a:pt x="630" y="81"/>
                </a:cubicBezTo>
                <a:cubicBezTo>
                  <a:pt x="632" y="81"/>
                  <a:pt x="632" y="81"/>
                  <a:pt x="632" y="81"/>
                </a:cubicBezTo>
                <a:cubicBezTo>
                  <a:pt x="633" y="80"/>
                  <a:pt x="633" y="80"/>
                  <a:pt x="633" y="80"/>
                </a:cubicBezTo>
                <a:cubicBezTo>
                  <a:pt x="634" y="80"/>
                  <a:pt x="634" y="80"/>
                  <a:pt x="634" y="80"/>
                </a:cubicBezTo>
                <a:cubicBezTo>
                  <a:pt x="636" y="80"/>
                  <a:pt x="636" y="80"/>
                  <a:pt x="636" y="80"/>
                </a:cubicBezTo>
                <a:cubicBezTo>
                  <a:pt x="637" y="80"/>
                  <a:pt x="637" y="80"/>
                  <a:pt x="637" y="80"/>
                </a:cubicBezTo>
                <a:cubicBezTo>
                  <a:pt x="639" y="81"/>
                  <a:pt x="639" y="81"/>
                  <a:pt x="639" y="81"/>
                </a:cubicBezTo>
                <a:cubicBezTo>
                  <a:pt x="643" y="81"/>
                  <a:pt x="643" y="81"/>
                  <a:pt x="643" y="81"/>
                </a:cubicBezTo>
                <a:cubicBezTo>
                  <a:pt x="647" y="78"/>
                  <a:pt x="647" y="78"/>
                  <a:pt x="647" y="78"/>
                </a:cubicBezTo>
                <a:cubicBezTo>
                  <a:pt x="647" y="77"/>
                  <a:pt x="647" y="77"/>
                  <a:pt x="647" y="77"/>
                </a:cubicBezTo>
                <a:cubicBezTo>
                  <a:pt x="648" y="77"/>
                  <a:pt x="648" y="77"/>
                  <a:pt x="648" y="77"/>
                </a:cubicBezTo>
                <a:cubicBezTo>
                  <a:pt x="649" y="78"/>
                  <a:pt x="649" y="78"/>
                  <a:pt x="649" y="78"/>
                </a:cubicBezTo>
                <a:cubicBezTo>
                  <a:pt x="649" y="77"/>
                  <a:pt x="649" y="77"/>
                  <a:pt x="649" y="77"/>
                </a:cubicBezTo>
                <a:cubicBezTo>
                  <a:pt x="651" y="76"/>
                  <a:pt x="651" y="76"/>
                  <a:pt x="651" y="76"/>
                </a:cubicBezTo>
                <a:cubicBezTo>
                  <a:pt x="651" y="74"/>
                  <a:pt x="651" y="74"/>
                  <a:pt x="651" y="74"/>
                </a:cubicBezTo>
                <a:cubicBezTo>
                  <a:pt x="651" y="74"/>
                  <a:pt x="651" y="74"/>
                  <a:pt x="651" y="74"/>
                </a:cubicBezTo>
                <a:cubicBezTo>
                  <a:pt x="652" y="74"/>
                  <a:pt x="652" y="74"/>
                  <a:pt x="652" y="74"/>
                </a:cubicBezTo>
                <a:cubicBezTo>
                  <a:pt x="653" y="74"/>
                  <a:pt x="653" y="74"/>
                  <a:pt x="653" y="74"/>
                </a:cubicBezTo>
                <a:cubicBezTo>
                  <a:pt x="654" y="73"/>
                  <a:pt x="654" y="73"/>
                  <a:pt x="654" y="73"/>
                </a:cubicBezTo>
                <a:cubicBezTo>
                  <a:pt x="654" y="72"/>
                  <a:pt x="654" y="72"/>
                  <a:pt x="654" y="72"/>
                </a:cubicBezTo>
                <a:cubicBezTo>
                  <a:pt x="655" y="72"/>
                  <a:pt x="655" y="72"/>
                  <a:pt x="655" y="72"/>
                </a:cubicBezTo>
                <a:cubicBezTo>
                  <a:pt x="656" y="72"/>
                  <a:pt x="656" y="72"/>
                  <a:pt x="656" y="72"/>
                </a:cubicBezTo>
                <a:cubicBezTo>
                  <a:pt x="656" y="73"/>
                  <a:pt x="656" y="73"/>
                  <a:pt x="656" y="73"/>
                </a:cubicBezTo>
                <a:cubicBezTo>
                  <a:pt x="656" y="74"/>
                  <a:pt x="656" y="74"/>
                  <a:pt x="656" y="74"/>
                </a:cubicBezTo>
                <a:cubicBezTo>
                  <a:pt x="657" y="75"/>
                  <a:pt x="657" y="75"/>
                  <a:pt x="657" y="75"/>
                </a:cubicBezTo>
                <a:cubicBezTo>
                  <a:pt x="655" y="76"/>
                  <a:pt x="655" y="76"/>
                  <a:pt x="655" y="76"/>
                </a:cubicBezTo>
                <a:cubicBezTo>
                  <a:pt x="655" y="77"/>
                  <a:pt x="655" y="77"/>
                  <a:pt x="655" y="77"/>
                </a:cubicBezTo>
                <a:cubicBezTo>
                  <a:pt x="655" y="78"/>
                  <a:pt x="655" y="78"/>
                  <a:pt x="655" y="78"/>
                </a:cubicBezTo>
                <a:cubicBezTo>
                  <a:pt x="654" y="79"/>
                  <a:pt x="654" y="79"/>
                  <a:pt x="654" y="79"/>
                </a:cubicBezTo>
                <a:cubicBezTo>
                  <a:pt x="654" y="80"/>
                  <a:pt x="654" y="80"/>
                  <a:pt x="654" y="80"/>
                </a:cubicBezTo>
                <a:cubicBezTo>
                  <a:pt x="655" y="80"/>
                  <a:pt x="655" y="80"/>
                  <a:pt x="655" y="80"/>
                </a:cubicBezTo>
                <a:cubicBezTo>
                  <a:pt x="657" y="81"/>
                  <a:pt x="657" y="81"/>
                  <a:pt x="657" y="81"/>
                </a:cubicBezTo>
                <a:cubicBezTo>
                  <a:pt x="657" y="81"/>
                  <a:pt x="657" y="81"/>
                  <a:pt x="657" y="81"/>
                </a:cubicBezTo>
                <a:cubicBezTo>
                  <a:pt x="659" y="81"/>
                  <a:pt x="659" y="81"/>
                  <a:pt x="659" y="81"/>
                </a:cubicBezTo>
                <a:cubicBezTo>
                  <a:pt x="660" y="81"/>
                  <a:pt x="660" y="81"/>
                  <a:pt x="660" y="81"/>
                </a:cubicBezTo>
                <a:cubicBezTo>
                  <a:pt x="661" y="83"/>
                  <a:pt x="661" y="83"/>
                  <a:pt x="661" y="83"/>
                </a:cubicBezTo>
                <a:cubicBezTo>
                  <a:pt x="662" y="84"/>
                  <a:pt x="662" y="84"/>
                  <a:pt x="662" y="84"/>
                </a:cubicBezTo>
                <a:cubicBezTo>
                  <a:pt x="662" y="83"/>
                  <a:pt x="662" y="83"/>
                  <a:pt x="662" y="83"/>
                </a:cubicBezTo>
                <a:cubicBezTo>
                  <a:pt x="662" y="83"/>
                  <a:pt x="662" y="83"/>
                  <a:pt x="662" y="83"/>
                </a:cubicBezTo>
                <a:cubicBezTo>
                  <a:pt x="663" y="83"/>
                  <a:pt x="663" y="83"/>
                  <a:pt x="663" y="83"/>
                </a:cubicBezTo>
                <a:cubicBezTo>
                  <a:pt x="664" y="84"/>
                  <a:pt x="664" y="84"/>
                  <a:pt x="664" y="84"/>
                </a:cubicBezTo>
                <a:cubicBezTo>
                  <a:pt x="662" y="86"/>
                  <a:pt x="662" y="86"/>
                  <a:pt x="662" y="86"/>
                </a:cubicBezTo>
                <a:cubicBezTo>
                  <a:pt x="661" y="86"/>
                  <a:pt x="661" y="86"/>
                  <a:pt x="661" y="86"/>
                </a:cubicBezTo>
                <a:cubicBezTo>
                  <a:pt x="660" y="87"/>
                  <a:pt x="660" y="87"/>
                  <a:pt x="660" y="87"/>
                </a:cubicBezTo>
                <a:cubicBezTo>
                  <a:pt x="660" y="88"/>
                  <a:pt x="660" y="88"/>
                  <a:pt x="660" y="88"/>
                </a:cubicBezTo>
                <a:cubicBezTo>
                  <a:pt x="661" y="88"/>
                  <a:pt x="661" y="88"/>
                  <a:pt x="661" y="88"/>
                </a:cubicBezTo>
                <a:cubicBezTo>
                  <a:pt x="662" y="88"/>
                  <a:pt x="662" y="88"/>
                  <a:pt x="662" y="88"/>
                </a:cubicBezTo>
                <a:cubicBezTo>
                  <a:pt x="664" y="90"/>
                  <a:pt x="664" y="90"/>
                  <a:pt x="664" y="90"/>
                </a:cubicBezTo>
                <a:cubicBezTo>
                  <a:pt x="665" y="89"/>
                  <a:pt x="665" y="89"/>
                  <a:pt x="665" y="89"/>
                </a:cubicBezTo>
                <a:cubicBezTo>
                  <a:pt x="667" y="87"/>
                  <a:pt x="667" y="87"/>
                  <a:pt x="667" y="87"/>
                </a:cubicBezTo>
                <a:cubicBezTo>
                  <a:pt x="667" y="87"/>
                  <a:pt x="667" y="87"/>
                  <a:pt x="667" y="87"/>
                </a:cubicBezTo>
                <a:cubicBezTo>
                  <a:pt x="667" y="89"/>
                  <a:pt x="667" y="89"/>
                  <a:pt x="667" y="89"/>
                </a:cubicBezTo>
                <a:cubicBezTo>
                  <a:pt x="668" y="91"/>
                  <a:pt x="668" y="91"/>
                  <a:pt x="668" y="91"/>
                </a:cubicBezTo>
                <a:cubicBezTo>
                  <a:pt x="669" y="91"/>
                  <a:pt x="669" y="91"/>
                  <a:pt x="669" y="91"/>
                </a:cubicBezTo>
                <a:cubicBezTo>
                  <a:pt x="670" y="90"/>
                  <a:pt x="670" y="90"/>
                  <a:pt x="670" y="90"/>
                </a:cubicBezTo>
                <a:cubicBezTo>
                  <a:pt x="672" y="91"/>
                  <a:pt x="672" y="91"/>
                  <a:pt x="672" y="91"/>
                </a:cubicBezTo>
                <a:cubicBezTo>
                  <a:pt x="673" y="92"/>
                  <a:pt x="673" y="92"/>
                  <a:pt x="673" y="92"/>
                </a:cubicBezTo>
                <a:cubicBezTo>
                  <a:pt x="674" y="92"/>
                  <a:pt x="674" y="92"/>
                  <a:pt x="674" y="92"/>
                </a:cubicBezTo>
                <a:cubicBezTo>
                  <a:pt x="675" y="93"/>
                  <a:pt x="675" y="93"/>
                  <a:pt x="675" y="93"/>
                </a:cubicBezTo>
                <a:cubicBezTo>
                  <a:pt x="676" y="93"/>
                  <a:pt x="676" y="93"/>
                  <a:pt x="676" y="93"/>
                </a:cubicBezTo>
                <a:cubicBezTo>
                  <a:pt x="676" y="92"/>
                  <a:pt x="676" y="92"/>
                  <a:pt x="676" y="92"/>
                </a:cubicBezTo>
                <a:cubicBezTo>
                  <a:pt x="677" y="92"/>
                  <a:pt x="677" y="92"/>
                  <a:pt x="677" y="92"/>
                </a:cubicBezTo>
                <a:cubicBezTo>
                  <a:pt x="678" y="91"/>
                  <a:pt x="678" y="91"/>
                  <a:pt x="678" y="91"/>
                </a:cubicBezTo>
                <a:cubicBezTo>
                  <a:pt x="679" y="92"/>
                  <a:pt x="679" y="92"/>
                  <a:pt x="679" y="92"/>
                </a:cubicBezTo>
                <a:cubicBezTo>
                  <a:pt x="679" y="93"/>
                  <a:pt x="679" y="93"/>
                  <a:pt x="679" y="93"/>
                </a:cubicBezTo>
                <a:cubicBezTo>
                  <a:pt x="680" y="93"/>
                  <a:pt x="680" y="93"/>
                  <a:pt x="680" y="93"/>
                </a:cubicBezTo>
                <a:cubicBezTo>
                  <a:pt x="681" y="93"/>
                  <a:pt x="681" y="93"/>
                  <a:pt x="681" y="93"/>
                </a:cubicBezTo>
                <a:cubicBezTo>
                  <a:pt x="682" y="92"/>
                  <a:pt x="682" y="92"/>
                  <a:pt x="682" y="92"/>
                </a:cubicBezTo>
                <a:cubicBezTo>
                  <a:pt x="683" y="92"/>
                  <a:pt x="683" y="92"/>
                  <a:pt x="683" y="92"/>
                </a:cubicBezTo>
                <a:cubicBezTo>
                  <a:pt x="683" y="93"/>
                  <a:pt x="683" y="93"/>
                  <a:pt x="683" y="93"/>
                </a:cubicBezTo>
                <a:cubicBezTo>
                  <a:pt x="684" y="93"/>
                  <a:pt x="684" y="93"/>
                  <a:pt x="684" y="93"/>
                </a:cubicBezTo>
                <a:cubicBezTo>
                  <a:pt x="685" y="92"/>
                  <a:pt x="685" y="92"/>
                  <a:pt x="685" y="92"/>
                </a:cubicBezTo>
                <a:cubicBezTo>
                  <a:pt x="685" y="92"/>
                  <a:pt x="685" y="92"/>
                  <a:pt x="685" y="92"/>
                </a:cubicBezTo>
                <a:cubicBezTo>
                  <a:pt x="686" y="91"/>
                  <a:pt x="686" y="91"/>
                  <a:pt x="686" y="91"/>
                </a:cubicBezTo>
                <a:cubicBezTo>
                  <a:pt x="688" y="91"/>
                  <a:pt x="688" y="91"/>
                  <a:pt x="688" y="91"/>
                </a:cubicBezTo>
                <a:cubicBezTo>
                  <a:pt x="688" y="92"/>
                  <a:pt x="688" y="92"/>
                  <a:pt x="688" y="92"/>
                </a:cubicBezTo>
                <a:cubicBezTo>
                  <a:pt x="689" y="92"/>
                  <a:pt x="689" y="92"/>
                  <a:pt x="689" y="92"/>
                </a:cubicBezTo>
                <a:cubicBezTo>
                  <a:pt x="690" y="92"/>
                  <a:pt x="690" y="92"/>
                  <a:pt x="690" y="92"/>
                </a:cubicBezTo>
                <a:cubicBezTo>
                  <a:pt x="690" y="91"/>
                  <a:pt x="690" y="91"/>
                  <a:pt x="690" y="91"/>
                </a:cubicBezTo>
                <a:cubicBezTo>
                  <a:pt x="690" y="90"/>
                  <a:pt x="690" y="90"/>
                  <a:pt x="690" y="90"/>
                </a:cubicBezTo>
                <a:cubicBezTo>
                  <a:pt x="691" y="88"/>
                  <a:pt x="691" y="88"/>
                  <a:pt x="691" y="88"/>
                </a:cubicBezTo>
                <a:cubicBezTo>
                  <a:pt x="691" y="88"/>
                  <a:pt x="691" y="88"/>
                  <a:pt x="691" y="88"/>
                </a:cubicBezTo>
                <a:cubicBezTo>
                  <a:pt x="692" y="86"/>
                  <a:pt x="692" y="86"/>
                  <a:pt x="692" y="86"/>
                </a:cubicBezTo>
                <a:cubicBezTo>
                  <a:pt x="692" y="85"/>
                  <a:pt x="692" y="85"/>
                  <a:pt x="692" y="85"/>
                </a:cubicBezTo>
                <a:cubicBezTo>
                  <a:pt x="690" y="85"/>
                  <a:pt x="690" y="85"/>
                  <a:pt x="690" y="85"/>
                </a:cubicBezTo>
                <a:cubicBezTo>
                  <a:pt x="690" y="84"/>
                  <a:pt x="690" y="84"/>
                  <a:pt x="690" y="84"/>
                </a:cubicBezTo>
                <a:cubicBezTo>
                  <a:pt x="690" y="82"/>
                  <a:pt x="690" y="82"/>
                  <a:pt x="690" y="82"/>
                </a:cubicBezTo>
                <a:cubicBezTo>
                  <a:pt x="692" y="82"/>
                  <a:pt x="692" y="82"/>
                  <a:pt x="692" y="82"/>
                </a:cubicBezTo>
                <a:cubicBezTo>
                  <a:pt x="692" y="80"/>
                  <a:pt x="692" y="80"/>
                  <a:pt x="692" y="80"/>
                </a:cubicBezTo>
                <a:cubicBezTo>
                  <a:pt x="690" y="79"/>
                  <a:pt x="690" y="79"/>
                  <a:pt x="690" y="79"/>
                </a:cubicBezTo>
                <a:cubicBezTo>
                  <a:pt x="689" y="79"/>
                  <a:pt x="689" y="79"/>
                  <a:pt x="689" y="79"/>
                </a:cubicBezTo>
                <a:cubicBezTo>
                  <a:pt x="689" y="81"/>
                  <a:pt x="689" y="81"/>
                  <a:pt x="689" y="81"/>
                </a:cubicBezTo>
                <a:cubicBezTo>
                  <a:pt x="688" y="81"/>
                  <a:pt x="688" y="81"/>
                  <a:pt x="688" y="81"/>
                </a:cubicBezTo>
                <a:cubicBezTo>
                  <a:pt x="687" y="81"/>
                  <a:pt x="687" y="81"/>
                  <a:pt x="687" y="81"/>
                </a:cubicBezTo>
                <a:cubicBezTo>
                  <a:pt x="684" y="80"/>
                  <a:pt x="684" y="80"/>
                  <a:pt x="684" y="80"/>
                </a:cubicBezTo>
                <a:cubicBezTo>
                  <a:pt x="682" y="83"/>
                  <a:pt x="682" y="83"/>
                  <a:pt x="682" y="83"/>
                </a:cubicBezTo>
                <a:cubicBezTo>
                  <a:pt x="680" y="84"/>
                  <a:pt x="680" y="84"/>
                  <a:pt x="680" y="84"/>
                </a:cubicBezTo>
                <a:cubicBezTo>
                  <a:pt x="680" y="83"/>
                  <a:pt x="680" y="83"/>
                  <a:pt x="680" y="83"/>
                </a:cubicBezTo>
                <a:cubicBezTo>
                  <a:pt x="682" y="82"/>
                  <a:pt x="682" y="82"/>
                  <a:pt x="682" y="82"/>
                </a:cubicBezTo>
                <a:cubicBezTo>
                  <a:pt x="683" y="81"/>
                  <a:pt x="683" y="81"/>
                  <a:pt x="683" y="81"/>
                </a:cubicBezTo>
                <a:cubicBezTo>
                  <a:pt x="683" y="78"/>
                  <a:pt x="683" y="78"/>
                  <a:pt x="683" y="78"/>
                </a:cubicBezTo>
                <a:cubicBezTo>
                  <a:pt x="682" y="80"/>
                  <a:pt x="682" y="80"/>
                  <a:pt x="682" y="80"/>
                </a:cubicBezTo>
                <a:cubicBezTo>
                  <a:pt x="682" y="79"/>
                  <a:pt x="682" y="79"/>
                  <a:pt x="682" y="79"/>
                </a:cubicBezTo>
                <a:cubicBezTo>
                  <a:pt x="681" y="78"/>
                  <a:pt x="681" y="78"/>
                  <a:pt x="681" y="78"/>
                </a:cubicBezTo>
                <a:cubicBezTo>
                  <a:pt x="683" y="76"/>
                  <a:pt x="683" y="76"/>
                  <a:pt x="683" y="76"/>
                </a:cubicBezTo>
                <a:cubicBezTo>
                  <a:pt x="682" y="74"/>
                  <a:pt x="682" y="74"/>
                  <a:pt x="682" y="74"/>
                </a:cubicBezTo>
                <a:cubicBezTo>
                  <a:pt x="683" y="72"/>
                  <a:pt x="683" y="72"/>
                  <a:pt x="683" y="72"/>
                </a:cubicBezTo>
                <a:cubicBezTo>
                  <a:pt x="684" y="72"/>
                  <a:pt x="684" y="72"/>
                  <a:pt x="684" y="72"/>
                </a:cubicBezTo>
                <a:cubicBezTo>
                  <a:pt x="684" y="73"/>
                  <a:pt x="684" y="73"/>
                  <a:pt x="684" y="73"/>
                </a:cubicBezTo>
                <a:cubicBezTo>
                  <a:pt x="685" y="76"/>
                  <a:pt x="685" y="76"/>
                  <a:pt x="685" y="76"/>
                </a:cubicBezTo>
                <a:cubicBezTo>
                  <a:pt x="686" y="78"/>
                  <a:pt x="686" y="78"/>
                  <a:pt x="686" y="78"/>
                </a:cubicBezTo>
                <a:cubicBezTo>
                  <a:pt x="687" y="77"/>
                  <a:pt x="687" y="77"/>
                  <a:pt x="687" y="77"/>
                </a:cubicBezTo>
                <a:cubicBezTo>
                  <a:pt x="689" y="77"/>
                  <a:pt x="689" y="77"/>
                  <a:pt x="689" y="77"/>
                </a:cubicBezTo>
                <a:cubicBezTo>
                  <a:pt x="690" y="75"/>
                  <a:pt x="690" y="75"/>
                  <a:pt x="690" y="75"/>
                </a:cubicBezTo>
                <a:cubicBezTo>
                  <a:pt x="689" y="74"/>
                  <a:pt x="689" y="74"/>
                  <a:pt x="689" y="74"/>
                </a:cubicBezTo>
                <a:cubicBezTo>
                  <a:pt x="689" y="73"/>
                  <a:pt x="689" y="73"/>
                  <a:pt x="689" y="73"/>
                </a:cubicBezTo>
                <a:cubicBezTo>
                  <a:pt x="691" y="73"/>
                  <a:pt x="691" y="73"/>
                  <a:pt x="691" y="73"/>
                </a:cubicBezTo>
                <a:cubicBezTo>
                  <a:pt x="691" y="74"/>
                  <a:pt x="691" y="74"/>
                  <a:pt x="691" y="74"/>
                </a:cubicBezTo>
                <a:cubicBezTo>
                  <a:pt x="692" y="73"/>
                  <a:pt x="692" y="73"/>
                  <a:pt x="692" y="73"/>
                </a:cubicBezTo>
                <a:cubicBezTo>
                  <a:pt x="694" y="72"/>
                  <a:pt x="694" y="72"/>
                  <a:pt x="694" y="72"/>
                </a:cubicBezTo>
                <a:cubicBezTo>
                  <a:pt x="695" y="70"/>
                  <a:pt x="695" y="70"/>
                  <a:pt x="695" y="70"/>
                </a:cubicBezTo>
                <a:cubicBezTo>
                  <a:pt x="695" y="72"/>
                  <a:pt x="695" y="72"/>
                  <a:pt x="695" y="72"/>
                </a:cubicBezTo>
                <a:cubicBezTo>
                  <a:pt x="696" y="72"/>
                  <a:pt x="696" y="72"/>
                  <a:pt x="696" y="72"/>
                </a:cubicBezTo>
                <a:cubicBezTo>
                  <a:pt x="697" y="70"/>
                  <a:pt x="697" y="70"/>
                  <a:pt x="697" y="70"/>
                </a:cubicBezTo>
                <a:cubicBezTo>
                  <a:pt x="696" y="73"/>
                  <a:pt x="696" y="73"/>
                  <a:pt x="696" y="73"/>
                </a:cubicBezTo>
                <a:cubicBezTo>
                  <a:pt x="696" y="76"/>
                  <a:pt x="696" y="76"/>
                  <a:pt x="696" y="76"/>
                </a:cubicBezTo>
                <a:cubicBezTo>
                  <a:pt x="697" y="75"/>
                  <a:pt x="697" y="75"/>
                  <a:pt x="697" y="75"/>
                </a:cubicBezTo>
                <a:cubicBezTo>
                  <a:pt x="698" y="76"/>
                  <a:pt x="698" y="76"/>
                  <a:pt x="698" y="76"/>
                </a:cubicBezTo>
                <a:cubicBezTo>
                  <a:pt x="697" y="77"/>
                  <a:pt x="697" y="77"/>
                  <a:pt x="697" y="77"/>
                </a:cubicBezTo>
                <a:cubicBezTo>
                  <a:pt x="698" y="77"/>
                  <a:pt x="698" y="77"/>
                  <a:pt x="698" y="77"/>
                </a:cubicBezTo>
                <a:cubicBezTo>
                  <a:pt x="699" y="75"/>
                  <a:pt x="699" y="75"/>
                  <a:pt x="699" y="75"/>
                </a:cubicBezTo>
                <a:cubicBezTo>
                  <a:pt x="700" y="75"/>
                  <a:pt x="700" y="75"/>
                  <a:pt x="700" y="75"/>
                </a:cubicBezTo>
                <a:cubicBezTo>
                  <a:pt x="701" y="72"/>
                  <a:pt x="701" y="72"/>
                  <a:pt x="701" y="72"/>
                </a:cubicBezTo>
                <a:cubicBezTo>
                  <a:pt x="703" y="71"/>
                  <a:pt x="703" y="71"/>
                  <a:pt x="703" y="71"/>
                </a:cubicBezTo>
                <a:cubicBezTo>
                  <a:pt x="702" y="73"/>
                  <a:pt x="702" y="73"/>
                  <a:pt x="702" y="73"/>
                </a:cubicBezTo>
                <a:cubicBezTo>
                  <a:pt x="701" y="75"/>
                  <a:pt x="701" y="75"/>
                  <a:pt x="701" y="75"/>
                </a:cubicBezTo>
                <a:cubicBezTo>
                  <a:pt x="701" y="78"/>
                  <a:pt x="701" y="78"/>
                  <a:pt x="701" y="78"/>
                </a:cubicBezTo>
                <a:cubicBezTo>
                  <a:pt x="703" y="78"/>
                  <a:pt x="703" y="78"/>
                  <a:pt x="703" y="78"/>
                </a:cubicBezTo>
                <a:cubicBezTo>
                  <a:pt x="704" y="79"/>
                  <a:pt x="704" y="79"/>
                  <a:pt x="704" y="79"/>
                </a:cubicBezTo>
                <a:cubicBezTo>
                  <a:pt x="705" y="78"/>
                  <a:pt x="705" y="78"/>
                  <a:pt x="705" y="78"/>
                </a:cubicBezTo>
                <a:cubicBezTo>
                  <a:pt x="707" y="76"/>
                  <a:pt x="707" y="76"/>
                  <a:pt x="707" y="76"/>
                </a:cubicBezTo>
                <a:cubicBezTo>
                  <a:pt x="708" y="73"/>
                  <a:pt x="708" y="73"/>
                  <a:pt x="708" y="73"/>
                </a:cubicBezTo>
                <a:cubicBezTo>
                  <a:pt x="709" y="71"/>
                  <a:pt x="709" y="71"/>
                  <a:pt x="709" y="71"/>
                </a:cubicBezTo>
                <a:cubicBezTo>
                  <a:pt x="708" y="69"/>
                  <a:pt x="708" y="69"/>
                  <a:pt x="708" y="69"/>
                </a:cubicBezTo>
                <a:cubicBezTo>
                  <a:pt x="709" y="68"/>
                  <a:pt x="709" y="68"/>
                  <a:pt x="709" y="68"/>
                </a:cubicBezTo>
                <a:cubicBezTo>
                  <a:pt x="709" y="67"/>
                  <a:pt x="709" y="67"/>
                  <a:pt x="709" y="67"/>
                </a:cubicBezTo>
                <a:cubicBezTo>
                  <a:pt x="707" y="67"/>
                  <a:pt x="707" y="67"/>
                  <a:pt x="707" y="67"/>
                </a:cubicBezTo>
                <a:cubicBezTo>
                  <a:pt x="706" y="66"/>
                  <a:pt x="706" y="66"/>
                  <a:pt x="706" y="66"/>
                </a:cubicBezTo>
                <a:cubicBezTo>
                  <a:pt x="705" y="67"/>
                  <a:pt x="705" y="67"/>
                  <a:pt x="705" y="67"/>
                </a:cubicBezTo>
                <a:cubicBezTo>
                  <a:pt x="705" y="65"/>
                  <a:pt x="705" y="65"/>
                  <a:pt x="705" y="65"/>
                </a:cubicBezTo>
                <a:cubicBezTo>
                  <a:pt x="706" y="64"/>
                  <a:pt x="706" y="64"/>
                  <a:pt x="706" y="64"/>
                </a:cubicBezTo>
                <a:cubicBezTo>
                  <a:pt x="705" y="63"/>
                  <a:pt x="705" y="63"/>
                  <a:pt x="705" y="63"/>
                </a:cubicBezTo>
                <a:cubicBezTo>
                  <a:pt x="703" y="64"/>
                  <a:pt x="703" y="64"/>
                  <a:pt x="703" y="64"/>
                </a:cubicBezTo>
                <a:cubicBezTo>
                  <a:pt x="703" y="63"/>
                  <a:pt x="703" y="63"/>
                  <a:pt x="703" y="63"/>
                </a:cubicBezTo>
                <a:cubicBezTo>
                  <a:pt x="701" y="61"/>
                  <a:pt x="701" y="61"/>
                  <a:pt x="701" y="61"/>
                </a:cubicBezTo>
                <a:cubicBezTo>
                  <a:pt x="701" y="60"/>
                  <a:pt x="701" y="60"/>
                  <a:pt x="701" y="60"/>
                </a:cubicBezTo>
                <a:cubicBezTo>
                  <a:pt x="700" y="57"/>
                  <a:pt x="700" y="57"/>
                  <a:pt x="700" y="57"/>
                </a:cubicBezTo>
                <a:cubicBezTo>
                  <a:pt x="700" y="54"/>
                  <a:pt x="700" y="54"/>
                  <a:pt x="700" y="54"/>
                </a:cubicBezTo>
                <a:cubicBezTo>
                  <a:pt x="701" y="52"/>
                  <a:pt x="701" y="52"/>
                  <a:pt x="701" y="52"/>
                </a:cubicBezTo>
                <a:cubicBezTo>
                  <a:pt x="700" y="49"/>
                  <a:pt x="700" y="49"/>
                  <a:pt x="700" y="49"/>
                </a:cubicBezTo>
                <a:cubicBezTo>
                  <a:pt x="699" y="51"/>
                  <a:pt x="699" y="51"/>
                  <a:pt x="699" y="51"/>
                </a:cubicBezTo>
                <a:cubicBezTo>
                  <a:pt x="699" y="53"/>
                  <a:pt x="699" y="53"/>
                  <a:pt x="699" y="53"/>
                </a:cubicBezTo>
                <a:cubicBezTo>
                  <a:pt x="697" y="51"/>
                  <a:pt x="697" y="51"/>
                  <a:pt x="697" y="51"/>
                </a:cubicBezTo>
                <a:cubicBezTo>
                  <a:pt x="695" y="50"/>
                  <a:pt x="695" y="50"/>
                  <a:pt x="695" y="50"/>
                </a:cubicBezTo>
                <a:cubicBezTo>
                  <a:pt x="694" y="46"/>
                  <a:pt x="694" y="46"/>
                  <a:pt x="694" y="46"/>
                </a:cubicBezTo>
                <a:cubicBezTo>
                  <a:pt x="693" y="45"/>
                  <a:pt x="693" y="45"/>
                  <a:pt x="693" y="45"/>
                </a:cubicBezTo>
                <a:cubicBezTo>
                  <a:pt x="693" y="42"/>
                  <a:pt x="693" y="42"/>
                  <a:pt x="693" y="42"/>
                </a:cubicBezTo>
                <a:cubicBezTo>
                  <a:pt x="691" y="40"/>
                  <a:pt x="691" y="40"/>
                  <a:pt x="691" y="40"/>
                </a:cubicBezTo>
                <a:cubicBezTo>
                  <a:pt x="691" y="38"/>
                  <a:pt x="691" y="38"/>
                  <a:pt x="691" y="38"/>
                </a:cubicBezTo>
                <a:cubicBezTo>
                  <a:pt x="691" y="37"/>
                  <a:pt x="691" y="37"/>
                  <a:pt x="691" y="37"/>
                </a:cubicBezTo>
                <a:cubicBezTo>
                  <a:pt x="691" y="35"/>
                  <a:pt x="691" y="35"/>
                  <a:pt x="691" y="35"/>
                </a:cubicBezTo>
                <a:cubicBezTo>
                  <a:pt x="693" y="35"/>
                  <a:pt x="693" y="35"/>
                  <a:pt x="693" y="35"/>
                </a:cubicBezTo>
                <a:cubicBezTo>
                  <a:pt x="693" y="33"/>
                  <a:pt x="693" y="33"/>
                  <a:pt x="693" y="33"/>
                </a:cubicBezTo>
                <a:cubicBezTo>
                  <a:pt x="695" y="33"/>
                  <a:pt x="695" y="33"/>
                  <a:pt x="695" y="33"/>
                </a:cubicBezTo>
                <a:cubicBezTo>
                  <a:pt x="695" y="34"/>
                  <a:pt x="695" y="34"/>
                  <a:pt x="695" y="34"/>
                </a:cubicBezTo>
                <a:cubicBezTo>
                  <a:pt x="696" y="33"/>
                  <a:pt x="696" y="33"/>
                  <a:pt x="696" y="33"/>
                </a:cubicBezTo>
                <a:cubicBezTo>
                  <a:pt x="696" y="31"/>
                  <a:pt x="696" y="31"/>
                  <a:pt x="696" y="31"/>
                </a:cubicBezTo>
                <a:cubicBezTo>
                  <a:pt x="698" y="27"/>
                  <a:pt x="698" y="27"/>
                  <a:pt x="698" y="27"/>
                </a:cubicBezTo>
                <a:cubicBezTo>
                  <a:pt x="698" y="24"/>
                  <a:pt x="698" y="24"/>
                  <a:pt x="698" y="24"/>
                </a:cubicBezTo>
                <a:cubicBezTo>
                  <a:pt x="699" y="23"/>
                  <a:pt x="699" y="23"/>
                  <a:pt x="699" y="23"/>
                </a:cubicBezTo>
                <a:cubicBezTo>
                  <a:pt x="697" y="20"/>
                  <a:pt x="697" y="20"/>
                  <a:pt x="697" y="20"/>
                </a:cubicBezTo>
                <a:cubicBezTo>
                  <a:pt x="698" y="18"/>
                  <a:pt x="698" y="18"/>
                  <a:pt x="698" y="18"/>
                </a:cubicBezTo>
                <a:cubicBezTo>
                  <a:pt x="699" y="18"/>
                  <a:pt x="699" y="18"/>
                  <a:pt x="699" y="18"/>
                </a:cubicBezTo>
                <a:cubicBezTo>
                  <a:pt x="699" y="15"/>
                  <a:pt x="699" y="15"/>
                  <a:pt x="699" y="15"/>
                </a:cubicBezTo>
                <a:cubicBezTo>
                  <a:pt x="701" y="12"/>
                  <a:pt x="701" y="12"/>
                  <a:pt x="701" y="12"/>
                </a:cubicBezTo>
                <a:cubicBezTo>
                  <a:pt x="702" y="10"/>
                  <a:pt x="702" y="10"/>
                  <a:pt x="702" y="10"/>
                </a:cubicBezTo>
                <a:cubicBezTo>
                  <a:pt x="703" y="9"/>
                  <a:pt x="703" y="9"/>
                  <a:pt x="703" y="9"/>
                </a:cubicBezTo>
                <a:cubicBezTo>
                  <a:pt x="703" y="5"/>
                  <a:pt x="703" y="5"/>
                  <a:pt x="703" y="5"/>
                </a:cubicBezTo>
                <a:cubicBezTo>
                  <a:pt x="704" y="4"/>
                  <a:pt x="704" y="4"/>
                  <a:pt x="704" y="4"/>
                </a:cubicBezTo>
                <a:cubicBezTo>
                  <a:pt x="704" y="3"/>
                  <a:pt x="704" y="3"/>
                  <a:pt x="704" y="3"/>
                </a:cubicBezTo>
                <a:cubicBezTo>
                  <a:pt x="706" y="0"/>
                  <a:pt x="706" y="0"/>
                  <a:pt x="706" y="0"/>
                </a:cubicBezTo>
                <a:cubicBezTo>
                  <a:pt x="683" y="0"/>
                  <a:pt x="683" y="0"/>
                  <a:pt x="683" y="0"/>
                </a:cubicBezTo>
                <a:cubicBezTo>
                  <a:pt x="683" y="3"/>
                  <a:pt x="683" y="3"/>
                  <a:pt x="683" y="3"/>
                </a:cubicBezTo>
                <a:cubicBezTo>
                  <a:pt x="682" y="4"/>
                  <a:pt x="682" y="4"/>
                  <a:pt x="682" y="4"/>
                </a:cubicBezTo>
                <a:cubicBezTo>
                  <a:pt x="681" y="4"/>
                  <a:pt x="681" y="4"/>
                  <a:pt x="681" y="4"/>
                </a:cubicBezTo>
                <a:cubicBezTo>
                  <a:pt x="679" y="7"/>
                  <a:pt x="679" y="7"/>
                  <a:pt x="679" y="7"/>
                </a:cubicBezTo>
                <a:cubicBezTo>
                  <a:pt x="680" y="8"/>
                  <a:pt x="680" y="8"/>
                  <a:pt x="680" y="8"/>
                </a:cubicBezTo>
                <a:cubicBezTo>
                  <a:pt x="680" y="10"/>
                  <a:pt x="680" y="10"/>
                  <a:pt x="680" y="10"/>
                </a:cubicBezTo>
                <a:cubicBezTo>
                  <a:pt x="679" y="12"/>
                  <a:pt x="679" y="12"/>
                  <a:pt x="679" y="12"/>
                </a:cubicBezTo>
                <a:cubicBezTo>
                  <a:pt x="678" y="14"/>
                  <a:pt x="678" y="14"/>
                  <a:pt x="678" y="14"/>
                </a:cubicBezTo>
                <a:cubicBezTo>
                  <a:pt x="679" y="15"/>
                  <a:pt x="679" y="15"/>
                  <a:pt x="679" y="15"/>
                </a:cubicBezTo>
                <a:cubicBezTo>
                  <a:pt x="679" y="17"/>
                  <a:pt x="679" y="17"/>
                  <a:pt x="679" y="17"/>
                </a:cubicBezTo>
                <a:cubicBezTo>
                  <a:pt x="676" y="17"/>
                  <a:pt x="676" y="17"/>
                  <a:pt x="676" y="17"/>
                </a:cubicBezTo>
                <a:cubicBezTo>
                  <a:pt x="677" y="18"/>
                  <a:pt x="677" y="18"/>
                  <a:pt x="677" y="18"/>
                </a:cubicBezTo>
                <a:cubicBezTo>
                  <a:pt x="679" y="19"/>
                  <a:pt x="679" y="19"/>
                  <a:pt x="679" y="19"/>
                </a:cubicBezTo>
                <a:cubicBezTo>
                  <a:pt x="679" y="20"/>
                  <a:pt x="679" y="20"/>
                  <a:pt x="679" y="20"/>
                </a:cubicBezTo>
                <a:cubicBezTo>
                  <a:pt x="678" y="20"/>
                  <a:pt x="678" y="20"/>
                  <a:pt x="678" y="20"/>
                </a:cubicBezTo>
                <a:cubicBezTo>
                  <a:pt x="676" y="20"/>
                  <a:pt x="676" y="20"/>
                  <a:pt x="676" y="20"/>
                </a:cubicBezTo>
                <a:cubicBezTo>
                  <a:pt x="675" y="21"/>
                  <a:pt x="675" y="21"/>
                  <a:pt x="675" y="21"/>
                </a:cubicBezTo>
                <a:cubicBezTo>
                  <a:pt x="674" y="21"/>
                  <a:pt x="674" y="21"/>
                  <a:pt x="674" y="21"/>
                </a:cubicBezTo>
                <a:cubicBezTo>
                  <a:pt x="673" y="22"/>
                  <a:pt x="673" y="22"/>
                  <a:pt x="673" y="22"/>
                </a:cubicBezTo>
                <a:cubicBezTo>
                  <a:pt x="673" y="24"/>
                  <a:pt x="673" y="24"/>
                  <a:pt x="673" y="24"/>
                </a:cubicBezTo>
                <a:cubicBezTo>
                  <a:pt x="672" y="24"/>
                  <a:pt x="672" y="24"/>
                  <a:pt x="672" y="24"/>
                </a:cubicBezTo>
                <a:cubicBezTo>
                  <a:pt x="671" y="24"/>
                  <a:pt x="671" y="24"/>
                  <a:pt x="671" y="24"/>
                </a:cubicBezTo>
                <a:cubicBezTo>
                  <a:pt x="670" y="22"/>
                  <a:pt x="670" y="22"/>
                  <a:pt x="670" y="22"/>
                </a:cubicBezTo>
                <a:cubicBezTo>
                  <a:pt x="671" y="20"/>
                  <a:pt x="671" y="20"/>
                  <a:pt x="671" y="20"/>
                </a:cubicBezTo>
                <a:cubicBezTo>
                  <a:pt x="670" y="19"/>
                  <a:pt x="670" y="19"/>
                  <a:pt x="670" y="19"/>
                </a:cubicBezTo>
                <a:cubicBezTo>
                  <a:pt x="670" y="16"/>
                  <a:pt x="670" y="16"/>
                  <a:pt x="670" y="16"/>
                </a:cubicBezTo>
                <a:cubicBezTo>
                  <a:pt x="671" y="13"/>
                  <a:pt x="671" y="13"/>
                  <a:pt x="671" y="13"/>
                </a:cubicBezTo>
                <a:cubicBezTo>
                  <a:pt x="672" y="10"/>
                  <a:pt x="672" y="10"/>
                  <a:pt x="672" y="10"/>
                </a:cubicBezTo>
                <a:cubicBezTo>
                  <a:pt x="673" y="9"/>
                  <a:pt x="673" y="9"/>
                  <a:pt x="673" y="9"/>
                </a:cubicBezTo>
                <a:cubicBezTo>
                  <a:pt x="673" y="7"/>
                  <a:pt x="673" y="7"/>
                  <a:pt x="673" y="7"/>
                </a:cubicBezTo>
                <a:cubicBezTo>
                  <a:pt x="674" y="6"/>
                  <a:pt x="674" y="6"/>
                  <a:pt x="674" y="6"/>
                </a:cubicBezTo>
                <a:cubicBezTo>
                  <a:pt x="675" y="2"/>
                  <a:pt x="675" y="2"/>
                  <a:pt x="675" y="2"/>
                </a:cubicBezTo>
                <a:cubicBezTo>
                  <a:pt x="677" y="0"/>
                  <a:pt x="677" y="0"/>
                  <a:pt x="677" y="0"/>
                </a:cubicBezTo>
                <a:cubicBezTo>
                  <a:pt x="594" y="0"/>
                  <a:pt x="594" y="0"/>
                  <a:pt x="594" y="0"/>
                </a:cubicBezTo>
                <a:cubicBezTo>
                  <a:pt x="592" y="1"/>
                  <a:pt x="592" y="1"/>
                  <a:pt x="592" y="1"/>
                </a:cubicBezTo>
                <a:cubicBezTo>
                  <a:pt x="591" y="0"/>
                  <a:pt x="591" y="0"/>
                  <a:pt x="591" y="0"/>
                </a:cubicBezTo>
                <a:cubicBezTo>
                  <a:pt x="589" y="0"/>
                  <a:pt x="589" y="0"/>
                  <a:pt x="589" y="0"/>
                </a:cubicBezTo>
                <a:cubicBezTo>
                  <a:pt x="588" y="1"/>
                  <a:pt x="588" y="1"/>
                  <a:pt x="588" y="1"/>
                </a:cubicBezTo>
                <a:cubicBezTo>
                  <a:pt x="589" y="3"/>
                  <a:pt x="589" y="3"/>
                  <a:pt x="589" y="3"/>
                </a:cubicBezTo>
                <a:cubicBezTo>
                  <a:pt x="592" y="4"/>
                  <a:pt x="592" y="4"/>
                  <a:pt x="592" y="4"/>
                </a:cubicBezTo>
                <a:cubicBezTo>
                  <a:pt x="593" y="4"/>
                  <a:pt x="593" y="4"/>
                  <a:pt x="593" y="4"/>
                </a:cubicBezTo>
                <a:cubicBezTo>
                  <a:pt x="594" y="2"/>
                  <a:pt x="594" y="2"/>
                  <a:pt x="594" y="2"/>
                </a:cubicBezTo>
                <a:cubicBezTo>
                  <a:pt x="595" y="2"/>
                  <a:pt x="595" y="2"/>
                  <a:pt x="595" y="2"/>
                </a:cubicBezTo>
                <a:cubicBezTo>
                  <a:pt x="596" y="3"/>
                  <a:pt x="596" y="3"/>
                  <a:pt x="596" y="3"/>
                </a:cubicBezTo>
                <a:cubicBezTo>
                  <a:pt x="595" y="4"/>
                  <a:pt x="595" y="4"/>
                  <a:pt x="595" y="4"/>
                </a:cubicBezTo>
                <a:cubicBezTo>
                  <a:pt x="596" y="4"/>
                  <a:pt x="596" y="4"/>
                  <a:pt x="596" y="4"/>
                </a:cubicBezTo>
                <a:cubicBezTo>
                  <a:pt x="600" y="5"/>
                  <a:pt x="600" y="5"/>
                  <a:pt x="600" y="5"/>
                </a:cubicBezTo>
                <a:cubicBezTo>
                  <a:pt x="603" y="4"/>
                  <a:pt x="603" y="4"/>
                  <a:pt x="603" y="4"/>
                </a:cubicBezTo>
                <a:cubicBezTo>
                  <a:pt x="605" y="4"/>
                  <a:pt x="605" y="4"/>
                  <a:pt x="605" y="4"/>
                </a:cubicBezTo>
                <a:cubicBezTo>
                  <a:pt x="608" y="5"/>
                  <a:pt x="608" y="5"/>
                  <a:pt x="608" y="5"/>
                </a:cubicBezTo>
                <a:cubicBezTo>
                  <a:pt x="610" y="5"/>
                  <a:pt x="610" y="5"/>
                  <a:pt x="610" y="5"/>
                </a:cubicBezTo>
                <a:cubicBezTo>
                  <a:pt x="612" y="6"/>
                  <a:pt x="612" y="6"/>
                  <a:pt x="612" y="6"/>
                </a:cubicBezTo>
                <a:cubicBezTo>
                  <a:pt x="613" y="7"/>
                  <a:pt x="613" y="7"/>
                  <a:pt x="613" y="7"/>
                </a:cubicBezTo>
                <a:cubicBezTo>
                  <a:pt x="614" y="8"/>
                  <a:pt x="614" y="8"/>
                  <a:pt x="614" y="8"/>
                </a:cubicBezTo>
                <a:cubicBezTo>
                  <a:pt x="614" y="9"/>
                  <a:pt x="614" y="9"/>
                  <a:pt x="614" y="9"/>
                </a:cubicBezTo>
                <a:cubicBezTo>
                  <a:pt x="612" y="9"/>
                  <a:pt x="612" y="9"/>
                  <a:pt x="612" y="9"/>
                </a:cubicBezTo>
                <a:cubicBezTo>
                  <a:pt x="610" y="7"/>
                  <a:pt x="610" y="7"/>
                  <a:pt x="610" y="7"/>
                </a:cubicBezTo>
                <a:cubicBezTo>
                  <a:pt x="606" y="7"/>
                  <a:pt x="606" y="7"/>
                  <a:pt x="606" y="7"/>
                </a:cubicBezTo>
                <a:cubicBezTo>
                  <a:pt x="605" y="7"/>
                  <a:pt x="605" y="7"/>
                  <a:pt x="605" y="7"/>
                </a:cubicBezTo>
                <a:cubicBezTo>
                  <a:pt x="607" y="8"/>
                  <a:pt x="607" y="8"/>
                  <a:pt x="607" y="8"/>
                </a:cubicBezTo>
                <a:cubicBezTo>
                  <a:pt x="608" y="9"/>
                  <a:pt x="608" y="9"/>
                  <a:pt x="608" y="9"/>
                </a:cubicBezTo>
                <a:cubicBezTo>
                  <a:pt x="605" y="9"/>
                  <a:pt x="605" y="9"/>
                  <a:pt x="605" y="9"/>
                </a:cubicBezTo>
                <a:cubicBezTo>
                  <a:pt x="603" y="8"/>
                  <a:pt x="603" y="8"/>
                  <a:pt x="603" y="8"/>
                </a:cubicBezTo>
                <a:cubicBezTo>
                  <a:pt x="599" y="9"/>
                  <a:pt x="599" y="9"/>
                  <a:pt x="599" y="9"/>
                </a:cubicBezTo>
                <a:cubicBezTo>
                  <a:pt x="598" y="10"/>
                  <a:pt x="598" y="10"/>
                  <a:pt x="598" y="10"/>
                </a:cubicBezTo>
                <a:cubicBezTo>
                  <a:pt x="596" y="9"/>
                  <a:pt x="596" y="9"/>
                  <a:pt x="596" y="9"/>
                </a:cubicBezTo>
                <a:cubicBezTo>
                  <a:pt x="595" y="9"/>
                  <a:pt x="595" y="9"/>
                  <a:pt x="595" y="9"/>
                </a:cubicBezTo>
                <a:cubicBezTo>
                  <a:pt x="594" y="9"/>
                  <a:pt x="594" y="9"/>
                  <a:pt x="594" y="9"/>
                </a:cubicBezTo>
                <a:cubicBezTo>
                  <a:pt x="592" y="9"/>
                  <a:pt x="592" y="9"/>
                  <a:pt x="592" y="9"/>
                </a:cubicBezTo>
                <a:cubicBezTo>
                  <a:pt x="587" y="10"/>
                  <a:pt x="587" y="10"/>
                  <a:pt x="587" y="10"/>
                </a:cubicBezTo>
                <a:cubicBezTo>
                  <a:pt x="587" y="10"/>
                  <a:pt x="587" y="10"/>
                  <a:pt x="587" y="10"/>
                </a:cubicBezTo>
                <a:cubicBezTo>
                  <a:pt x="583" y="11"/>
                  <a:pt x="583" y="11"/>
                  <a:pt x="583" y="11"/>
                </a:cubicBezTo>
                <a:cubicBezTo>
                  <a:pt x="582" y="13"/>
                  <a:pt x="582" y="13"/>
                  <a:pt x="582" y="13"/>
                </a:cubicBezTo>
                <a:cubicBezTo>
                  <a:pt x="583" y="19"/>
                  <a:pt x="583" y="19"/>
                  <a:pt x="583" y="19"/>
                </a:cubicBezTo>
                <a:cubicBezTo>
                  <a:pt x="583" y="20"/>
                  <a:pt x="583" y="20"/>
                  <a:pt x="583" y="20"/>
                </a:cubicBezTo>
                <a:cubicBezTo>
                  <a:pt x="583" y="22"/>
                  <a:pt x="583" y="22"/>
                  <a:pt x="583" y="22"/>
                </a:cubicBezTo>
                <a:cubicBezTo>
                  <a:pt x="582" y="22"/>
                  <a:pt x="582" y="22"/>
                  <a:pt x="582" y="22"/>
                </a:cubicBezTo>
                <a:cubicBezTo>
                  <a:pt x="583" y="24"/>
                  <a:pt x="583" y="24"/>
                  <a:pt x="583" y="24"/>
                </a:cubicBezTo>
                <a:cubicBezTo>
                  <a:pt x="584" y="25"/>
                  <a:pt x="584" y="25"/>
                  <a:pt x="584" y="25"/>
                </a:cubicBezTo>
                <a:cubicBezTo>
                  <a:pt x="585" y="24"/>
                  <a:pt x="585" y="24"/>
                  <a:pt x="585" y="24"/>
                </a:cubicBezTo>
                <a:cubicBezTo>
                  <a:pt x="586" y="24"/>
                  <a:pt x="586" y="24"/>
                  <a:pt x="586" y="24"/>
                </a:cubicBezTo>
                <a:cubicBezTo>
                  <a:pt x="587" y="25"/>
                  <a:pt x="587" y="25"/>
                  <a:pt x="587" y="25"/>
                </a:cubicBezTo>
                <a:cubicBezTo>
                  <a:pt x="589" y="25"/>
                  <a:pt x="589" y="25"/>
                  <a:pt x="589" y="25"/>
                </a:cubicBezTo>
                <a:cubicBezTo>
                  <a:pt x="590" y="24"/>
                  <a:pt x="590" y="24"/>
                  <a:pt x="590" y="24"/>
                </a:cubicBezTo>
                <a:cubicBezTo>
                  <a:pt x="590" y="24"/>
                  <a:pt x="590" y="24"/>
                  <a:pt x="590" y="24"/>
                </a:cubicBezTo>
                <a:cubicBezTo>
                  <a:pt x="591" y="25"/>
                  <a:pt x="591" y="25"/>
                  <a:pt x="591" y="25"/>
                </a:cubicBezTo>
                <a:cubicBezTo>
                  <a:pt x="592" y="26"/>
                  <a:pt x="592" y="26"/>
                  <a:pt x="592" y="26"/>
                </a:cubicBezTo>
                <a:cubicBezTo>
                  <a:pt x="593" y="25"/>
                  <a:pt x="593" y="25"/>
                  <a:pt x="593" y="25"/>
                </a:cubicBezTo>
                <a:cubicBezTo>
                  <a:pt x="594" y="26"/>
                  <a:pt x="594" y="26"/>
                  <a:pt x="594" y="26"/>
                </a:cubicBezTo>
                <a:cubicBezTo>
                  <a:pt x="595" y="27"/>
                  <a:pt x="595" y="27"/>
                  <a:pt x="595" y="27"/>
                </a:cubicBezTo>
                <a:cubicBezTo>
                  <a:pt x="596" y="28"/>
                  <a:pt x="596" y="28"/>
                  <a:pt x="596" y="28"/>
                </a:cubicBezTo>
                <a:cubicBezTo>
                  <a:pt x="597" y="27"/>
                  <a:pt x="597" y="27"/>
                  <a:pt x="597" y="27"/>
                </a:cubicBezTo>
                <a:cubicBezTo>
                  <a:pt x="599" y="27"/>
                  <a:pt x="599" y="27"/>
                  <a:pt x="599" y="27"/>
                </a:cubicBezTo>
                <a:cubicBezTo>
                  <a:pt x="599" y="28"/>
                  <a:pt x="599" y="28"/>
                  <a:pt x="599" y="28"/>
                </a:cubicBezTo>
                <a:cubicBezTo>
                  <a:pt x="602" y="28"/>
                  <a:pt x="602" y="28"/>
                  <a:pt x="602" y="28"/>
                </a:cubicBezTo>
                <a:cubicBezTo>
                  <a:pt x="603" y="28"/>
                  <a:pt x="603" y="28"/>
                  <a:pt x="603" y="28"/>
                </a:cubicBezTo>
                <a:cubicBezTo>
                  <a:pt x="605" y="29"/>
                  <a:pt x="605" y="29"/>
                  <a:pt x="605" y="29"/>
                </a:cubicBezTo>
                <a:cubicBezTo>
                  <a:pt x="606" y="28"/>
                  <a:pt x="606" y="28"/>
                  <a:pt x="606" y="28"/>
                </a:cubicBezTo>
                <a:cubicBezTo>
                  <a:pt x="608" y="28"/>
                  <a:pt x="608" y="28"/>
                  <a:pt x="608" y="28"/>
                </a:cubicBezTo>
                <a:cubicBezTo>
                  <a:pt x="610" y="29"/>
                  <a:pt x="610" y="29"/>
                  <a:pt x="610" y="29"/>
                </a:cubicBezTo>
                <a:cubicBezTo>
                  <a:pt x="612" y="28"/>
                  <a:pt x="612" y="28"/>
                  <a:pt x="612" y="28"/>
                </a:cubicBezTo>
                <a:cubicBezTo>
                  <a:pt x="614" y="29"/>
                  <a:pt x="614" y="29"/>
                  <a:pt x="614" y="29"/>
                </a:cubicBezTo>
                <a:cubicBezTo>
                  <a:pt x="614" y="30"/>
                  <a:pt x="614" y="30"/>
                  <a:pt x="614" y="30"/>
                </a:cubicBezTo>
                <a:cubicBezTo>
                  <a:pt x="616" y="29"/>
                  <a:pt x="616" y="29"/>
                  <a:pt x="616" y="29"/>
                </a:cubicBezTo>
                <a:cubicBezTo>
                  <a:pt x="616" y="31"/>
                  <a:pt x="616" y="31"/>
                  <a:pt x="616" y="31"/>
                </a:cubicBezTo>
                <a:cubicBezTo>
                  <a:pt x="618" y="33"/>
                  <a:pt x="618" y="33"/>
                  <a:pt x="618" y="33"/>
                </a:cubicBezTo>
                <a:cubicBezTo>
                  <a:pt x="618" y="33"/>
                  <a:pt x="618" y="33"/>
                  <a:pt x="618" y="33"/>
                </a:cubicBezTo>
                <a:cubicBezTo>
                  <a:pt x="618" y="34"/>
                  <a:pt x="618" y="34"/>
                  <a:pt x="618" y="34"/>
                </a:cubicBezTo>
                <a:cubicBezTo>
                  <a:pt x="620" y="34"/>
                  <a:pt x="620" y="34"/>
                  <a:pt x="620" y="34"/>
                </a:cubicBezTo>
                <a:cubicBezTo>
                  <a:pt x="621" y="35"/>
                  <a:pt x="621" y="35"/>
                  <a:pt x="621" y="35"/>
                </a:cubicBezTo>
                <a:cubicBezTo>
                  <a:pt x="622" y="36"/>
                  <a:pt x="622" y="36"/>
                  <a:pt x="622" y="36"/>
                </a:cubicBezTo>
                <a:cubicBezTo>
                  <a:pt x="623" y="36"/>
                  <a:pt x="623" y="36"/>
                  <a:pt x="623" y="36"/>
                </a:cubicBezTo>
                <a:cubicBezTo>
                  <a:pt x="624" y="38"/>
                  <a:pt x="624" y="38"/>
                  <a:pt x="624" y="38"/>
                </a:cubicBezTo>
                <a:cubicBezTo>
                  <a:pt x="624" y="38"/>
                  <a:pt x="624" y="38"/>
                  <a:pt x="624" y="38"/>
                </a:cubicBezTo>
                <a:cubicBezTo>
                  <a:pt x="624" y="40"/>
                  <a:pt x="624" y="40"/>
                  <a:pt x="624" y="40"/>
                </a:cubicBezTo>
                <a:cubicBezTo>
                  <a:pt x="625" y="42"/>
                  <a:pt x="625" y="42"/>
                  <a:pt x="625" y="42"/>
                </a:cubicBezTo>
                <a:cubicBezTo>
                  <a:pt x="628" y="43"/>
                  <a:pt x="628" y="43"/>
                  <a:pt x="628" y="43"/>
                </a:cubicBezTo>
                <a:cubicBezTo>
                  <a:pt x="628" y="45"/>
                  <a:pt x="628" y="45"/>
                  <a:pt x="628" y="45"/>
                </a:cubicBezTo>
                <a:cubicBezTo>
                  <a:pt x="628" y="45"/>
                  <a:pt x="628" y="45"/>
                  <a:pt x="628" y="45"/>
                </a:cubicBezTo>
                <a:cubicBezTo>
                  <a:pt x="628" y="46"/>
                  <a:pt x="628" y="46"/>
                  <a:pt x="628" y="46"/>
                </a:cubicBezTo>
                <a:cubicBezTo>
                  <a:pt x="627" y="46"/>
                  <a:pt x="627" y="46"/>
                  <a:pt x="627" y="46"/>
                </a:cubicBezTo>
                <a:cubicBezTo>
                  <a:pt x="624" y="45"/>
                  <a:pt x="624" y="45"/>
                  <a:pt x="624" y="45"/>
                </a:cubicBezTo>
                <a:cubicBezTo>
                  <a:pt x="621" y="44"/>
                  <a:pt x="621" y="44"/>
                  <a:pt x="621" y="44"/>
                </a:cubicBezTo>
                <a:cubicBezTo>
                  <a:pt x="619" y="45"/>
                  <a:pt x="619" y="45"/>
                  <a:pt x="619" y="45"/>
                </a:cubicBezTo>
                <a:cubicBezTo>
                  <a:pt x="618" y="44"/>
                  <a:pt x="618" y="44"/>
                  <a:pt x="618" y="44"/>
                </a:cubicBezTo>
                <a:cubicBezTo>
                  <a:pt x="617" y="44"/>
                  <a:pt x="617" y="44"/>
                  <a:pt x="617" y="44"/>
                </a:cubicBezTo>
                <a:cubicBezTo>
                  <a:pt x="616" y="44"/>
                  <a:pt x="616" y="44"/>
                  <a:pt x="616" y="44"/>
                </a:cubicBezTo>
                <a:cubicBezTo>
                  <a:pt x="614" y="43"/>
                  <a:pt x="614" y="43"/>
                  <a:pt x="614" y="43"/>
                </a:cubicBezTo>
                <a:cubicBezTo>
                  <a:pt x="613" y="43"/>
                  <a:pt x="613" y="43"/>
                  <a:pt x="613" y="43"/>
                </a:cubicBezTo>
                <a:cubicBezTo>
                  <a:pt x="612" y="41"/>
                  <a:pt x="612" y="41"/>
                  <a:pt x="612" y="41"/>
                </a:cubicBezTo>
                <a:cubicBezTo>
                  <a:pt x="611" y="41"/>
                  <a:pt x="611" y="41"/>
                  <a:pt x="611" y="41"/>
                </a:cubicBezTo>
                <a:cubicBezTo>
                  <a:pt x="609" y="41"/>
                  <a:pt x="609" y="41"/>
                  <a:pt x="609" y="41"/>
                </a:cubicBezTo>
                <a:cubicBezTo>
                  <a:pt x="608" y="41"/>
                  <a:pt x="608" y="41"/>
                  <a:pt x="608" y="41"/>
                </a:cubicBezTo>
                <a:cubicBezTo>
                  <a:pt x="607" y="40"/>
                  <a:pt x="607" y="40"/>
                  <a:pt x="607" y="40"/>
                </a:cubicBezTo>
                <a:cubicBezTo>
                  <a:pt x="605" y="39"/>
                  <a:pt x="605" y="39"/>
                  <a:pt x="605" y="39"/>
                </a:cubicBezTo>
                <a:cubicBezTo>
                  <a:pt x="604" y="37"/>
                  <a:pt x="604" y="37"/>
                  <a:pt x="604" y="37"/>
                </a:cubicBezTo>
                <a:cubicBezTo>
                  <a:pt x="603" y="37"/>
                  <a:pt x="603" y="37"/>
                  <a:pt x="603" y="37"/>
                </a:cubicBezTo>
                <a:cubicBezTo>
                  <a:pt x="602" y="37"/>
                  <a:pt x="602" y="37"/>
                  <a:pt x="602" y="37"/>
                </a:cubicBezTo>
                <a:cubicBezTo>
                  <a:pt x="600" y="37"/>
                  <a:pt x="600" y="37"/>
                  <a:pt x="600" y="37"/>
                </a:cubicBezTo>
                <a:cubicBezTo>
                  <a:pt x="599" y="37"/>
                  <a:pt x="599" y="37"/>
                  <a:pt x="599" y="37"/>
                </a:cubicBezTo>
                <a:cubicBezTo>
                  <a:pt x="595" y="37"/>
                  <a:pt x="595" y="37"/>
                  <a:pt x="595" y="37"/>
                </a:cubicBezTo>
                <a:cubicBezTo>
                  <a:pt x="592" y="36"/>
                  <a:pt x="592" y="36"/>
                  <a:pt x="592" y="36"/>
                </a:cubicBezTo>
                <a:cubicBezTo>
                  <a:pt x="590" y="36"/>
                  <a:pt x="590" y="36"/>
                  <a:pt x="590" y="36"/>
                </a:cubicBezTo>
                <a:cubicBezTo>
                  <a:pt x="582" y="36"/>
                  <a:pt x="582" y="36"/>
                  <a:pt x="582" y="36"/>
                </a:cubicBezTo>
                <a:cubicBezTo>
                  <a:pt x="581" y="36"/>
                  <a:pt x="581" y="36"/>
                  <a:pt x="581" y="36"/>
                </a:cubicBezTo>
                <a:cubicBezTo>
                  <a:pt x="579" y="37"/>
                  <a:pt x="579" y="37"/>
                  <a:pt x="579" y="37"/>
                </a:cubicBezTo>
                <a:cubicBezTo>
                  <a:pt x="577" y="38"/>
                  <a:pt x="577" y="38"/>
                  <a:pt x="577" y="38"/>
                </a:cubicBezTo>
                <a:cubicBezTo>
                  <a:pt x="577" y="42"/>
                  <a:pt x="577" y="42"/>
                  <a:pt x="577" y="42"/>
                </a:cubicBezTo>
                <a:cubicBezTo>
                  <a:pt x="576" y="44"/>
                  <a:pt x="576" y="44"/>
                  <a:pt x="576" y="44"/>
                </a:cubicBezTo>
                <a:cubicBezTo>
                  <a:pt x="576" y="47"/>
                  <a:pt x="576" y="47"/>
                  <a:pt x="576" y="47"/>
                </a:cubicBezTo>
                <a:cubicBezTo>
                  <a:pt x="575" y="49"/>
                  <a:pt x="575" y="49"/>
                  <a:pt x="575" y="49"/>
                </a:cubicBezTo>
                <a:lnTo>
                  <a:pt x="576" y="50"/>
                </a:lnTo>
                <a:close/>
                <a:moveTo>
                  <a:pt x="727" y="13"/>
                </a:moveTo>
                <a:cubicBezTo>
                  <a:pt x="727" y="15"/>
                  <a:pt x="727" y="15"/>
                  <a:pt x="727" y="15"/>
                </a:cubicBezTo>
                <a:cubicBezTo>
                  <a:pt x="728" y="16"/>
                  <a:pt x="728" y="16"/>
                  <a:pt x="728" y="16"/>
                </a:cubicBezTo>
                <a:cubicBezTo>
                  <a:pt x="730" y="16"/>
                  <a:pt x="730" y="16"/>
                  <a:pt x="730" y="16"/>
                </a:cubicBezTo>
                <a:cubicBezTo>
                  <a:pt x="730" y="17"/>
                  <a:pt x="730" y="17"/>
                  <a:pt x="730" y="17"/>
                </a:cubicBezTo>
                <a:cubicBezTo>
                  <a:pt x="732" y="16"/>
                  <a:pt x="732" y="16"/>
                  <a:pt x="732" y="16"/>
                </a:cubicBezTo>
                <a:cubicBezTo>
                  <a:pt x="733" y="16"/>
                  <a:pt x="733" y="16"/>
                  <a:pt x="733" y="16"/>
                </a:cubicBezTo>
                <a:cubicBezTo>
                  <a:pt x="733" y="18"/>
                  <a:pt x="733" y="18"/>
                  <a:pt x="733" y="18"/>
                </a:cubicBezTo>
                <a:cubicBezTo>
                  <a:pt x="734" y="19"/>
                  <a:pt x="734" y="19"/>
                  <a:pt x="734" y="19"/>
                </a:cubicBezTo>
                <a:cubicBezTo>
                  <a:pt x="735" y="19"/>
                  <a:pt x="735" y="19"/>
                  <a:pt x="735" y="19"/>
                </a:cubicBezTo>
                <a:cubicBezTo>
                  <a:pt x="736" y="22"/>
                  <a:pt x="736" y="22"/>
                  <a:pt x="736" y="22"/>
                </a:cubicBezTo>
                <a:cubicBezTo>
                  <a:pt x="736" y="25"/>
                  <a:pt x="736" y="25"/>
                  <a:pt x="736" y="25"/>
                </a:cubicBezTo>
                <a:cubicBezTo>
                  <a:pt x="737" y="27"/>
                  <a:pt x="737" y="27"/>
                  <a:pt x="737" y="27"/>
                </a:cubicBezTo>
                <a:cubicBezTo>
                  <a:pt x="737" y="29"/>
                  <a:pt x="737" y="29"/>
                  <a:pt x="737" y="29"/>
                </a:cubicBezTo>
                <a:cubicBezTo>
                  <a:pt x="738" y="30"/>
                  <a:pt x="738" y="30"/>
                  <a:pt x="738" y="30"/>
                </a:cubicBezTo>
                <a:cubicBezTo>
                  <a:pt x="740" y="31"/>
                  <a:pt x="740" y="31"/>
                  <a:pt x="740" y="31"/>
                </a:cubicBezTo>
                <a:cubicBezTo>
                  <a:pt x="739" y="32"/>
                  <a:pt x="739" y="32"/>
                  <a:pt x="739" y="32"/>
                </a:cubicBezTo>
                <a:cubicBezTo>
                  <a:pt x="739" y="35"/>
                  <a:pt x="739" y="35"/>
                  <a:pt x="739" y="35"/>
                </a:cubicBezTo>
                <a:cubicBezTo>
                  <a:pt x="738" y="38"/>
                  <a:pt x="738" y="38"/>
                  <a:pt x="738" y="38"/>
                </a:cubicBezTo>
                <a:cubicBezTo>
                  <a:pt x="740" y="39"/>
                  <a:pt x="740" y="39"/>
                  <a:pt x="740" y="39"/>
                </a:cubicBezTo>
                <a:cubicBezTo>
                  <a:pt x="740" y="41"/>
                  <a:pt x="740" y="41"/>
                  <a:pt x="740" y="41"/>
                </a:cubicBezTo>
                <a:cubicBezTo>
                  <a:pt x="740" y="43"/>
                  <a:pt x="740" y="43"/>
                  <a:pt x="740" y="43"/>
                </a:cubicBezTo>
                <a:cubicBezTo>
                  <a:pt x="740" y="44"/>
                  <a:pt x="740" y="44"/>
                  <a:pt x="740" y="44"/>
                </a:cubicBezTo>
                <a:cubicBezTo>
                  <a:pt x="741" y="43"/>
                  <a:pt x="741" y="43"/>
                  <a:pt x="741" y="43"/>
                </a:cubicBezTo>
                <a:cubicBezTo>
                  <a:pt x="742" y="44"/>
                  <a:pt x="742" y="44"/>
                  <a:pt x="742" y="44"/>
                </a:cubicBezTo>
                <a:cubicBezTo>
                  <a:pt x="742" y="46"/>
                  <a:pt x="742" y="46"/>
                  <a:pt x="742" y="46"/>
                </a:cubicBezTo>
                <a:cubicBezTo>
                  <a:pt x="743" y="47"/>
                  <a:pt x="743" y="47"/>
                  <a:pt x="743" y="47"/>
                </a:cubicBezTo>
                <a:cubicBezTo>
                  <a:pt x="743" y="47"/>
                  <a:pt x="746" y="46"/>
                  <a:pt x="746" y="46"/>
                </a:cubicBezTo>
                <a:cubicBezTo>
                  <a:pt x="747" y="44"/>
                  <a:pt x="747" y="44"/>
                  <a:pt x="747" y="44"/>
                </a:cubicBezTo>
                <a:cubicBezTo>
                  <a:pt x="749" y="43"/>
                  <a:pt x="749" y="43"/>
                  <a:pt x="749" y="43"/>
                </a:cubicBezTo>
                <a:cubicBezTo>
                  <a:pt x="750" y="41"/>
                  <a:pt x="750" y="41"/>
                  <a:pt x="750" y="41"/>
                </a:cubicBezTo>
                <a:cubicBezTo>
                  <a:pt x="749" y="40"/>
                  <a:pt x="749" y="40"/>
                  <a:pt x="749" y="40"/>
                </a:cubicBezTo>
                <a:cubicBezTo>
                  <a:pt x="747" y="36"/>
                  <a:pt x="747" y="36"/>
                  <a:pt x="747" y="36"/>
                </a:cubicBezTo>
                <a:cubicBezTo>
                  <a:pt x="748" y="34"/>
                  <a:pt x="748" y="34"/>
                  <a:pt x="748" y="34"/>
                </a:cubicBezTo>
                <a:cubicBezTo>
                  <a:pt x="751" y="31"/>
                  <a:pt x="751" y="31"/>
                  <a:pt x="751" y="31"/>
                </a:cubicBezTo>
                <a:cubicBezTo>
                  <a:pt x="751" y="33"/>
                  <a:pt x="751" y="33"/>
                  <a:pt x="751" y="33"/>
                </a:cubicBezTo>
                <a:cubicBezTo>
                  <a:pt x="749" y="35"/>
                  <a:pt x="749" y="35"/>
                  <a:pt x="749" y="35"/>
                </a:cubicBezTo>
                <a:cubicBezTo>
                  <a:pt x="750" y="39"/>
                  <a:pt x="750" y="39"/>
                  <a:pt x="750" y="39"/>
                </a:cubicBezTo>
                <a:cubicBezTo>
                  <a:pt x="751" y="39"/>
                  <a:pt x="751" y="39"/>
                  <a:pt x="751" y="39"/>
                </a:cubicBezTo>
                <a:cubicBezTo>
                  <a:pt x="753" y="38"/>
                  <a:pt x="753" y="38"/>
                  <a:pt x="753" y="38"/>
                </a:cubicBezTo>
                <a:cubicBezTo>
                  <a:pt x="756" y="40"/>
                  <a:pt x="756" y="40"/>
                  <a:pt x="756" y="40"/>
                </a:cubicBezTo>
                <a:cubicBezTo>
                  <a:pt x="758" y="39"/>
                  <a:pt x="758" y="39"/>
                  <a:pt x="758" y="39"/>
                </a:cubicBezTo>
                <a:cubicBezTo>
                  <a:pt x="758" y="38"/>
                  <a:pt x="758" y="38"/>
                  <a:pt x="758" y="38"/>
                </a:cubicBezTo>
                <a:cubicBezTo>
                  <a:pt x="761" y="36"/>
                  <a:pt x="761" y="36"/>
                  <a:pt x="761" y="36"/>
                </a:cubicBezTo>
                <a:cubicBezTo>
                  <a:pt x="763" y="37"/>
                  <a:pt x="763" y="37"/>
                  <a:pt x="763" y="37"/>
                </a:cubicBezTo>
                <a:cubicBezTo>
                  <a:pt x="764" y="35"/>
                  <a:pt x="764" y="35"/>
                  <a:pt x="764" y="35"/>
                </a:cubicBezTo>
                <a:cubicBezTo>
                  <a:pt x="765" y="36"/>
                  <a:pt x="765" y="36"/>
                  <a:pt x="765" y="36"/>
                </a:cubicBezTo>
                <a:cubicBezTo>
                  <a:pt x="767" y="34"/>
                  <a:pt x="767" y="34"/>
                  <a:pt x="767" y="34"/>
                </a:cubicBezTo>
                <a:cubicBezTo>
                  <a:pt x="766" y="33"/>
                  <a:pt x="766" y="33"/>
                  <a:pt x="766" y="33"/>
                </a:cubicBezTo>
                <a:cubicBezTo>
                  <a:pt x="768" y="32"/>
                  <a:pt x="768" y="32"/>
                  <a:pt x="768" y="32"/>
                </a:cubicBezTo>
                <a:cubicBezTo>
                  <a:pt x="768" y="31"/>
                  <a:pt x="768" y="31"/>
                  <a:pt x="768" y="31"/>
                </a:cubicBezTo>
                <a:cubicBezTo>
                  <a:pt x="766" y="30"/>
                  <a:pt x="766" y="30"/>
                  <a:pt x="766" y="30"/>
                </a:cubicBezTo>
                <a:cubicBezTo>
                  <a:pt x="766" y="29"/>
                  <a:pt x="766" y="29"/>
                  <a:pt x="766" y="29"/>
                </a:cubicBezTo>
                <a:cubicBezTo>
                  <a:pt x="767" y="28"/>
                  <a:pt x="767" y="28"/>
                  <a:pt x="767" y="28"/>
                </a:cubicBezTo>
                <a:cubicBezTo>
                  <a:pt x="767" y="29"/>
                  <a:pt x="767" y="29"/>
                  <a:pt x="767" y="29"/>
                </a:cubicBezTo>
                <a:cubicBezTo>
                  <a:pt x="769" y="29"/>
                  <a:pt x="769" y="29"/>
                  <a:pt x="769" y="29"/>
                </a:cubicBezTo>
                <a:cubicBezTo>
                  <a:pt x="769" y="26"/>
                  <a:pt x="769" y="26"/>
                  <a:pt x="769" y="26"/>
                </a:cubicBezTo>
                <a:cubicBezTo>
                  <a:pt x="769" y="25"/>
                  <a:pt x="769" y="25"/>
                  <a:pt x="769" y="25"/>
                </a:cubicBezTo>
                <a:cubicBezTo>
                  <a:pt x="769" y="24"/>
                  <a:pt x="769" y="24"/>
                  <a:pt x="769" y="24"/>
                </a:cubicBezTo>
                <a:cubicBezTo>
                  <a:pt x="771" y="24"/>
                  <a:pt x="771" y="24"/>
                  <a:pt x="771" y="24"/>
                </a:cubicBezTo>
                <a:cubicBezTo>
                  <a:pt x="774" y="22"/>
                  <a:pt x="774" y="22"/>
                  <a:pt x="774" y="22"/>
                </a:cubicBezTo>
                <a:cubicBezTo>
                  <a:pt x="774" y="20"/>
                  <a:pt x="774" y="20"/>
                  <a:pt x="774" y="20"/>
                </a:cubicBezTo>
                <a:cubicBezTo>
                  <a:pt x="776" y="17"/>
                  <a:pt x="776" y="17"/>
                  <a:pt x="776" y="17"/>
                </a:cubicBezTo>
                <a:cubicBezTo>
                  <a:pt x="775" y="14"/>
                  <a:pt x="775" y="14"/>
                  <a:pt x="775" y="14"/>
                </a:cubicBezTo>
                <a:cubicBezTo>
                  <a:pt x="776" y="13"/>
                  <a:pt x="776" y="13"/>
                  <a:pt x="776" y="13"/>
                </a:cubicBezTo>
                <a:cubicBezTo>
                  <a:pt x="775" y="13"/>
                  <a:pt x="775" y="13"/>
                  <a:pt x="775" y="13"/>
                </a:cubicBezTo>
                <a:cubicBezTo>
                  <a:pt x="774" y="14"/>
                  <a:pt x="774" y="14"/>
                  <a:pt x="774" y="14"/>
                </a:cubicBezTo>
                <a:cubicBezTo>
                  <a:pt x="772" y="15"/>
                  <a:pt x="772" y="15"/>
                  <a:pt x="772" y="15"/>
                </a:cubicBezTo>
                <a:cubicBezTo>
                  <a:pt x="771" y="17"/>
                  <a:pt x="771" y="17"/>
                  <a:pt x="771" y="17"/>
                </a:cubicBezTo>
                <a:cubicBezTo>
                  <a:pt x="771" y="16"/>
                  <a:pt x="771" y="16"/>
                  <a:pt x="771" y="16"/>
                </a:cubicBezTo>
                <a:cubicBezTo>
                  <a:pt x="771" y="14"/>
                  <a:pt x="771" y="14"/>
                  <a:pt x="771" y="14"/>
                </a:cubicBezTo>
                <a:cubicBezTo>
                  <a:pt x="772" y="13"/>
                  <a:pt x="772" y="13"/>
                  <a:pt x="772" y="13"/>
                </a:cubicBezTo>
                <a:cubicBezTo>
                  <a:pt x="772" y="11"/>
                  <a:pt x="772" y="11"/>
                  <a:pt x="772" y="11"/>
                </a:cubicBezTo>
                <a:cubicBezTo>
                  <a:pt x="772" y="10"/>
                  <a:pt x="772" y="10"/>
                  <a:pt x="772" y="10"/>
                </a:cubicBezTo>
                <a:cubicBezTo>
                  <a:pt x="770" y="9"/>
                  <a:pt x="770" y="9"/>
                  <a:pt x="770" y="9"/>
                </a:cubicBezTo>
                <a:cubicBezTo>
                  <a:pt x="772" y="9"/>
                  <a:pt x="772" y="9"/>
                  <a:pt x="772" y="9"/>
                </a:cubicBezTo>
                <a:cubicBezTo>
                  <a:pt x="773" y="8"/>
                  <a:pt x="773" y="8"/>
                  <a:pt x="773" y="8"/>
                </a:cubicBezTo>
                <a:cubicBezTo>
                  <a:pt x="772" y="6"/>
                  <a:pt x="772" y="6"/>
                  <a:pt x="772" y="6"/>
                </a:cubicBezTo>
                <a:cubicBezTo>
                  <a:pt x="769" y="4"/>
                  <a:pt x="769" y="4"/>
                  <a:pt x="769" y="4"/>
                </a:cubicBezTo>
                <a:cubicBezTo>
                  <a:pt x="768" y="5"/>
                  <a:pt x="768" y="5"/>
                  <a:pt x="768" y="5"/>
                </a:cubicBezTo>
                <a:cubicBezTo>
                  <a:pt x="765" y="5"/>
                  <a:pt x="765" y="5"/>
                  <a:pt x="765" y="5"/>
                </a:cubicBezTo>
                <a:cubicBezTo>
                  <a:pt x="764" y="6"/>
                  <a:pt x="764" y="6"/>
                  <a:pt x="764" y="6"/>
                </a:cubicBezTo>
                <a:cubicBezTo>
                  <a:pt x="763" y="6"/>
                  <a:pt x="763" y="6"/>
                  <a:pt x="763" y="6"/>
                </a:cubicBezTo>
                <a:cubicBezTo>
                  <a:pt x="763" y="5"/>
                  <a:pt x="763" y="5"/>
                  <a:pt x="763" y="5"/>
                </a:cubicBezTo>
                <a:cubicBezTo>
                  <a:pt x="765" y="3"/>
                  <a:pt x="765" y="3"/>
                  <a:pt x="765" y="3"/>
                </a:cubicBezTo>
                <a:cubicBezTo>
                  <a:pt x="766" y="2"/>
                  <a:pt x="766" y="2"/>
                  <a:pt x="766" y="2"/>
                </a:cubicBezTo>
                <a:cubicBezTo>
                  <a:pt x="768" y="1"/>
                  <a:pt x="768" y="1"/>
                  <a:pt x="768" y="1"/>
                </a:cubicBezTo>
                <a:cubicBezTo>
                  <a:pt x="769" y="0"/>
                  <a:pt x="769" y="0"/>
                  <a:pt x="769" y="0"/>
                </a:cubicBezTo>
                <a:cubicBezTo>
                  <a:pt x="751" y="0"/>
                  <a:pt x="751" y="0"/>
                  <a:pt x="751" y="0"/>
                </a:cubicBezTo>
                <a:cubicBezTo>
                  <a:pt x="750" y="2"/>
                  <a:pt x="750" y="2"/>
                  <a:pt x="750" y="2"/>
                </a:cubicBezTo>
                <a:cubicBezTo>
                  <a:pt x="749" y="3"/>
                  <a:pt x="749" y="3"/>
                  <a:pt x="749" y="3"/>
                </a:cubicBezTo>
                <a:cubicBezTo>
                  <a:pt x="749" y="4"/>
                  <a:pt x="749" y="4"/>
                  <a:pt x="749" y="4"/>
                </a:cubicBezTo>
                <a:cubicBezTo>
                  <a:pt x="748" y="7"/>
                  <a:pt x="748" y="7"/>
                  <a:pt x="748" y="7"/>
                </a:cubicBezTo>
                <a:cubicBezTo>
                  <a:pt x="747" y="7"/>
                  <a:pt x="747" y="7"/>
                  <a:pt x="747" y="7"/>
                </a:cubicBezTo>
                <a:cubicBezTo>
                  <a:pt x="747" y="9"/>
                  <a:pt x="747" y="9"/>
                  <a:pt x="747" y="9"/>
                </a:cubicBezTo>
                <a:cubicBezTo>
                  <a:pt x="746" y="10"/>
                  <a:pt x="746" y="10"/>
                  <a:pt x="746" y="10"/>
                </a:cubicBezTo>
                <a:cubicBezTo>
                  <a:pt x="744" y="10"/>
                  <a:pt x="744" y="10"/>
                  <a:pt x="744" y="10"/>
                </a:cubicBezTo>
                <a:cubicBezTo>
                  <a:pt x="743" y="8"/>
                  <a:pt x="743" y="8"/>
                  <a:pt x="743" y="8"/>
                </a:cubicBezTo>
                <a:cubicBezTo>
                  <a:pt x="743" y="6"/>
                  <a:pt x="743" y="6"/>
                  <a:pt x="743" y="6"/>
                </a:cubicBezTo>
                <a:cubicBezTo>
                  <a:pt x="741" y="3"/>
                  <a:pt x="741" y="3"/>
                  <a:pt x="741" y="3"/>
                </a:cubicBezTo>
                <a:cubicBezTo>
                  <a:pt x="741" y="2"/>
                  <a:pt x="741" y="2"/>
                  <a:pt x="741" y="2"/>
                </a:cubicBezTo>
                <a:cubicBezTo>
                  <a:pt x="741" y="0"/>
                  <a:pt x="741" y="0"/>
                  <a:pt x="741" y="0"/>
                </a:cubicBezTo>
                <a:cubicBezTo>
                  <a:pt x="740" y="0"/>
                  <a:pt x="740" y="0"/>
                  <a:pt x="740" y="0"/>
                </a:cubicBezTo>
                <a:cubicBezTo>
                  <a:pt x="729" y="0"/>
                  <a:pt x="729" y="0"/>
                  <a:pt x="729" y="0"/>
                </a:cubicBezTo>
                <a:cubicBezTo>
                  <a:pt x="728" y="2"/>
                  <a:pt x="728" y="2"/>
                  <a:pt x="728" y="2"/>
                </a:cubicBezTo>
                <a:cubicBezTo>
                  <a:pt x="729" y="3"/>
                  <a:pt x="729" y="3"/>
                  <a:pt x="729" y="3"/>
                </a:cubicBezTo>
                <a:cubicBezTo>
                  <a:pt x="729" y="6"/>
                  <a:pt x="729" y="6"/>
                  <a:pt x="729" y="6"/>
                </a:cubicBezTo>
                <a:cubicBezTo>
                  <a:pt x="728" y="8"/>
                  <a:pt x="728" y="8"/>
                  <a:pt x="728" y="8"/>
                </a:cubicBezTo>
                <a:cubicBezTo>
                  <a:pt x="730" y="9"/>
                  <a:pt x="730" y="9"/>
                  <a:pt x="730" y="9"/>
                </a:cubicBezTo>
                <a:cubicBezTo>
                  <a:pt x="729" y="12"/>
                  <a:pt x="729" y="12"/>
                  <a:pt x="729" y="12"/>
                </a:cubicBezTo>
                <a:lnTo>
                  <a:pt x="727" y="13"/>
                </a:lnTo>
                <a:close/>
                <a:moveTo>
                  <a:pt x="777" y="29"/>
                </a:moveTo>
                <a:cubicBezTo>
                  <a:pt x="778" y="30"/>
                  <a:pt x="778" y="30"/>
                  <a:pt x="778" y="30"/>
                </a:cubicBezTo>
                <a:cubicBezTo>
                  <a:pt x="780" y="30"/>
                  <a:pt x="780" y="30"/>
                  <a:pt x="780" y="30"/>
                </a:cubicBezTo>
                <a:cubicBezTo>
                  <a:pt x="780" y="31"/>
                  <a:pt x="780" y="31"/>
                  <a:pt x="780" y="31"/>
                </a:cubicBezTo>
                <a:cubicBezTo>
                  <a:pt x="779" y="31"/>
                  <a:pt x="779" y="31"/>
                  <a:pt x="779" y="31"/>
                </a:cubicBezTo>
                <a:cubicBezTo>
                  <a:pt x="778" y="31"/>
                  <a:pt x="778" y="31"/>
                  <a:pt x="778" y="31"/>
                </a:cubicBezTo>
                <a:cubicBezTo>
                  <a:pt x="776" y="32"/>
                  <a:pt x="776" y="32"/>
                  <a:pt x="776" y="32"/>
                </a:cubicBezTo>
                <a:cubicBezTo>
                  <a:pt x="775" y="34"/>
                  <a:pt x="775" y="34"/>
                  <a:pt x="775" y="34"/>
                </a:cubicBezTo>
                <a:cubicBezTo>
                  <a:pt x="779" y="34"/>
                  <a:pt x="779" y="34"/>
                  <a:pt x="779" y="34"/>
                </a:cubicBezTo>
                <a:cubicBezTo>
                  <a:pt x="780" y="34"/>
                  <a:pt x="780" y="34"/>
                  <a:pt x="780" y="34"/>
                </a:cubicBezTo>
                <a:cubicBezTo>
                  <a:pt x="783" y="36"/>
                  <a:pt x="783" y="36"/>
                  <a:pt x="783" y="36"/>
                </a:cubicBezTo>
                <a:cubicBezTo>
                  <a:pt x="783" y="36"/>
                  <a:pt x="784" y="35"/>
                  <a:pt x="784" y="35"/>
                </a:cubicBezTo>
                <a:cubicBezTo>
                  <a:pt x="784" y="34"/>
                  <a:pt x="784" y="34"/>
                  <a:pt x="784" y="34"/>
                </a:cubicBezTo>
                <a:cubicBezTo>
                  <a:pt x="785" y="34"/>
                  <a:pt x="785" y="34"/>
                  <a:pt x="785" y="34"/>
                </a:cubicBezTo>
                <a:cubicBezTo>
                  <a:pt x="787" y="32"/>
                  <a:pt x="787" y="32"/>
                  <a:pt x="787" y="32"/>
                </a:cubicBezTo>
                <a:cubicBezTo>
                  <a:pt x="788" y="30"/>
                  <a:pt x="788" y="30"/>
                  <a:pt x="788" y="30"/>
                </a:cubicBezTo>
                <a:cubicBezTo>
                  <a:pt x="789" y="29"/>
                  <a:pt x="789" y="29"/>
                  <a:pt x="789" y="29"/>
                </a:cubicBezTo>
                <a:cubicBezTo>
                  <a:pt x="791" y="29"/>
                  <a:pt x="791" y="29"/>
                  <a:pt x="791" y="29"/>
                </a:cubicBezTo>
                <a:cubicBezTo>
                  <a:pt x="792" y="28"/>
                  <a:pt x="792" y="28"/>
                  <a:pt x="792" y="28"/>
                </a:cubicBezTo>
                <a:cubicBezTo>
                  <a:pt x="793" y="27"/>
                  <a:pt x="793" y="27"/>
                  <a:pt x="793" y="27"/>
                </a:cubicBezTo>
                <a:cubicBezTo>
                  <a:pt x="794" y="25"/>
                  <a:pt x="794" y="25"/>
                  <a:pt x="794" y="25"/>
                </a:cubicBezTo>
                <a:cubicBezTo>
                  <a:pt x="794" y="23"/>
                  <a:pt x="794" y="23"/>
                  <a:pt x="794" y="23"/>
                </a:cubicBezTo>
                <a:cubicBezTo>
                  <a:pt x="793" y="22"/>
                  <a:pt x="793" y="22"/>
                  <a:pt x="793" y="22"/>
                </a:cubicBezTo>
                <a:cubicBezTo>
                  <a:pt x="795" y="21"/>
                  <a:pt x="795" y="21"/>
                  <a:pt x="795" y="21"/>
                </a:cubicBezTo>
                <a:cubicBezTo>
                  <a:pt x="795" y="19"/>
                  <a:pt x="795" y="19"/>
                  <a:pt x="795" y="19"/>
                </a:cubicBezTo>
                <a:cubicBezTo>
                  <a:pt x="791" y="19"/>
                  <a:pt x="791" y="19"/>
                  <a:pt x="791" y="19"/>
                </a:cubicBezTo>
                <a:cubicBezTo>
                  <a:pt x="791" y="18"/>
                  <a:pt x="791" y="18"/>
                  <a:pt x="791" y="18"/>
                </a:cubicBezTo>
                <a:cubicBezTo>
                  <a:pt x="791" y="17"/>
                  <a:pt x="791" y="17"/>
                  <a:pt x="791" y="17"/>
                </a:cubicBezTo>
                <a:cubicBezTo>
                  <a:pt x="792" y="17"/>
                  <a:pt x="792" y="17"/>
                  <a:pt x="792" y="17"/>
                </a:cubicBezTo>
                <a:cubicBezTo>
                  <a:pt x="794" y="18"/>
                  <a:pt x="794" y="18"/>
                  <a:pt x="794" y="18"/>
                </a:cubicBezTo>
                <a:cubicBezTo>
                  <a:pt x="795" y="18"/>
                  <a:pt x="795" y="18"/>
                  <a:pt x="795" y="18"/>
                </a:cubicBezTo>
                <a:cubicBezTo>
                  <a:pt x="797" y="18"/>
                  <a:pt x="797" y="18"/>
                  <a:pt x="797" y="18"/>
                </a:cubicBezTo>
                <a:cubicBezTo>
                  <a:pt x="799" y="17"/>
                  <a:pt x="799" y="17"/>
                  <a:pt x="799" y="17"/>
                </a:cubicBezTo>
                <a:cubicBezTo>
                  <a:pt x="800" y="18"/>
                  <a:pt x="800" y="18"/>
                  <a:pt x="800" y="18"/>
                </a:cubicBezTo>
                <a:cubicBezTo>
                  <a:pt x="801" y="20"/>
                  <a:pt x="801" y="20"/>
                  <a:pt x="801" y="20"/>
                </a:cubicBezTo>
                <a:cubicBezTo>
                  <a:pt x="803" y="22"/>
                  <a:pt x="803" y="22"/>
                  <a:pt x="803" y="22"/>
                </a:cubicBezTo>
                <a:cubicBezTo>
                  <a:pt x="804" y="22"/>
                  <a:pt x="804" y="22"/>
                  <a:pt x="804" y="22"/>
                </a:cubicBezTo>
                <a:cubicBezTo>
                  <a:pt x="805" y="23"/>
                  <a:pt x="805" y="23"/>
                  <a:pt x="805" y="23"/>
                </a:cubicBezTo>
                <a:cubicBezTo>
                  <a:pt x="806" y="23"/>
                  <a:pt x="806" y="23"/>
                  <a:pt x="806" y="23"/>
                </a:cubicBezTo>
                <a:cubicBezTo>
                  <a:pt x="808" y="22"/>
                  <a:pt x="808" y="22"/>
                  <a:pt x="808" y="22"/>
                </a:cubicBezTo>
                <a:cubicBezTo>
                  <a:pt x="812" y="20"/>
                  <a:pt x="812" y="20"/>
                  <a:pt x="812" y="20"/>
                </a:cubicBezTo>
                <a:cubicBezTo>
                  <a:pt x="815" y="17"/>
                  <a:pt x="815" y="17"/>
                  <a:pt x="815" y="17"/>
                </a:cubicBezTo>
                <a:cubicBezTo>
                  <a:pt x="818" y="15"/>
                  <a:pt x="818" y="15"/>
                  <a:pt x="818" y="15"/>
                </a:cubicBezTo>
                <a:cubicBezTo>
                  <a:pt x="819" y="13"/>
                  <a:pt x="819" y="13"/>
                  <a:pt x="819" y="13"/>
                </a:cubicBezTo>
                <a:cubicBezTo>
                  <a:pt x="818" y="13"/>
                  <a:pt x="818" y="13"/>
                  <a:pt x="818" y="13"/>
                </a:cubicBezTo>
                <a:cubicBezTo>
                  <a:pt x="818" y="12"/>
                  <a:pt x="818" y="12"/>
                  <a:pt x="818" y="12"/>
                </a:cubicBezTo>
                <a:cubicBezTo>
                  <a:pt x="820" y="12"/>
                  <a:pt x="820" y="12"/>
                  <a:pt x="820" y="12"/>
                </a:cubicBezTo>
                <a:cubicBezTo>
                  <a:pt x="823" y="9"/>
                  <a:pt x="823" y="9"/>
                  <a:pt x="823" y="9"/>
                </a:cubicBezTo>
                <a:cubicBezTo>
                  <a:pt x="827" y="6"/>
                  <a:pt x="827" y="6"/>
                  <a:pt x="827" y="6"/>
                </a:cubicBezTo>
                <a:cubicBezTo>
                  <a:pt x="827" y="5"/>
                  <a:pt x="827" y="5"/>
                  <a:pt x="827" y="5"/>
                </a:cubicBezTo>
                <a:cubicBezTo>
                  <a:pt x="828" y="4"/>
                  <a:pt x="828" y="4"/>
                  <a:pt x="828" y="4"/>
                </a:cubicBezTo>
                <a:cubicBezTo>
                  <a:pt x="830" y="2"/>
                  <a:pt x="830" y="2"/>
                  <a:pt x="830" y="2"/>
                </a:cubicBezTo>
                <a:cubicBezTo>
                  <a:pt x="832" y="0"/>
                  <a:pt x="832" y="0"/>
                  <a:pt x="832" y="0"/>
                </a:cubicBezTo>
                <a:cubicBezTo>
                  <a:pt x="788" y="0"/>
                  <a:pt x="788" y="0"/>
                  <a:pt x="788" y="0"/>
                </a:cubicBezTo>
                <a:cubicBezTo>
                  <a:pt x="788" y="2"/>
                  <a:pt x="788" y="2"/>
                  <a:pt x="788" y="2"/>
                </a:cubicBezTo>
                <a:cubicBezTo>
                  <a:pt x="787" y="4"/>
                  <a:pt x="787" y="4"/>
                  <a:pt x="787" y="4"/>
                </a:cubicBezTo>
                <a:cubicBezTo>
                  <a:pt x="786" y="6"/>
                  <a:pt x="786" y="6"/>
                  <a:pt x="786" y="6"/>
                </a:cubicBezTo>
                <a:cubicBezTo>
                  <a:pt x="784" y="7"/>
                  <a:pt x="784" y="7"/>
                  <a:pt x="784" y="7"/>
                </a:cubicBezTo>
                <a:cubicBezTo>
                  <a:pt x="784" y="9"/>
                  <a:pt x="784" y="9"/>
                  <a:pt x="784" y="9"/>
                </a:cubicBezTo>
                <a:cubicBezTo>
                  <a:pt x="783" y="10"/>
                  <a:pt x="783" y="10"/>
                  <a:pt x="783" y="10"/>
                </a:cubicBezTo>
                <a:cubicBezTo>
                  <a:pt x="781" y="14"/>
                  <a:pt x="781" y="14"/>
                  <a:pt x="781" y="14"/>
                </a:cubicBezTo>
                <a:cubicBezTo>
                  <a:pt x="781" y="16"/>
                  <a:pt x="781" y="16"/>
                  <a:pt x="781" y="16"/>
                </a:cubicBezTo>
                <a:cubicBezTo>
                  <a:pt x="780" y="18"/>
                  <a:pt x="780" y="18"/>
                  <a:pt x="780" y="18"/>
                </a:cubicBezTo>
                <a:cubicBezTo>
                  <a:pt x="782" y="19"/>
                  <a:pt x="782" y="19"/>
                  <a:pt x="782" y="19"/>
                </a:cubicBezTo>
                <a:cubicBezTo>
                  <a:pt x="782" y="20"/>
                  <a:pt x="782" y="20"/>
                  <a:pt x="782" y="20"/>
                </a:cubicBezTo>
                <a:cubicBezTo>
                  <a:pt x="781" y="21"/>
                  <a:pt x="781" y="21"/>
                  <a:pt x="781" y="21"/>
                </a:cubicBezTo>
                <a:cubicBezTo>
                  <a:pt x="781" y="22"/>
                  <a:pt x="781" y="22"/>
                  <a:pt x="781" y="22"/>
                </a:cubicBezTo>
                <a:cubicBezTo>
                  <a:pt x="780" y="26"/>
                  <a:pt x="780" y="26"/>
                  <a:pt x="780" y="26"/>
                </a:cubicBezTo>
                <a:lnTo>
                  <a:pt x="777" y="29"/>
                </a:lnTo>
                <a:close/>
                <a:moveTo>
                  <a:pt x="169" y="0"/>
                </a:moveTo>
                <a:cubicBezTo>
                  <a:pt x="167" y="0"/>
                  <a:pt x="167" y="0"/>
                  <a:pt x="167" y="0"/>
                </a:cubicBezTo>
                <a:cubicBezTo>
                  <a:pt x="169" y="1"/>
                  <a:pt x="169" y="1"/>
                  <a:pt x="169" y="1"/>
                </a:cubicBezTo>
                <a:lnTo>
                  <a:pt x="169" y="0"/>
                </a:lnTo>
                <a:close/>
                <a:moveTo>
                  <a:pt x="779" y="0"/>
                </a:moveTo>
                <a:cubicBezTo>
                  <a:pt x="777" y="0"/>
                  <a:pt x="777" y="0"/>
                  <a:pt x="777" y="0"/>
                </a:cubicBezTo>
                <a:cubicBezTo>
                  <a:pt x="777" y="1"/>
                  <a:pt x="777" y="1"/>
                  <a:pt x="777" y="1"/>
                </a:cubicBezTo>
                <a:cubicBezTo>
                  <a:pt x="778" y="1"/>
                  <a:pt x="778" y="1"/>
                  <a:pt x="778" y="1"/>
                </a:cubicBezTo>
                <a:lnTo>
                  <a:pt x="779" y="0"/>
                </a:lnTo>
                <a:close/>
                <a:moveTo>
                  <a:pt x="1164" y="1111"/>
                </a:moveTo>
                <a:cubicBezTo>
                  <a:pt x="1164" y="1106"/>
                  <a:pt x="1164" y="1106"/>
                  <a:pt x="1164" y="1106"/>
                </a:cubicBezTo>
                <a:cubicBezTo>
                  <a:pt x="1163" y="1105"/>
                  <a:pt x="1163" y="1105"/>
                  <a:pt x="1163" y="1105"/>
                </a:cubicBezTo>
                <a:cubicBezTo>
                  <a:pt x="1162" y="1103"/>
                  <a:pt x="1162" y="1103"/>
                  <a:pt x="1162" y="1103"/>
                </a:cubicBezTo>
                <a:cubicBezTo>
                  <a:pt x="1159" y="1095"/>
                  <a:pt x="1159" y="1095"/>
                  <a:pt x="1159" y="1095"/>
                </a:cubicBezTo>
                <a:cubicBezTo>
                  <a:pt x="1159" y="1092"/>
                  <a:pt x="1159" y="1092"/>
                  <a:pt x="1159" y="1092"/>
                </a:cubicBezTo>
                <a:cubicBezTo>
                  <a:pt x="1158" y="1089"/>
                  <a:pt x="1158" y="1089"/>
                  <a:pt x="1158" y="1089"/>
                </a:cubicBezTo>
                <a:cubicBezTo>
                  <a:pt x="1152" y="1086"/>
                  <a:pt x="1152" y="1086"/>
                  <a:pt x="1152" y="1086"/>
                </a:cubicBezTo>
                <a:cubicBezTo>
                  <a:pt x="1148" y="1086"/>
                  <a:pt x="1148" y="1086"/>
                  <a:pt x="1148" y="1086"/>
                </a:cubicBezTo>
                <a:cubicBezTo>
                  <a:pt x="1145" y="1088"/>
                  <a:pt x="1145" y="1088"/>
                  <a:pt x="1145" y="1088"/>
                </a:cubicBezTo>
                <a:cubicBezTo>
                  <a:pt x="1143" y="1085"/>
                  <a:pt x="1143" y="1085"/>
                  <a:pt x="1143" y="1085"/>
                </a:cubicBezTo>
                <a:cubicBezTo>
                  <a:pt x="1141" y="1085"/>
                  <a:pt x="1141" y="1085"/>
                  <a:pt x="1141" y="1085"/>
                </a:cubicBezTo>
                <a:cubicBezTo>
                  <a:pt x="1139" y="1082"/>
                  <a:pt x="1139" y="1082"/>
                  <a:pt x="1139" y="1082"/>
                </a:cubicBezTo>
                <a:cubicBezTo>
                  <a:pt x="1136" y="1081"/>
                  <a:pt x="1136" y="1081"/>
                  <a:pt x="1136" y="1081"/>
                </a:cubicBezTo>
                <a:cubicBezTo>
                  <a:pt x="1134" y="1080"/>
                  <a:pt x="1134" y="1080"/>
                  <a:pt x="1134" y="1080"/>
                </a:cubicBezTo>
                <a:cubicBezTo>
                  <a:pt x="1129" y="1076"/>
                  <a:pt x="1129" y="1076"/>
                  <a:pt x="1129" y="1076"/>
                </a:cubicBezTo>
                <a:cubicBezTo>
                  <a:pt x="1126" y="1070"/>
                  <a:pt x="1126" y="1070"/>
                  <a:pt x="1126" y="1070"/>
                </a:cubicBezTo>
                <a:cubicBezTo>
                  <a:pt x="1124" y="1070"/>
                  <a:pt x="1124" y="1070"/>
                  <a:pt x="1124" y="1070"/>
                </a:cubicBezTo>
                <a:cubicBezTo>
                  <a:pt x="1122" y="1068"/>
                  <a:pt x="1122" y="1068"/>
                  <a:pt x="1122" y="1068"/>
                </a:cubicBezTo>
                <a:cubicBezTo>
                  <a:pt x="1119" y="1068"/>
                  <a:pt x="1119" y="1068"/>
                  <a:pt x="1119" y="1068"/>
                </a:cubicBezTo>
                <a:cubicBezTo>
                  <a:pt x="1113" y="1063"/>
                  <a:pt x="1113" y="1063"/>
                  <a:pt x="1113" y="1063"/>
                </a:cubicBezTo>
                <a:cubicBezTo>
                  <a:pt x="1110" y="1063"/>
                  <a:pt x="1110" y="1063"/>
                  <a:pt x="1110" y="1063"/>
                </a:cubicBezTo>
                <a:cubicBezTo>
                  <a:pt x="1107" y="1062"/>
                  <a:pt x="1107" y="1062"/>
                  <a:pt x="1107" y="1062"/>
                </a:cubicBezTo>
                <a:cubicBezTo>
                  <a:pt x="1106" y="1063"/>
                  <a:pt x="1106" y="1063"/>
                  <a:pt x="1106" y="1063"/>
                </a:cubicBezTo>
                <a:cubicBezTo>
                  <a:pt x="1103" y="1063"/>
                  <a:pt x="1103" y="1063"/>
                  <a:pt x="1103" y="1063"/>
                </a:cubicBezTo>
                <a:cubicBezTo>
                  <a:pt x="1101" y="1062"/>
                  <a:pt x="1101" y="1062"/>
                  <a:pt x="1101" y="1062"/>
                </a:cubicBezTo>
                <a:cubicBezTo>
                  <a:pt x="1099" y="1063"/>
                  <a:pt x="1099" y="1063"/>
                  <a:pt x="1099" y="1063"/>
                </a:cubicBezTo>
                <a:cubicBezTo>
                  <a:pt x="1098" y="1064"/>
                  <a:pt x="1098" y="1064"/>
                  <a:pt x="1098" y="1064"/>
                </a:cubicBezTo>
                <a:cubicBezTo>
                  <a:pt x="1097" y="1063"/>
                  <a:pt x="1097" y="1063"/>
                  <a:pt x="1097" y="1063"/>
                </a:cubicBezTo>
                <a:cubicBezTo>
                  <a:pt x="1094" y="1061"/>
                  <a:pt x="1094" y="1061"/>
                  <a:pt x="1094" y="1061"/>
                </a:cubicBezTo>
                <a:cubicBezTo>
                  <a:pt x="1094" y="1062"/>
                  <a:pt x="1094" y="1062"/>
                  <a:pt x="1094" y="1062"/>
                </a:cubicBezTo>
                <a:cubicBezTo>
                  <a:pt x="1093" y="1061"/>
                  <a:pt x="1093" y="1061"/>
                  <a:pt x="1093" y="1061"/>
                </a:cubicBezTo>
                <a:cubicBezTo>
                  <a:pt x="1092" y="1062"/>
                  <a:pt x="1092" y="1062"/>
                  <a:pt x="1092" y="1062"/>
                </a:cubicBezTo>
                <a:cubicBezTo>
                  <a:pt x="1092" y="1063"/>
                  <a:pt x="1092" y="1063"/>
                  <a:pt x="1092" y="1063"/>
                </a:cubicBezTo>
                <a:cubicBezTo>
                  <a:pt x="1090" y="1062"/>
                  <a:pt x="1090" y="1062"/>
                  <a:pt x="1090" y="1062"/>
                </a:cubicBezTo>
                <a:cubicBezTo>
                  <a:pt x="1090" y="1061"/>
                  <a:pt x="1090" y="1061"/>
                  <a:pt x="1090" y="1061"/>
                </a:cubicBezTo>
                <a:cubicBezTo>
                  <a:pt x="1089" y="1061"/>
                  <a:pt x="1089" y="1061"/>
                  <a:pt x="1089" y="1061"/>
                </a:cubicBezTo>
                <a:cubicBezTo>
                  <a:pt x="1089" y="1062"/>
                  <a:pt x="1089" y="1062"/>
                  <a:pt x="1089" y="1062"/>
                </a:cubicBezTo>
                <a:cubicBezTo>
                  <a:pt x="1089" y="1062"/>
                  <a:pt x="1089" y="1062"/>
                  <a:pt x="1089" y="1062"/>
                </a:cubicBezTo>
                <a:cubicBezTo>
                  <a:pt x="1086" y="1061"/>
                  <a:pt x="1086" y="1061"/>
                  <a:pt x="1086" y="1061"/>
                </a:cubicBezTo>
                <a:cubicBezTo>
                  <a:pt x="1085" y="1061"/>
                  <a:pt x="1085" y="1061"/>
                  <a:pt x="1085" y="1061"/>
                </a:cubicBezTo>
                <a:cubicBezTo>
                  <a:pt x="1082" y="1061"/>
                  <a:pt x="1082" y="1061"/>
                  <a:pt x="1082" y="1061"/>
                </a:cubicBezTo>
                <a:cubicBezTo>
                  <a:pt x="1077" y="1058"/>
                  <a:pt x="1077" y="1058"/>
                  <a:pt x="1077" y="1058"/>
                </a:cubicBezTo>
                <a:cubicBezTo>
                  <a:pt x="1075" y="1058"/>
                  <a:pt x="1075" y="1058"/>
                  <a:pt x="1075" y="1058"/>
                </a:cubicBezTo>
                <a:cubicBezTo>
                  <a:pt x="1074" y="1059"/>
                  <a:pt x="1074" y="1059"/>
                  <a:pt x="1074" y="1059"/>
                </a:cubicBezTo>
                <a:cubicBezTo>
                  <a:pt x="1075" y="1060"/>
                  <a:pt x="1075" y="1060"/>
                  <a:pt x="1075" y="1060"/>
                </a:cubicBezTo>
                <a:cubicBezTo>
                  <a:pt x="1074" y="1061"/>
                  <a:pt x="1074" y="1061"/>
                  <a:pt x="1074" y="1061"/>
                </a:cubicBezTo>
                <a:cubicBezTo>
                  <a:pt x="1073" y="1060"/>
                  <a:pt x="1073" y="1060"/>
                  <a:pt x="1073" y="1060"/>
                </a:cubicBezTo>
                <a:cubicBezTo>
                  <a:pt x="1073" y="1060"/>
                  <a:pt x="1073" y="1060"/>
                  <a:pt x="1073" y="1060"/>
                </a:cubicBezTo>
                <a:cubicBezTo>
                  <a:pt x="1072" y="1061"/>
                  <a:pt x="1072" y="1061"/>
                  <a:pt x="1072" y="1061"/>
                </a:cubicBezTo>
                <a:cubicBezTo>
                  <a:pt x="1071" y="1062"/>
                  <a:pt x="1071" y="1062"/>
                  <a:pt x="1071" y="1062"/>
                </a:cubicBezTo>
                <a:cubicBezTo>
                  <a:pt x="1070" y="1063"/>
                  <a:pt x="1070" y="1063"/>
                  <a:pt x="1070" y="1063"/>
                </a:cubicBezTo>
                <a:cubicBezTo>
                  <a:pt x="1070" y="1065"/>
                  <a:pt x="1070" y="1065"/>
                  <a:pt x="1070" y="1065"/>
                </a:cubicBezTo>
                <a:cubicBezTo>
                  <a:pt x="1069" y="1064"/>
                  <a:pt x="1069" y="1064"/>
                  <a:pt x="1069" y="1064"/>
                </a:cubicBezTo>
                <a:cubicBezTo>
                  <a:pt x="1068" y="1062"/>
                  <a:pt x="1068" y="1062"/>
                  <a:pt x="1068" y="1062"/>
                </a:cubicBezTo>
                <a:cubicBezTo>
                  <a:pt x="1067" y="1062"/>
                  <a:pt x="1067" y="1062"/>
                  <a:pt x="1067" y="1062"/>
                </a:cubicBezTo>
                <a:cubicBezTo>
                  <a:pt x="1067" y="1064"/>
                  <a:pt x="1067" y="1064"/>
                  <a:pt x="1067" y="1064"/>
                </a:cubicBezTo>
                <a:cubicBezTo>
                  <a:pt x="1065" y="1068"/>
                  <a:pt x="1065" y="1068"/>
                  <a:pt x="1065" y="1068"/>
                </a:cubicBezTo>
                <a:cubicBezTo>
                  <a:pt x="1065" y="1070"/>
                  <a:pt x="1065" y="1070"/>
                  <a:pt x="1065" y="1070"/>
                </a:cubicBezTo>
                <a:cubicBezTo>
                  <a:pt x="1065" y="1068"/>
                  <a:pt x="1065" y="1068"/>
                  <a:pt x="1065" y="1068"/>
                </a:cubicBezTo>
                <a:cubicBezTo>
                  <a:pt x="1065" y="1065"/>
                  <a:pt x="1065" y="1065"/>
                  <a:pt x="1065" y="1065"/>
                </a:cubicBezTo>
                <a:cubicBezTo>
                  <a:pt x="1065" y="1063"/>
                  <a:pt x="1065" y="1063"/>
                  <a:pt x="1065" y="1063"/>
                </a:cubicBezTo>
                <a:cubicBezTo>
                  <a:pt x="1066" y="1060"/>
                  <a:pt x="1066" y="1060"/>
                  <a:pt x="1066" y="1060"/>
                </a:cubicBezTo>
                <a:cubicBezTo>
                  <a:pt x="1067" y="1059"/>
                  <a:pt x="1067" y="1059"/>
                  <a:pt x="1067" y="1059"/>
                </a:cubicBezTo>
                <a:cubicBezTo>
                  <a:pt x="1066" y="1058"/>
                  <a:pt x="1066" y="1058"/>
                  <a:pt x="1066" y="1058"/>
                </a:cubicBezTo>
                <a:cubicBezTo>
                  <a:pt x="1065" y="1058"/>
                  <a:pt x="1065" y="1058"/>
                  <a:pt x="1065" y="1058"/>
                </a:cubicBezTo>
                <a:cubicBezTo>
                  <a:pt x="1067" y="1056"/>
                  <a:pt x="1067" y="1056"/>
                  <a:pt x="1067" y="1056"/>
                </a:cubicBezTo>
                <a:cubicBezTo>
                  <a:pt x="1064" y="1053"/>
                  <a:pt x="1064" y="1053"/>
                  <a:pt x="1064" y="1053"/>
                </a:cubicBezTo>
                <a:cubicBezTo>
                  <a:pt x="1062" y="1050"/>
                  <a:pt x="1062" y="1050"/>
                  <a:pt x="1062" y="1050"/>
                </a:cubicBezTo>
                <a:cubicBezTo>
                  <a:pt x="1061" y="1050"/>
                  <a:pt x="1061" y="1050"/>
                  <a:pt x="1061" y="1050"/>
                </a:cubicBezTo>
                <a:cubicBezTo>
                  <a:pt x="1059" y="1050"/>
                  <a:pt x="1059" y="1050"/>
                  <a:pt x="1059" y="1050"/>
                </a:cubicBezTo>
                <a:cubicBezTo>
                  <a:pt x="1057" y="1052"/>
                  <a:pt x="1057" y="1052"/>
                  <a:pt x="1057" y="1052"/>
                </a:cubicBezTo>
                <a:cubicBezTo>
                  <a:pt x="1056" y="1052"/>
                  <a:pt x="1056" y="1052"/>
                  <a:pt x="1056" y="1052"/>
                </a:cubicBezTo>
                <a:cubicBezTo>
                  <a:pt x="1055" y="1051"/>
                  <a:pt x="1055" y="1051"/>
                  <a:pt x="1055" y="1051"/>
                </a:cubicBezTo>
                <a:cubicBezTo>
                  <a:pt x="1054" y="1050"/>
                  <a:pt x="1054" y="1050"/>
                  <a:pt x="1054" y="1050"/>
                </a:cubicBezTo>
                <a:cubicBezTo>
                  <a:pt x="1054" y="1049"/>
                  <a:pt x="1054" y="1049"/>
                  <a:pt x="1054" y="1049"/>
                </a:cubicBezTo>
                <a:cubicBezTo>
                  <a:pt x="1053" y="1048"/>
                  <a:pt x="1053" y="1048"/>
                  <a:pt x="1053" y="1048"/>
                </a:cubicBezTo>
                <a:cubicBezTo>
                  <a:pt x="1051" y="1048"/>
                  <a:pt x="1051" y="1048"/>
                  <a:pt x="1051" y="1048"/>
                </a:cubicBezTo>
                <a:cubicBezTo>
                  <a:pt x="1050" y="1047"/>
                  <a:pt x="1050" y="1047"/>
                  <a:pt x="1050" y="1047"/>
                </a:cubicBezTo>
                <a:cubicBezTo>
                  <a:pt x="1049" y="1046"/>
                  <a:pt x="1049" y="1046"/>
                  <a:pt x="1049" y="1046"/>
                </a:cubicBezTo>
                <a:cubicBezTo>
                  <a:pt x="1048" y="1047"/>
                  <a:pt x="1048" y="1047"/>
                  <a:pt x="1048" y="1047"/>
                </a:cubicBezTo>
                <a:cubicBezTo>
                  <a:pt x="1048" y="1047"/>
                  <a:pt x="1048" y="1047"/>
                  <a:pt x="1048" y="1047"/>
                </a:cubicBezTo>
                <a:cubicBezTo>
                  <a:pt x="1047" y="1046"/>
                  <a:pt x="1047" y="1046"/>
                  <a:pt x="1047" y="1046"/>
                </a:cubicBezTo>
                <a:cubicBezTo>
                  <a:pt x="1046" y="1044"/>
                  <a:pt x="1046" y="1044"/>
                  <a:pt x="1046" y="1044"/>
                </a:cubicBezTo>
                <a:cubicBezTo>
                  <a:pt x="1045" y="1045"/>
                  <a:pt x="1045" y="1045"/>
                  <a:pt x="1045" y="1045"/>
                </a:cubicBezTo>
                <a:cubicBezTo>
                  <a:pt x="1043" y="1044"/>
                  <a:pt x="1043" y="1044"/>
                  <a:pt x="1043" y="1044"/>
                </a:cubicBezTo>
                <a:cubicBezTo>
                  <a:pt x="1040" y="1043"/>
                  <a:pt x="1040" y="1043"/>
                  <a:pt x="1040" y="1043"/>
                </a:cubicBezTo>
                <a:cubicBezTo>
                  <a:pt x="1039" y="1042"/>
                  <a:pt x="1039" y="1042"/>
                  <a:pt x="1039" y="1042"/>
                </a:cubicBezTo>
                <a:cubicBezTo>
                  <a:pt x="1038" y="1043"/>
                  <a:pt x="1038" y="1043"/>
                  <a:pt x="1038" y="1043"/>
                </a:cubicBezTo>
                <a:cubicBezTo>
                  <a:pt x="1037" y="1042"/>
                  <a:pt x="1037" y="1042"/>
                  <a:pt x="1037" y="1042"/>
                </a:cubicBezTo>
                <a:cubicBezTo>
                  <a:pt x="1035" y="1042"/>
                  <a:pt x="1035" y="1042"/>
                  <a:pt x="1035" y="1042"/>
                </a:cubicBezTo>
                <a:cubicBezTo>
                  <a:pt x="1035" y="1043"/>
                  <a:pt x="1035" y="1043"/>
                  <a:pt x="1035" y="1043"/>
                </a:cubicBezTo>
                <a:cubicBezTo>
                  <a:pt x="1034" y="1043"/>
                  <a:pt x="1034" y="1043"/>
                  <a:pt x="1034" y="1043"/>
                </a:cubicBezTo>
                <a:cubicBezTo>
                  <a:pt x="1034" y="1042"/>
                  <a:pt x="1034" y="1042"/>
                  <a:pt x="1034" y="1042"/>
                </a:cubicBezTo>
                <a:cubicBezTo>
                  <a:pt x="1031" y="1042"/>
                  <a:pt x="1031" y="1042"/>
                  <a:pt x="1031" y="1042"/>
                </a:cubicBezTo>
                <a:cubicBezTo>
                  <a:pt x="1029" y="1043"/>
                  <a:pt x="1029" y="1043"/>
                  <a:pt x="1029" y="1043"/>
                </a:cubicBezTo>
                <a:cubicBezTo>
                  <a:pt x="1028" y="1045"/>
                  <a:pt x="1028" y="1045"/>
                  <a:pt x="1028" y="1045"/>
                </a:cubicBezTo>
                <a:cubicBezTo>
                  <a:pt x="1028" y="1046"/>
                  <a:pt x="1028" y="1046"/>
                  <a:pt x="1028" y="1046"/>
                </a:cubicBezTo>
                <a:cubicBezTo>
                  <a:pt x="1026" y="1048"/>
                  <a:pt x="1026" y="1048"/>
                  <a:pt x="1026" y="1048"/>
                </a:cubicBezTo>
                <a:cubicBezTo>
                  <a:pt x="1023" y="1050"/>
                  <a:pt x="1023" y="1050"/>
                  <a:pt x="1023" y="1050"/>
                </a:cubicBezTo>
                <a:cubicBezTo>
                  <a:pt x="1020" y="1052"/>
                  <a:pt x="1020" y="1052"/>
                  <a:pt x="1020" y="1052"/>
                </a:cubicBezTo>
                <a:cubicBezTo>
                  <a:pt x="1018" y="1054"/>
                  <a:pt x="1018" y="1054"/>
                  <a:pt x="1018" y="1054"/>
                </a:cubicBezTo>
                <a:cubicBezTo>
                  <a:pt x="1017" y="1057"/>
                  <a:pt x="1017" y="1057"/>
                  <a:pt x="1017" y="1057"/>
                </a:cubicBezTo>
                <a:cubicBezTo>
                  <a:pt x="1016" y="1060"/>
                  <a:pt x="1016" y="1060"/>
                  <a:pt x="1016" y="1060"/>
                </a:cubicBezTo>
                <a:cubicBezTo>
                  <a:pt x="1016" y="1061"/>
                  <a:pt x="1016" y="1061"/>
                  <a:pt x="1016" y="1061"/>
                </a:cubicBezTo>
                <a:cubicBezTo>
                  <a:pt x="1014" y="1063"/>
                  <a:pt x="1014" y="1063"/>
                  <a:pt x="1014" y="1063"/>
                </a:cubicBezTo>
                <a:cubicBezTo>
                  <a:pt x="1014" y="1064"/>
                  <a:pt x="1014" y="1064"/>
                  <a:pt x="1014" y="1064"/>
                </a:cubicBezTo>
                <a:cubicBezTo>
                  <a:pt x="1014" y="1066"/>
                  <a:pt x="1014" y="1066"/>
                  <a:pt x="1014" y="1066"/>
                </a:cubicBezTo>
                <a:cubicBezTo>
                  <a:pt x="1014" y="1070"/>
                  <a:pt x="1014" y="1070"/>
                  <a:pt x="1014" y="1070"/>
                </a:cubicBezTo>
                <a:cubicBezTo>
                  <a:pt x="1013" y="1068"/>
                  <a:pt x="1013" y="1068"/>
                  <a:pt x="1013" y="1068"/>
                </a:cubicBezTo>
                <a:cubicBezTo>
                  <a:pt x="1012" y="1066"/>
                  <a:pt x="1012" y="1066"/>
                  <a:pt x="1012" y="1066"/>
                </a:cubicBezTo>
                <a:cubicBezTo>
                  <a:pt x="1012" y="1064"/>
                  <a:pt x="1012" y="1064"/>
                  <a:pt x="1012" y="1064"/>
                </a:cubicBezTo>
                <a:cubicBezTo>
                  <a:pt x="1013" y="1062"/>
                  <a:pt x="1013" y="1062"/>
                  <a:pt x="1013" y="1062"/>
                </a:cubicBezTo>
                <a:cubicBezTo>
                  <a:pt x="1015" y="1061"/>
                  <a:pt x="1015" y="1061"/>
                  <a:pt x="1015" y="1061"/>
                </a:cubicBezTo>
                <a:cubicBezTo>
                  <a:pt x="1015" y="1058"/>
                  <a:pt x="1015" y="1058"/>
                  <a:pt x="1015" y="1058"/>
                </a:cubicBezTo>
                <a:cubicBezTo>
                  <a:pt x="1016" y="1056"/>
                  <a:pt x="1016" y="1056"/>
                  <a:pt x="1016" y="1056"/>
                </a:cubicBezTo>
                <a:cubicBezTo>
                  <a:pt x="1015" y="1055"/>
                  <a:pt x="1015" y="1055"/>
                  <a:pt x="1015" y="1055"/>
                </a:cubicBezTo>
                <a:cubicBezTo>
                  <a:pt x="1014" y="1055"/>
                  <a:pt x="1014" y="1055"/>
                  <a:pt x="1014" y="1055"/>
                </a:cubicBezTo>
                <a:cubicBezTo>
                  <a:pt x="1012" y="1055"/>
                  <a:pt x="1012" y="1055"/>
                  <a:pt x="1012" y="1055"/>
                </a:cubicBezTo>
                <a:cubicBezTo>
                  <a:pt x="1009" y="1055"/>
                  <a:pt x="1009" y="1055"/>
                  <a:pt x="1009" y="1055"/>
                </a:cubicBezTo>
                <a:cubicBezTo>
                  <a:pt x="1007" y="1055"/>
                  <a:pt x="1007" y="1055"/>
                  <a:pt x="1007" y="1055"/>
                </a:cubicBezTo>
                <a:cubicBezTo>
                  <a:pt x="1005" y="1055"/>
                  <a:pt x="1005" y="1055"/>
                  <a:pt x="1005" y="1055"/>
                </a:cubicBezTo>
                <a:cubicBezTo>
                  <a:pt x="1004" y="1054"/>
                  <a:pt x="1004" y="1054"/>
                  <a:pt x="1004" y="1054"/>
                </a:cubicBezTo>
                <a:cubicBezTo>
                  <a:pt x="1005" y="1054"/>
                  <a:pt x="1005" y="1054"/>
                  <a:pt x="1005" y="1054"/>
                </a:cubicBezTo>
                <a:cubicBezTo>
                  <a:pt x="1007" y="1053"/>
                  <a:pt x="1007" y="1053"/>
                  <a:pt x="1007" y="1053"/>
                </a:cubicBezTo>
                <a:cubicBezTo>
                  <a:pt x="1009" y="1053"/>
                  <a:pt x="1009" y="1053"/>
                  <a:pt x="1009" y="1053"/>
                </a:cubicBezTo>
                <a:cubicBezTo>
                  <a:pt x="1012" y="1053"/>
                  <a:pt x="1012" y="1053"/>
                  <a:pt x="1012" y="1053"/>
                </a:cubicBezTo>
                <a:cubicBezTo>
                  <a:pt x="1014" y="1053"/>
                  <a:pt x="1014" y="1053"/>
                  <a:pt x="1014" y="1053"/>
                </a:cubicBezTo>
                <a:cubicBezTo>
                  <a:pt x="1015" y="1051"/>
                  <a:pt x="1015" y="1051"/>
                  <a:pt x="1015" y="1051"/>
                </a:cubicBezTo>
                <a:cubicBezTo>
                  <a:pt x="1016" y="1051"/>
                  <a:pt x="1016" y="1051"/>
                  <a:pt x="1016" y="1051"/>
                </a:cubicBezTo>
                <a:cubicBezTo>
                  <a:pt x="1017" y="1051"/>
                  <a:pt x="1017" y="1051"/>
                  <a:pt x="1017" y="1051"/>
                </a:cubicBezTo>
                <a:cubicBezTo>
                  <a:pt x="1018" y="1051"/>
                  <a:pt x="1018" y="1051"/>
                  <a:pt x="1018" y="1051"/>
                </a:cubicBezTo>
                <a:cubicBezTo>
                  <a:pt x="1020" y="1050"/>
                  <a:pt x="1020" y="1050"/>
                  <a:pt x="1020" y="1050"/>
                </a:cubicBezTo>
                <a:cubicBezTo>
                  <a:pt x="1023" y="1049"/>
                  <a:pt x="1023" y="1049"/>
                  <a:pt x="1023" y="1049"/>
                </a:cubicBezTo>
                <a:cubicBezTo>
                  <a:pt x="1023" y="1047"/>
                  <a:pt x="1023" y="1047"/>
                  <a:pt x="1023" y="1047"/>
                </a:cubicBezTo>
                <a:cubicBezTo>
                  <a:pt x="1025" y="1044"/>
                  <a:pt x="1025" y="1044"/>
                  <a:pt x="1025" y="1044"/>
                </a:cubicBezTo>
                <a:cubicBezTo>
                  <a:pt x="1025" y="1041"/>
                  <a:pt x="1025" y="1041"/>
                  <a:pt x="1025" y="1041"/>
                </a:cubicBezTo>
                <a:cubicBezTo>
                  <a:pt x="1026" y="1040"/>
                  <a:pt x="1026" y="1040"/>
                  <a:pt x="1026" y="1040"/>
                </a:cubicBezTo>
                <a:cubicBezTo>
                  <a:pt x="1026" y="1038"/>
                  <a:pt x="1026" y="1038"/>
                  <a:pt x="1026" y="1038"/>
                </a:cubicBezTo>
                <a:cubicBezTo>
                  <a:pt x="1024" y="1038"/>
                  <a:pt x="1024" y="1038"/>
                  <a:pt x="1024" y="1038"/>
                </a:cubicBezTo>
                <a:cubicBezTo>
                  <a:pt x="1021" y="1036"/>
                  <a:pt x="1021" y="1036"/>
                  <a:pt x="1021" y="1036"/>
                </a:cubicBezTo>
                <a:cubicBezTo>
                  <a:pt x="1019" y="1036"/>
                  <a:pt x="1019" y="1036"/>
                  <a:pt x="1019" y="1036"/>
                </a:cubicBezTo>
                <a:cubicBezTo>
                  <a:pt x="1016" y="1038"/>
                  <a:pt x="1016" y="1038"/>
                  <a:pt x="1016" y="1038"/>
                </a:cubicBezTo>
                <a:cubicBezTo>
                  <a:pt x="1014" y="1038"/>
                  <a:pt x="1014" y="1038"/>
                  <a:pt x="1014" y="1038"/>
                </a:cubicBezTo>
                <a:cubicBezTo>
                  <a:pt x="1010" y="1036"/>
                  <a:pt x="1010" y="1036"/>
                  <a:pt x="1010" y="1036"/>
                </a:cubicBezTo>
                <a:cubicBezTo>
                  <a:pt x="1007" y="1036"/>
                  <a:pt x="1007" y="1036"/>
                  <a:pt x="1007" y="1036"/>
                </a:cubicBezTo>
                <a:cubicBezTo>
                  <a:pt x="1004" y="1039"/>
                  <a:pt x="1004" y="1039"/>
                  <a:pt x="1004" y="1039"/>
                </a:cubicBezTo>
                <a:cubicBezTo>
                  <a:pt x="1004" y="1040"/>
                  <a:pt x="1004" y="1040"/>
                  <a:pt x="1004" y="1040"/>
                </a:cubicBezTo>
                <a:cubicBezTo>
                  <a:pt x="1005" y="1041"/>
                  <a:pt x="1005" y="1041"/>
                  <a:pt x="1005" y="1041"/>
                </a:cubicBezTo>
                <a:cubicBezTo>
                  <a:pt x="1006" y="1042"/>
                  <a:pt x="1006" y="1042"/>
                  <a:pt x="1006" y="1042"/>
                </a:cubicBezTo>
                <a:cubicBezTo>
                  <a:pt x="1004" y="1042"/>
                  <a:pt x="1004" y="1042"/>
                  <a:pt x="1004" y="1042"/>
                </a:cubicBezTo>
                <a:cubicBezTo>
                  <a:pt x="1003" y="1042"/>
                  <a:pt x="1003" y="1042"/>
                  <a:pt x="1003" y="1042"/>
                </a:cubicBezTo>
                <a:cubicBezTo>
                  <a:pt x="1003" y="1044"/>
                  <a:pt x="1003" y="1044"/>
                  <a:pt x="1003" y="1044"/>
                </a:cubicBezTo>
                <a:cubicBezTo>
                  <a:pt x="1002" y="1043"/>
                  <a:pt x="1002" y="1043"/>
                  <a:pt x="1002" y="1043"/>
                </a:cubicBezTo>
                <a:cubicBezTo>
                  <a:pt x="1001" y="1042"/>
                  <a:pt x="1001" y="1042"/>
                  <a:pt x="1001" y="1042"/>
                </a:cubicBezTo>
                <a:cubicBezTo>
                  <a:pt x="999" y="1043"/>
                  <a:pt x="999" y="1043"/>
                  <a:pt x="999" y="1043"/>
                </a:cubicBezTo>
                <a:cubicBezTo>
                  <a:pt x="997" y="1046"/>
                  <a:pt x="997" y="1046"/>
                  <a:pt x="997" y="1046"/>
                </a:cubicBezTo>
                <a:cubicBezTo>
                  <a:pt x="994" y="1050"/>
                  <a:pt x="994" y="1050"/>
                  <a:pt x="994" y="1050"/>
                </a:cubicBezTo>
                <a:cubicBezTo>
                  <a:pt x="996" y="1047"/>
                  <a:pt x="996" y="1047"/>
                  <a:pt x="996" y="1047"/>
                </a:cubicBezTo>
                <a:cubicBezTo>
                  <a:pt x="996" y="1045"/>
                  <a:pt x="996" y="1045"/>
                  <a:pt x="996" y="1045"/>
                </a:cubicBezTo>
                <a:cubicBezTo>
                  <a:pt x="996" y="1043"/>
                  <a:pt x="996" y="1043"/>
                  <a:pt x="996" y="1043"/>
                </a:cubicBezTo>
                <a:cubicBezTo>
                  <a:pt x="997" y="1042"/>
                  <a:pt x="997" y="1042"/>
                  <a:pt x="997" y="1042"/>
                </a:cubicBezTo>
                <a:cubicBezTo>
                  <a:pt x="996" y="1042"/>
                  <a:pt x="996" y="1042"/>
                  <a:pt x="996" y="1042"/>
                </a:cubicBezTo>
                <a:cubicBezTo>
                  <a:pt x="993" y="1044"/>
                  <a:pt x="993" y="1044"/>
                  <a:pt x="993" y="1044"/>
                </a:cubicBezTo>
                <a:cubicBezTo>
                  <a:pt x="992" y="1046"/>
                  <a:pt x="992" y="1046"/>
                  <a:pt x="992" y="1046"/>
                </a:cubicBezTo>
                <a:cubicBezTo>
                  <a:pt x="991" y="1049"/>
                  <a:pt x="991" y="1049"/>
                  <a:pt x="991" y="1049"/>
                </a:cubicBezTo>
                <a:cubicBezTo>
                  <a:pt x="990" y="1050"/>
                  <a:pt x="990" y="1050"/>
                  <a:pt x="990" y="1050"/>
                </a:cubicBezTo>
                <a:cubicBezTo>
                  <a:pt x="991" y="1047"/>
                  <a:pt x="991" y="1047"/>
                  <a:pt x="991" y="1047"/>
                </a:cubicBezTo>
                <a:cubicBezTo>
                  <a:pt x="992" y="1044"/>
                  <a:pt x="992" y="1044"/>
                  <a:pt x="992" y="1044"/>
                </a:cubicBezTo>
                <a:cubicBezTo>
                  <a:pt x="995" y="1040"/>
                  <a:pt x="995" y="1040"/>
                  <a:pt x="995" y="1040"/>
                </a:cubicBezTo>
                <a:cubicBezTo>
                  <a:pt x="996" y="1037"/>
                  <a:pt x="996" y="1037"/>
                  <a:pt x="996" y="1037"/>
                </a:cubicBezTo>
                <a:cubicBezTo>
                  <a:pt x="997" y="1035"/>
                  <a:pt x="997" y="1035"/>
                  <a:pt x="997" y="1035"/>
                </a:cubicBezTo>
                <a:cubicBezTo>
                  <a:pt x="999" y="1034"/>
                  <a:pt x="999" y="1034"/>
                  <a:pt x="999" y="1034"/>
                </a:cubicBezTo>
                <a:cubicBezTo>
                  <a:pt x="1002" y="1032"/>
                  <a:pt x="1002" y="1032"/>
                  <a:pt x="1002" y="1032"/>
                </a:cubicBezTo>
                <a:cubicBezTo>
                  <a:pt x="1003" y="1032"/>
                  <a:pt x="1003" y="1032"/>
                  <a:pt x="1003" y="1032"/>
                </a:cubicBezTo>
                <a:cubicBezTo>
                  <a:pt x="1005" y="1029"/>
                  <a:pt x="1005" y="1029"/>
                  <a:pt x="1005" y="1029"/>
                </a:cubicBezTo>
                <a:cubicBezTo>
                  <a:pt x="1010" y="1024"/>
                  <a:pt x="1010" y="1024"/>
                  <a:pt x="1010" y="1024"/>
                </a:cubicBezTo>
                <a:cubicBezTo>
                  <a:pt x="1010" y="1023"/>
                  <a:pt x="1010" y="1023"/>
                  <a:pt x="1010" y="1023"/>
                </a:cubicBezTo>
                <a:cubicBezTo>
                  <a:pt x="1011" y="1022"/>
                  <a:pt x="1011" y="1022"/>
                  <a:pt x="1011" y="1022"/>
                </a:cubicBezTo>
                <a:cubicBezTo>
                  <a:pt x="1010" y="1021"/>
                  <a:pt x="1010" y="1021"/>
                  <a:pt x="1010" y="1021"/>
                </a:cubicBezTo>
                <a:cubicBezTo>
                  <a:pt x="1010" y="1019"/>
                  <a:pt x="1010" y="1019"/>
                  <a:pt x="1010" y="1019"/>
                </a:cubicBezTo>
                <a:cubicBezTo>
                  <a:pt x="1011" y="1019"/>
                  <a:pt x="1011" y="1019"/>
                  <a:pt x="1011" y="1019"/>
                </a:cubicBezTo>
                <a:cubicBezTo>
                  <a:pt x="1011" y="1017"/>
                  <a:pt x="1011" y="1017"/>
                  <a:pt x="1011" y="1017"/>
                </a:cubicBezTo>
                <a:cubicBezTo>
                  <a:pt x="1009" y="1016"/>
                  <a:pt x="1009" y="1016"/>
                  <a:pt x="1009" y="1016"/>
                </a:cubicBezTo>
                <a:cubicBezTo>
                  <a:pt x="1007" y="1016"/>
                  <a:pt x="1007" y="1016"/>
                  <a:pt x="1007" y="1016"/>
                </a:cubicBezTo>
                <a:cubicBezTo>
                  <a:pt x="1006" y="1016"/>
                  <a:pt x="1006" y="1016"/>
                  <a:pt x="1006" y="1016"/>
                </a:cubicBezTo>
                <a:cubicBezTo>
                  <a:pt x="1005" y="1015"/>
                  <a:pt x="1005" y="1015"/>
                  <a:pt x="1005" y="1015"/>
                </a:cubicBezTo>
                <a:cubicBezTo>
                  <a:pt x="1004" y="1011"/>
                  <a:pt x="1004" y="1011"/>
                  <a:pt x="1004" y="1011"/>
                </a:cubicBezTo>
                <a:cubicBezTo>
                  <a:pt x="1002" y="1005"/>
                  <a:pt x="1002" y="1005"/>
                  <a:pt x="1002" y="1005"/>
                </a:cubicBezTo>
                <a:cubicBezTo>
                  <a:pt x="1000" y="1002"/>
                  <a:pt x="1000" y="1002"/>
                  <a:pt x="1000" y="1002"/>
                </a:cubicBezTo>
                <a:cubicBezTo>
                  <a:pt x="998" y="999"/>
                  <a:pt x="998" y="999"/>
                  <a:pt x="998" y="999"/>
                </a:cubicBezTo>
                <a:cubicBezTo>
                  <a:pt x="998" y="997"/>
                  <a:pt x="998" y="997"/>
                  <a:pt x="998" y="997"/>
                </a:cubicBezTo>
                <a:cubicBezTo>
                  <a:pt x="998" y="994"/>
                  <a:pt x="998" y="994"/>
                  <a:pt x="998" y="994"/>
                </a:cubicBezTo>
                <a:cubicBezTo>
                  <a:pt x="997" y="994"/>
                  <a:pt x="997" y="994"/>
                  <a:pt x="997" y="994"/>
                </a:cubicBezTo>
                <a:cubicBezTo>
                  <a:pt x="997" y="992"/>
                  <a:pt x="997" y="992"/>
                  <a:pt x="997" y="992"/>
                </a:cubicBezTo>
                <a:cubicBezTo>
                  <a:pt x="995" y="989"/>
                  <a:pt x="995" y="989"/>
                  <a:pt x="995" y="989"/>
                </a:cubicBezTo>
                <a:cubicBezTo>
                  <a:pt x="995" y="990"/>
                  <a:pt x="995" y="990"/>
                  <a:pt x="995" y="990"/>
                </a:cubicBezTo>
                <a:cubicBezTo>
                  <a:pt x="995" y="991"/>
                  <a:pt x="995" y="991"/>
                  <a:pt x="995" y="991"/>
                </a:cubicBezTo>
                <a:cubicBezTo>
                  <a:pt x="994" y="992"/>
                  <a:pt x="994" y="992"/>
                  <a:pt x="994" y="992"/>
                </a:cubicBezTo>
                <a:cubicBezTo>
                  <a:pt x="992" y="994"/>
                  <a:pt x="992" y="994"/>
                  <a:pt x="992" y="994"/>
                </a:cubicBezTo>
                <a:cubicBezTo>
                  <a:pt x="992" y="994"/>
                  <a:pt x="992" y="994"/>
                  <a:pt x="992" y="994"/>
                </a:cubicBezTo>
                <a:cubicBezTo>
                  <a:pt x="994" y="992"/>
                  <a:pt x="994" y="992"/>
                  <a:pt x="994" y="992"/>
                </a:cubicBezTo>
                <a:cubicBezTo>
                  <a:pt x="994" y="989"/>
                  <a:pt x="994" y="989"/>
                  <a:pt x="994" y="989"/>
                </a:cubicBezTo>
                <a:cubicBezTo>
                  <a:pt x="992" y="987"/>
                  <a:pt x="992" y="987"/>
                  <a:pt x="992" y="987"/>
                </a:cubicBezTo>
                <a:cubicBezTo>
                  <a:pt x="991" y="988"/>
                  <a:pt x="991" y="988"/>
                  <a:pt x="991" y="988"/>
                </a:cubicBezTo>
                <a:cubicBezTo>
                  <a:pt x="990" y="987"/>
                  <a:pt x="990" y="987"/>
                  <a:pt x="990" y="987"/>
                </a:cubicBezTo>
                <a:cubicBezTo>
                  <a:pt x="989" y="985"/>
                  <a:pt x="989" y="985"/>
                  <a:pt x="989" y="985"/>
                </a:cubicBezTo>
                <a:cubicBezTo>
                  <a:pt x="986" y="981"/>
                  <a:pt x="986" y="981"/>
                  <a:pt x="986" y="981"/>
                </a:cubicBezTo>
                <a:cubicBezTo>
                  <a:pt x="985" y="981"/>
                  <a:pt x="985" y="981"/>
                  <a:pt x="985" y="981"/>
                </a:cubicBezTo>
                <a:cubicBezTo>
                  <a:pt x="983" y="979"/>
                  <a:pt x="983" y="979"/>
                  <a:pt x="983" y="979"/>
                </a:cubicBezTo>
                <a:cubicBezTo>
                  <a:pt x="977" y="977"/>
                  <a:pt x="977" y="977"/>
                  <a:pt x="977" y="977"/>
                </a:cubicBezTo>
                <a:cubicBezTo>
                  <a:pt x="974" y="976"/>
                  <a:pt x="974" y="976"/>
                  <a:pt x="974" y="976"/>
                </a:cubicBezTo>
                <a:cubicBezTo>
                  <a:pt x="971" y="976"/>
                  <a:pt x="971" y="976"/>
                  <a:pt x="971" y="976"/>
                </a:cubicBezTo>
                <a:cubicBezTo>
                  <a:pt x="970" y="977"/>
                  <a:pt x="970" y="977"/>
                  <a:pt x="970" y="977"/>
                </a:cubicBezTo>
                <a:cubicBezTo>
                  <a:pt x="968" y="978"/>
                  <a:pt x="968" y="978"/>
                  <a:pt x="968" y="978"/>
                </a:cubicBezTo>
                <a:cubicBezTo>
                  <a:pt x="968" y="978"/>
                  <a:pt x="968" y="978"/>
                  <a:pt x="968" y="978"/>
                </a:cubicBezTo>
                <a:cubicBezTo>
                  <a:pt x="970" y="976"/>
                  <a:pt x="970" y="976"/>
                  <a:pt x="970" y="976"/>
                </a:cubicBezTo>
                <a:cubicBezTo>
                  <a:pt x="970" y="974"/>
                  <a:pt x="970" y="974"/>
                  <a:pt x="970" y="974"/>
                </a:cubicBezTo>
                <a:cubicBezTo>
                  <a:pt x="967" y="973"/>
                  <a:pt x="967" y="973"/>
                  <a:pt x="967" y="973"/>
                </a:cubicBezTo>
                <a:cubicBezTo>
                  <a:pt x="964" y="973"/>
                  <a:pt x="964" y="973"/>
                  <a:pt x="964" y="973"/>
                </a:cubicBezTo>
                <a:cubicBezTo>
                  <a:pt x="960" y="971"/>
                  <a:pt x="960" y="971"/>
                  <a:pt x="960" y="971"/>
                </a:cubicBezTo>
                <a:cubicBezTo>
                  <a:pt x="959" y="971"/>
                  <a:pt x="959" y="971"/>
                  <a:pt x="959" y="971"/>
                </a:cubicBezTo>
                <a:cubicBezTo>
                  <a:pt x="957" y="972"/>
                  <a:pt x="957" y="972"/>
                  <a:pt x="957" y="972"/>
                </a:cubicBezTo>
                <a:cubicBezTo>
                  <a:pt x="954" y="972"/>
                  <a:pt x="954" y="972"/>
                  <a:pt x="954" y="972"/>
                </a:cubicBezTo>
                <a:cubicBezTo>
                  <a:pt x="950" y="973"/>
                  <a:pt x="950" y="973"/>
                  <a:pt x="950" y="973"/>
                </a:cubicBezTo>
                <a:cubicBezTo>
                  <a:pt x="946" y="972"/>
                  <a:pt x="946" y="972"/>
                  <a:pt x="946" y="972"/>
                </a:cubicBezTo>
                <a:cubicBezTo>
                  <a:pt x="942" y="972"/>
                  <a:pt x="942" y="972"/>
                  <a:pt x="942" y="972"/>
                </a:cubicBezTo>
                <a:cubicBezTo>
                  <a:pt x="939" y="973"/>
                  <a:pt x="939" y="973"/>
                  <a:pt x="939" y="973"/>
                </a:cubicBezTo>
                <a:cubicBezTo>
                  <a:pt x="939" y="975"/>
                  <a:pt x="939" y="975"/>
                  <a:pt x="939" y="975"/>
                </a:cubicBezTo>
                <a:cubicBezTo>
                  <a:pt x="939" y="975"/>
                  <a:pt x="939" y="975"/>
                  <a:pt x="939" y="975"/>
                </a:cubicBezTo>
                <a:cubicBezTo>
                  <a:pt x="938" y="973"/>
                  <a:pt x="938" y="973"/>
                  <a:pt x="938" y="973"/>
                </a:cubicBezTo>
                <a:cubicBezTo>
                  <a:pt x="938" y="970"/>
                  <a:pt x="938" y="970"/>
                  <a:pt x="938" y="970"/>
                </a:cubicBezTo>
                <a:cubicBezTo>
                  <a:pt x="938" y="969"/>
                  <a:pt x="938" y="969"/>
                  <a:pt x="938" y="969"/>
                </a:cubicBezTo>
                <a:cubicBezTo>
                  <a:pt x="934" y="968"/>
                  <a:pt x="934" y="968"/>
                  <a:pt x="934" y="968"/>
                </a:cubicBezTo>
                <a:cubicBezTo>
                  <a:pt x="931" y="964"/>
                  <a:pt x="931" y="964"/>
                  <a:pt x="931" y="964"/>
                </a:cubicBezTo>
                <a:cubicBezTo>
                  <a:pt x="929" y="963"/>
                  <a:pt x="929" y="963"/>
                  <a:pt x="929" y="963"/>
                </a:cubicBezTo>
                <a:cubicBezTo>
                  <a:pt x="928" y="964"/>
                  <a:pt x="928" y="964"/>
                  <a:pt x="928" y="964"/>
                </a:cubicBezTo>
                <a:cubicBezTo>
                  <a:pt x="925" y="964"/>
                  <a:pt x="925" y="964"/>
                  <a:pt x="925" y="964"/>
                </a:cubicBezTo>
                <a:cubicBezTo>
                  <a:pt x="924" y="966"/>
                  <a:pt x="924" y="966"/>
                  <a:pt x="924" y="966"/>
                </a:cubicBezTo>
                <a:cubicBezTo>
                  <a:pt x="924" y="968"/>
                  <a:pt x="924" y="968"/>
                  <a:pt x="924" y="968"/>
                </a:cubicBezTo>
                <a:cubicBezTo>
                  <a:pt x="923" y="965"/>
                  <a:pt x="923" y="965"/>
                  <a:pt x="923" y="965"/>
                </a:cubicBezTo>
                <a:cubicBezTo>
                  <a:pt x="924" y="962"/>
                  <a:pt x="924" y="962"/>
                  <a:pt x="924" y="962"/>
                </a:cubicBezTo>
                <a:cubicBezTo>
                  <a:pt x="924" y="960"/>
                  <a:pt x="924" y="960"/>
                  <a:pt x="924" y="960"/>
                </a:cubicBezTo>
                <a:cubicBezTo>
                  <a:pt x="923" y="957"/>
                  <a:pt x="923" y="957"/>
                  <a:pt x="923" y="957"/>
                </a:cubicBezTo>
                <a:cubicBezTo>
                  <a:pt x="922" y="956"/>
                  <a:pt x="922" y="956"/>
                  <a:pt x="922" y="956"/>
                </a:cubicBezTo>
                <a:cubicBezTo>
                  <a:pt x="918" y="953"/>
                  <a:pt x="918" y="953"/>
                  <a:pt x="918" y="953"/>
                </a:cubicBezTo>
                <a:cubicBezTo>
                  <a:pt x="915" y="950"/>
                  <a:pt x="915" y="950"/>
                  <a:pt x="915" y="950"/>
                </a:cubicBezTo>
                <a:cubicBezTo>
                  <a:pt x="915" y="949"/>
                  <a:pt x="915" y="949"/>
                  <a:pt x="915" y="949"/>
                </a:cubicBezTo>
                <a:cubicBezTo>
                  <a:pt x="913" y="947"/>
                  <a:pt x="913" y="947"/>
                  <a:pt x="913" y="947"/>
                </a:cubicBezTo>
                <a:cubicBezTo>
                  <a:pt x="911" y="947"/>
                  <a:pt x="911" y="947"/>
                  <a:pt x="911" y="947"/>
                </a:cubicBezTo>
                <a:cubicBezTo>
                  <a:pt x="911" y="946"/>
                  <a:pt x="911" y="946"/>
                  <a:pt x="911" y="946"/>
                </a:cubicBezTo>
                <a:cubicBezTo>
                  <a:pt x="910" y="946"/>
                  <a:pt x="910" y="946"/>
                  <a:pt x="910" y="946"/>
                </a:cubicBezTo>
                <a:cubicBezTo>
                  <a:pt x="906" y="944"/>
                  <a:pt x="906" y="944"/>
                  <a:pt x="906" y="944"/>
                </a:cubicBezTo>
                <a:cubicBezTo>
                  <a:pt x="905" y="944"/>
                  <a:pt x="905" y="944"/>
                  <a:pt x="905" y="944"/>
                </a:cubicBezTo>
                <a:cubicBezTo>
                  <a:pt x="903" y="945"/>
                  <a:pt x="903" y="945"/>
                  <a:pt x="903" y="945"/>
                </a:cubicBezTo>
                <a:cubicBezTo>
                  <a:pt x="901" y="944"/>
                  <a:pt x="901" y="944"/>
                  <a:pt x="901" y="944"/>
                </a:cubicBezTo>
                <a:cubicBezTo>
                  <a:pt x="900" y="944"/>
                  <a:pt x="900" y="944"/>
                  <a:pt x="900" y="944"/>
                </a:cubicBezTo>
                <a:cubicBezTo>
                  <a:pt x="899" y="945"/>
                  <a:pt x="899" y="945"/>
                  <a:pt x="899" y="945"/>
                </a:cubicBezTo>
                <a:cubicBezTo>
                  <a:pt x="895" y="945"/>
                  <a:pt x="895" y="945"/>
                  <a:pt x="895" y="945"/>
                </a:cubicBezTo>
                <a:cubicBezTo>
                  <a:pt x="893" y="945"/>
                  <a:pt x="893" y="945"/>
                  <a:pt x="893" y="945"/>
                </a:cubicBezTo>
                <a:cubicBezTo>
                  <a:pt x="892" y="945"/>
                  <a:pt x="892" y="945"/>
                  <a:pt x="892" y="945"/>
                </a:cubicBezTo>
                <a:cubicBezTo>
                  <a:pt x="894" y="945"/>
                  <a:pt x="894" y="945"/>
                  <a:pt x="894" y="945"/>
                </a:cubicBezTo>
                <a:cubicBezTo>
                  <a:pt x="895" y="945"/>
                  <a:pt x="895" y="945"/>
                  <a:pt x="895" y="945"/>
                </a:cubicBezTo>
                <a:cubicBezTo>
                  <a:pt x="897" y="944"/>
                  <a:pt x="897" y="944"/>
                  <a:pt x="897" y="944"/>
                </a:cubicBezTo>
                <a:cubicBezTo>
                  <a:pt x="897" y="942"/>
                  <a:pt x="897" y="942"/>
                  <a:pt x="897" y="942"/>
                </a:cubicBezTo>
                <a:cubicBezTo>
                  <a:pt x="900" y="941"/>
                  <a:pt x="900" y="941"/>
                  <a:pt x="900" y="941"/>
                </a:cubicBezTo>
                <a:cubicBezTo>
                  <a:pt x="900" y="940"/>
                  <a:pt x="900" y="940"/>
                  <a:pt x="900" y="940"/>
                </a:cubicBezTo>
                <a:cubicBezTo>
                  <a:pt x="899" y="939"/>
                  <a:pt x="899" y="939"/>
                  <a:pt x="899" y="939"/>
                </a:cubicBezTo>
                <a:cubicBezTo>
                  <a:pt x="899" y="938"/>
                  <a:pt x="899" y="938"/>
                  <a:pt x="899" y="938"/>
                </a:cubicBezTo>
                <a:cubicBezTo>
                  <a:pt x="898" y="936"/>
                  <a:pt x="898" y="936"/>
                  <a:pt x="898" y="936"/>
                </a:cubicBezTo>
                <a:cubicBezTo>
                  <a:pt x="895" y="935"/>
                  <a:pt x="895" y="935"/>
                  <a:pt x="895" y="935"/>
                </a:cubicBezTo>
                <a:cubicBezTo>
                  <a:pt x="892" y="934"/>
                  <a:pt x="892" y="934"/>
                  <a:pt x="892" y="934"/>
                </a:cubicBezTo>
                <a:cubicBezTo>
                  <a:pt x="891" y="933"/>
                  <a:pt x="891" y="933"/>
                  <a:pt x="891" y="933"/>
                </a:cubicBezTo>
                <a:cubicBezTo>
                  <a:pt x="890" y="932"/>
                  <a:pt x="890" y="932"/>
                  <a:pt x="890" y="932"/>
                </a:cubicBezTo>
                <a:cubicBezTo>
                  <a:pt x="888" y="932"/>
                  <a:pt x="888" y="932"/>
                  <a:pt x="888" y="932"/>
                </a:cubicBezTo>
                <a:cubicBezTo>
                  <a:pt x="887" y="931"/>
                  <a:pt x="887" y="931"/>
                  <a:pt x="887" y="931"/>
                </a:cubicBezTo>
                <a:cubicBezTo>
                  <a:pt x="885" y="930"/>
                  <a:pt x="885" y="930"/>
                  <a:pt x="885" y="930"/>
                </a:cubicBezTo>
                <a:cubicBezTo>
                  <a:pt x="884" y="930"/>
                  <a:pt x="884" y="930"/>
                  <a:pt x="884" y="930"/>
                </a:cubicBezTo>
                <a:cubicBezTo>
                  <a:pt x="884" y="932"/>
                  <a:pt x="884" y="932"/>
                  <a:pt x="884" y="932"/>
                </a:cubicBezTo>
                <a:cubicBezTo>
                  <a:pt x="883" y="930"/>
                  <a:pt x="883" y="930"/>
                  <a:pt x="883" y="930"/>
                </a:cubicBezTo>
                <a:cubicBezTo>
                  <a:pt x="882" y="928"/>
                  <a:pt x="882" y="928"/>
                  <a:pt x="882" y="928"/>
                </a:cubicBezTo>
                <a:cubicBezTo>
                  <a:pt x="880" y="927"/>
                  <a:pt x="880" y="927"/>
                  <a:pt x="880" y="927"/>
                </a:cubicBezTo>
                <a:cubicBezTo>
                  <a:pt x="879" y="926"/>
                  <a:pt x="879" y="926"/>
                  <a:pt x="879" y="926"/>
                </a:cubicBezTo>
                <a:cubicBezTo>
                  <a:pt x="880" y="925"/>
                  <a:pt x="880" y="925"/>
                  <a:pt x="880" y="925"/>
                </a:cubicBezTo>
                <a:cubicBezTo>
                  <a:pt x="885" y="926"/>
                  <a:pt x="885" y="926"/>
                  <a:pt x="885" y="926"/>
                </a:cubicBezTo>
                <a:cubicBezTo>
                  <a:pt x="887" y="924"/>
                  <a:pt x="887" y="924"/>
                  <a:pt x="887" y="924"/>
                </a:cubicBezTo>
                <a:cubicBezTo>
                  <a:pt x="889" y="924"/>
                  <a:pt x="889" y="924"/>
                  <a:pt x="889" y="924"/>
                </a:cubicBezTo>
                <a:cubicBezTo>
                  <a:pt x="890" y="923"/>
                  <a:pt x="890" y="923"/>
                  <a:pt x="890" y="923"/>
                </a:cubicBezTo>
                <a:cubicBezTo>
                  <a:pt x="887" y="923"/>
                  <a:pt x="887" y="923"/>
                  <a:pt x="887" y="923"/>
                </a:cubicBezTo>
                <a:cubicBezTo>
                  <a:pt x="883" y="922"/>
                  <a:pt x="883" y="922"/>
                  <a:pt x="883" y="922"/>
                </a:cubicBezTo>
                <a:cubicBezTo>
                  <a:pt x="879" y="923"/>
                  <a:pt x="879" y="923"/>
                  <a:pt x="879" y="923"/>
                </a:cubicBezTo>
                <a:cubicBezTo>
                  <a:pt x="877" y="922"/>
                  <a:pt x="877" y="922"/>
                  <a:pt x="877" y="922"/>
                </a:cubicBezTo>
                <a:cubicBezTo>
                  <a:pt x="873" y="924"/>
                  <a:pt x="873" y="924"/>
                  <a:pt x="873" y="924"/>
                </a:cubicBezTo>
                <a:cubicBezTo>
                  <a:pt x="871" y="923"/>
                  <a:pt x="871" y="923"/>
                  <a:pt x="871" y="923"/>
                </a:cubicBezTo>
                <a:cubicBezTo>
                  <a:pt x="869" y="924"/>
                  <a:pt x="869" y="924"/>
                  <a:pt x="869" y="924"/>
                </a:cubicBezTo>
                <a:cubicBezTo>
                  <a:pt x="866" y="926"/>
                  <a:pt x="866" y="926"/>
                  <a:pt x="866" y="926"/>
                </a:cubicBezTo>
                <a:cubicBezTo>
                  <a:pt x="864" y="927"/>
                  <a:pt x="864" y="927"/>
                  <a:pt x="864" y="927"/>
                </a:cubicBezTo>
                <a:cubicBezTo>
                  <a:pt x="861" y="928"/>
                  <a:pt x="861" y="928"/>
                  <a:pt x="861" y="928"/>
                </a:cubicBezTo>
                <a:cubicBezTo>
                  <a:pt x="861" y="929"/>
                  <a:pt x="861" y="929"/>
                  <a:pt x="861" y="929"/>
                </a:cubicBezTo>
                <a:cubicBezTo>
                  <a:pt x="858" y="929"/>
                  <a:pt x="858" y="929"/>
                  <a:pt x="858" y="929"/>
                </a:cubicBezTo>
                <a:cubicBezTo>
                  <a:pt x="857" y="930"/>
                  <a:pt x="857" y="930"/>
                  <a:pt x="857" y="930"/>
                </a:cubicBezTo>
                <a:cubicBezTo>
                  <a:pt x="855" y="929"/>
                  <a:pt x="855" y="929"/>
                  <a:pt x="855" y="929"/>
                </a:cubicBezTo>
                <a:cubicBezTo>
                  <a:pt x="851" y="926"/>
                  <a:pt x="851" y="926"/>
                  <a:pt x="851" y="926"/>
                </a:cubicBezTo>
                <a:cubicBezTo>
                  <a:pt x="850" y="924"/>
                  <a:pt x="850" y="924"/>
                  <a:pt x="850" y="924"/>
                </a:cubicBezTo>
                <a:cubicBezTo>
                  <a:pt x="848" y="924"/>
                  <a:pt x="848" y="924"/>
                  <a:pt x="848" y="924"/>
                </a:cubicBezTo>
                <a:cubicBezTo>
                  <a:pt x="844" y="925"/>
                  <a:pt x="844" y="925"/>
                  <a:pt x="844" y="925"/>
                </a:cubicBezTo>
                <a:cubicBezTo>
                  <a:pt x="834" y="926"/>
                  <a:pt x="834" y="926"/>
                  <a:pt x="834" y="926"/>
                </a:cubicBezTo>
                <a:cubicBezTo>
                  <a:pt x="829" y="926"/>
                  <a:pt x="829" y="926"/>
                  <a:pt x="829" y="926"/>
                </a:cubicBezTo>
                <a:cubicBezTo>
                  <a:pt x="827" y="925"/>
                  <a:pt x="827" y="925"/>
                  <a:pt x="827" y="925"/>
                </a:cubicBezTo>
                <a:cubicBezTo>
                  <a:pt x="827" y="924"/>
                  <a:pt x="827" y="924"/>
                  <a:pt x="827" y="924"/>
                </a:cubicBezTo>
                <a:cubicBezTo>
                  <a:pt x="827" y="922"/>
                  <a:pt x="827" y="922"/>
                  <a:pt x="827" y="922"/>
                </a:cubicBezTo>
                <a:cubicBezTo>
                  <a:pt x="828" y="922"/>
                  <a:pt x="828" y="922"/>
                  <a:pt x="828" y="922"/>
                </a:cubicBezTo>
                <a:cubicBezTo>
                  <a:pt x="828" y="920"/>
                  <a:pt x="828" y="920"/>
                  <a:pt x="828" y="920"/>
                </a:cubicBezTo>
                <a:cubicBezTo>
                  <a:pt x="826" y="917"/>
                  <a:pt x="826" y="917"/>
                  <a:pt x="826" y="917"/>
                </a:cubicBezTo>
                <a:cubicBezTo>
                  <a:pt x="824" y="917"/>
                  <a:pt x="824" y="917"/>
                  <a:pt x="824" y="917"/>
                </a:cubicBezTo>
                <a:cubicBezTo>
                  <a:pt x="819" y="917"/>
                  <a:pt x="819" y="917"/>
                  <a:pt x="819" y="917"/>
                </a:cubicBezTo>
                <a:cubicBezTo>
                  <a:pt x="817" y="916"/>
                  <a:pt x="817" y="916"/>
                  <a:pt x="817" y="916"/>
                </a:cubicBezTo>
                <a:cubicBezTo>
                  <a:pt x="815" y="916"/>
                  <a:pt x="815" y="916"/>
                  <a:pt x="815" y="916"/>
                </a:cubicBezTo>
                <a:cubicBezTo>
                  <a:pt x="814" y="916"/>
                  <a:pt x="814" y="916"/>
                  <a:pt x="814" y="916"/>
                </a:cubicBezTo>
                <a:cubicBezTo>
                  <a:pt x="812" y="913"/>
                  <a:pt x="812" y="913"/>
                  <a:pt x="812" y="913"/>
                </a:cubicBezTo>
                <a:cubicBezTo>
                  <a:pt x="812" y="911"/>
                  <a:pt x="812" y="911"/>
                  <a:pt x="812" y="911"/>
                </a:cubicBezTo>
                <a:cubicBezTo>
                  <a:pt x="811" y="907"/>
                  <a:pt x="811" y="907"/>
                  <a:pt x="811" y="907"/>
                </a:cubicBezTo>
                <a:cubicBezTo>
                  <a:pt x="810" y="907"/>
                  <a:pt x="810" y="907"/>
                  <a:pt x="810" y="907"/>
                </a:cubicBezTo>
                <a:cubicBezTo>
                  <a:pt x="808" y="908"/>
                  <a:pt x="808" y="908"/>
                  <a:pt x="808" y="908"/>
                </a:cubicBezTo>
                <a:cubicBezTo>
                  <a:pt x="805" y="911"/>
                  <a:pt x="805" y="911"/>
                  <a:pt x="805" y="911"/>
                </a:cubicBezTo>
                <a:cubicBezTo>
                  <a:pt x="806" y="914"/>
                  <a:pt x="806" y="914"/>
                  <a:pt x="806" y="914"/>
                </a:cubicBezTo>
                <a:cubicBezTo>
                  <a:pt x="806" y="915"/>
                  <a:pt x="806" y="915"/>
                  <a:pt x="806" y="915"/>
                </a:cubicBezTo>
                <a:cubicBezTo>
                  <a:pt x="808" y="914"/>
                  <a:pt x="808" y="914"/>
                  <a:pt x="808" y="914"/>
                </a:cubicBezTo>
                <a:cubicBezTo>
                  <a:pt x="810" y="914"/>
                  <a:pt x="810" y="914"/>
                  <a:pt x="810" y="914"/>
                </a:cubicBezTo>
                <a:cubicBezTo>
                  <a:pt x="812" y="915"/>
                  <a:pt x="812" y="915"/>
                  <a:pt x="812" y="915"/>
                </a:cubicBezTo>
                <a:cubicBezTo>
                  <a:pt x="812" y="917"/>
                  <a:pt x="812" y="917"/>
                  <a:pt x="812" y="917"/>
                </a:cubicBezTo>
                <a:cubicBezTo>
                  <a:pt x="810" y="917"/>
                  <a:pt x="810" y="917"/>
                  <a:pt x="810" y="917"/>
                </a:cubicBezTo>
                <a:cubicBezTo>
                  <a:pt x="808" y="916"/>
                  <a:pt x="808" y="916"/>
                  <a:pt x="808" y="916"/>
                </a:cubicBezTo>
                <a:cubicBezTo>
                  <a:pt x="807" y="916"/>
                  <a:pt x="807" y="916"/>
                  <a:pt x="807" y="916"/>
                </a:cubicBezTo>
                <a:cubicBezTo>
                  <a:pt x="806" y="916"/>
                  <a:pt x="806" y="916"/>
                  <a:pt x="806" y="916"/>
                </a:cubicBezTo>
                <a:cubicBezTo>
                  <a:pt x="806" y="917"/>
                  <a:pt x="806" y="917"/>
                  <a:pt x="806" y="917"/>
                </a:cubicBezTo>
                <a:cubicBezTo>
                  <a:pt x="804" y="918"/>
                  <a:pt x="804" y="918"/>
                  <a:pt x="804" y="918"/>
                </a:cubicBezTo>
                <a:cubicBezTo>
                  <a:pt x="799" y="919"/>
                  <a:pt x="799" y="919"/>
                  <a:pt x="799" y="919"/>
                </a:cubicBezTo>
                <a:cubicBezTo>
                  <a:pt x="795" y="921"/>
                  <a:pt x="795" y="921"/>
                  <a:pt x="795" y="921"/>
                </a:cubicBezTo>
                <a:cubicBezTo>
                  <a:pt x="794" y="923"/>
                  <a:pt x="794" y="923"/>
                  <a:pt x="794" y="923"/>
                </a:cubicBezTo>
                <a:cubicBezTo>
                  <a:pt x="794" y="924"/>
                  <a:pt x="794" y="924"/>
                  <a:pt x="794" y="924"/>
                </a:cubicBezTo>
                <a:cubicBezTo>
                  <a:pt x="795" y="926"/>
                  <a:pt x="795" y="926"/>
                  <a:pt x="795" y="926"/>
                </a:cubicBezTo>
                <a:cubicBezTo>
                  <a:pt x="795" y="931"/>
                  <a:pt x="795" y="931"/>
                  <a:pt x="795" y="931"/>
                </a:cubicBezTo>
                <a:cubicBezTo>
                  <a:pt x="795" y="933"/>
                  <a:pt x="795" y="933"/>
                  <a:pt x="795" y="933"/>
                </a:cubicBezTo>
                <a:cubicBezTo>
                  <a:pt x="796" y="936"/>
                  <a:pt x="796" y="936"/>
                  <a:pt x="796" y="936"/>
                </a:cubicBezTo>
                <a:cubicBezTo>
                  <a:pt x="795" y="939"/>
                  <a:pt x="795" y="939"/>
                  <a:pt x="795" y="939"/>
                </a:cubicBezTo>
                <a:cubicBezTo>
                  <a:pt x="791" y="941"/>
                  <a:pt x="791" y="941"/>
                  <a:pt x="791" y="941"/>
                </a:cubicBezTo>
                <a:cubicBezTo>
                  <a:pt x="789" y="940"/>
                  <a:pt x="789" y="940"/>
                  <a:pt x="789" y="940"/>
                </a:cubicBezTo>
                <a:cubicBezTo>
                  <a:pt x="789" y="938"/>
                  <a:pt x="789" y="938"/>
                  <a:pt x="789" y="938"/>
                </a:cubicBezTo>
                <a:cubicBezTo>
                  <a:pt x="787" y="935"/>
                  <a:pt x="787" y="935"/>
                  <a:pt x="787" y="935"/>
                </a:cubicBezTo>
                <a:cubicBezTo>
                  <a:pt x="787" y="933"/>
                  <a:pt x="787" y="933"/>
                  <a:pt x="787" y="933"/>
                </a:cubicBezTo>
                <a:cubicBezTo>
                  <a:pt x="789" y="932"/>
                  <a:pt x="789" y="932"/>
                  <a:pt x="789" y="932"/>
                </a:cubicBezTo>
                <a:cubicBezTo>
                  <a:pt x="789" y="930"/>
                  <a:pt x="789" y="930"/>
                  <a:pt x="789" y="930"/>
                </a:cubicBezTo>
                <a:cubicBezTo>
                  <a:pt x="793" y="927"/>
                  <a:pt x="793" y="927"/>
                  <a:pt x="793" y="927"/>
                </a:cubicBezTo>
                <a:cubicBezTo>
                  <a:pt x="793" y="923"/>
                  <a:pt x="793" y="923"/>
                  <a:pt x="793" y="923"/>
                </a:cubicBezTo>
                <a:cubicBezTo>
                  <a:pt x="791" y="921"/>
                  <a:pt x="791" y="921"/>
                  <a:pt x="791" y="921"/>
                </a:cubicBezTo>
                <a:cubicBezTo>
                  <a:pt x="792" y="920"/>
                  <a:pt x="792" y="920"/>
                  <a:pt x="792" y="920"/>
                </a:cubicBezTo>
                <a:cubicBezTo>
                  <a:pt x="791" y="919"/>
                  <a:pt x="791" y="919"/>
                  <a:pt x="791" y="919"/>
                </a:cubicBezTo>
                <a:cubicBezTo>
                  <a:pt x="790" y="918"/>
                  <a:pt x="790" y="918"/>
                  <a:pt x="790" y="918"/>
                </a:cubicBezTo>
                <a:cubicBezTo>
                  <a:pt x="789" y="916"/>
                  <a:pt x="789" y="916"/>
                  <a:pt x="789" y="916"/>
                </a:cubicBezTo>
                <a:cubicBezTo>
                  <a:pt x="790" y="915"/>
                  <a:pt x="790" y="915"/>
                  <a:pt x="790" y="915"/>
                </a:cubicBezTo>
                <a:cubicBezTo>
                  <a:pt x="792" y="914"/>
                  <a:pt x="792" y="914"/>
                  <a:pt x="792" y="914"/>
                </a:cubicBezTo>
                <a:cubicBezTo>
                  <a:pt x="794" y="913"/>
                  <a:pt x="794" y="913"/>
                  <a:pt x="794" y="913"/>
                </a:cubicBezTo>
                <a:cubicBezTo>
                  <a:pt x="796" y="911"/>
                  <a:pt x="796" y="911"/>
                  <a:pt x="796" y="911"/>
                </a:cubicBezTo>
                <a:cubicBezTo>
                  <a:pt x="797" y="910"/>
                  <a:pt x="797" y="910"/>
                  <a:pt x="797" y="910"/>
                </a:cubicBezTo>
                <a:cubicBezTo>
                  <a:pt x="798" y="910"/>
                  <a:pt x="798" y="910"/>
                  <a:pt x="798" y="910"/>
                </a:cubicBezTo>
                <a:cubicBezTo>
                  <a:pt x="798" y="908"/>
                  <a:pt x="798" y="908"/>
                  <a:pt x="798" y="908"/>
                </a:cubicBezTo>
                <a:cubicBezTo>
                  <a:pt x="797" y="907"/>
                  <a:pt x="797" y="907"/>
                  <a:pt x="797" y="907"/>
                </a:cubicBezTo>
                <a:cubicBezTo>
                  <a:pt x="793" y="905"/>
                  <a:pt x="793" y="905"/>
                  <a:pt x="793" y="905"/>
                </a:cubicBezTo>
                <a:cubicBezTo>
                  <a:pt x="792" y="905"/>
                  <a:pt x="792" y="905"/>
                  <a:pt x="792" y="905"/>
                </a:cubicBezTo>
                <a:cubicBezTo>
                  <a:pt x="792" y="906"/>
                  <a:pt x="792" y="906"/>
                  <a:pt x="792" y="906"/>
                </a:cubicBezTo>
                <a:cubicBezTo>
                  <a:pt x="791" y="907"/>
                  <a:pt x="791" y="907"/>
                  <a:pt x="791" y="907"/>
                </a:cubicBezTo>
                <a:cubicBezTo>
                  <a:pt x="790" y="907"/>
                  <a:pt x="790" y="907"/>
                  <a:pt x="790" y="907"/>
                </a:cubicBezTo>
                <a:cubicBezTo>
                  <a:pt x="789" y="908"/>
                  <a:pt x="789" y="908"/>
                  <a:pt x="789" y="908"/>
                </a:cubicBezTo>
                <a:cubicBezTo>
                  <a:pt x="787" y="907"/>
                  <a:pt x="787" y="907"/>
                  <a:pt x="787" y="907"/>
                </a:cubicBezTo>
                <a:cubicBezTo>
                  <a:pt x="786" y="908"/>
                  <a:pt x="786" y="908"/>
                  <a:pt x="786" y="908"/>
                </a:cubicBezTo>
                <a:cubicBezTo>
                  <a:pt x="785" y="909"/>
                  <a:pt x="785" y="909"/>
                  <a:pt x="785" y="909"/>
                </a:cubicBezTo>
                <a:cubicBezTo>
                  <a:pt x="786" y="910"/>
                  <a:pt x="786" y="910"/>
                  <a:pt x="786" y="910"/>
                </a:cubicBezTo>
                <a:cubicBezTo>
                  <a:pt x="785" y="911"/>
                  <a:pt x="785" y="911"/>
                  <a:pt x="785" y="911"/>
                </a:cubicBezTo>
                <a:cubicBezTo>
                  <a:pt x="783" y="912"/>
                  <a:pt x="783" y="912"/>
                  <a:pt x="783" y="912"/>
                </a:cubicBezTo>
                <a:cubicBezTo>
                  <a:pt x="779" y="914"/>
                  <a:pt x="779" y="914"/>
                  <a:pt x="779" y="914"/>
                </a:cubicBezTo>
                <a:cubicBezTo>
                  <a:pt x="777" y="916"/>
                  <a:pt x="777" y="916"/>
                  <a:pt x="777" y="916"/>
                </a:cubicBezTo>
                <a:cubicBezTo>
                  <a:pt x="774" y="917"/>
                  <a:pt x="774" y="917"/>
                  <a:pt x="774" y="917"/>
                </a:cubicBezTo>
                <a:cubicBezTo>
                  <a:pt x="771" y="917"/>
                  <a:pt x="771" y="917"/>
                  <a:pt x="771" y="917"/>
                </a:cubicBezTo>
                <a:cubicBezTo>
                  <a:pt x="768" y="916"/>
                  <a:pt x="768" y="916"/>
                  <a:pt x="768" y="916"/>
                </a:cubicBezTo>
                <a:cubicBezTo>
                  <a:pt x="766" y="917"/>
                  <a:pt x="766" y="917"/>
                  <a:pt x="766" y="917"/>
                </a:cubicBezTo>
                <a:cubicBezTo>
                  <a:pt x="766" y="919"/>
                  <a:pt x="766" y="919"/>
                  <a:pt x="766" y="919"/>
                </a:cubicBezTo>
                <a:cubicBezTo>
                  <a:pt x="767" y="920"/>
                  <a:pt x="767" y="920"/>
                  <a:pt x="767" y="920"/>
                </a:cubicBezTo>
                <a:cubicBezTo>
                  <a:pt x="766" y="922"/>
                  <a:pt x="766" y="922"/>
                  <a:pt x="766" y="922"/>
                </a:cubicBezTo>
                <a:cubicBezTo>
                  <a:pt x="765" y="923"/>
                  <a:pt x="765" y="923"/>
                  <a:pt x="765" y="923"/>
                </a:cubicBezTo>
                <a:cubicBezTo>
                  <a:pt x="764" y="923"/>
                  <a:pt x="764" y="923"/>
                  <a:pt x="764" y="923"/>
                </a:cubicBezTo>
                <a:cubicBezTo>
                  <a:pt x="764" y="921"/>
                  <a:pt x="764" y="921"/>
                  <a:pt x="764" y="921"/>
                </a:cubicBezTo>
                <a:cubicBezTo>
                  <a:pt x="764" y="921"/>
                  <a:pt x="764" y="921"/>
                  <a:pt x="764" y="921"/>
                </a:cubicBezTo>
                <a:cubicBezTo>
                  <a:pt x="765" y="920"/>
                  <a:pt x="765" y="920"/>
                  <a:pt x="765" y="920"/>
                </a:cubicBezTo>
                <a:cubicBezTo>
                  <a:pt x="763" y="920"/>
                  <a:pt x="763" y="920"/>
                  <a:pt x="763" y="920"/>
                </a:cubicBezTo>
                <a:cubicBezTo>
                  <a:pt x="761" y="919"/>
                  <a:pt x="761" y="919"/>
                  <a:pt x="761" y="919"/>
                </a:cubicBezTo>
                <a:cubicBezTo>
                  <a:pt x="760" y="919"/>
                  <a:pt x="760" y="919"/>
                  <a:pt x="760" y="919"/>
                </a:cubicBezTo>
                <a:cubicBezTo>
                  <a:pt x="756" y="921"/>
                  <a:pt x="756" y="921"/>
                  <a:pt x="756" y="921"/>
                </a:cubicBezTo>
                <a:cubicBezTo>
                  <a:pt x="755" y="922"/>
                  <a:pt x="755" y="922"/>
                  <a:pt x="755" y="922"/>
                </a:cubicBezTo>
                <a:cubicBezTo>
                  <a:pt x="753" y="925"/>
                  <a:pt x="753" y="925"/>
                  <a:pt x="753" y="925"/>
                </a:cubicBezTo>
                <a:cubicBezTo>
                  <a:pt x="750" y="930"/>
                  <a:pt x="750" y="930"/>
                  <a:pt x="750" y="930"/>
                </a:cubicBezTo>
                <a:cubicBezTo>
                  <a:pt x="750" y="932"/>
                  <a:pt x="750" y="932"/>
                  <a:pt x="750" y="932"/>
                </a:cubicBezTo>
                <a:cubicBezTo>
                  <a:pt x="751" y="931"/>
                  <a:pt x="751" y="931"/>
                  <a:pt x="751" y="931"/>
                </a:cubicBezTo>
                <a:cubicBezTo>
                  <a:pt x="752" y="932"/>
                  <a:pt x="752" y="932"/>
                  <a:pt x="752" y="932"/>
                </a:cubicBezTo>
                <a:cubicBezTo>
                  <a:pt x="752" y="934"/>
                  <a:pt x="752" y="934"/>
                  <a:pt x="752" y="934"/>
                </a:cubicBezTo>
                <a:cubicBezTo>
                  <a:pt x="751" y="936"/>
                  <a:pt x="751" y="936"/>
                  <a:pt x="751" y="936"/>
                </a:cubicBezTo>
                <a:cubicBezTo>
                  <a:pt x="750" y="936"/>
                  <a:pt x="750" y="936"/>
                  <a:pt x="750" y="936"/>
                </a:cubicBezTo>
                <a:cubicBezTo>
                  <a:pt x="748" y="936"/>
                  <a:pt x="748" y="936"/>
                  <a:pt x="748" y="936"/>
                </a:cubicBezTo>
                <a:cubicBezTo>
                  <a:pt x="746" y="937"/>
                  <a:pt x="746" y="937"/>
                  <a:pt x="746" y="937"/>
                </a:cubicBezTo>
                <a:cubicBezTo>
                  <a:pt x="744" y="940"/>
                  <a:pt x="744" y="940"/>
                  <a:pt x="744" y="940"/>
                </a:cubicBezTo>
                <a:cubicBezTo>
                  <a:pt x="743" y="940"/>
                  <a:pt x="743" y="940"/>
                  <a:pt x="743" y="940"/>
                </a:cubicBezTo>
                <a:cubicBezTo>
                  <a:pt x="741" y="943"/>
                  <a:pt x="741" y="943"/>
                  <a:pt x="741" y="943"/>
                </a:cubicBezTo>
                <a:cubicBezTo>
                  <a:pt x="740" y="943"/>
                  <a:pt x="740" y="943"/>
                  <a:pt x="740" y="943"/>
                </a:cubicBezTo>
                <a:cubicBezTo>
                  <a:pt x="738" y="943"/>
                  <a:pt x="738" y="943"/>
                  <a:pt x="738" y="943"/>
                </a:cubicBezTo>
                <a:cubicBezTo>
                  <a:pt x="739" y="945"/>
                  <a:pt x="739" y="945"/>
                  <a:pt x="739" y="945"/>
                </a:cubicBezTo>
                <a:cubicBezTo>
                  <a:pt x="740" y="947"/>
                  <a:pt x="740" y="947"/>
                  <a:pt x="740" y="947"/>
                </a:cubicBezTo>
                <a:cubicBezTo>
                  <a:pt x="740" y="950"/>
                  <a:pt x="740" y="950"/>
                  <a:pt x="740" y="950"/>
                </a:cubicBezTo>
                <a:cubicBezTo>
                  <a:pt x="739" y="952"/>
                  <a:pt x="739" y="952"/>
                  <a:pt x="739" y="952"/>
                </a:cubicBezTo>
                <a:cubicBezTo>
                  <a:pt x="738" y="952"/>
                  <a:pt x="738" y="952"/>
                  <a:pt x="738" y="952"/>
                </a:cubicBezTo>
                <a:cubicBezTo>
                  <a:pt x="736" y="950"/>
                  <a:pt x="736" y="950"/>
                  <a:pt x="736" y="950"/>
                </a:cubicBezTo>
                <a:cubicBezTo>
                  <a:pt x="737" y="950"/>
                  <a:pt x="737" y="950"/>
                  <a:pt x="737" y="950"/>
                </a:cubicBezTo>
                <a:cubicBezTo>
                  <a:pt x="737" y="949"/>
                  <a:pt x="737" y="949"/>
                  <a:pt x="737" y="949"/>
                </a:cubicBezTo>
                <a:cubicBezTo>
                  <a:pt x="736" y="948"/>
                  <a:pt x="736" y="948"/>
                  <a:pt x="736" y="948"/>
                </a:cubicBezTo>
                <a:cubicBezTo>
                  <a:pt x="735" y="946"/>
                  <a:pt x="735" y="946"/>
                  <a:pt x="735" y="946"/>
                </a:cubicBezTo>
                <a:cubicBezTo>
                  <a:pt x="733" y="944"/>
                  <a:pt x="733" y="944"/>
                  <a:pt x="733" y="944"/>
                </a:cubicBezTo>
                <a:cubicBezTo>
                  <a:pt x="732" y="943"/>
                  <a:pt x="732" y="943"/>
                  <a:pt x="732" y="943"/>
                </a:cubicBezTo>
                <a:cubicBezTo>
                  <a:pt x="731" y="942"/>
                  <a:pt x="731" y="942"/>
                  <a:pt x="731" y="942"/>
                </a:cubicBezTo>
                <a:cubicBezTo>
                  <a:pt x="730" y="941"/>
                  <a:pt x="730" y="941"/>
                  <a:pt x="730" y="941"/>
                </a:cubicBezTo>
                <a:cubicBezTo>
                  <a:pt x="728" y="939"/>
                  <a:pt x="728" y="939"/>
                  <a:pt x="728" y="939"/>
                </a:cubicBezTo>
                <a:cubicBezTo>
                  <a:pt x="724" y="937"/>
                  <a:pt x="724" y="937"/>
                  <a:pt x="724" y="937"/>
                </a:cubicBezTo>
                <a:cubicBezTo>
                  <a:pt x="722" y="936"/>
                  <a:pt x="722" y="936"/>
                  <a:pt x="722" y="936"/>
                </a:cubicBezTo>
                <a:cubicBezTo>
                  <a:pt x="717" y="936"/>
                  <a:pt x="717" y="936"/>
                  <a:pt x="717" y="936"/>
                </a:cubicBezTo>
                <a:cubicBezTo>
                  <a:pt x="716" y="936"/>
                  <a:pt x="716" y="936"/>
                  <a:pt x="716" y="936"/>
                </a:cubicBezTo>
                <a:cubicBezTo>
                  <a:pt x="715" y="935"/>
                  <a:pt x="715" y="935"/>
                  <a:pt x="715" y="935"/>
                </a:cubicBezTo>
                <a:cubicBezTo>
                  <a:pt x="714" y="934"/>
                  <a:pt x="714" y="934"/>
                  <a:pt x="714" y="934"/>
                </a:cubicBezTo>
                <a:cubicBezTo>
                  <a:pt x="713" y="934"/>
                  <a:pt x="713" y="934"/>
                  <a:pt x="713" y="934"/>
                </a:cubicBezTo>
                <a:cubicBezTo>
                  <a:pt x="710" y="936"/>
                  <a:pt x="710" y="936"/>
                  <a:pt x="710" y="936"/>
                </a:cubicBezTo>
                <a:cubicBezTo>
                  <a:pt x="707" y="937"/>
                  <a:pt x="707" y="937"/>
                  <a:pt x="707" y="937"/>
                </a:cubicBezTo>
                <a:cubicBezTo>
                  <a:pt x="701" y="940"/>
                  <a:pt x="701" y="940"/>
                  <a:pt x="701" y="940"/>
                </a:cubicBezTo>
                <a:cubicBezTo>
                  <a:pt x="699" y="942"/>
                  <a:pt x="699" y="942"/>
                  <a:pt x="699" y="942"/>
                </a:cubicBezTo>
                <a:cubicBezTo>
                  <a:pt x="697" y="942"/>
                  <a:pt x="697" y="942"/>
                  <a:pt x="697" y="942"/>
                </a:cubicBezTo>
                <a:cubicBezTo>
                  <a:pt x="694" y="942"/>
                  <a:pt x="694" y="942"/>
                  <a:pt x="694" y="942"/>
                </a:cubicBezTo>
                <a:cubicBezTo>
                  <a:pt x="690" y="940"/>
                  <a:pt x="690" y="940"/>
                  <a:pt x="690" y="940"/>
                </a:cubicBezTo>
                <a:cubicBezTo>
                  <a:pt x="688" y="939"/>
                  <a:pt x="688" y="939"/>
                  <a:pt x="688" y="939"/>
                </a:cubicBezTo>
                <a:cubicBezTo>
                  <a:pt x="687" y="939"/>
                  <a:pt x="687" y="939"/>
                  <a:pt x="687" y="939"/>
                </a:cubicBezTo>
                <a:cubicBezTo>
                  <a:pt x="688" y="940"/>
                  <a:pt x="688" y="940"/>
                  <a:pt x="688" y="940"/>
                </a:cubicBezTo>
                <a:cubicBezTo>
                  <a:pt x="688" y="941"/>
                  <a:pt x="688" y="941"/>
                  <a:pt x="688" y="941"/>
                </a:cubicBezTo>
                <a:cubicBezTo>
                  <a:pt x="687" y="941"/>
                  <a:pt x="687" y="941"/>
                  <a:pt x="687" y="941"/>
                </a:cubicBezTo>
                <a:cubicBezTo>
                  <a:pt x="685" y="940"/>
                  <a:pt x="685" y="940"/>
                  <a:pt x="685" y="940"/>
                </a:cubicBezTo>
                <a:cubicBezTo>
                  <a:pt x="685" y="939"/>
                  <a:pt x="685" y="939"/>
                  <a:pt x="685" y="939"/>
                </a:cubicBezTo>
                <a:cubicBezTo>
                  <a:pt x="685" y="939"/>
                  <a:pt x="685" y="939"/>
                  <a:pt x="685" y="939"/>
                </a:cubicBezTo>
                <a:cubicBezTo>
                  <a:pt x="686" y="939"/>
                  <a:pt x="686" y="939"/>
                  <a:pt x="686" y="939"/>
                </a:cubicBezTo>
                <a:cubicBezTo>
                  <a:pt x="685" y="938"/>
                  <a:pt x="685" y="938"/>
                  <a:pt x="685" y="938"/>
                </a:cubicBezTo>
                <a:cubicBezTo>
                  <a:pt x="684" y="938"/>
                  <a:pt x="684" y="938"/>
                  <a:pt x="684" y="938"/>
                </a:cubicBezTo>
                <a:cubicBezTo>
                  <a:pt x="683" y="938"/>
                  <a:pt x="683" y="938"/>
                  <a:pt x="683" y="938"/>
                </a:cubicBezTo>
                <a:cubicBezTo>
                  <a:pt x="682" y="937"/>
                  <a:pt x="682" y="937"/>
                  <a:pt x="682" y="937"/>
                </a:cubicBezTo>
                <a:cubicBezTo>
                  <a:pt x="682" y="936"/>
                  <a:pt x="682" y="936"/>
                  <a:pt x="682" y="936"/>
                </a:cubicBezTo>
                <a:cubicBezTo>
                  <a:pt x="681" y="935"/>
                  <a:pt x="681" y="935"/>
                  <a:pt x="681" y="935"/>
                </a:cubicBezTo>
                <a:cubicBezTo>
                  <a:pt x="680" y="934"/>
                  <a:pt x="680" y="934"/>
                  <a:pt x="680" y="934"/>
                </a:cubicBezTo>
                <a:cubicBezTo>
                  <a:pt x="678" y="934"/>
                  <a:pt x="678" y="934"/>
                  <a:pt x="678" y="934"/>
                </a:cubicBezTo>
                <a:cubicBezTo>
                  <a:pt x="677" y="932"/>
                  <a:pt x="677" y="932"/>
                  <a:pt x="677" y="932"/>
                </a:cubicBezTo>
                <a:cubicBezTo>
                  <a:pt x="677" y="931"/>
                  <a:pt x="677" y="931"/>
                  <a:pt x="677" y="931"/>
                </a:cubicBezTo>
                <a:cubicBezTo>
                  <a:pt x="675" y="929"/>
                  <a:pt x="675" y="929"/>
                  <a:pt x="675" y="929"/>
                </a:cubicBezTo>
                <a:cubicBezTo>
                  <a:pt x="673" y="927"/>
                  <a:pt x="673" y="927"/>
                  <a:pt x="673" y="927"/>
                </a:cubicBezTo>
                <a:cubicBezTo>
                  <a:pt x="673" y="924"/>
                  <a:pt x="673" y="924"/>
                  <a:pt x="673" y="924"/>
                </a:cubicBezTo>
                <a:cubicBezTo>
                  <a:pt x="672" y="923"/>
                  <a:pt x="672" y="923"/>
                  <a:pt x="672" y="923"/>
                </a:cubicBezTo>
                <a:cubicBezTo>
                  <a:pt x="671" y="923"/>
                  <a:pt x="671" y="923"/>
                  <a:pt x="671" y="923"/>
                </a:cubicBezTo>
                <a:cubicBezTo>
                  <a:pt x="671" y="924"/>
                  <a:pt x="671" y="924"/>
                  <a:pt x="671" y="924"/>
                </a:cubicBezTo>
                <a:cubicBezTo>
                  <a:pt x="669" y="924"/>
                  <a:pt x="669" y="924"/>
                  <a:pt x="669" y="924"/>
                </a:cubicBezTo>
                <a:cubicBezTo>
                  <a:pt x="669" y="923"/>
                  <a:pt x="669" y="923"/>
                  <a:pt x="669" y="923"/>
                </a:cubicBezTo>
                <a:cubicBezTo>
                  <a:pt x="670" y="923"/>
                  <a:pt x="670" y="923"/>
                  <a:pt x="670" y="923"/>
                </a:cubicBezTo>
                <a:cubicBezTo>
                  <a:pt x="671" y="922"/>
                  <a:pt x="671" y="922"/>
                  <a:pt x="671" y="922"/>
                </a:cubicBezTo>
                <a:cubicBezTo>
                  <a:pt x="670" y="921"/>
                  <a:pt x="670" y="921"/>
                  <a:pt x="670" y="921"/>
                </a:cubicBezTo>
                <a:cubicBezTo>
                  <a:pt x="669" y="919"/>
                  <a:pt x="669" y="919"/>
                  <a:pt x="669" y="919"/>
                </a:cubicBezTo>
                <a:cubicBezTo>
                  <a:pt x="669" y="917"/>
                  <a:pt x="669" y="917"/>
                  <a:pt x="669" y="917"/>
                </a:cubicBezTo>
                <a:cubicBezTo>
                  <a:pt x="670" y="915"/>
                  <a:pt x="670" y="915"/>
                  <a:pt x="670" y="915"/>
                </a:cubicBezTo>
                <a:cubicBezTo>
                  <a:pt x="671" y="913"/>
                  <a:pt x="671" y="913"/>
                  <a:pt x="671" y="913"/>
                </a:cubicBezTo>
                <a:cubicBezTo>
                  <a:pt x="671" y="911"/>
                  <a:pt x="671" y="911"/>
                  <a:pt x="671" y="911"/>
                </a:cubicBezTo>
                <a:cubicBezTo>
                  <a:pt x="670" y="912"/>
                  <a:pt x="670" y="912"/>
                  <a:pt x="670" y="912"/>
                </a:cubicBezTo>
                <a:cubicBezTo>
                  <a:pt x="670" y="913"/>
                  <a:pt x="670" y="913"/>
                  <a:pt x="670" y="913"/>
                </a:cubicBezTo>
                <a:cubicBezTo>
                  <a:pt x="669" y="914"/>
                  <a:pt x="669" y="914"/>
                  <a:pt x="669" y="914"/>
                </a:cubicBezTo>
                <a:cubicBezTo>
                  <a:pt x="669" y="912"/>
                  <a:pt x="669" y="912"/>
                  <a:pt x="669" y="912"/>
                </a:cubicBezTo>
                <a:cubicBezTo>
                  <a:pt x="669" y="911"/>
                  <a:pt x="669" y="911"/>
                  <a:pt x="669" y="911"/>
                </a:cubicBezTo>
                <a:cubicBezTo>
                  <a:pt x="670" y="909"/>
                  <a:pt x="670" y="909"/>
                  <a:pt x="670" y="909"/>
                </a:cubicBezTo>
                <a:cubicBezTo>
                  <a:pt x="670" y="907"/>
                  <a:pt x="670" y="907"/>
                  <a:pt x="670" y="907"/>
                </a:cubicBezTo>
                <a:cubicBezTo>
                  <a:pt x="670" y="906"/>
                  <a:pt x="670" y="906"/>
                  <a:pt x="670" y="906"/>
                </a:cubicBezTo>
                <a:cubicBezTo>
                  <a:pt x="671" y="903"/>
                  <a:pt x="671" y="903"/>
                  <a:pt x="671" y="903"/>
                </a:cubicBezTo>
                <a:cubicBezTo>
                  <a:pt x="672" y="903"/>
                  <a:pt x="672" y="903"/>
                  <a:pt x="672" y="903"/>
                </a:cubicBezTo>
                <a:cubicBezTo>
                  <a:pt x="672" y="904"/>
                  <a:pt x="672" y="904"/>
                  <a:pt x="672" y="904"/>
                </a:cubicBezTo>
                <a:cubicBezTo>
                  <a:pt x="672" y="904"/>
                  <a:pt x="672" y="905"/>
                  <a:pt x="672" y="906"/>
                </a:cubicBezTo>
                <a:cubicBezTo>
                  <a:pt x="672" y="906"/>
                  <a:pt x="672" y="908"/>
                  <a:pt x="672" y="908"/>
                </a:cubicBezTo>
                <a:cubicBezTo>
                  <a:pt x="672" y="908"/>
                  <a:pt x="672" y="908"/>
                  <a:pt x="672" y="908"/>
                </a:cubicBezTo>
                <a:cubicBezTo>
                  <a:pt x="673" y="906"/>
                  <a:pt x="673" y="906"/>
                  <a:pt x="673" y="906"/>
                </a:cubicBezTo>
                <a:cubicBezTo>
                  <a:pt x="673" y="902"/>
                  <a:pt x="673" y="902"/>
                  <a:pt x="673" y="902"/>
                </a:cubicBezTo>
                <a:cubicBezTo>
                  <a:pt x="673" y="898"/>
                  <a:pt x="673" y="898"/>
                  <a:pt x="673" y="898"/>
                </a:cubicBezTo>
                <a:cubicBezTo>
                  <a:pt x="674" y="897"/>
                  <a:pt x="674" y="897"/>
                  <a:pt x="674" y="897"/>
                </a:cubicBezTo>
                <a:cubicBezTo>
                  <a:pt x="673" y="896"/>
                  <a:pt x="673" y="896"/>
                  <a:pt x="673" y="896"/>
                </a:cubicBezTo>
                <a:cubicBezTo>
                  <a:pt x="672" y="895"/>
                  <a:pt x="672" y="895"/>
                  <a:pt x="672" y="895"/>
                </a:cubicBezTo>
                <a:cubicBezTo>
                  <a:pt x="672" y="894"/>
                  <a:pt x="672" y="894"/>
                  <a:pt x="672" y="894"/>
                </a:cubicBezTo>
                <a:cubicBezTo>
                  <a:pt x="673" y="894"/>
                  <a:pt x="673" y="894"/>
                  <a:pt x="673" y="894"/>
                </a:cubicBezTo>
                <a:cubicBezTo>
                  <a:pt x="674" y="894"/>
                  <a:pt x="674" y="894"/>
                  <a:pt x="674" y="894"/>
                </a:cubicBezTo>
                <a:cubicBezTo>
                  <a:pt x="674" y="894"/>
                  <a:pt x="674" y="894"/>
                  <a:pt x="674" y="894"/>
                </a:cubicBezTo>
                <a:cubicBezTo>
                  <a:pt x="675" y="892"/>
                  <a:pt x="675" y="892"/>
                  <a:pt x="675" y="892"/>
                </a:cubicBezTo>
                <a:cubicBezTo>
                  <a:pt x="676" y="890"/>
                  <a:pt x="676" y="890"/>
                  <a:pt x="676" y="890"/>
                </a:cubicBezTo>
                <a:cubicBezTo>
                  <a:pt x="677" y="888"/>
                  <a:pt x="677" y="888"/>
                  <a:pt x="677" y="888"/>
                </a:cubicBezTo>
                <a:cubicBezTo>
                  <a:pt x="677" y="887"/>
                  <a:pt x="677" y="887"/>
                  <a:pt x="677" y="887"/>
                </a:cubicBezTo>
                <a:cubicBezTo>
                  <a:pt x="676" y="887"/>
                  <a:pt x="676" y="887"/>
                  <a:pt x="676" y="887"/>
                </a:cubicBezTo>
                <a:cubicBezTo>
                  <a:pt x="676" y="886"/>
                  <a:pt x="676" y="886"/>
                  <a:pt x="676" y="886"/>
                </a:cubicBezTo>
                <a:cubicBezTo>
                  <a:pt x="677" y="884"/>
                  <a:pt x="677" y="884"/>
                  <a:pt x="677" y="884"/>
                </a:cubicBezTo>
                <a:cubicBezTo>
                  <a:pt x="676" y="883"/>
                  <a:pt x="676" y="883"/>
                  <a:pt x="676" y="883"/>
                </a:cubicBezTo>
                <a:cubicBezTo>
                  <a:pt x="677" y="880"/>
                  <a:pt x="677" y="880"/>
                  <a:pt x="677" y="880"/>
                </a:cubicBezTo>
                <a:cubicBezTo>
                  <a:pt x="677" y="879"/>
                  <a:pt x="677" y="879"/>
                  <a:pt x="677" y="879"/>
                </a:cubicBezTo>
                <a:cubicBezTo>
                  <a:pt x="678" y="878"/>
                  <a:pt x="678" y="878"/>
                  <a:pt x="678" y="878"/>
                </a:cubicBezTo>
                <a:cubicBezTo>
                  <a:pt x="678" y="878"/>
                  <a:pt x="678" y="878"/>
                  <a:pt x="678" y="878"/>
                </a:cubicBezTo>
                <a:cubicBezTo>
                  <a:pt x="678" y="877"/>
                  <a:pt x="678" y="877"/>
                  <a:pt x="678" y="877"/>
                </a:cubicBezTo>
                <a:cubicBezTo>
                  <a:pt x="676" y="875"/>
                  <a:pt x="676" y="875"/>
                  <a:pt x="676" y="875"/>
                </a:cubicBezTo>
                <a:cubicBezTo>
                  <a:pt x="673" y="874"/>
                  <a:pt x="673" y="874"/>
                  <a:pt x="673" y="874"/>
                </a:cubicBezTo>
                <a:cubicBezTo>
                  <a:pt x="673" y="874"/>
                  <a:pt x="673" y="874"/>
                  <a:pt x="673" y="874"/>
                </a:cubicBezTo>
                <a:cubicBezTo>
                  <a:pt x="674" y="876"/>
                  <a:pt x="674" y="876"/>
                  <a:pt x="674" y="876"/>
                </a:cubicBezTo>
                <a:cubicBezTo>
                  <a:pt x="672" y="876"/>
                  <a:pt x="672" y="876"/>
                  <a:pt x="672" y="876"/>
                </a:cubicBezTo>
                <a:cubicBezTo>
                  <a:pt x="669" y="875"/>
                  <a:pt x="669" y="875"/>
                  <a:pt x="669" y="875"/>
                </a:cubicBezTo>
                <a:cubicBezTo>
                  <a:pt x="668" y="875"/>
                  <a:pt x="668" y="875"/>
                  <a:pt x="668" y="875"/>
                </a:cubicBezTo>
                <a:cubicBezTo>
                  <a:pt x="666" y="874"/>
                  <a:pt x="666" y="874"/>
                  <a:pt x="666" y="874"/>
                </a:cubicBezTo>
                <a:cubicBezTo>
                  <a:pt x="665" y="874"/>
                  <a:pt x="665" y="874"/>
                  <a:pt x="665" y="874"/>
                </a:cubicBezTo>
                <a:cubicBezTo>
                  <a:pt x="665" y="874"/>
                  <a:pt x="665" y="874"/>
                  <a:pt x="665" y="874"/>
                </a:cubicBezTo>
                <a:cubicBezTo>
                  <a:pt x="666" y="873"/>
                  <a:pt x="666" y="873"/>
                  <a:pt x="666" y="873"/>
                </a:cubicBezTo>
                <a:cubicBezTo>
                  <a:pt x="666" y="872"/>
                  <a:pt x="666" y="872"/>
                  <a:pt x="666" y="872"/>
                </a:cubicBezTo>
                <a:cubicBezTo>
                  <a:pt x="667" y="872"/>
                  <a:pt x="667" y="872"/>
                  <a:pt x="667" y="872"/>
                </a:cubicBezTo>
                <a:cubicBezTo>
                  <a:pt x="669" y="872"/>
                  <a:pt x="669" y="872"/>
                  <a:pt x="669" y="872"/>
                </a:cubicBezTo>
                <a:cubicBezTo>
                  <a:pt x="671" y="873"/>
                  <a:pt x="671" y="873"/>
                  <a:pt x="671" y="873"/>
                </a:cubicBezTo>
                <a:cubicBezTo>
                  <a:pt x="672" y="873"/>
                  <a:pt x="672" y="873"/>
                  <a:pt x="672" y="873"/>
                </a:cubicBezTo>
                <a:cubicBezTo>
                  <a:pt x="670" y="871"/>
                  <a:pt x="670" y="871"/>
                  <a:pt x="670" y="871"/>
                </a:cubicBezTo>
                <a:cubicBezTo>
                  <a:pt x="668" y="870"/>
                  <a:pt x="668" y="870"/>
                  <a:pt x="668" y="870"/>
                </a:cubicBezTo>
                <a:cubicBezTo>
                  <a:pt x="666" y="870"/>
                  <a:pt x="666" y="870"/>
                  <a:pt x="666" y="870"/>
                </a:cubicBezTo>
                <a:cubicBezTo>
                  <a:pt x="664" y="870"/>
                  <a:pt x="664" y="870"/>
                  <a:pt x="664" y="870"/>
                </a:cubicBezTo>
                <a:cubicBezTo>
                  <a:pt x="663" y="870"/>
                  <a:pt x="663" y="870"/>
                  <a:pt x="663" y="870"/>
                </a:cubicBezTo>
                <a:cubicBezTo>
                  <a:pt x="663" y="871"/>
                  <a:pt x="663" y="871"/>
                  <a:pt x="663" y="871"/>
                </a:cubicBezTo>
                <a:cubicBezTo>
                  <a:pt x="661" y="870"/>
                  <a:pt x="661" y="870"/>
                  <a:pt x="661" y="870"/>
                </a:cubicBezTo>
                <a:cubicBezTo>
                  <a:pt x="657" y="870"/>
                  <a:pt x="657" y="870"/>
                  <a:pt x="657" y="870"/>
                </a:cubicBezTo>
                <a:cubicBezTo>
                  <a:pt x="652" y="869"/>
                  <a:pt x="652" y="869"/>
                  <a:pt x="652" y="869"/>
                </a:cubicBezTo>
                <a:cubicBezTo>
                  <a:pt x="650" y="867"/>
                  <a:pt x="650" y="867"/>
                  <a:pt x="650" y="867"/>
                </a:cubicBezTo>
                <a:cubicBezTo>
                  <a:pt x="648" y="866"/>
                  <a:pt x="648" y="866"/>
                  <a:pt x="648" y="866"/>
                </a:cubicBezTo>
                <a:cubicBezTo>
                  <a:pt x="648" y="868"/>
                  <a:pt x="648" y="868"/>
                  <a:pt x="648" y="868"/>
                </a:cubicBezTo>
                <a:cubicBezTo>
                  <a:pt x="648" y="868"/>
                  <a:pt x="648" y="868"/>
                  <a:pt x="648" y="868"/>
                </a:cubicBezTo>
                <a:cubicBezTo>
                  <a:pt x="647" y="869"/>
                  <a:pt x="647" y="869"/>
                  <a:pt x="647" y="869"/>
                </a:cubicBezTo>
                <a:cubicBezTo>
                  <a:pt x="646" y="870"/>
                  <a:pt x="646" y="870"/>
                  <a:pt x="646" y="870"/>
                </a:cubicBezTo>
                <a:cubicBezTo>
                  <a:pt x="644" y="869"/>
                  <a:pt x="644" y="869"/>
                  <a:pt x="644" y="869"/>
                </a:cubicBezTo>
                <a:cubicBezTo>
                  <a:pt x="641" y="870"/>
                  <a:pt x="641" y="870"/>
                  <a:pt x="641" y="870"/>
                </a:cubicBezTo>
                <a:cubicBezTo>
                  <a:pt x="636" y="870"/>
                  <a:pt x="636" y="870"/>
                  <a:pt x="636" y="870"/>
                </a:cubicBezTo>
                <a:cubicBezTo>
                  <a:pt x="630" y="870"/>
                  <a:pt x="630" y="870"/>
                  <a:pt x="630" y="870"/>
                </a:cubicBezTo>
                <a:cubicBezTo>
                  <a:pt x="628" y="871"/>
                  <a:pt x="628" y="871"/>
                  <a:pt x="628" y="871"/>
                </a:cubicBezTo>
                <a:cubicBezTo>
                  <a:pt x="627" y="870"/>
                  <a:pt x="627" y="870"/>
                  <a:pt x="627" y="870"/>
                </a:cubicBezTo>
                <a:cubicBezTo>
                  <a:pt x="626" y="869"/>
                  <a:pt x="626" y="869"/>
                  <a:pt x="626" y="869"/>
                </a:cubicBezTo>
                <a:cubicBezTo>
                  <a:pt x="624" y="869"/>
                  <a:pt x="624" y="869"/>
                  <a:pt x="624" y="869"/>
                </a:cubicBezTo>
                <a:cubicBezTo>
                  <a:pt x="623" y="871"/>
                  <a:pt x="623" y="871"/>
                  <a:pt x="623" y="871"/>
                </a:cubicBezTo>
                <a:cubicBezTo>
                  <a:pt x="622" y="869"/>
                  <a:pt x="622" y="869"/>
                  <a:pt x="622" y="869"/>
                </a:cubicBezTo>
                <a:cubicBezTo>
                  <a:pt x="620" y="869"/>
                  <a:pt x="620" y="869"/>
                  <a:pt x="620" y="869"/>
                </a:cubicBezTo>
                <a:cubicBezTo>
                  <a:pt x="620" y="868"/>
                  <a:pt x="620" y="868"/>
                  <a:pt x="620" y="868"/>
                </a:cubicBezTo>
                <a:cubicBezTo>
                  <a:pt x="620" y="868"/>
                  <a:pt x="620" y="868"/>
                  <a:pt x="620" y="868"/>
                </a:cubicBezTo>
                <a:cubicBezTo>
                  <a:pt x="621" y="867"/>
                  <a:pt x="621" y="867"/>
                  <a:pt x="621" y="867"/>
                </a:cubicBezTo>
                <a:cubicBezTo>
                  <a:pt x="622" y="865"/>
                  <a:pt x="622" y="865"/>
                  <a:pt x="622" y="865"/>
                </a:cubicBezTo>
                <a:cubicBezTo>
                  <a:pt x="624" y="866"/>
                  <a:pt x="624" y="866"/>
                  <a:pt x="624" y="866"/>
                </a:cubicBezTo>
                <a:cubicBezTo>
                  <a:pt x="626" y="862"/>
                  <a:pt x="626" y="862"/>
                  <a:pt x="626" y="862"/>
                </a:cubicBezTo>
                <a:cubicBezTo>
                  <a:pt x="627" y="859"/>
                  <a:pt x="627" y="859"/>
                  <a:pt x="627" y="859"/>
                </a:cubicBezTo>
                <a:cubicBezTo>
                  <a:pt x="627" y="855"/>
                  <a:pt x="627" y="855"/>
                  <a:pt x="627" y="855"/>
                </a:cubicBezTo>
                <a:cubicBezTo>
                  <a:pt x="626" y="854"/>
                  <a:pt x="626" y="854"/>
                  <a:pt x="626" y="854"/>
                </a:cubicBezTo>
                <a:cubicBezTo>
                  <a:pt x="627" y="851"/>
                  <a:pt x="627" y="851"/>
                  <a:pt x="627" y="851"/>
                </a:cubicBezTo>
                <a:cubicBezTo>
                  <a:pt x="628" y="850"/>
                  <a:pt x="628" y="850"/>
                  <a:pt x="628" y="850"/>
                </a:cubicBezTo>
                <a:cubicBezTo>
                  <a:pt x="628" y="845"/>
                  <a:pt x="628" y="845"/>
                  <a:pt x="628" y="845"/>
                </a:cubicBezTo>
                <a:cubicBezTo>
                  <a:pt x="628" y="844"/>
                  <a:pt x="628" y="844"/>
                  <a:pt x="628" y="844"/>
                </a:cubicBezTo>
                <a:cubicBezTo>
                  <a:pt x="628" y="842"/>
                  <a:pt x="628" y="842"/>
                  <a:pt x="628" y="842"/>
                </a:cubicBezTo>
                <a:cubicBezTo>
                  <a:pt x="627" y="842"/>
                  <a:pt x="627" y="842"/>
                  <a:pt x="627" y="842"/>
                </a:cubicBezTo>
                <a:cubicBezTo>
                  <a:pt x="626" y="843"/>
                  <a:pt x="626" y="843"/>
                  <a:pt x="626" y="843"/>
                </a:cubicBezTo>
                <a:cubicBezTo>
                  <a:pt x="625" y="842"/>
                  <a:pt x="625" y="842"/>
                  <a:pt x="625" y="842"/>
                </a:cubicBezTo>
                <a:cubicBezTo>
                  <a:pt x="625" y="842"/>
                  <a:pt x="625" y="842"/>
                  <a:pt x="625" y="842"/>
                </a:cubicBezTo>
                <a:cubicBezTo>
                  <a:pt x="627" y="841"/>
                  <a:pt x="627" y="841"/>
                  <a:pt x="627" y="841"/>
                </a:cubicBezTo>
                <a:cubicBezTo>
                  <a:pt x="629" y="838"/>
                  <a:pt x="629" y="838"/>
                  <a:pt x="629" y="838"/>
                </a:cubicBezTo>
                <a:cubicBezTo>
                  <a:pt x="631" y="838"/>
                  <a:pt x="631" y="838"/>
                  <a:pt x="631" y="838"/>
                </a:cubicBezTo>
                <a:cubicBezTo>
                  <a:pt x="630" y="840"/>
                  <a:pt x="630" y="840"/>
                  <a:pt x="630" y="840"/>
                </a:cubicBezTo>
                <a:cubicBezTo>
                  <a:pt x="629" y="841"/>
                  <a:pt x="629" y="841"/>
                  <a:pt x="629" y="841"/>
                </a:cubicBezTo>
                <a:cubicBezTo>
                  <a:pt x="629" y="842"/>
                  <a:pt x="629" y="842"/>
                  <a:pt x="629" y="842"/>
                </a:cubicBezTo>
                <a:cubicBezTo>
                  <a:pt x="632" y="843"/>
                  <a:pt x="632" y="843"/>
                  <a:pt x="632" y="843"/>
                </a:cubicBezTo>
                <a:cubicBezTo>
                  <a:pt x="633" y="845"/>
                  <a:pt x="633" y="845"/>
                  <a:pt x="633" y="845"/>
                </a:cubicBezTo>
                <a:cubicBezTo>
                  <a:pt x="633" y="844"/>
                  <a:pt x="633" y="844"/>
                  <a:pt x="633" y="844"/>
                </a:cubicBezTo>
                <a:cubicBezTo>
                  <a:pt x="635" y="841"/>
                  <a:pt x="635" y="841"/>
                  <a:pt x="635" y="841"/>
                </a:cubicBezTo>
                <a:cubicBezTo>
                  <a:pt x="636" y="835"/>
                  <a:pt x="636" y="835"/>
                  <a:pt x="636" y="835"/>
                </a:cubicBezTo>
                <a:cubicBezTo>
                  <a:pt x="637" y="833"/>
                  <a:pt x="637" y="833"/>
                  <a:pt x="637" y="833"/>
                </a:cubicBezTo>
                <a:cubicBezTo>
                  <a:pt x="637" y="833"/>
                  <a:pt x="637" y="833"/>
                  <a:pt x="637" y="833"/>
                </a:cubicBezTo>
                <a:cubicBezTo>
                  <a:pt x="635" y="834"/>
                  <a:pt x="635" y="834"/>
                  <a:pt x="635" y="834"/>
                </a:cubicBezTo>
                <a:cubicBezTo>
                  <a:pt x="635" y="834"/>
                  <a:pt x="635" y="834"/>
                  <a:pt x="635" y="834"/>
                </a:cubicBezTo>
                <a:cubicBezTo>
                  <a:pt x="635" y="833"/>
                  <a:pt x="635" y="833"/>
                  <a:pt x="635" y="833"/>
                </a:cubicBezTo>
                <a:cubicBezTo>
                  <a:pt x="637" y="831"/>
                  <a:pt x="637" y="831"/>
                  <a:pt x="637" y="831"/>
                </a:cubicBezTo>
                <a:cubicBezTo>
                  <a:pt x="637" y="829"/>
                  <a:pt x="637" y="829"/>
                  <a:pt x="637" y="829"/>
                </a:cubicBezTo>
                <a:cubicBezTo>
                  <a:pt x="636" y="829"/>
                  <a:pt x="636" y="829"/>
                  <a:pt x="636" y="829"/>
                </a:cubicBezTo>
                <a:cubicBezTo>
                  <a:pt x="634" y="828"/>
                  <a:pt x="634" y="828"/>
                  <a:pt x="634" y="828"/>
                </a:cubicBezTo>
                <a:cubicBezTo>
                  <a:pt x="635" y="827"/>
                  <a:pt x="635" y="827"/>
                  <a:pt x="635" y="827"/>
                </a:cubicBezTo>
                <a:cubicBezTo>
                  <a:pt x="637" y="826"/>
                  <a:pt x="637" y="826"/>
                  <a:pt x="637" y="826"/>
                </a:cubicBezTo>
                <a:cubicBezTo>
                  <a:pt x="637" y="823"/>
                  <a:pt x="637" y="823"/>
                  <a:pt x="637" y="823"/>
                </a:cubicBezTo>
                <a:cubicBezTo>
                  <a:pt x="638" y="822"/>
                  <a:pt x="638" y="822"/>
                  <a:pt x="638" y="822"/>
                </a:cubicBezTo>
                <a:cubicBezTo>
                  <a:pt x="642" y="818"/>
                  <a:pt x="642" y="818"/>
                  <a:pt x="642" y="818"/>
                </a:cubicBezTo>
                <a:cubicBezTo>
                  <a:pt x="645" y="814"/>
                  <a:pt x="645" y="814"/>
                  <a:pt x="645" y="814"/>
                </a:cubicBezTo>
                <a:cubicBezTo>
                  <a:pt x="646" y="812"/>
                  <a:pt x="646" y="812"/>
                  <a:pt x="646" y="812"/>
                </a:cubicBezTo>
                <a:cubicBezTo>
                  <a:pt x="646" y="809"/>
                  <a:pt x="646" y="809"/>
                  <a:pt x="646" y="809"/>
                </a:cubicBezTo>
                <a:cubicBezTo>
                  <a:pt x="643" y="806"/>
                  <a:pt x="643" y="806"/>
                  <a:pt x="643" y="806"/>
                </a:cubicBezTo>
                <a:cubicBezTo>
                  <a:pt x="641" y="806"/>
                  <a:pt x="641" y="806"/>
                  <a:pt x="641" y="806"/>
                </a:cubicBezTo>
                <a:cubicBezTo>
                  <a:pt x="642" y="807"/>
                  <a:pt x="642" y="807"/>
                  <a:pt x="642" y="807"/>
                </a:cubicBezTo>
                <a:cubicBezTo>
                  <a:pt x="641" y="807"/>
                  <a:pt x="641" y="807"/>
                  <a:pt x="641" y="807"/>
                </a:cubicBezTo>
                <a:cubicBezTo>
                  <a:pt x="636" y="806"/>
                  <a:pt x="636" y="806"/>
                  <a:pt x="636" y="806"/>
                </a:cubicBezTo>
                <a:cubicBezTo>
                  <a:pt x="632" y="806"/>
                  <a:pt x="632" y="806"/>
                  <a:pt x="632" y="806"/>
                </a:cubicBezTo>
                <a:cubicBezTo>
                  <a:pt x="632" y="807"/>
                  <a:pt x="632" y="807"/>
                  <a:pt x="632" y="807"/>
                </a:cubicBezTo>
                <a:cubicBezTo>
                  <a:pt x="630" y="809"/>
                  <a:pt x="630" y="809"/>
                  <a:pt x="630" y="809"/>
                </a:cubicBezTo>
                <a:cubicBezTo>
                  <a:pt x="629" y="808"/>
                  <a:pt x="629" y="808"/>
                  <a:pt x="629" y="808"/>
                </a:cubicBezTo>
                <a:cubicBezTo>
                  <a:pt x="626" y="808"/>
                  <a:pt x="626" y="808"/>
                  <a:pt x="626" y="808"/>
                </a:cubicBezTo>
                <a:cubicBezTo>
                  <a:pt x="625" y="810"/>
                  <a:pt x="625" y="810"/>
                  <a:pt x="625" y="810"/>
                </a:cubicBezTo>
                <a:cubicBezTo>
                  <a:pt x="616" y="810"/>
                  <a:pt x="616" y="810"/>
                  <a:pt x="616" y="810"/>
                </a:cubicBezTo>
                <a:cubicBezTo>
                  <a:pt x="610" y="812"/>
                  <a:pt x="610" y="812"/>
                  <a:pt x="610" y="812"/>
                </a:cubicBezTo>
                <a:cubicBezTo>
                  <a:pt x="610" y="813"/>
                  <a:pt x="610" y="813"/>
                  <a:pt x="610" y="813"/>
                </a:cubicBezTo>
                <a:cubicBezTo>
                  <a:pt x="611" y="813"/>
                  <a:pt x="611" y="813"/>
                  <a:pt x="611" y="813"/>
                </a:cubicBezTo>
                <a:cubicBezTo>
                  <a:pt x="607" y="817"/>
                  <a:pt x="607" y="817"/>
                  <a:pt x="607" y="817"/>
                </a:cubicBezTo>
                <a:cubicBezTo>
                  <a:pt x="607" y="824"/>
                  <a:pt x="607" y="824"/>
                  <a:pt x="607" y="824"/>
                </a:cubicBezTo>
                <a:cubicBezTo>
                  <a:pt x="607" y="824"/>
                  <a:pt x="607" y="824"/>
                  <a:pt x="607" y="824"/>
                </a:cubicBezTo>
                <a:cubicBezTo>
                  <a:pt x="604" y="828"/>
                  <a:pt x="604" y="828"/>
                  <a:pt x="604" y="828"/>
                </a:cubicBezTo>
                <a:cubicBezTo>
                  <a:pt x="604" y="832"/>
                  <a:pt x="604" y="832"/>
                  <a:pt x="604" y="832"/>
                </a:cubicBezTo>
                <a:cubicBezTo>
                  <a:pt x="602" y="834"/>
                  <a:pt x="602" y="834"/>
                  <a:pt x="602" y="834"/>
                </a:cubicBezTo>
                <a:cubicBezTo>
                  <a:pt x="600" y="834"/>
                  <a:pt x="600" y="834"/>
                  <a:pt x="600" y="834"/>
                </a:cubicBezTo>
                <a:cubicBezTo>
                  <a:pt x="596" y="837"/>
                  <a:pt x="596" y="837"/>
                  <a:pt x="596" y="837"/>
                </a:cubicBezTo>
                <a:cubicBezTo>
                  <a:pt x="596" y="837"/>
                  <a:pt x="596" y="837"/>
                  <a:pt x="596" y="837"/>
                </a:cubicBezTo>
                <a:cubicBezTo>
                  <a:pt x="598" y="836"/>
                  <a:pt x="598" y="836"/>
                  <a:pt x="598" y="836"/>
                </a:cubicBezTo>
                <a:cubicBezTo>
                  <a:pt x="598" y="838"/>
                  <a:pt x="598" y="838"/>
                  <a:pt x="598" y="838"/>
                </a:cubicBezTo>
                <a:cubicBezTo>
                  <a:pt x="598" y="841"/>
                  <a:pt x="598" y="841"/>
                  <a:pt x="598" y="841"/>
                </a:cubicBezTo>
                <a:cubicBezTo>
                  <a:pt x="596" y="843"/>
                  <a:pt x="596" y="843"/>
                  <a:pt x="596" y="843"/>
                </a:cubicBezTo>
                <a:cubicBezTo>
                  <a:pt x="594" y="843"/>
                  <a:pt x="594" y="843"/>
                  <a:pt x="594" y="843"/>
                </a:cubicBezTo>
                <a:cubicBezTo>
                  <a:pt x="594" y="844"/>
                  <a:pt x="594" y="844"/>
                  <a:pt x="594" y="844"/>
                </a:cubicBezTo>
                <a:cubicBezTo>
                  <a:pt x="593" y="843"/>
                  <a:pt x="593" y="843"/>
                  <a:pt x="593" y="843"/>
                </a:cubicBezTo>
                <a:cubicBezTo>
                  <a:pt x="590" y="842"/>
                  <a:pt x="590" y="842"/>
                  <a:pt x="590" y="842"/>
                </a:cubicBezTo>
                <a:cubicBezTo>
                  <a:pt x="591" y="841"/>
                  <a:pt x="591" y="841"/>
                  <a:pt x="591" y="841"/>
                </a:cubicBezTo>
                <a:cubicBezTo>
                  <a:pt x="593" y="840"/>
                  <a:pt x="593" y="840"/>
                  <a:pt x="593" y="840"/>
                </a:cubicBezTo>
                <a:cubicBezTo>
                  <a:pt x="590" y="839"/>
                  <a:pt x="590" y="839"/>
                  <a:pt x="590" y="839"/>
                </a:cubicBezTo>
                <a:cubicBezTo>
                  <a:pt x="589" y="840"/>
                  <a:pt x="589" y="840"/>
                  <a:pt x="589" y="840"/>
                </a:cubicBezTo>
                <a:cubicBezTo>
                  <a:pt x="587" y="839"/>
                  <a:pt x="587" y="839"/>
                  <a:pt x="587" y="839"/>
                </a:cubicBezTo>
                <a:cubicBezTo>
                  <a:pt x="584" y="839"/>
                  <a:pt x="584" y="839"/>
                  <a:pt x="584" y="839"/>
                </a:cubicBezTo>
                <a:cubicBezTo>
                  <a:pt x="582" y="841"/>
                  <a:pt x="582" y="841"/>
                  <a:pt x="582" y="841"/>
                </a:cubicBezTo>
                <a:cubicBezTo>
                  <a:pt x="580" y="841"/>
                  <a:pt x="580" y="841"/>
                  <a:pt x="580" y="841"/>
                </a:cubicBezTo>
                <a:cubicBezTo>
                  <a:pt x="577" y="841"/>
                  <a:pt x="577" y="841"/>
                  <a:pt x="577" y="841"/>
                </a:cubicBezTo>
                <a:cubicBezTo>
                  <a:pt x="576" y="842"/>
                  <a:pt x="576" y="842"/>
                  <a:pt x="576" y="842"/>
                </a:cubicBezTo>
                <a:cubicBezTo>
                  <a:pt x="572" y="845"/>
                  <a:pt x="572" y="845"/>
                  <a:pt x="572" y="845"/>
                </a:cubicBezTo>
                <a:cubicBezTo>
                  <a:pt x="571" y="845"/>
                  <a:pt x="571" y="845"/>
                  <a:pt x="571" y="845"/>
                </a:cubicBezTo>
                <a:cubicBezTo>
                  <a:pt x="570" y="844"/>
                  <a:pt x="570" y="844"/>
                  <a:pt x="570" y="844"/>
                </a:cubicBezTo>
                <a:cubicBezTo>
                  <a:pt x="566" y="844"/>
                  <a:pt x="566" y="844"/>
                  <a:pt x="566" y="844"/>
                </a:cubicBezTo>
                <a:cubicBezTo>
                  <a:pt x="564" y="845"/>
                  <a:pt x="564" y="845"/>
                  <a:pt x="564" y="845"/>
                </a:cubicBezTo>
                <a:cubicBezTo>
                  <a:pt x="563" y="843"/>
                  <a:pt x="563" y="843"/>
                  <a:pt x="563" y="843"/>
                </a:cubicBezTo>
                <a:cubicBezTo>
                  <a:pt x="561" y="840"/>
                  <a:pt x="561" y="840"/>
                  <a:pt x="561" y="840"/>
                </a:cubicBezTo>
                <a:cubicBezTo>
                  <a:pt x="558" y="838"/>
                  <a:pt x="558" y="838"/>
                  <a:pt x="558" y="838"/>
                </a:cubicBezTo>
                <a:cubicBezTo>
                  <a:pt x="557" y="838"/>
                  <a:pt x="557" y="838"/>
                  <a:pt x="557" y="838"/>
                </a:cubicBezTo>
                <a:cubicBezTo>
                  <a:pt x="554" y="838"/>
                  <a:pt x="554" y="838"/>
                  <a:pt x="554" y="838"/>
                </a:cubicBezTo>
                <a:cubicBezTo>
                  <a:pt x="553" y="838"/>
                  <a:pt x="553" y="838"/>
                  <a:pt x="553" y="838"/>
                </a:cubicBezTo>
                <a:cubicBezTo>
                  <a:pt x="552" y="836"/>
                  <a:pt x="552" y="836"/>
                  <a:pt x="552" y="836"/>
                </a:cubicBezTo>
                <a:cubicBezTo>
                  <a:pt x="548" y="831"/>
                  <a:pt x="548" y="831"/>
                  <a:pt x="548" y="831"/>
                </a:cubicBezTo>
                <a:cubicBezTo>
                  <a:pt x="547" y="830"/>
                  <a:pt x="547" y="830"/>
                  <a:pt x="547" y="830"/>
                </a:cubicBezTo>
                <a:cubicBezTo>
                  <a:pt x="548" y="828"/>
                  <a:pt x="548" y="828"/>
                  <a:pt x="548" y="828"/>
                </a:cubicBezTo>
                <a:cubicBezTo>
                  <a:pt x="546" y="826"/>
                  <a:pt x="546" y="826"/>
                  <a:pt x="546" y="826"/>
                </a:cubicBezTo>
                <a:cubicBezTo>
                  <a:pt x="545" y="823"/>
                  <a:pt x="545" y="823"/>
                  <a:pt x="545" y="823"/>
                </a:cubicBezTo>
                <a:cubicBezTo>
                  <a:pt x="539" y="817"/>
                  <a:pt x="539" y="817"/>
                  <a:pt x="539" y="817"/>
                </a:cubicBezTo>
                <a:cubicBezTo>
                  <a:pt x="539" y="815"/>
                  <a:pt x="539" y="815"/>
                  <a:pt x="539" y="815"/>
                </a:cubicBezTo>
                <a:cubicBezTo>
                  <a:pt x="538" y="814"/>
                  <a:pt x="538" y="814"/>
                  <a:pt x="538" y="814"/>
                </a:cubicBezTo>
                <a:cubicBezTo>
                  <a:pt x="538" y="812"/>
                  <a:pt x="538" y="812"/>
                  <a:pt x="538" y="812"/>
                </a:cubicBezTo>
                <a:cubicBezTo>
                  <a:pt x="538" y="811"/>
                  <a:pt x="538" y="811"/>
                  <a:pt x="538" y="811"/>
                </a:cubicBezTo>
                <a:cubicBezTo>
                  <a:pt x="537" y="807"/>
                  <a:pt x="537" y="807"/>
                  <a:pt x="537" y="807"/>
                </a:cubicBezTo>
                <a:cubicBezTo>
                  <a:pt x="535" y="805"/>
                  <a:pt x="535" y="805"/>
                  <a:pt x="535" y="805"/>
                </a:cubicBezTo>
                <a:cubicBezTo>
                  <a:pt x="535" y="803"/>
                  <a:pt x="535" y="803"/>
                  <a:pt x="535" y="803"/>
                </a:cubicBezTo>
                <a:cubicBezTo>
                  <a:pt x="538" y="806"/>
                  <a:pt x="538" y="806"/>
                  <a:pt x="538" y="806"/>
                </a:cubicBezTo>
                <a:cubicBezTo>
                  <a:pt x="538" y="810"/>
                  <a:pt x="538" y="810"/>
                  <a:pt x="538" y="810"/>
                </a:cubicBezTo>
                <a:cubicBezTo>
                  <a:pt x="539" y="809"/>
                  <a:pt x="539" y="809"/>
                  <a:pt x="539" y="809"/>
                </a:cubicBezTo>
                <a:cubicBezTo>
                  <a:pt x="539" y="806"/>
                  <a:pt x="539" y="806"/>
                  <a:pt x="539" y="806"/>
                </a:cubicBezTo>
                <a:cubicBezTo>
                  <a:pt x="536" y="802"/>
                  <a:pt x="536" y="802"/>
                  <a:pt x="536" y="802"/>
                </a:cubicBezTo>
                <a:cubicBezTo>
                  <a:pt x="536" y="800"/>
                  <a:pt x="536" y="800"/>
                  <a:pt x="536" y="800"/>
                </a:cubicBezTo>
                <a:cubicBezTo>
                  <a:pt x="536" y="796"/>
                  <a:pt x="536" y="796"/>
                  <a:pt x="536" y="796"/>
                </a:cubicBezTo>
                <a:cubicBezTo>
                  <a:pt x="535" y="794"/>
                  <a:pt x="535" y="794"/>
                  <a:pt x="535" y="794"/>
                </a:cubicBezTo>
                <a:cubicBezTo>
                  <a:pt x="537" y="792"/>
                  <a:pt x="537" y="792"/>
                  <a:pt x="537" y="792"/>
                </a:cubicBezTo>
                <a:cubicBezTo>
                  <a:pt x="537" y="787"/>
                  <a:pt x="537" y="787"/>
                  <a:pt x="537" y="787"/>
                </a:cubicBezTo>
                <a:cubicBezTo>
                  <a:pt x="537" y="784"/>
                  <a:pt x="537" y="784"/>
                  <a:pt x="537" y="784"/>
                </a:cubicBezTo>
                <a:cubicBezTo>
                  <a:pt x="538" y="779"/>
                  <a:pt x="538" y="779"/>
                  <a:pt x="538" y="779"/>
                </a:cubicBezTo>
                <a:cubicBezTo>
                  <a:pt x="538" y="778"/>
                  <a:pt x="538" y="778"/>
                  <a:pt x="538" y="778"/>
                </a:cubicBezTo>
                <a:cubicBezTo>
                  <a:pt x="538" y="776"/>
                  <a:pt x="538" y="776"/>
                  <a:pt x="538" y="776"/>
                </a:cubicBezTo>
                <a:cubicBezTo>
                  <a:pt x="538" y="775"/>
                  <a:pt x="538" y="775"/>
                  <a:pt x="538" y="775"/>
                </a:cubicBezTo>
                <a:cubicBezTo>
                  <a:pt x="538" y="773"/>
                  <a:pt x="538" y="773"/>
                  <a:pt x="538" y="773"/>
                </a:cubicBezTo>
                <a:cubicBezTo>
                  <a:pt x="539" y="772"/>
                  <a:pt x="539" y="772"/>
                  <a:pt x="539" y="772"/>
                </a:cubicBezTo>
                <a:cubicBezTo>
                  <a:pt x="539" y="769"/>
                  <a:pt x="539" y="769"/>
                  <a:pt x="539" y="769"/>
                </a:cubicBezTo>
                <a:cubicBezTo>
                  <a:pt x="540" y="768"/>
                  <a:pt x="540" y="768"/>
                  <a:pt x="540" y="768"/>
                </a:cubicBezTo>
                <a:cubicBezTo>
                  <a:pt x="538" y="767"/>
                  <a:pt x="538" y="767"/>
                  <a:pt x="538" y="767"/>
                </a:cubicBezTo>
                <a:cubicBezTo>
                  <a:pt x="540" y="766"/>
                  <a:pt x="540" y="766"/>
                  <a:pt x="540" y="766"/>
                </a:cubicBezTo>
                <a:cubicBezTo>
                  <a:pt x="540" y="763"/>
                  <a:pt x="540" y="763"/>
                  <a:pt x="540" y="763"/>
                </a:cubicBezTo>
                <a:cubicBezTo>
                  <a:pt x="541" y="763"/>
                  <a:pt x="541" y="763"/>
                  <a:pt x="541" y="763"/>
                </a:cubicBezTo>
                <a:cubicBezTo>
                  <a:pt x="541" y="765"/>
                  <a:pt x="541" y="765"/>
                  <a:pt x="541" y="765"/>
                </a:cubicBezTo>
                <a:cubicBezTo>
                  <a:pt x="541" y="766"/>
                  <a:pt x="541" y="766"/>
                  <a:pt x="541" y="766"/>
                </a:cubicBezTo>
                <a:cubicBezTo>
                  <a:pt x="542" y="766"/>
                  <a:pt x="542" y="766"/>
                  <a:pt x="542" y="766"/>
                </a:cubicBezTo>
                <a:cubicBezTo>
                  <a:pt x="542" y="764"/>
                  <a:pt x="542" y="764"/>
                  <a:pt x="542" y="764"/>
                </a:cubicBezTo>
                <a:cubicBezTo>
                  <a:pt x="544" y="762"/>
                  <a:pt x="544" y="762"/>
                  <a:pt x="544" y="762"/>
                </a:cubicBezTo>
                <a:cubicBezTo>
                  <a:pt x="544" y="759"/>
                  <a:pt x="544" y="759"/>
                  <a:pt x="544" y="759"/>
                </a:cubicBezTo>
                <a:cubicBezTo>
                  <a:pt x="545" y="759"/>
                  <a:pt x="545" y="759"/>
                  <a:pt x="545" y="759"/>
                </a:cubicBezTo>
                <a:cubicBezTo>
                  <a:pt x="545" y="756"/>
                  <a:pt x="545" y="756"/>
                  <a:pt x="545" y="756"/>
                </a:cubicBezTo>
                <a:cubicBezTo>
                  <a:pt x="546" y="755"/>
                  <a:pt x="546" y="755"/>
                  <a:pt x="546" y="755"/>
                </a:cubicBezTo>
                <a:cubicBezTo>
                  <a:pt x="544" y="756"/>
                  <a:pt x="544" y="756"/>
                  <a:pt x="544" y="756"/>
                </a:cubicBezTo>
                <a:cubicBezTo>
                  <a:pt x="544" y="759"/>
                  <a:pt x="544" y="759"/>
                  <a:pt x="544" y="759"/>
                </a:cubicBezTo>
                <a:cubicBezTo>
                  <a:pt x="542" y="760"/>
                  <a:pt x="542" y="760"/>
                  <a:pt x="542" y="760"/>
                </a:cubicBezTo>
                <a:cubicBezTo>
                  <a:pt x="543" y="759"/>
                  <a:pt x="543" y="759"/>
                  <a:pt x="543" y="759"/>
                </a:cubicBezTo>
                <a:cubicBezTo>
                  <a:pt x="544" y="756"/>
                  <a:pt x="544" y="756"/>
                  <a:pt x="544" y="756"/>
                </a:cubicBezTo>
                <a:cubicBezTo>
                  <a:pt x="544" y="753"/>
                  <a:pt x="544" y="753"/>
                  <a:pt x="544" y="753"/>
                </a:cubicBezTo>
                <a:cubicBezTo>
                  <a:pt x="544" y="752"/>
                  <a:pt x="544" y="752"/>
                  <a:pt x="544" y="752"/>
                </a:cubicBezTo>
                <a:cubicBezTo>
                  <a:pt x="544" y="748"/>
                  <a:pt x="544" y="748"/>
                  <a:pt x="544" y="748"/>
                </a:cubicBezTo>
                <a:cubicBezTo>
                  <a:pt x="543" y="746"/>
                  <a:pt x="543" y="746"/>
                  <a:pt x="543" y="746"/>
                </a:cubicBezTo>
                <a:cubicBezTo>
                  <a:pt x="544" y="744"/>
                  <a:pt x="544" y="744"/>
                  <a:pt x="544" y="744"/>
                </a:cubicBezTo>
                <a:cubicBezTo>
                  <a:pt x="545" y="741"/>
                  <a:pt x="545" y="741"/>
                  <a:pt x="545" y="741"/>
                </a:cubicBezTo>
                <a:cubicBezTo>
                  <a:pt x="546" y="739"/>
                  <a:pt x="546" y="739"/>
                  <a:pt x="546" y="739"/>
                </a:cubicBezTo>
                <a:cubicBezTo>
                  <a:pt x="546" y="735"/>
                  <a:pt x="546" y="735"/>
                  <a:pt x="546" y="735"/>
                </a:cubicBezTo>
                <a:cubicBezTo>
                  <a:pt x="547" y="734"/>
                  <a:pt x="547" y="734"/>
                  <a:pt x="547" y="734"/>
                </a:cubicBezTo>
                <a:cubicBezTo>
                  <a:pt x="549" y="733"/>
                  <a:pt x="549" y="733"/>
                  <a:pt x="549" y="733"/>
                </a:cubicBezTo>
                <a:cubicBezTo>
                  <a:pt x="548" y="731"/>
                  <a:pt x="548" y="731"/>
                  <a:pt x="548" y="731"/>
                </a:cubicBezTo>
                <a:cubicBezTo>
                  <a:pt x="550" y="729"/>
                  <a:pt x="550" y="729"/>
                  <a:pt x="550" y="729"/>
                </a:cubicBezTo>
                <a:cubicBezTo>
                  <a:pt x="551" y="730"/>
                  <a:pt x="551" y="730"/>
                  <a:pt x="551" y="730"/>
                </a:cubicBezTo>
                <a:cubicBezTo>
                  <a:pt x="553" y="729"/>
                  <a:pt x="553" y="729"/>
                  <a:pt x="553" y="729"/>
                </a:cubicBezTo>
                <a:cubicBezTo>
                  <a:pt x="553" y="726"/>
                  <a:pt x="553" y="726"/>
                  <a:pt x="553" y="726"/>
                </a:cubicBezTo>
                <a:cubicBezTo>
                  <a:pt x="554" y="727"/>
                  <a:pt x="554" y="727"/>
                  <a:pt x="554" y="727"/>
                </a:cubicBezTo>
                <a:cubicBezTo>
                  <a:pt x="556" y="726"/>
                  <a:pt x="556" y="726"/>
                  <a:pt x="556" y="726"/>
                </a:cubicBezTo>
                <a:cubicBezTo>
                  <a:pt x="555" y="725"/>
                  <a:pt x="555" y="725"/>
                  <a:pt x="555" y="725"/>
                </a:cubicBezTo>
                <a:cubicBezTo>
                  <a:pt x="557" y="724"/>
                  <a:pt x="557" y="724"/>
                  <a:pt x="557" y="724"/>
                </a:cubicBezTo>
                <a:cubicBezTo>
                  <a:pt x="557" y="725"/>
                  <a:pt x="557" y="725"/>
                  <a:pt x="557" y="725"/>
                </a:cubicBezTo>
                <a:cubicBezTo>
                  <a:pt x="558" y="724"/>
                  <a:pt x="558" y="724"/>
                  <a:pt x="558" y="724"/>
                </a:cubicBezTo>
                <a:cubicBezTo>
                  <a:pt x="560" y="725"/>
                  <a:pt x="560" y="725"/>
                  <a:pt x="560" y="725"/>
                </a:cubicBezTo>
                <a:cubicBezTo>
                  <a:pt x="558" y="727"/>
                  <a:pt x="558" y="727"/>
                  <a:pt x="558" y="727"/>
                </a:cubicBezTo>
                <a:cubicBezTo>
                  <a:pt x="560" y="727"/>
                  <a:pt x="560" y="727"/>
                  <a:pt x="560" y="727"/>
                </a:cubicBezTo>
                <a:cubicBezTo>
                  <a:pt x="561" y="725"/>
                  <a:pt x="561" y="725"/>
                  <a:pt x="561" y="725"/>
                </a:cubicBezTo>
                <a:cubicBezTo>
                  <a:pt x="563" y="725"/>
                  <a:pt x="563" y="725"/>
                  <a:pt x="563" y="725"/>
                </a:cubicBezTo>
                <a:cubicBezTo>
                  <a:pt x="567" y="723"/>
                  <a:pt x="567" y="723"/>
                  <a:pt x="567" y="723"/>
                </a:cubicBezTo>
                <a:cubicBezTo>
                  <a:pt x="570" y="720"/>
                  <a:pt x="570" y="720"/>
                  <a:pt x="570" y="720"/>
                </a:cubicBezTo>
                <a:cubicBezTo>
                  <a:pt x="572" y="720"/>
                  <a:pt x="572" y="720"/>
                  <a:pt x="572" y="720"/>
                </a:cubicBezTo>
                <a:cubicBezTo>
                  <a:pt x="573" y="719"/>
                  <a:pt x="573" y="719"/>
                  <a:pt x="573" y="719"/>
                </a:cubicBezTo>
                <a:cubicBezTo>
                  <a:pt x="572" y="717"/>
                  <a:pt x="572" y="717"/>
                  <a:pt x="572" y="717"/>
                </a:cubicBezTo>
                <a:cubicBezTo>
                  <a:pt x="572" y="715"/>
                  <a:pt x="572" y="715"/>
                  <a:pt x="572" y="715"/>
                </a:cubicBezTo>
                <a:cubicBezTo>
                  <a:pt x="571" y="712"/>
                  <a:pt x="571" y="712"/>
                  <a:pt x="571" y="712"/>
                </a:cubicBezTo>
                <a:cubicBezTo>
                  <a:pt x="572" y="714"/>
                  <a:pt x="572" y="714"/>
                  <a:pt x="572" y="714"/>
                </a:cubicBezTo>
                <a:cubicBezTo>
                  <a:pt x="573" y="714"/>
                  <a:pt x="573" y="714"/>
                  <a:pt x="573" y="714"/>
                </a:cubicBezTo>
                <a:cubicBezTo>
                  <a:pt x="575" y="712"/>
                  <a:pt x="575" y="712"/>
                  <a:pt x="575" y="712"/>
                </a:cubicBezTo>
                <a:cubicBezTo>
                  <a:pt x="576" y="711"/>
                  <a:pt x="576" y="711"/>
                  <a:pt x="576" y="711"/>
                </a:cubicBezTo>
                <a:cubicBezTo>
                  <a:pt x="576" y="713"/>
                  <a:pt x="576" y="713"/>
                  <a:pt x="576" y="713"/>
                </a:cubicBezTo>
                <a:cubicBezTo>
                  <a:pt x="575" y="714"/>
                  <a:pt x="575" y="714"/>
                  <a:pt x="575" y="714"/>
                </a:cubicBezTo>
                <a:cubicBezTo>
                  <a:pt x="576" y="716"/>
                  <a:pt x="576" y="716"/>
                  <a:pt x="576" y="716"/>
                </a:cubicBezTo>
                <a:cubicBezTo>
                  <a:pt x="575" y="718"/>
                  <a:pt x="575" y="718"/>
                  <a:pt x="575" y="718"/>
                </a:cubicBezTo>
                <a:cubicBezTo>
                  <a:pt x="578" y="717"/>
                  <a:pt x="578" y="717"/>
                  <a:pt x="578" y="717"/>
                </a:cubicBezTo>
                <a:cubicBezTo>
                  <a:pt x="579" y="715"/>
                  <a:pt x="579" y="715"/>
                  <a:pt x="579" y="715"/>
                </a:cubicBezTo>
                <a:cubicBezTo>
                  <a:pt x="581" y="715"/>
                  <a:pt x="581" y="715"/>
                  <a:pt x="581" y="715"/>
                </a:cubicBezTo>
                <a:cubicBezTo>
                  <a:pt x="582" y="714"/>
                  <a:pt x="582" y="714"/>
                  <a:pt x="582" y="714"/>
                </a:cubicBezTo>
                <a:cubicBezTo>
                  <a:pt x="585" y="713"/>
                  <a:pt x="585" y="713"/>
                  <a:pt x="585" y="713"/>
                </a:cubicBezTo>
                <a:cubicBezTo>
                  <a:pt x="588" y="713"/>
                  <a:pt x="588" y="713"/>
                  <a:pt x="588" y="713"/>
                </a:cubicBezTo>
                <a:cubicBezTo>
                  <a:pt x="593" y="714"/>
                  <a:pt x="593" y="714"/>
                  <a:pt x="593" y="714"/>
                </a:cubicBezTo>
                <a:cubicBezTo>
                  <a:pt x="594" y="715"/>
                  <a:pt x="594" y="715"/>
                  <a:pt x="594" y="715"/>
                </a:cubicBezTo>
                <a:cubicBezTo>
                  <a:pt x="599" y="716"/>
                  <a:pt x="599" y="716"/>
                  <a:pt x="599" y="716"/>
                </a:cubicBezTo>
                <a:cubicBezTo>
                  <a:pt x="601" y="716"/>
                  <a:pt x="601" y="716"/>
                  <a:pt x="601" y="716"/>
                </a:cubicBezTo>
                <a:cubicBezTo>
                  <a:pt x="601" y="714"/>
                  <a:pt x="601" y="714"/>
                  <a:pt x="601" y="714"/>
                </a:cubicBezTo>
                <a:cubicBezTo>
                  <a:pt x="601" y="713"/>
                  <a:pt x="601" y="713"/>
                  <a:pt x="601" y="713"/>
                </a:cubicBezTo>
                <a:cubicBezTo>
                  <a:pt x="603" y="713"/>
                  <a:pt x="603" y="713"/>
                  <a:pt x="603" y="713"/>
                </a:cubicBezTo>
                <a:cubicBezTo>
                  <a:pt x="604" y="713"/>
                  <a:pt x="604" y="713"/>
                  <a:pt x="604" y="713"/>
                </a:cubicBezTo>
                <a:cubicBezTo>
                  <a:pt x="603" y="714"/>
                  <a:pt x="603" y="714"/>
                  <a:pt x="603" y="714"/>
                </a:cubicBezTo>
                <a:cubicBezTo>
                  <a:pt x="605" y="715"/>
                  <a:pt x="605" y="715"/>
                  <a:pt x="605" y="715"/>
                </a:cubicBezTo>
                <a:cubicBezTo>
                  <a:pt x="606" y="714"/>
                  <a:pt x="606" y="714"/>
                  <a:pt x="606" y="714"/>
                </a:cubicBezTo>
                <a:cubicBezTo>
                  <a:pt x="607" y="715"/>
                  <a:pt x="607" y="715"/>
                  <a:pt x="607" y="715"/>
                </a:cubicBezTo>
                <a:cubicBezTo>
                  <a:pt x="607" y="716"/>
                  <a:pt x="607" y="716"/>
                  <a:pt x="607" y="716"/>
                </a:cubicBezTo>
                <a:cubicBezTo>
                  <a:pt x="607" y="717"/>
                  <a:pt x="607" y="717"/>
                  <a:pt x="607" y="717"/>
                </a:cubicBezTo>
                <a:cubicBezTo>
                  <a:pt x="609" y="717"/>
                  <a:pt x="609" y="717"/>
                  <a:pt x="609" y="717"/>
                </a:cubicBezTo>
                <a:cubicBezTo>
                  <a:pt x="610" y="718"/>
                  <a:pt x="610" y="718"/>
                  <a:pt x="610" y="718"/>
                </a:cubicBezTo>
                <a:cubicBezTo>
                  <a:pt x="609" y="719"/>
                  <a:pt x="609" y="719"/>
                  <a:pt x="609" y="719"/>
                </a:cubicBezTo>
                <a:cubicBezTo>
                  <a:pt x="608" y="720"/>
                  <a:pt x="608" y="720"/>
                  <a:pt x="608" y="720"/>
                </a:cubicBezTo>
                <a:cubicBezTo>
                  <a:pt x="609" y="721"/>
                  <a:pt x="609" y="721"/>
                  <a:pt x="609" y="721"/>
                </a:cubicBezTo>
                <a:cubicBezTo>
                  <a:pt x="611" y="720"/>
                  <a:pt x="611" y="720"/>
                  <a:pt x="611" y="720"/>
                </a:cubicBezTo>
                <a:cubicBezTo>
                  <a:pt x="612" y="721"/>
                  <a:pt x="612" y="721"/>
                  <a:pt x="612" y="721"/>
                </a:cubicBezTo>
                <a:cubicBezTo>
                  <a:pt x="614" y="722"/>
                  <a:pt x="614" y="722"/>
                  <a:pt x="614" y="722"/>
                </a:cubicBezTo>
                <a:cubicBezTo>
                  <a:pt x="615" y="721"/>
                  <a:pt x="615" y="721"/>
                  <a:pt x="615" y="721"/>
                </a:cubicBezTo>
                <a:cubicBezTo>
                  <a:pt x="617" y="720"/>
                  <a:pt x="617" y="720"/>
                  <a:pt x="617" y="720"/>
                </a:cubicBezTo>
                <a:cubicBezTo>
                  <a:pt x="619" y="721"/>
                  <a:pt x="619" y="721"/>
                  <a:pt x="619" y="721"/>
                </a:cubicBezTo>
                <a:cubicBezTo>
                  <a:pt x="619" y="722"/>
                  <a:pt x="619" y="722"/>
                  <a:pt x="619" y="722"/>
                </a:cubicBezTo>
                <a:cubicBezTo>
                  <a:pt x="621" y="721"/>
                  <a:pt x="621" y="721"/>
                  <a:pt x="621" y="721"/>
                </a:cubicBezTo>
                <a:cubicBezTo>
                  <a:pt x="621" y="719"/>
                  <a:pt x="621" y="719"/>
                  <a:pt x="621" y="719"/>
                </a:cubicBezTo>
                <a:cubicBezTo>
                  <a:pt x="620" y="717"/>
                  <a:pt x="620" y="717"/>
                  <a:pt x="620" y="717"/>
                </a:cubicBezTo>
                <a:cubicBezTo>
                  <a:pt x="622" y="717"/>
                  <a:pt x="622" y="717"/>
                  <a:pt x="622" y="717"/>
                </a:cubicBezTo>
                <a:cubicBezTo>
                  <a:pt x="623" y="719"/>
                  <a:pt x="623" y="719"/>
                  <a:pt x="623" y="719"/>
                </a:cubicBezTo>
                <a:cubicBezTo>
                  <a:pt x="625" y="720"/>
                  <a:pt x="625" y="720"/>
                  <a:pt x="625" y="720"/>
                </a:cubicBezTo>
                <a:cubicBezTo>
                  <a:pt x="626" y="721"/>
                  <a:pt x="626" y="721"/>
                  <a:pt x="626" y="721"/>
                </a:cubicBezTo>
                <a:cubicBezTo>
                  <a:pt x="627" y="721"/>
                  <a:pt x="627" y="721"/>
                  <a:pt x="627" y="721"/>
                </a:cubicBezTo>
                <a:cubicBezTo>
                  <a:pt x="628" y="722"/>
                  <a:pt x="628" y="722"/>
                  <a:pt x="628" y="722"/>
                </a:cubicBezTo>
                <a:cubicBezTo>
                  <a:pt x="628" y="724"/>
                  <a:pt x="628" y="724"/>
                  <a:pt x="628" y="724"/>
                </a:cubicBezTo>
                <a:cubicBezTo>
                  <a:pt x="629" y="722"/>
                  <a:pt x="629" y="722"/>
                  <a:pt x="629" y="722"/>
                </a:cubicBezTo>
                <a:cubicBezTo>
                  <a:pt x="630" y="722"/>
                  <a:pt x="630" y="722"/>
                  <a:pt x="630" y="722"/>
                </a:cubicBezTo>
                <a:cubicBezTo>
                  <a:pt x="631" y="721"/>
                  <a:pt x="631" y="721"/>
                  <a:pt x="631" y="721"/>
                </a:cubicBezTo>
                <a:cubicBezTo>
                  <a:pt x="628" y="719"/>
                  <a:pt x="628" y="719"/>
                  <a:pt x="628" y="719"/>
                </a:cubicBezTo>
                <a:cubicBezTo>
                  <a:pt x="625" y="718"/>
                  <a:pt x="625" y="718"/>
                  <a:pt x="625" y="718"/>
                </a:cubicBezTo>
                <a:cubicBezTo>
                  <a:pt x="624" y="717"/>
                  <a:pt x="624" y="717"/>
                  <a:pt x="624" y="717"/>
                </a:cubicBezTo>
                <a:cubicBezTo>
                  <a:pt x="624" y="715"/>
                  <a:pt x="624" y="715"/>
                  <a:pt x="624" y="715"/>
                </a:cubicBezTo>
                <a:cubicBezTo>
                  <a:pt x="627" y="714"/>
                  <a:pt x="627" y="714"/>
                  <a:pt x="627" y="714"/>
                </a:cubicBezTo>
                <a:cubicBezTo>
                  <a:pt x="628" y="713"/>
                  <a:pt x="628" y="713"/>
                  <a:pt x="628" y="713"/>
                </a:cubicBezTo>
                <a:cubicBezTo>
                  <a:pt x="626" y="712"/>
                  <a:pt x="626" y="712"/>
                  <a:pt x="626" y="712"/>
                </a:cubicBezTo>
                <a:cubicBezTo>
                  <a:pt x="626" y="711"/>
                  <a:pt x="626" y="711"/>
                  <a:pt x="626" y="711"/>
                </a:cubicBezTo>
                <a:cubicBezTo>
                  <a:pt x="625" y="711"/>
                  <a:pt x="625" y="711"/>
                  <a:pt x="625" y="711"/>
                </a:cubicBezTo>
                <a:cubicBezTo>
                  <a:pt x="624" y="712"/>
                  <a:pt x="624" y="712"/>
                  <a:pt x="624" y="712"/>
                </a:cubicBezTo>
                <a:cubicBezTo>
                  <a:pt x="623" y="713"/>
                  <a:pt x="623" y="713"/>
                  <a:pt x="623" y="713"/>
                </a:cubicBezTo>
                <a:cubicBezTo>
                  <a:pt x="623" y="712"/>
                  <a:pt x="623" y="712"/>
                  <a:pt x="623" y="712"/>
                </a:cubicBezTo>
                <a:cubicBezTo>
                  <a:pt x="624" y="710"/>
                  <a:pt x="624" y="710"/>
                  <a:pt x="624" y="710"/>
                </a:cubicBezTo>
                <a:cubicBezTo>
                  <a:pt x="628" y="708"/>
                  <a:pt x="628" y="708"/>
                  <a:pt x="628" y="708"/>
                </a:cubicBezTo>
                <a:cubicBezTo>
                  <a:pt x="629" y="707"/>
                  <a:pt x="629" y="707"/>
                  <a:pt x="629" y="707"/>
                </a:cubicBezTo>
                <a:cubicBezTo>
                  <a:pt x="635" y="706"/>
                  <a:pt x="635" y="706"/>
                  <a:pt x="635" y="706"/>
                </a:cubicBezTo>
                <a:cubicBezTo>
                  <a:pt x="638" y="706"/>
                  <a:pt x="638" y="706"/>
                  <a:pt x="638" y="706"/>
                </a:cubicBezTo>
                <a:cubicBezTo>
                  <a:pt x="639" y="706"/>
                  <a:pt x="639" y="706"/>
                  <a:pt x="639" y="706"/>
                </a:cubicBezTo>
                <a:cubicBezTo>
                  <a:pt x="640" y="706"/>
                  <a:pt x="640" y="706"/>
                  <a:pt x="640" y="706"/>
                </a:cubicBezTo>
                <a:cubicBezTo>
                  <a:pt x="641" y="704"/>
                  <a:pt x="641" y="704"/>
                  <a:pt x="641" y="704"/>
                </a:cubicBezTo>
                <a:cubicBezTo>
                  <a:pt x="642" y="703"/>
                  <a:pt x="642" y="703"/>
                  <a:pt x="642" y="703"/>
                </a:cubicBezTo>
                <a:cubicBezTo>
                  <a:pt x="643" y="703"/>
                  <a:pt x="643" y="703"/>
                  <a:pt x="643" y="703"/>
                </a:cubicBezTo>
                <a:cubicBezTo>
                  <a:pt x="643" y="704"/>
                  <a:pt x="643" y="704"/>
                  <a:pt x="643" y="704"/>
                </a:cubicBezTo>
                <a:cubicBezTo>
                  <a:pt x="643" y="705"/>
                  <a:pt x="643" y="705"/>
                  <a:pt x="643" y="705"/>
                </a:cubicBezTo>
                <a:cubicBezTo>
                  <a:pt x="645" y="707"/>
                  <a:pt x="645" y="707"/>
                  <a:pt x="645" y="707"/>
                </a:cubicBezTo>
                <a:cubicBezTo>
                  <a:pt x="647" y="706"/>
                  <a:pt x="647" y="706"/>
                  <a:pt x="647" y="706"/>
                </a:cubicBezTo>
                <a:cubicBezTo>
                  <a:pt x="650" y="706"/>
                  <a:pt x="650" y="706"/>
                  <a:pt x="650" y="706"/>
                </a:cubicBezTo>
                <a:cubicBezTo>
                  <a:pt x="651" y="706"/>
                  <a:pt x="651" y="706"/>
                  <a:pt x="651" y="706"/>
                </a:cubicBezTo>
                <a:cubicBezTo>
                  <a:pt x="652" y="707"/>
                  <a:pt x="652" y="707"/>
                  <a:pt x="652" y="707"/>
                </a:cubicBezTo>
                <a:cubicBezTo>
                  <a:pt x="655" y="706"/>
                  <a:pt x="655" y="706"/>
                  <a:pt x="655" y="706"/>
                </a:cubicBezTo>
                <a:cubicBezTo>
                  <a:pt x="656" y="707"/>
                  <a:pt x="656" y="707"/>
                  <a:pt x="656" y="707"/>
                </a:cubicBezTo>
                <a:cubicBezTo>
                  <a:pt x="658" y="705"/>
                  <a:pt x="658" y="705"/>
                  <a:pt x="658" y="705"/>
                </a:cubicBezTo>
                <a:cubicBezTo>
                  <a:pt x="661" y="705"/>
                  <a:pt x="661" y="705"/>
                  <a:pt x="661" y="705"/>
                </a:cubicBezTo>
                <a:cubicBezTo>
                  <a:pt x="661" y="706"/>
                  <a:pt x="661" y="706"/>
                  <a:pt x="661" y="706"/>
                </a:cubicBezTo>
                <a:cubicBezTo>
                  <a:pt x="660" y="706"/>
                  <a:pt x="660" y="706"/>
                  <a:pt x="660" y="706"/>
                </a:cubicBezTo>
                <a:cubicBezTo>
                  <a:pt x="657" y="706"/>
                  <a:pt x="657" y="706"/>
                  <a:pt x="657" y="706"/>
                </a:cubicBezTo>
                <a:cubicBezTo>
                  <a:pt x="657" y="707"/>
                  <a:pt x="657" y="707"/>
                  <a:pt x="657" y="707"/>
                </a:cubicBezTo>
                <a:cubicBezTo>
                  <a:pt x="660" y="707"/>
                  <a:pt x="660" y="707"/>
                  <a:pt x="660" y="707"/>
                </a:cubicBezTo>
                <a:cubicBezTo>
                  <a:pt x="662" y="707"/>
                  <a:pt x="662" y="707"/>
                  <a:pt x="662" y="707"/>
                </a:cubicBezTo>
                <a:cubicBezTo>
                  <a:pt x="664" y="708"/>
                  <a:pt x="664" y="708"/>
                  <a:pt x="664" y="708"/>
                </a:cubicBezTo>
                <a:cubicBezTo>
                  <a:pt x="665" y="709"/>
                  <a:pt x="665" y="709"/>
                  <a:pt x="665" y="709"/>
                </a:cubicBezTo>
                <a:cubicBezTo>
                  <a:pt x="664" y="708"/>
                  <a:pt x="664" y="708"/>
                  <a:pt x="664" y="708"/>
                </a:cubicBezTo>
                <a:cubicBezTo>
                  <a:pt x="665" y="707"/>
                  <a:pt x="665" y="707"/>
                  <a:pt x="665" y="707"/>
                </a:cubicBezTo>
                <a:cubicBezTo>
                  <a:pt x="666" y="707"/>
                  <a:pt x="666" y="707"/>
                  <a:pt x="666" y="707"/>
                </a:cubicBezTo>
                <a:cubicBezTo>
                  <a:pt x="666" y="708"/>
                  <a:pt x="666" y="708"/>
                  <a:pt x="666" y="708"/>
                </a:cubicBezTo>
                <a:cubicBezTo>
                  <a:pt x="668" y="710"/>
                  <a:pt x="668" y="710"/>
                  <a:pt x="668" y="710"/>
                </a:cubicBezTo>
                <a:cubicBezTo>
                  <a:pt x="668" y="710"/>
                  <a:pt x="668" y="710"/>
                  <a:pt x="668" y="710"/>
                </a:cubicBezTo>
                <a:cubicBezTo>
                  <a:pt x="666" y="710"/>
                  <a:pt x="666" y="710"/>
                  <a:pt x="666" y="710"/>
                </a:cubicBezTo>
                <a:cubicBezTo>
                  <a:pt x="666" y="710"/>
                  <a:pt x="666" y="710"/>
                  <a:pt x="666" y="710"/>
                </a:cubicBezTo>
                <a:cubicBezTo>
                  <a:pt x="668" y="711"/>
                  <a:pt x="668" y="711"/>
                  <a:pt x="668" y="711"/>
                </a:cubicBezTo>
                <a:cubicBezTo>
                  <a:pt x="669" y="713"/>
                  <a:pt x="669" y="713"/>
                  <a:pt x="669" y="713"/>
                </a:cubicBezTo>
                <a:cubicBezTo>
                  <a:pt x="670" y="714"/>
                  <a:pt x="670" y="714"/>
                  <a:pt x="670" y="714"/>
                </a:cubicBezTo>
                <a:cubicBezTo>
                  <a:pt x="669" y="714"/>
                  <a:pt x="669" y="714"/>
                  <a:pt x="669" y="714"/>
                </a:cubicBezTo>
                <a:cubicBezTo>
                  <a:pt x="669" y="713"/>
                  <a:pt x="669" y="713"/>
                  <a:pt x="669" y="713"/>
                </a:cubicBezTo>
                <a:cubicBezTo>
                  <a:pt x="669" y="714"/>
                  <a:pt x="669" y="714"/>
                  <a:pt x="669" y="714"/>
                </a:cubicBezTo>
                <a:cubicBezTo>
                  <a:pt x="669" y="715"/>
                  <a:pt x="669" y="715"/>
                  <a:pt x="669" y="715"/>
                </a:cubicBezTo>
                <a:cubicBezTo>
                  <a:pt x="672" y="714"/>
                  <a:pt x="672" y="714"/>
                  <a:pt x="672" y="714"/>
                </a:cubicBezTo>
                <a:cubicBezTo>
                  <a:pt x="674" y="714"/>
                  <a:pt x="674" y="714"/>
                  <a:pt x="674" y="714"/>
                </a:cubicBezTo>
                <a:cubicBezTo>
                  <a:pt x="677" y="712"/>
                  <a:pt x="677" y="712"/>
                  <a:pt x="677" y="712"/>
                </a:cubicBezTo>
                <a:cubicBezTo>
                  <a:pt x="678" y="712"/>
                  <a:pt x="678" y="712"/>
                  <a:pt x="678" y="712"/>
                </a:cubicBezTo>
                <a:cubicBezTo>
                  <a:pt x="678" y="712"/>
                  <a:pt x="678" y="712"/>
                  <a:pt x="678" y="712"/>
                </a:cubicBezTo>
                <a:cubicBezTo>
                  <a:pt x="678" y="711"/>
                  <a:pt x="678" y="711"/>
                  <a:pt x="678" y="711"/>
                </a:cubicBezTo>
                <a:cubicBezTo>
                  <a:pt x="679" y="710"/>
                  <a:pt x="679" y="710"/>
                  <a:pt x="679" y="710"/>
                </a:cubicBezTo>
                <a:cubicBezTo>
                  <a:pt x="681" y="710"/>
                  <a:pt x="681" y="710"/>
                  <a:pt x="681" y="710"/>
                </a:cubicBezTo>
                <a:cubicBezTo>
                  <a:pt x="683" y="710"/>
                  <a:pt x="683" y="710"/>
                  <a:pt x="683" y="710"/>
                </a:cubicBezTo>
                <a:cubicBezTo>
                  <a:pt x="685" y="711"/>
                  <a:pt x="685" y="711"/>
                  <a:pt x="685" y="711"/>
                </a:cubicBezTo>
                <a:cubicBezTo>
                  <a:pt x="686" y="715"/>
                  <a:pt x="686" y="715"/>
                  <a:pt x="686" y="715"/>
                </a:cubicBezTo>
                <a:cubicBezTo>
                  <a:pt x="687" y="716"/>
                  <a:pt x="687" y="716"/>
                  <a:pt x="687" y="716"/>
                </a:cubicBezTo>
                <a:cubicBezTo>
                  <a:pt x="688" y="716"/>
                  <a:pt x="688" y="716"/>
                  <a:pt x="688" y="716"/>
                </a:cubicBezTo>
                <a:cubicBezTo>
                  <a:pt x="688" y="718"/>
                  <a:pt x="688" y="718"/>
                  <a:pt x="688" y="718"/>
                </a:cubicBezTo>
                <a:cubicBezTo>
                  <a:pt x="689" y="719"/>
                  <a:pt x="689" y="719"/>
                  <a:pt x="689" y="719"/>
                </a:cubicBezTo>
                <a:cubicBezTo>
                  <a:pt x="690" y="719"/>
                  <a:pt x="690" y="719"/>
                  <a:pt x="690" y="719"/>
                </a:cubicBezTo>
                <a:cubicBezTo>
                  <a:pt x="690" y="720"/>
                  <a:pt x="690" y="720"/>
                  <a:pt x="690" y="720"/>
                </a:cubicBezTo>
                <a:cubicBezTo>
                  <a:pt x="691" y="721"/>
                  <a:pt x="691" y="721"/>
                  <a:pt x="691" y="721"/>
                </a:cubicBezTo>
                <a:cubicBezTo>
                  <a:pt x="693" y="722"/>
                  <a:pt x="693" y="722"/>
                  <a:pt x="693" y="722"/>
                </a:cubicBezTo>
                <a:cubicBezTo>
                  <a:pt x="694" y="724"/>
                  <a:pt x="694" y="724"/>
                  <a:pt x="694" y="724"/>
                </a:cubicBezTo>
                <a:cubicBezTo>
                  <a:pt x="694" y="727"/>
                  <a:pt x="694" y="727"/>
                  <a:pt x="694" y="727"/>
                </a:cubicBezTo>
                <a:cubicBezTo>
                  <a:pt x="692" y="731"/>
                  <a:pt x="692" y="731"/>
                  <a:pt x="692" y="731"/>
                </a:cubicBezTo>
                <a:cubicBezTo>
                  <a:pt x="690" y="735"/>
                  <a:pt x="690" y="735"/>
                  <a:pt x="690" y="735"/>
                </a:cubicBezTo>
                <a:cubicBezTo>
                  <a:pt x="690" y="736"/>
                  <a:pt x="690" y="736"/>
                  <a:pt x="690" y="736"/>
                </a:cubicBezTo>
                <a:cubicBezTo>
                  <a:pt x="691" y="739"/>
                  <a:pt x="691" y="739"/>
                  <a:pt x="691" y="739"/>
                </a:cubicBezTo>
                <a:cubicBezTo>
                  <a:pt x="692" y="738"/>
                  <a:pt x="692" y="738"/>
                  <a:pt x="692" y="738"/>
                </a:cubicBezTo>
                <a:cubicBezTo>
                  <a:pt x="693" y="736"/>
                  <a:pt x="693" y="736"/>
                  <a:pt x="693" y="736"/>
                </a:cubicBezTo>
                <a:cubicBezTo>
                  <a:pt x="693" y="736"/>
                  <a:pt x="693" y="736"/>
                  <a:pt x="693" y="736"/>
                </a:cubicBezTo>
                <a:cubicBezTo>
                  <a:pt x="694" y="735"/>
                  <a:pt x="694" y="735"/>
                  <a:pt x="694" y="735"/>
                </a:cubicBezTo>
                <a:cubicBezTo>
                  <a:pt x="695" y="736"/>
                  <a:pt x="695" y="736"/>
                  <a:pt x="695" y="736"/>
                </a:cubicBezTo>
                <a:cubicBezTo>
                  <a:pt x="695" y="737"/>
                  <a:pt x="695" y="737"/>
                  <a:pt x="695" y="737"/>
                </a:cubicBezTo>
                <a:cubicBezTo>
                  <a:pt x="693" y="741"/>
                  <a:pt x="693" y="741"/>
                  <a:pt x="693" y="741"/>
                </a:cubicBezTo>
                <a:cubicBezTo>
                  <a:pt x="693" y="742"/>
                  <a:pt x="693" y="742"/>
                  <a:pt x="693" y="742"/>
                </a:cubicBezTo>
                <a:cubicBezTo>
                  <a:pt x="693" y="744"/>
                  <a:pt x="693" y="744"/>
                  <a:pt x="693" y="744"/>
                </a:cubicBezTo>
                <a:cubicBezTo>
                  <a:pt x="695" y="746"/>
                  <a:pt x="695" y="746"/>
                  <a:pt x="695" y="746"/>
                </a:cubicBezTo>
                <a:cubicBezTo>
                  <a:pt x="695" y="747"/>
                  <a:pt x="695" y="747"/>
                  <a:pt x="695" y="747"/>
                </a:cubicBezTo>
                <a:cubicBezTo>
                  <a:pt x="696" y="746"/>
                  <a:pt x="696" y="746"/>
                  <a:pt x="696" y="746"/>
                </a:cubicBezTo>
                <a:cubicBezTo>
                  <a:pt x="696" y="748"/>
                  <a:pt x="696" y="748"/>
                  <a:pt x="696" y="748"/>
                </a:cubicBezTo>
                <a:cubicBezTo>
                  <a:pt x="697" y="747"/>
                  <a:pt x="697" y="747"/>
                  <a:pt x="697" y="747"/>
                </a:cubicBezTo>
                <a:cubicBezTo>
                  <a:pt x="697" y="746"/>
                  <a:pt x="697" y="746"/>
                  <a:pt x="697" y="746"/>
                </a:cubicBezTo>
                <a:cubicBezTo>
                  <a:pt x="698" y="747"/>
                  <a:pt x="698" y="747"/>
                  <a:pt x="698" y="747"/>
                </a:cubicBezTo>
                <a:cubicBezTo>
                  <a:pt x="700" y="747"/>
                  <a:pt x="700" y="747"/>
                  <a:pt x="700" y="747"/>
                </a:cubicBezTo>
                <a:cubicBezTo>
                  <a:pt x="698" y="748"/>
                  <a:pt x="698" y="748"/>
                  <a:pt x="698" y="748"/>
                </a:cubicBezTo>
                <a:cubicBezTo>
                  <a:pt x="698" y="750"/>
                  <a:pt x="698" y="750"/>
                  <a:pt x="698" y="750"/>
                </a:cubicBezTo>
                <a:cubicBezTo>
                  <a:pt x="697" y="751"/>
                  <a:pt x="697" y="751"/>
                  <a:pt x="697" y="751"/>
                </a:cubicBezTo>
                <a:cubicBezTo>
                  <a:pt x="697" y="752"/>
                  <a:pt x="697" y="752"/>
                  <a:pt x="697" y="752"/>
                </a:cubicBezTo>
                <a:cubicBezTo>
                  <a:pt x="700" y="754"/>
                  <a:pt x="700" y="754"/>
                  <a:pt x="700" y="754"/>
                </a:cubicBezTo>
                <a:cubicBezTo>
                  <a:pt x="700" y="756"/>
                  <a:pt x="700" y="756"/>
                  <a:pt x="700" y="756"/>
                </a:cubicBezTo>
                <a:cubicBezTo>
                  <a:pt x="700" y="758"/>
                  <a:pt x="700" y="758"/>
                  <a:pt x="700" y="758"/>
                </a:cubicBezTo>
                <a:cubicBezTo>
                  <a:pt x="701" y="759"/>
                  <a:pt x="701" y="759"/>
                  <a:pt x="701" y="759"/>
                </a:cubicBezTo>
                <a:cubicBezTo>
                  <a:pt x="702" y="759"/>
                  <a:pt x="702" y="759"/>
                  <a:pt x="702" y="759"/>
                </a:cubicBezTo>
                <a:cubicBezTo>
                  <a:pt x="703" y="761"/>
                  <a:pt x="703" y="761"/>
                  <a:pt x="703" y="761"/>
                </a:cubicBezTo>
                <a:cubicBezTo>
                  <a:pt x="703" y="762"/>
                  <a:pt x="703" y="762"/>
                  <a:pt x="703" y="762"/>
                </a:cubicBezTo>
                <a:cubicBezTo>
                  <a:pt x="705" y="764"/>
                  <a:pt x="705" y="764"/>
                  <a:pt x="705" y="764"/>
                </a:cubicBezTo>
                <a:cubicBezTo>
                  <a:pt x="704" y="765"/>
                  <a:pt x="704" y="765"/>
                  <a:pt x="704" y="765"/>
                </a:cubicBezTo>
                <a:cubicBezTo>
                  <a:pt x="706" y="765"/>
                  <a:pt x="706" y="765"/>
                  <a:pt x="706" y="765"/>
                </a:cubicBezTo>
                <a:cubicBezTo>
                  <a:pt x="707" y="767"/>
                  <a:pt x="707" y="767"/>
                  <a:pt x="707" y="767"/>
                </a:cubicBezTo>
                <a:cubicBezTo>
                  <a:pt x="709" y="767"/>
                  <a:pt x="709" y="767"/>
                  <a:pt x="709" y="767"/>
                </a:cubicBezTo>
                <a:cubicBezTo>
                  <a:pt x="711" y="766"/>
                  <a:pt x="711" y="766"/>
                  <a:pt x="711" y="766"/>
                </a:cubicBezTo>
                <a:cubicBezTo>
                  <a:pt x="713" y="766"/>
                  <a:pt x="713" y="766"/>
                  <a:pt x="713" y="766"/>
                </a:cubicBezTo>
                <a:cubicBezTo>
                  <a:pt x="713" y="763"/>
                  <a:pt x="713" y="763"/>
                  <a:pt x="713" y="763"/>
                </a:cubicBezTo>
                <a:cubicBezTo>
                  <a:pt x="714" y="762"/>
                  <a:pt x="714" y="762"/>
                  <a:pt x="714" y="762"/>
                </a:cubicBezTo>
                <a:cubicBezTo>
                  <a:pt x="715" y="759"/>
                  <a:pt x="715" y="759"/>
                  <a:pt x="715" y="759"/>
                </a:cubicBezTo>
                <a:cubicBezTo>
                  <a:pt x="717" y="756"/>
                  <a:pt x="717" y="756"/>
                  <a:pt x="717" y="756"/>
                </a:cubicBezTo>
                <a:cubicBezTo>
                  <a:pt x="717" y="754"/>
                  <a:pt x="717" y="754"/>
                  <a:pt x="717" y="754"/>
                </a:cubicBezTo>
                <a:cubicBezTo>
                  <a:pt x="717" y="753"/>
                  <a:pt x="717" y="753"/>
                  <a:pt x="717" y="753"/>
                </a:cubicBezTo>
                <a:cubicBezTo>
                  <a:pt x="718" y="749"/>
                  <a:pt x="718" y="749"/>
                  <a:pt x="718" y="749"/>
                </a:cubicBezTo>
                <a:cubicBezTo>
                  <a:pt x="717" y="749"/>
                  <a:pt x="717" y="749"/>
                  <a:pt x="717" y="749"/>
                </a:cubicBezTo>
                <a:cubicBezTo>
                  <a:pt x="718" y="747"/>
                  <a:pt x="718" y="747"/>
                  <a:pt x="718" y="747"/>
                </a:cubicBezTo>
                <a:cubicBezTo>
                  <a:pt x="718" y="744"/>
                  <a:pt x="718" y="744"/>
                  <a:pt x="718" y="744"/>
                </a:cubicBezTo>
                <a:cubicBezTo>
                  <a:pt x="715" y="743"/>
                  <a:pt x="715" y="743"/>
                  <a:pt x="715" y="743"/>
                </a:cubicBezTo>
                <a:cubicBezTo>
                  <a:pt x="714" y="737"/>
                  <a:pt x="714" y="737"/>
                  <a:pt x="714" y="737"/>
                </a:cubicBezTo>
                <a:cubicBezTo>
                  <a:pt x="714" y="736"/>
                  <a:pt x="714" y="736"/>
                  <a:pt x="714" y="736"/>
                </a:cubicBezTo>
                <a:cubicBezTo>
                  <a:pt x="714" y="732"/>
                  <a:pt x="714" y="732"/>
                  <a:pt x="714" y="732"/>
                </a:cubicBezTo>
                <a:cubicBezTo>
                  <a:pt x="715" y="730"/>
                  <a:pt x="715" y="730"/>
                  <a:pt x="715" y="730"/>
                </a:cubicBezTo>
                <a:cubicBezTo>
                  <a:pt x="714" y="728"/>
                  <a:pt x="714" y="728"/>
                  <a:pt x="714" y="728"/>
                </a:cubicBezTo>
                <a:cubicBezTo>
                  <a:pt x="713" y="727"/>
                  <a:pt x="713" y="727"/>
                  <a:pt x="713" y="727"/>
                </a:cubicBezTo>
                <a:cubicBezTo>
                  <a:pt x="712" y="722"/>
                  <a:pt x="712" y="722"/>
                  <a:pt x="712" y="722"/>
                </a:cubicBezTo>
                <a:cubicBezTo>
                  <a:pt x="711" y="720"/>
                  <a:pt x="711" y="720"/>
                  <a:pt x="711" y="720"/>
                </a:cubicBezTo>
                <a:cubicBezTo>
                  <a:pt x="710" y="716"/>
                  <a:pt x="710" y="716"/>
                  <a:pt x="710" y="716"/>
                </a:cubicBezTo>
                <a:cubicBezTo>
                  <a:pt x="709" y="713"/>
                  <a:pt x="709" y="713"/>
                  <a:pt x="709" y="713"/>
                </a:cubicBezTo>
                <a:cubicBezTo>
                  <a:pt x="710" y="708"/>
                  <a:pt x="710" y="708"/>
                  <a:pt x="710" y="708"/>
                </a:cubicBezTo>
                <a:cubicBezTo>
                  <a:pt x="710" y="706"/>
                  <a:pt x="710" y="706"/>
                  <a:pt x="710" y="706"/>
                </a:cubicBezTo>
                <a:cubicBezTo>
                  <a:pt x="710" y="699"/>
                  <a:pt x="710" y="699"/>
                  <a:pt x="710" y="699"/>
                </a:cubicBezTo>
                <a:cubicBezTo>
                  <a:pt x="710" y="696"/>
                  <a:pt x="710" y="696"/>
                  <a:pt x="710" y="696"/>
                </a:cubicBezTo>
                <a:cubicBezTo>
                  <a:pt x="712" y="693"/>
                  <a:pt x="712" y="693"/>
                  <a:pt x="712" y="693"/>
                </a:cubicBezTo>
                <a:cubicBezTo>
                  <a:pt x="713" y="690"/>
                  <a:pt x="713" y="690"/>
                  <a:pt x="713" y="690"/>
                </a:cubicBezTo>
                <a:cubicBezTo>
                  <a:pt x="715" y="690"/>
                  <a:pt x="715" y="690"/>
                  <a:pt x="715" y="690"/>
                </a:cubicBezTo>
                <a:cubicBezTo>
                  <a:pt x="716" y="688"/>
                  <a:pt x="716" y="688"/>
                  <a:pt x="716" y="688"/>
                </a:cubicBezTo>
                <a:cubicBezTo>
                  <a:pt x="717" y="688"/>
                  <a:pt x="717" y="688"/>
                  <a:pt x="717" y="688"/>
                </a:cubicBezTo>
                <a:cubicBezTo>
                  <a:pt x="718" y="686"/>
                  <a:pt x="718" y="686"/>
                  <a:pt x="718" y="686"/>
                </a:cubicBezTo>
                <a:cubicBezTo>
                  <a:pt x="718" y="685"/>
                  <a:pt x="718" y="685"/>
                  <a:pt x="718" y="685"/>
                </a:cubicBezTo>
                <a:cubicBezTo>
                  <a:pt x="718" y="684"/>
                  <a:pt x="718" y="684"/>
                  <a:pt x="718" y="684"/>
                </a:cubicBezTo>
                <a:cubicBezTo>
                  <a:pt x="718" y="684"/>
                  <a:pt x="718" y="684"/>
                  <a:pt x="718" y="684"/>
                </a:cubicBezTo>
                <a:cubicBezTo>
                  <a:pt x="721" y="684"/>
                  <a:pt x="721" y="684"/>
                  <a:pt x="721" y="684"/>
                </a:cubicBezTo>
                <a:cubicBezTo>
                  <a:pt x="721" y="682"/>
                  <a:pt x="721" y="682"/>
                  <a:pt x="721" y="682"/>
                </a:cubicBezTo>
                <a:cubicBezTo>
                  <a:pt x="723" y="682"/>
                  <a:pt x="723" y="682"/>
                  <a:pt x="723" y="682"/>
                </a:cubicBezTo>
                <a:cubicBezTo>
                  <a:pt x="723" y="681"/>
                  <a:pt x="723" y="681"/>
                  <a:pt x="723" y="681"/>
                </a:cubicBezTo>
                <a:cubicBezTo>
                  <a:pt x="727" y="681"/>
                  <a:pt x="727" y="681"/>
                  <a:pt x="727" y="681"/>
                </a:cubicBezTo>
                <a:cubicBezTo>
                  <a:pt x="728" y="680"/>
                  <a:pt x="728" y="680"/>
                  <a:pt x="728" y="680"/>
                </a:cubicBezTo>
                <a:cubicBezTo>
                  <a:pt x="730" y="680"/>
                  <a:pt x="730" y="680"/>
                  <a:pt x="730" y="680"/>
                </a:cubicBezTo>
                <a:cubicBezTo>
                  <a:pt x="730" y="679"/>
                  <a:pt x="730" y="679"/>
                  <a:pt x="730" y="679"/>
                </a:cubicBezTo>
                <a:cubicBezTo>
                  <a:pt x="731" y="679"/>
                  <a:pt x="731" y="679"/>
                  <a:pt x="731" y="679"/>
                </a:cubicBezTo>
                <a:cubicBezTo>
                  <a:pt x="733" y="679"/>
                  <a:pt x="733" y="679"/>
                  <a:pt x="733" y="679"/>
                </a:cubicBezTo>
                <a:cubicBezTo>
                  <a:pt x="734" y="677"/>
                  <a:pt x="734" y="677"/>
                  <a:pt x="734" y="677"/>
                </a:cubicBezTo>
                <a:cubicBezTo>
                  <a:pt x="734" y="676"/>
                  <a:pt x="734" y="676"/>
                  <a:pt x="734" y="676"/>
                </a:cubicBezTo>
                <a:cubicBezTo>
                  <a:pt x="735" y="676"/>
                  <a:pt x="735" y="676"/>
                  <a:pt x="735" y="676"/>
                </a:cubicBezTo>
                <a:cubicBezTo>
                  <a:pt x="737" y="674"/>
                  <a:pt x="737" y="674"/>
                  <a:pt x="737" y="674"/>
                </a:cubicBezTo>
                <a:cubicBezTo>
                  <a:pt x="737" y="673"/>
                  <a:pt x="737" y="673"/>
                  <a:pt x="737" y="673"/>
                </a:cubicBezTo>
                <a:cubicBezTo>
                  <a:pt x="741" y="668"/>
                  <a:pt x="741" y="668"/>
                  <a:pt x="741" y="668"/>
                </a:cubicBezTo>
                <a:cubicBezTo>
                  <a:pt x="743" y="667"/>
                  <a:pt x="743" y="667"/>
                  <a:pt x="743" y="667"/>
                </a:cubicBezTo>
                <a:cubicBezTo>
                  <a:pt x="746" y="666"/>
                  <a:pt x="746" y="666"/>
                  <a:pt x="746" y="666"/>
                </a:cubicBezTo>
                <a:cubicBezTo>
                  <a:pt x="747" y="667"/>
                  <a:pt x="747" y="667"/>
                  <a:pt x="747" y="667"/>
                </a:cubicBezTo>
                <a:cubicBezTo>
                  <a:pt x="748" y="667"/>
                  <a:pt x="748" y="667"/>
                  <a:pt x="748" y="667"/>
                </a:cubicBezTo>
                <a:cubicBezTo>
                  <a:pt x="749" y="664"/>
                  <a:pt x="749" y="664"/>
                  <a:pt x="749" y="664"/>
                </a:cubicBezTo>
                <a:cubicBezTo>
                  <a:pt x="754" y="659"/>
                  <a:pt x="754" y="659"/>
                  <a:pt x="754" y="659"/>
                </a:cubicBezTo>
                <a:cubicBezTo>
                  <a:pt x="759" y="657"/>
                  <a:pt x="759" y="657"/>
                  <a:pt x="759" y="657"/>
                </a:cubicBezTo>
                <a:cubicBezTo>
                  <a:pt x="762" y="656"/>
                  <a:pt x="762" y="656"/>
                  <a:pt x="762" y="656"/>
                </a:cubicBezTo>
                <a:cubicBezTo>
                  <a:pt x="762" y="656"/>
                  <a:pt x="762" y="656"/>
                  <a:pt x="762" y="656"/>
                </a:cubicBezTo>
                <a:cubicBezTo>
                  <a:pt x="764" y="656"/>
                  <a:pt x="764" y="656"/>
                  <a:pt x="764" y="656"/>
                </a:cubicBezTo>
                <a:cubicBezTo>
                  <a:pt x="764" y="656"/>
                  <a:pt x="764" y="656"/>
                  <a:pt x="764" y="656"/>
                </a:cubicBezTo>
                <a:cubicBezTo>
                  <a:pt x="765" y="656"/>
                  <a:pt x="765" y="656"/>
                  <a:pt x="765" y="656"/>
                </a:cubicBezTo>
                <a:cubicBezTo>
                  <a:pt x="767" y="654"/>
                  <a:pt x="767" y="654"/>
                  <a:pt x="767" y="654"/>
                </a:cubicBezTo>
                <a:cubicBezTo>
                  <a:pt x="767" y="654"/>
                  <a:pt x="767" y="654"/>
                  <a:pt x="767" y="654"/>
                </a:cubicBezTo>
                <a:cubicBezTo>
                  <a:pt x="766" y="653"/>
                  <a:pt x="766" y="653"/>
                  <a:pt x="766" y="653"/>
                </a:cubicBezTo>
                <a:cubicBezTo>
                  <a:pt x="764" y="655"/>
                  <a:pt x="764" y="655"/>
                  <a:pt x="764" y="655"/>
                </a:cubicBezTo>
                <a:cubicBezTo>
                  <a:pt x="762" y="654"/>
                  <a:pt x="762" y="654"/>
                  <a:pt x="762" y="654"/>
                </a:cubicBezTo>
                <a:cubicBezTo>
                  <a:pt x="760" y="653"/>
                  <a:pt x="760" y="653"/>
                  <a:pt x="760" y="653"/>
                </a:cubicBezTo>
                <a:cubicBezTo>
                  <a:pt x="762" y="654"/>
                  <a:pt x="762" y="654"/>
                  <a:pt x="762" y="654"/>
                </a:cubicBezTo>
                <a:cubicBezTo>
                  <a:pt x="765" y="653"/>
                  <a:pt x="765" y="653"/>
                  <a:pt x="765" y="653"/>
                </a:cubicBezTo>
                <a:cubicBezTo>
                  <a:pt x="764" y="652"/>
                  <a:pt x="764" y="652"/>
                  <a:pt x="764" y="652"/>
                </a:cubicBezTo>
                <a:cubicBezTo>
                  <a:pt x="765" y="651"/>
                  <a:pt x="765" y="651"/>
                  <a:pt x="765" y="651"/>
                </a:cubicBezTo>
                <a:cubicBezTo>
                  <a:pt x="765" y="650"/>
                  <a:pt x="765" y="650"/>
                  <a:pt x="765" y="650"/>
                </a:cubicBezTo>
                <a:cubicBezTo>
                  <a:pt x="762" y="650"/>
                  <a:pt x="762" y="650"/>
                  <a:pt x="762" y="650"/>
                </a:cubicBezTo>
                <a:cubicBezTo>
                  <a:pt x="761" y="648"/>
                  <a:pt x="761" y="648"/>
                  <a:pt x="761" y="648"/>
                </a:cubicBezTo>
                <a:cubicBezTo>
                  <a:pt x="763" y="648"/>
                  <a:pt x="763" y="648"/>
                  <a:pt x="763" y="648"/>
                </a:cubicBezTo>
                <a:cubicBezTo>
                  <a:pt x="764" y="649"/>
                  <a:pt x="764" y="649"/>
                  <a:pt x="764" y="649"/>
                </a:cubicBezTo>
                <a:cubicBezTo>
                  <a:pt x="765" y="648"/>
                  <a:pt x="765" y="648"/>
                  <a:pt x="765" y="648"/>
                </a:cubicBezTo>
                <a:cubicBezTo>
                  <a:pt x="766" y="647"/>
                  <a:pt x="766" y="647"/>
                  <a:pt x="766" y="647"/>
                </a:cubicBezTo>
                <a:cubicBezTo>
                  <a:pt x="766" y="649"/>
                  <a:pt x="766" y="649"/>
                  <a:pt x="766" y="649"/>
                </a:cubicBezTo>
                <a:cubicBezTo>
                  <a:pt x="768" y="649"/>
                  <a:pt x="768" y="649"/>
                  <a:pt x="768" y="649"/>
                </a:cubicBezTo>
                <a:cubicBezTo>
                  <a:pt x="769" y="650"/>
                  <a:pt x="769" y="650"/>
                  <a:pt x="769" y="650"/>
                </a:cubicBezTo>
                <a:cubicBezTo>
                  <a:pt x="770" y="649"/>
                  <a:pt x="770" y="649"/>
                  <a:pt x="770" y="649"/>
                </a:cubicBezTo>
                <a:cubicBezTo>
                  <a:pt x="771" y="648"/>
                  <a:pt x="771" y="648"/>
                  <a:pt x="771" y="648"/>
                </a:cubicBezTo>
                <a:cubicBezTo>
                  <a:pt x="773" y="646"/>
                  <a:pt x="773" y="646"/>
                  <a:pt x="773" y="646"/>
                </a:cubicBezTo>
                <a:cubicBezTo>
                  <a:pt x="774" y="646"/>
                  <a:pt x="774" y="646"/>
                  <a:pt x="774" y="646"/>
                </a:cubicBezTo>
                <a:cubicBezTo>
                  <a:pt x="774" y="644"/>
                  <a:pt x="774" y="644"/>
                  <a:pt x="774" y="644"/>
                </a:cubicBezTo>
                <a:cubicBezTo>
                  <a:pt x="773" y="642"/>
                  <a:pt x="773" y="642"/>
                  <a:pt x="773" y="642"/>
                </a:cubicBezTo>
                <a:cubicBezTo>
                  <a:pt x="773" y="642"/>
                  <a:pt x="773" y="642"/>
                  <a:pt x="773" y="642"/>
                </a:cubicBezTo>
                <a:cubicBezTo>
                  <a:pt x="772" y="644"/>
                  <a:pt x="772" y="644"/>
                  <a:pt x="772" y="644"/>
                </a:cubicBezTo>
                <a:cubicBezTo>
                  <a:pt x="772" y="645"/>
                  <a:pt x="772" y="645"/>
                  <a:pt x="772" y="645"/>
                </a:cubicBezTo>
                <a:cubicBezTo>
                  <a:pt x="771" y="645"/>
                  <a:pt x="771" y="645"/>
                  <a:pt x="771" y="645"/>
                </a:cubicBezTo>
                <a:cubicBezTo>
                  <a:pt x="770" y="642"/>
                  <a:pt x="770" y="642"/>
                  <a:pt x="770" y="642"/>
                </a:cubicBezTo>
                <a:cubicBezTo>
                  <a:pt x="770" y="642"/>
                  <a:pt x="770" y="642"/>
                  <a:pt x="770" y="642"/>
                </a:cubicBezTo>
                <a:cubicBezTo>
                  <a:pt x="765" y="642"/>
                  <a:pt x="765" y="642"/>
                  <a:pt x="765" y="642"/>
                </a:cubicBezTo>
                <a:cubicBezTo>
                  <a:pt x="763" y="643"/>
                  <a:pt x="763" y="643"/>
                  <a:pt x="763" y="643"/>
                </a:cubicBezTo>
                <a:cubicBezTo>
                  <a:pt x="764" y="642"/>
                  <a:pt x="764" y="642"/>
                  <a:pt x="764" y="642"/>
                </a:cubicBezTo>
                <a:cubicBezTo>
                  <a:pt x="764" y="639"/>
                  <a:pt x="764" y="639"/>
                  <a:pt x="764" y="639"/>
                </a:cubicBezTo>
                <a:cubicBezTo>
                  <a:pt x="765" y="638"/>
                  <a:pt x="765" y="638"/>
                  <a:pt x="765" y="638"/>
                </a:cubicBezTo>
                <a:cubicBezTo>
                  <a:pt x="766" y="640"/>
                  <a:pt x="766" y="640"/>
                  <a:pt x="766" y="640"/>
                </a:cubicBezTo>
                <a:cubicBezTo>
                  <a:pt x="767" y="641"/>
                  <a:pt x="767" y="641"/>
                  <a:pt x="767" y="641"/>
                </a:cubicBezTo>
                <a:cubicBezTo>
                  <a:pt x="768" y="640"/>
                  <a:pt x="768" y="640"/>
                  <a:pt x="768" y="640"/>
                </a:cubicBezTo>
                <a:cubicBezTo>
                  <a:pt x="771" y="639"/>
                  <a:pt x="771" y="639"/>
                  <a:pt x="771" y="639"/>
                </a:cubicBezTo>
                <a:cubicBezTo>
                  <a:pt x="771" y="638"/>
                  <a:pt x="771" y="638"/>
                  <a:pt x="771" y="638"/>
                </a:cubicBezTo>
                <a:cubicBezTo>
                  <a:pt x="772" y="638"/>
                  <a:pt x="772" y="638"/>
                  <a:pt x="772" y="638"/>
                </a:cubicBezTo>
                <a:cubicBezTo>
                  <a:pt x="773" y="637"/>
                  <a:pt x="773" y="637"/>
                  <a:pt x="773" y="637"/>
                </a:cubicBezTo>
                <a:cubicBezTo>
                  <a:pt x="773" y="635"/>
                  <a:pt x="773" y="635"/>
                  <a:pt x="773" y="635"/>
                </a:cubicBezTo>
                <a:cubicBezTo>
                  <a:pt x="772" y="634"/>
                  <a:pt x="772" y="634"/>
                  <a:pt x="772" y="634"/>
                </a:cubicBezTo>
                <a:cubicBezTo>
                  <a:pt x="772" y="633"/>
                  <a:pt x="772" y="633"/>
                  <a:pt x="772" y="633"/>
                </a:cubicBezTo>
                <a:cubicBezTo>
                  <a:pt x="773" y="634"/>
                  <a:pt x="773" y="634"/>
                  <a:pt x="773" y="634"/>
                </a:cubicBezTo>
                <a:cubicBezTo>
                  <a:pt x="774" y="632"/>
                  <a:pt x="774" y="632"/>
                  <a:pt x="774" y="632"/>
                </a:cubicBezTo>
                <a:cubicBezTo>
                  <a:pt x="773" y="630"/>
                  <a:pt x="773" y="630"/>
                  <a:pt x="773" y="630"/>
                </a:cubicBezTo>
                <a:cubicBezTo>
                  <a:pt x="772" y="629"/>
                  <a:pt x="772" y="629"/>
                  <a:pt x="772" y="629"/>
                </a:cubicBezTo>
                <a:cubicBezTo>
                  <a:pt x="771" y="630"/>
                  <a:pt x="771" y="630"/>
                  <a:pt x="771" y="630"/>
                </a:cubicBezTo>
                <a:cubicBezTo>
                  <a:pt x="769" y="629"/>
                  <a:pt x="769" y="629"/>
                  <a:pt x="769" y="629"/>
                </a:cubicBezTo>
                <a:cubicBezTo>
                  <a:pt x="768" y="627"/>
                  <a:pt x="768" y="627"/>
                  <a:pt x="768" y="627"/>
                </a:cubicBezTo>
                <a:cubicBezTo>
                  <a:pt x="767" y="627"/>
                  <a:pt x="767" y="627"/>
                  <a:pt x="767" y="627"/>
                </a:cubicBezTo>
                <a:cubicBezTo>
                  <a:pt x="765" y="626"/>
                  <a:pt x="765" y="626"/>
                  <a:pt x="765" y="626"/>
                </a:cubicBezTo>
                <a:cubicBezTo>
                  <a:pt x="764" y="624"/>
                  <a:pt x="764" y="624"/>
                  <a:pt x="764" y="624"/>
                </a:cubicBezTo>
                <a:cubicBezTo>
                  <a:pt x="766" y="625"/>
                  <a:pt x="766" y="625"/>
                  <a:pt x="766" y="625"/>
                </a:cubicBezTo>
                <a:cubicBezTo>
                  <a:pt x="768" y="625"/>
                  <a:pt x="768" y="625"/>
                  <a:pt x="768" y="625"/>
                </a:cubicBezTo>
                <a:cubicBezTo>
                  <a:pt x="769" y="627"/>
                  <a:pt x="769" y="627"/>
                  <a:pt x="769" y="627"/>
                </a:cubicBezTo>
                <a:cubicBezTo>
                  <a:pt x="770" y="628"/>
                  <a:pt x="770" y="628"/>
                  <a:pt x="770" y="628"/>
                </a:cubicBezTo>
                <a:cubicBezTo>
                  <a:pt x="771" y="626"/>
                  <a:pt x="771" y="626"/>
                  <a:pt x="771" y="626"/>
                </a:cubicBezTo>
                <a:cubicBezTo>
                  <a:pt x="769" y="624"/>
                  <a:pt x="769" y="624"/>
                  <a:pt x="769" y="624"/>
                </a:cubicBezTo>
                <a:cubicBezTo>
                  <a:pt x="771" y="625"/>
                  <a:pt x="771" y="625"/>
                  <a:pt x="771" y="625"/>
                </a:cubicBezTo>
                <a:cubicBezTo>
                  <a:pt x="771" y="624"/>
                  <a:pt x="771" y="624"/>
                  <a:pt x="771" y="624"/>
                </a:cubicBezTo>
                <a:cubicBezTo>
                  <a:pt x="772" y="623"/>
                  <a:pt x="772" y="623"/>
                  <a:pt x="772" y="623"/>
                </a:cubicBezTo>
                <a:cubicBezTo>
                  <a:pt x="771" y="622"/>
                  <a:pt x="771" y="622"/>
                  <a:pt x="771" y="622"/>
                </a:cubicBezTo>
                <a:cubicBezTo>
                  <a:pt x="769" y="620"/>
                  <a:pt x="769" y="620"/>
                  <a:pt x="769" y="620"/>
                </a:cubicBezTo>
                <a:cubicBezTo>
                  <a:pt x="768" y="618"/>
                  <a:pt x="768" y="618"/>
                  <a:pt x="768" y="618"/>
                </a:cubicBezTo>
                <a:cubicBezTo>
                  <a:pt x="769" y="618"/>
                  <a:pt x="769" y="618"/>
                  <a:pt x="769" y="618"/>
                </a:cubicBezTo>
                <a:cubicBezTo>
                  <a:pt x="770" y="620"/>
                  <a:pt x="770" y="620"/>
                  <a:pt x="770" y="620"/>
                </a:cubicBezTo>
                <a:cubicBezTo>
                  <a:pt x="771" y="620"/>
                  <a:pt x="771" y="620"/>
                  <a:pt x="771" y="620"/>
                </a:cubicBezTo>
                <a:cubicBezTo>
                  <a:pt x="772" y="618"/>
                  <a:pt x="772" y="618"/>
                  <a:pt x="772" y="618"/>
                </a:cubicBezTo>
                <a:cubicBezTo>
                  <a:pt x="771" y="616"/>
                  <a:pt x="771" y="616"/>
                  <a:pt x="771" y="616"/>
                </a:cubicBezTo>
                <a:cubicBezTo>
                  <a:pt x="770" y="615"/>
                  <a:pt x="770" y="615"/>
                  <a:pt x="770" y="615"/>
                </a:cubicBezTo>
                <a:cubicBezTo>
                  <a:pt x="768" y="613"/>
                  <a:pt x="768" y="613"/>
                  <a:pt x="768" y="613"/>
                </a:cubicBezTo>
                <a:cubicBezTo>
                  <a:pt x="765" y="612"/>
                  <a:pt x="765" y="612"/>
                  <a:pt x="765" y="612"/>
                </a:cubicBezTo>
                <a:cubicBezTo>
                  <a:pt x="764" y="610"/>
                  <a:pt x="764" y="610"/>
                  <a:pt x="764" y="610"/>
                </a:cubicBezTo>
                <a:cubicBezTo>
                  <a:pt x="763" y="609"/>
                  <a:pt x="763" y="609"/>
                  <a:pt x="763" y="609"/>
                </a:cubicBezTo>
                <a:cubicBezTo>
                  <a:pt x="763" y="607"/>
                  <a:pt x="763" y="607"/>
                  <a:pt x="763" y="607"/>
                </a:cubicBezTo>
                <a:cubicBezTo>
                  <a:pt x="764" y="605"/>
                  <a:pt x="764" y="605"/>
                  <a:pt x="764" y="605"/>
                </a:cubicBezTo>
                <a:cubicBezTo>
                  <a:pt x="763" y="608"/>
                  <a:pt x="763" y="608"/>
                  <a:pt x="763" y="608"/>
                </a:cubicBezTo>
                <a:cubicBezTo>
                  <a:pt x="764" y="609"/>
                  <a:pt x="764" y="609"/>
                  <a:pt x="764" y="609"/>
                </a:cubicBezTo>
                <a:cubicBezTo>
                  <a:pt x="765" y="609"/>
                  <a:pt x="765" y="609"/>
                  <a:pt x="765" y="609"/>
                </a:cubicBezTo>
                <a:cubicBezTo>
                  <a:pt x="766" y="611"/>
                  <a:pt x="766" y="611"/>
                  <a:pt x="766" y="611"/>
                </a:cubicBezTo>
                <a:cubicBezTo>
                  <a:pt x="768" y="611"/>
                  <a:pt x="768" y="611"/>
                  <a:pt x="768" y="611"/>
                </a:cubicBezTo>
                <a:cubicBezTo>
                  <a:pt x="770" y="614"/>
                  <a:pt x="770" y="614"/>
                  <a:pt x="770" y="614"/>
                </a:cubicBezTo>
                <a:cubicBezTo>
                  <a:pt x="771" y="614"/>
                  <a:pt x="771" y="614"/>
                  <a:pt x="771" y="614"/>
                </a:cubicBezTo>
                <a:cubicBezTo>
                  <a:pt x="771" y="610"/>
                  <a:pt x="771" y="610"/>
                  <a:pt x="771" y="610"/>
                </a:cubicBezTo>
                <a:cubicBezTo>
                  <a:pt x="771" y="608"/>
                  <a:pt x="771" y="608"/>
                  <a:pt x="771" y="608"/>
                </a:cubicBezTo>
                <a:cubicBezTo>
                  <a:pt x="771" y="607"/>
                  <a:pt x="771" y="607"/>
                  <a:pt x="771" y="607"/>
                </a:cubicBezTo>
                <a:cubicBezTo>
                  <a:pt x="771" y="605"/>
                  <a:pt x="771" y="605"/>
                  <a:pt x="771" y="605"/>
                </a:cubicBezTo>
                <a:cubicBezTo>
                  <a:pt x="771" y="603"/>
                  <a:pt x="771" y="603"/>
                  <a:pt x="771" y="603"/>
                </a:cubicBezTo>
                <a:cubicBezTo>
                  <a:pt x="771" y="601"/>
                  <a:pt x="771" y="601"/>
                  <a:pt x="771" y="601"/>
                </a:cubicBezTo>
                <a:cubicBezTo>
                  <a:pt x="770" y="600"/>
                  <a:pt x="770" y="600"/>
                  <a:pt x="770" y="600"/>
                </a:cubicBezTo>
                <a:cubicBezTo>
                  <a:pt x="771" y="600"/>
                  <a:pt x="771" y="600"/>
                  <a:pt x="771" y="600"/>
                </a:cubicBezTo>
                <a:cubicBezTo>
                  <a:pt x="773" y="599"/>
                  <a:pt x="773" y="599"/>
                  <a:pt x="773" y="599"/>
                </a:cubicBezTo>
                <a:cubicBezTo>
                  <a:pt x="775" y="597"/>
                  <a:pt x="775" y="597"/>
                  <a:pt x="775" y="597"/>
                </a:cubicBezTo>
                <a:cubicBezTo>
                  <a:pt x="775" y="596"/>
                  <a:pt x="775" y="596"/>
                  <a:pt x="775" y="596"/>
                </a:cubicBezTo>
                <a:cubicBezTo>
                  <a:pt x="775" y="595"/>
                  <a:pt x="775" y="595"/>
                  <a:pt x="775" y="595"/>
                </a:cubicBezTo>
                <a:cubicBezTo>
                  <a:pt x="776" y="596"/>
                  <a:pt x="776" y="596"/>
                  <a:pt x="776" y="596"/>
                </a:cubicBezTo>
                <a:cubicBezTo>
                  <a:pt x="775" y="598"/>
                  <a:pt x="775" y="598"/>
                  <a:pt x="775" y="598"/>
                </a:cubicBezTo>
                <a:cubicBezTo>
                  <a:pt x="776" y="598"/>
                  <a:pt x="776" y="598"/>
                  <a:pt x="776" y="598"/>
                </a:cubicBezTo>
                <a:cubicBezTo>
                  <a:pt x="774" y="599"/>
                  <a:pt x="774" y="599"/>
                  <a:pt x="774" y="599"/>
                </a:cubicBezTo>
                <a:cubicBezTo>
                  <a:pt x="773" y="602"/>
                  <a:pt x="773" y="602"/>
                  <a:pt x="773" y="602"/>
                </a:cubicBezTo>
                <a:cubicBezTo>
                  <a:pt x="774" y="604"/>
                  <a:pt x="774" y="604"/>
                  <a:pt x="774" y="604"/>
                </a:cubicBezTo>
                <a:cubicBezTo>
                  <a:pt x="774" y="607"/>
                  <a:pt x="774" y="607"/>
                  <a:pt x="774" y="607"/>
                </a:cubicBezTo>
                <a:cubicBezTo>
                  <a:pt x="773" y="609"/>
                  <a:pt x="773" y="609"/>
                  <a:pt x="773" y="609"/>
                </a:cubicBezTo>
                <a:cubicBezTo>
                  <a:pt x="773" y="611"/>
                  <a:pt x="773" y="611"/>
                  <a:pt x="773" y="611"/>
                </a:cubicBezTo>
                <a:cubicBezTo>
                  <a:pt x="774" y="613"/>
                  <a:pt x="774" y="613"/>
                  <a:pt x="774" y="613"/>
                </a:cubicBezTo>
                <a:cubicBezTo>
                  <a:pt x="775" y="612"/>
                  <a:pt x="775" y="612"/>
                  <a:pt x="775" y="612"/>
                </a:cubicBezTo>
                <a:cubicBezTo>
                  <a:pt x="775" y="613"/>
                  <a:pt x="775" y="613"/>
                  <a:pt x="775" y="613"/>
                </a:cubicBezTo>
                <a:cubicBezTo>
                  <a:pt x="776" y="613"/>
                  <a:pt x="776" y="613"/>
                  <a:pt x="776" y="613"/>
                </a:cubicBezTo>
                <a:cubicBezTo>
                  <a:pt x="776" y="614"/>
                  <a:pt x="776" y="614"/>
                  <a:pt x="776" y="614"/>
                </a:cubicBezTo>
                <a:cubicBezTo>
                  <a:pt x="776" y="614"/>
                  <a:pt x="776" y="614"/>
                  <a:pt x="776" y="614"/>
                </a:cubicBezTo>
                <a:cubicBezTo>
                  <a:pt x="776" y="616"/>
                  <a:pt x="776" y="616"/>
                  <a:pt x="776" y="616"/>
                </a:cubicBezTo>
                <a:cubicBezTo>
                  <a:pt x="779" y="616"/>
                  <a:pt x="779" y="616"/>
                  <a:pt x="779" y="616"/>
                </a:cubicBezTo>
                <a:cubicBezTo>
                  <a:pt x="777" y="617"/>
                  <a:pt x="777" y="617"/>
                  <a:pt x="777" y="617"/>
                </a:cubicBezTo>
                <a:cubicBezTo>
                  <a:pt x="777" y="617"/>
                  <a:pt x="777" y="617"/>
                  <a:pt x="777" y="617"/>
                </a:cubicBezTo>
                <a:cubicBezTo>
                  <a:pt x="776" y="619"/>
                  <a:pt x="776" y="619"/>
                  <a:pt x="776" y="619"/>
                </a:cubicBezTo>
                <a:cubicBezTo>
                  <a:pt x="776" y="620"/>
                  <a:pt x="776" y="620"/>
                  <a:pt x="776" y="620"/>
                </a:cubicBezTo>
                <a:cubicBezTo>
                  <a:pt x="775" y="622"/>
                  <a:pt x="775" y="622"/>
                  <a:pt x="775" y="622"/>
                </a:cubicBezTo>
                <a:cubicBezTo>
                  <a:pt x="775" y="624"/>
                  <a:pt x="775" y="624"/>
                  <a:pt x="775" y="624"/>
                </a:cubicBezTo>
                <a:cubicBezTo>
                  <a:pt x="775" y="626"/>
                  <a:pt x="775" y="626"/>
                  <a:pt x="775" y="626"/>
                </a:cubicBezTo>
                <a:cubicBezTo>
                  <a:pt x="775" y="626"/>
                  <a:pt x="775" y="626"/>
                  <a:pt x="775" y="626"/>
                </a:cubicBezTo>
                <a:cubicBezTo>
                  <a:pt x="776" y="625"/>
                  <a:pt x="776" y="625"/>
                  <a:pt x="776" y="625"/>
                </a:cubicBezTo>
                <a:cubicBezTo>
                  <a:pt x="778" y="621"/>
                  <a:pt x="778" y="621"/>
                  <a:pt x="778" y="621"/>
                </a:cubicBezTo>
                <a:cubicBezTo>
                  <a:pt x="778" y="622"/>
                  <a:pt x="778" y="622"/>
                  <a:pt x="778" y="622"/>
                </a:cubicBezTo>
                <a:cubicBezTo>
                  <a:pt x="778" y="622"/>
                  <a:pt x="778" y="622"/>
                  <a:pt x="778" y="622"/>
                </a:cubicBezTo>
                <a:cubicBezTo>
                  <a:pt x="779" y="622"/>
                  <a:pt x="779" y="622"/>
                  <a:pt x="779" y="622"/>
                </a:cubicBezTo>
                <a:cubicBezTo>
                  <a:pt x="779" y="620"/>
                  <a:pt x="779" y="620"/>
                  <a:pt x="779" y="620"/>
                </a:cubicBezTo>
                <a:cubicBezTo>
                  <a:pt x="780" y="618"/>
                  <a:pt x="780" y="618"/>
                  <a:pt x="780" y="618"/>
                </a:cubicBezTo>
                <a:cubicBezTo>
                  <a:pt x="781" y="614"/>
                  <a:pt x="781" y="614"/>
                  <a:pt x="781" y="614"/>
                </a:cubicBezTo>
                <a:cubicBezTo>
                  <a:pt x="784" y="613"/>
                  <a:pt x="784" y="613"/>
                  <a:pt x="784" y="613"/>
                </a:cubicBezTo>
                <a:cubicBezTo>
                  <a:pt x="785" y="609"/>
                  <a:pt x="785" y="609"/>
                  <a:pt x="785" y="609"/>
                </a:cubicBezTo>
                <a:cubicBezTo>
                  <a:pt x="785" y="607"/>
                  <a:pt x="785" y="607"/>
                  <a:pt x="785" y="607"/>
                </a:cubicBezTo>
                <a:cubicBezTo>
                  <a:pt x="784" y="603"/>
                  <a:pt x="784" y="603"/>
                  <a:pt x="784" y="603"/>
                </a:cubicBezTo>
                <a:cubicBezTo>
                  <a:pt x="783" y="602"/>
                  <a:pt x="783" y="602"/>
                  <a:pt x="783" y="602"/>
                </a:cubicBezTo>
                <a:cubicBezTo>
                  <a:pt x="783" y="600"/>
                  <a:pt x="783" y="600"/>
                  <a:pt x="783" y="600"/>
                </a:cubicBezTo>
                <a:cubicBezTo>
                  <a:pt x="782" y="599"/>
                  <a:pt x="782" y="599"/>
                  <a:pt x="782" y="599"/>
                </a:cubicBezTo>
                <a:cubicBezTo>
                  <a:pt x="782" y="597"/>
                  <a:pt x="782" y="597"/>
                  <a:pt x="782" y="597"/>
                </a:cubicBezTo>
                <a:cubicBezTo>
                  <a:pt x="783" y="595"/>
                  <a:pt x="783" y="595"/>
                  <a:pt x="783" y="595"/>
                </a:cubicBezTo>
                <a:cubicBezTo>
                  <a:pt x="784" y="593"/>
                  <a:pt x="784" y="593"/>
                  <a:pt x="784" y="593"/>
                </a:cubicBezTo>
                <a:cubicBezTo>
                  <a:pt x="787" y="592"/>
                  <a:pt x="787" y="592"/>
                  <a:pt x="787" y="592"/>
                </a:cubicBezTo>
                <a:cubicBezTo>
                  <a:pt x="783" y="595"/>
                  <a:pt x="783" y="595"/>
                  <a:pt x="783" y="595"/>
                </a:cubicBezTo>
                <a:cubicBezTo>
                  <a:pt x="783" y="597"/>
                  <a:pt x="783" y="597"/>
                  <a:pt x="783" y="597"/>
                </a:cubicBezTo>
                <a:cubicBezTo>
                  <a:pt x="784" y="598"/>
                  <a:pt x="784" y="598"/>
                  <a:pt x="784" y="598"/>
                </a:cubicBezTo>
                <a:cubicBezTo>
                  <a:pt x="786" y="601"/>
                  <a:pt x="786" y="601"/>
                  <a:pt x="786" y="601"/>
                </a:cubicBezTo>
                <a:cubicBezTo>
                  <a:pt x="787" y="600"/>
                  <a:pt x="787" y="600"/>
                  <a:pt x="787" y="600"/>
                </a:cubicBezTo>
                <a:cubicBezTo>
                  <a:pt x="788" y="601"/>
                  <a:pt x="788" y="601"/>
                  <a:pt x="788" y="601"/>
                </a:cubicBezTo>
                <a:cubicBezTo>
                  <a:pt x="787" y="604"/>
                  <a:pt x="787" y="604"/>
                  <a:pt x="787" y="604"/>
                </a:cubicBezTo>
                <a:cubicBezTo>
                  <a:pt x="789" y="603"/>
                  <a:pt x="789" y="603"/>
                  <a:pt x="789" y="603"/>
                </a:cubicBezTo>
                <a:cubicBezTo>
                  <a:pt x="789" y="603"/>
                  <a:pt x="789" y="603"/>
                  <a:pt x="789" y="603"/>
                </a:cubicBezTo>
                <a:cubicBezTo>
                  <a:pt x="790" y="601"/>
                  <a:pt x="790" y="601"/>
                  <a:pt x="790" y="601"/>
                </a:cubicBezTo>
                <a:cubicBezTo>
                  <a:pt x="791" y="600"/>
                  <a:pt x="791" y="600"/>
                  <a:pt x="791" y="600"/>
                </a:cubicBezTo>
                <a:cubicBezTo>
                  <a:pt x="791" y="600"/>
                  <a:pt x="791" y="600"/>
                  <a:pt x="791" y="600"/>
                </a:cubicBezTo>
                <a:cubicBezTo>
                  <a:pt x="792" y="599"/>
                  <a:pt x="792" y="599"/>
                  <a:pt x="792" y="599"/>
                </a:cubicBezTo>
                <a:cubicBezTo>
                  <a:pt x="794" y="599"/>
                  <a:pt x="794" y="599"/>
                  <a:pt x="794" y="599"/>
                </a:cubicBezTo>
                <a:cubicBezTo>
                  <a:pt x="795" y="595"/>
                  <a:pt x="795" y="595"/>
                  <a:pt x="795" y="595"/>
                </a:cubicBezTo>
                <a:cubicBezTo>
                  <a:pt x="795" y="594"/>
                  <a:pt x="795" y="594"/>
                  <a:pt x="795" y="594"/>
                </a:cubicBezTo>
                <a:cubicBezTo>
                  <a:pt x="796" y="594"/>
                  <a:pt x="796" y="594"/>
                  <a:pt x="796" y="594"/>
                </a:cubicBezTo>
                <a:cubicBezTo>
                  <a:pt x="797" y="592"/>
                  <a:pt x="797" y="592"/>
                  <a:pt x="797" y="592"/>
                </a:cubicBezTo>
                <a:cubicBezTo>
                  <a:pt x="798" y="591"/>
                  <a:pt x="798" y="591"/>
                  <a:pt x="798" y="591"/>
                </a:cubicBezTo>
                <a:cubicBezTo>
                  <a:pt x="798" y="590"/>
                  <a:pt x="798" y="590"/>
                  <a:pt x="798" y="590"/>
                </a:cubicBezTo>
                <a:cubicBezTo>
                  <a:pt x="799" y="588"/>
                  <a:pt x="799" y="588"/>
                  <a:pt x="799" y="588"/>
                </a:cubicBezTo>
                <a:cubicBezTo>
                  <a:pt x="798" y="587"/>
                  <a:pt x="798" y="587"/>
                  <a:pt x="798" y="587"/>
                </a:cubicBezTo>
                <a:cubicBezTo>
                  <a:pt x="800" y="586"/>
                  <a:pt x="800" y="586"/>
                  <a:pt x="800" y="586"/>
                </a:cubicBezTo>
                <a:cubicBezTo>
                  <a:pt x="799" y="585"/>
                  <a:pt x="799" y="585"/>
                  <a:pt x="799" y="585"/>
                </a:cubicBezTo>
                <a:cubicBezTo>
                  <a:pt x="798" y="584"/>
                  <a:pt x="798" y="584"/>
                  <a:pt x="798" y="584"/>
                </a:cubicBezTo>
                <a:cubicBezTo>
                  <a:pt x="797" y="582"/>
                  <a:pt x="797" y="582"/>
                  <a:pt x="797" y="582"/>
                </a:cubicBezTo>
                <a:cubicBezTo>
                  <a:pt x="800" y="581"/>
                  <a:pt x="800" y="581"/>
                  <a:pt x="800" y="581"/>
                </a:cubicBezTo>
                <a:cubicBezTo>
                  <a:pt x="800" y="579"/>
                  <a:pt x="800" y="579"/>
                  <a:pt x="800" y="579"/>
                </a:cubicBezTo>
                <a:cubicBezTo>
                  <a:pt x="802" y="578"/>
                  <a:pt x="802" y="578"/>
                  <a:pt x="802" y="578"/>
                </a:cubicBezTo>
                <a:cubicBezTo>
                  <a:pt x="803" y="577"/>
                  <a:pt x="803" y="577"/>
                  <a:pt x="803" y="577"/>
                </a:cubicBezTo>
                <a:cubicBezTo>
                  <a:pt x="807" y="576"/>
                  <a:pt x="807" y="576"/>
                  <a:pt x="807" y="576"/>
                </a:cubicBezTo>
                <a:cubicBezTo>
                  <a:pt x="809" y="576"/>
                  <a:pt x="809" y="576"/>
                  <a:pt x="809" y="576"/>
                </a:cubicBezTo>
                <a:cubicBezTo>
                  <a:pt x="812" y="573"/>
                  <a:pt x="812" y="573"/>
                  <a:pt x="812" y="573"/>
                </a:cubicBezTo>
                <a:cubicBezTo>
                  <a:pt x="813" y="573"/>
                  <a:pt x="813" y="573"/>
                  <a:pt x="813" y="573"/>
                </a:cubicBezTo>
                <a:cubicBezTo>
                  <a:pt x="814" y="574"/>
                  <a:pt x="814" y="574"/>
                  <a:pt x="814" y="574"/>
                </a:cubicBezTo>
                <a:cubicBezTo>
                  <a:pt x="818" y="574"/>
                  <a:pt x="818" y="574"/>
                  <a:pt x="818" y="574"/>
                </a:cubicBezTo>
                <a:cubicBezTo>
                  <a:pt x="820" y="574"/>
                  <a:pt x="820" y="574"/>
                  <a:pt x="820" y="574"/>
                </a:cubicBezTo>
                <a:cubicBezTo>
                  <a:pt x="822" y="574"/>
                  <a:pt x="822" y="574"/>
                  <a:pt x="822" y="574"/>
                </a:cubicBezTo>
                <a:cubicBezTo>
                  <a:pt x="827" y="573"/>
                  <a:pt x="827" y="573"/>
                  <a:pt x="827" y="573"/>
                </a:cubicBezTo>
                <a:cubicBezTo>
                  <a:pt x="828" y="573"/>
                  <a:pt x="828" y="573"/>
                  <a:pt x="828" y="573"/>
                </a:cubicBezTo>
                <a:cubicBezTo>
                  <a:pt x="827" y="572"/>
                  <a:pt x="827" y="572"/>
                  <a:pt x="827" y="572"/>
                </a:cubicBezTo>
                <a:cubicBezTo>
                  <a:pt x="827" y="569"/>
                  <a:pt x="827" y="569"/>
                  <a:pt x="827" y="569"/>
                </a:cubicBezTo>
                <a:cubicBezTo>
                  <a:pt x="827" y="567"/>
                  <a:pt x="827" y="567"/>
                  <a:pt x="827" y="567"/>
                </a:cubicBezTo>
                <a:cubicBezTo>
                  <a:pt x="829" y="569"/>
                  <a:pt x="829" y="569"/>
                  <a:pt x="829" y="569"/>
                </a:cubicBezTo>
                <a:cubicBezTo>
                  <a:pt x="829" y="571"/>
                  <a:pt x="829" y="571"/>
                  <a:pt x="829" y="571"/>
                </a:cubicBezTo>
                <a:cubicBezTo>
                  <a:pt x="829" y="573"/>
                  <a:pt x="829" y="573"/>
                  <a:pt x="829" y="573"/>
                </a:cubicBezTo>
                <a:cubicBezTo>
                  <a:pt x="830" y="573"/>
                  <a:pt x="830" y="573"/>
                  <a:pt x="830" y="573"/>
                </a:cubicBezTo>
                <a:cubicBezTo>
                  <a:pt x="832" y="571"/>
                  <a:pt x="832" y="571"/>
                  <a:pt x="832" y="571"/>
                </a:cubicBezTo>
                <a:cubicBezTo>
                  <a:pt x="834" y="567"/>
                  <a:pt x="834" y="567"/>
                  <a:pt x="834" y="567"/>
                </a:cubicBezTo>
                <a:cubicBezTo>
                  <a:pt x="835" y="569"/>
                  <a:pt x="835" y="569"/>
                  <a:pt x="835" y="569"/>
                </a:cubicBezTo>
                <a:cubicBezTo>
                  <a:pt x="835" y="571"/>
                  <a:pt x="835" y="571"/>
                  <a:pt x="835" y="571"/>
                </a:cubicBezTo>
                <a:cubicBezTo>
                  <a:pt x="836" y="571"/>
                  <a:pt x="836" y="571"/>
                  <a:pt x="836" y="571"/>
                </a:cubicBezTo>
                <a:cubicBezTo>
                  <a:pt x="841" y="569"/>
                  <a:pt x="841" y="569"/>
                  <a:pt x="841" y="569"/>
                </a:cubicBezTo>
                <a:cubicBezTo>
                  <a:pt x="842" y="567"/>
                  <a:pt x="842" y="567"/>
                  <a:pt x="842" y="567"/>
                </a:cubicBezTo>
                <a:cubicBezTo>
                  <a:pt x="841" y="563"/>
                  <a:pt x="841" y="563"/>
                  <a:pt x="841" y="563"/>
                </a:cubicBezTo>
                <a:cubicBezTo>
                  <a:pt x="840" y="563"/>
                  <a:pt x="840" y="563"/>
                  <a:pt x="840" y="563"/>
                </a:cubicBezTo>
                <a:cubicBezTo>
                  <a:pt x="840" y="565"/>
                  <a:pt x="840" y="565"/>
                  <a:pt x="840" y="565"/>
                </a:cubicBezTo>
                <a:cubicBezTo>
                  <a:pt x="840" y="567"/>
                  <a:pt x="840" y="567"/>
                  <a:pt x="840" y="567"/>
                </a:cubicBezTo>
                <a:cubicBezTo>
                  <a:pt x="837" y="568"/>
                  <a:pt x="837" y="568"/>
                  <a:pt x="837" y="568"/>
                </a:cubicBezTo>
                <a:cubicBezTo>
                  <a:pt x="836" y="566"/>
                  <a:pt x="836" y="566"/>
                  <a:pt x="836" y="566"/>
                </a:cubicBezTo>
                <a:cubicBezTo>
                  <a:pt x="835" y="563"/>
                  <a:pt x="835" y="563"/>
                  <a:pt x="835" y="563"/>
                </a:cubicBezTo>
                <a:cubicBezTo>
                  <a:pt x="833" y="561"/>
                  <a:pt x="833" y="561"/>
                  <a:pt x="833" y="561"/>
                </a:cubicBezTo>
                <a:cubicBezTo>
                  <a:pt x="833" y="560"/>
                  <a:pt x="833" y="560"/>
                  <a:pt x="833" y="560"/>
                </a:cubicBezTo>
                <a:cubicBezTo>
                  <a:pt x="836" y="557"/>
                  <a:pt x="836" y="557"/>
                  <a:pt x="836" y="557"/>
                </a:cubicBezTo>
                <a:cubicBezTo>
                  <a:pt x="836" y="555"/>
                  <a:pt x="836" y="555"/>
                  <a:pt x="836" y="555"/>
                </a:cubicBezTo>
                <a:cubicBezTo>
                  <a:pt x="835" y="555"/>
                  <a:pt x="835" y="555"/>
                  <a:pt x="835" y="555"/>
                </a:cubicBezTo>
                <a:cubicBezTo>
                  <a:pt x="835" y="554"/>
                  <a:pt x="835" y="554"/>
                  <a:pt x="835" y="554"/>
                </a:cubicBezTo>
                <a:cubicBezTo>
                  <a:pt x="836" y="553"/>
                  <a:pt x="836" y="553"/>
                  <a:pt x="836" y="553"/>
                </a:cubicBezTo>
                <a:cubicBezTo>
                  <a:pt x="837" y="552"/>
                  <a:pt x="837" y="552"/>
                  <a:pt x="837" y="552"/>
                </a:cubicBezTo>
                <a:cubicBezTo>
                  <a:pt x="838" y="550"/>
                  <a:pt x="838" y="550"/>
                  <a:pt x="838" y="550"/>
                </a:cubicBezTo>
                <a:cubicBezTo>
                  <a:pt x="839" y="547"/>
                  <a:pt x="839" y="547"/>
                  <a:pt x="839" y="547"/>
                </a:cubicBezTo>
                <a:cubicBezTo>
                  <a:pt x="843" y="544"/>
                  <a:pt x="843" y="544"/>
                  <a:pt x="843" y="544"/>
                </a:cubicBezTo>
                <a:cubicBezTo>
                  <a:pt x="844" y="541"/>
                  <a:pt x="844" y="541"/>
                  <a:pt x="844" y="541"/>
                </a:cubicBezTo>
                <a:cubicBezTo>
                  <a:pt x="845" y="541"/>
                  <a:pt x="845" y="541"/>
                  <a:pt x="845" y="541"/>
                </a:cubicBezTo>
                <a:cubicBezTo>
                  <a:pt x="846" y="539"/>
                  <a:pt x="846" y="539"/>
                  <a:pt x="846" y="539"/>
                </a:cubicBezTo>
                <a:cubicBezTo>
                  <a:pt x="846" y="541"/>
                  <a:pt x="846" y="541"/>
                  <a:pt x="846" y="541"/>
                </a:cubicBezTo>
                <a:cubicBezTo>
                  <a:pt x="848" y="541"/>
                  <a:pt x="848" y="541"/>
                  <a:pt x="848" y="541"/>
                </a:cubicBezTo>
                <a:cubicBezTo>
                  <a:pt x="849" y="540"/>
                  <a:pt x="849" y="540"/>
                  <a:pt x="849" y="540"/>
                </a:cubicBezTo>
                <a:cubicBezTo>
                  <a:pt x="850" y="538"/>
                  <a:pt x="850" y="538"/>
                  <a:pt x="850" y="538"/>
                </a:cubicBezTo>
                <a:cubicBezTo>
                  <a:pt x="850" y="540"/>
                  <a:pt x="850" y="540"/>
                  <a:pt x="850" y="540"/>
                </a:cubicBezTo>
                <a:cubicBezTo>
                  <a:pt x="851" y="540"/>
                  <a:pt x="851" y="540"/>
                  <a:pt x="851" y="540"/>
                </a:cubicBezTo>
                <a:cubicBezTo>
                  <a:pt x="853" y="538"/>
                  <a:pt x="853" y="538"/>
                  <a:pt x="853" y="538"/>
                </a:cubicBezTo>
                <a:cubicBezTo>
                  <a:pt x="853" y="539"/>
                  <a:pt x="853" y="539"/>
                  <a:pt x="853" y="539"/>
                </a:cubicBezTo>
                <a:cubicBezTo>
                  <a:pt x="854" y="538"/>
                  <a:pt x="854" y="538"/>
                  <a:pt x="854" y="538"/>
                </a:cubicBezTo>
                <a:cubicBezTo>
                  <a:pt x="856" y="535"/>
                  <a:pt x="856" y="535"/>
                  <a:pt x="856" y="535"/>
                </a:cubicBezTo>
                <a:cubicBezTo>
                  <a:pt x="859" y="531"/>
                  <a:pt x="859" y="531"/>
                  <a:pt x="859" y="531"/>
                </a:cubicBezTo>
                <a:cubicBezTo>
                  <a:pt x="858" y="533"/>
                  <a:pt x="858" y="533"/>
                  <a:pt x="858" y="533"/>
                </a:cubicBezTo>
                <a:cubicBezTo>
                  <a:pt x="859" y="535"/>
                  <a:pt x="859" y="535"/>
                  <a:pt x="859" y="535"/>
                </a:cubicBezTo>
                <a:cubicBezTo>
                  <a:pt x="861" y="535"/>
                  <a:pt x="861" y="535"/>
                  <a:pt x="861" y="535"/>
                </a:cubicBezTo>
                <a:cubicBezTo>
                  <a:pt x="862" y="533"/>
                  <a:pt x="862" y="533"/>
                  <a:pt x="862" y="533"/>
                </a:cubicBezTo>
                <a:cubicBezTo>
                  <a:pt x="865" y="533"/>
                  <a:pt x="865" y="533"/>
                  <a:pt x="865" y="533"/>
                </a:cubicBezTo>
                <a:cubicBezTo>
                  <a:pt x="865" y="535"/>
                  <a:pt x="865" y="535"/>
                  <a:pt x="865" y="535"/>
                </a:cubicBezTo>
                <a:cubicBezTo>
                  <a:pt x="867" y="535"/>
                  <a:pt x="867" y="535"/>
                  <a:pt x="867" y="535"/>
                </a:cubicBezTo>
                <a:cubicBezTo>
                  <a:pt x="868" y="533"/>
                  <a:pt x="868" y="533"/>
                  <a:pt x="868" y="533"/>
                </a:cubicBezTo>
                <a:cubicBezTo>
                  <a:pt x="870" y="534"/>
                  <a:pt x="870" y="534"/>
                  <a:pt x="870" y="534"/>
                </a:cubicBezTo>
                <a:cubicBezTo>
                  <a:pt x="871" y="533"/>
                  <a:pt x="871" y="533"/>
                  <a:pt x="871" y="533"/>
                </a:cubicBezTo>
                <a:cubicBezTo>
                  <a:pt x="873" y="532"/>
                  <a:pt x="873" y="532"/>
                  <a:pt x="873" y="532"/>
                </a:cubicBezTo>
                <a:cubicBezTo>
                  <a:pt x="874" y="532"/>
                  <a:pt x="874" y="532"/>
                  <a:pt x="874" y="532"/>
                </a:cubicBezTo>
                <a:cubicBezTo>
                  <a:pt x="877" y="530"/>
                  <a:pt x="877" y="530"/>
                  <a:pt x="877" y="530"/>
                </a:cubicBezTo>
                <a:cubicBezTo>
                  <a:pt x="877" y="532"/>
                  <a:pt x="877" y="532"/>
                  <a:pt x="877" y="532"/>
                </a:cubicBezTo>
                <a:cubicBezTo>
                  <a:pt x="879" y="531"/>
                  <a:pt x="879" y="531"/>
                  <a:pt x="879" y="531"/>
                </a:cubicBezTo>
                <a:cubicBezTo>
                  <a:pt x="881" y="530"/>
                  <a:pt x="881" y="530"/>
                  <a:pt x="881" y="530"/>
                </a:cubicBezTo>
                <a:cubicBezTo>
                  <a:pt x="879" y="529"/>
                  <a:pt x="879" y="529"/>
                  <a:pt x="879" y="529"/>
                </a:cubicBezTo>
                <a:cubicBezTo>
                  <a:pt x="878" y="530"/>
                  <a:pt x="878" y="530"/>
                  <a:pt x="878" y="530"/>
                </a:cubicBezTo>
                <a:cubicBezTo>
                  <a:pt x="876" y="528"/>
                  <a:pt x="876" y="528"/>
                  <a:pt x="876" y="528"/>
                </a:cubicBezTo>
                <a:cubicBezTo>
                  <a:pt x="877" y="526"/>
                  <a:pt x="877" y="526"/>
                  <a:pt x="877" y="526"/>
                </a:cubicBezTo>
                <a:cubicBezTo>
                  <a:pt x="873" y="524"/>
                  <a:pt x="873" y="524"/>
                  <a:pt x="873" y="524"/>
                </a:cubicBezTo>
                <a:cubicBezTo>
                  <a:pt x="873" y="524"/>
                  <a:pt x="873" y="524"/>
                  <a:pt x="873" y="524"/>
                </a:cubicBezTo>
                <a:cubicBezTo>
                  <a:pt x="876" y="525"/>
                  <a:pt x="876" y="525"/>
                  <a:pt x="876" y="525"/>
                </a:cubicBezTo>
                <a:cubicBezTo>
                  <a:pt x="879" y="524"/>
                  <a:pt x="879" y="524"/>
                  <a:pt x="879" y="524"/>
                </a:cubicBezTo>
                <a:cubicBezTo>
                  <a:pt x="879" y="526"/>
                  <a:pt x="879" y="526"/>
                  <a:pt x="879" y="526"/>
                </a:cubicBezTo>
                <a:cubicBezTo>
                  <a:pt x="880" y="526"/>
                  <a:pt x="880" y="526"/>
                  <a:pt x="880" y="526"/>
                </a:cubicBezTo>
                <a:cubicBezTo>
                  <a:pt x="881" y="525"/>
                  <a:pt x="881" y="525"/>
                  <a:pt x="881" y="525"/>
                </a:cubicBezTo>
                <a:cubicBezTo>
                  <a:pt x="883" y="525"/>
                  <a:pt x="883" y="525"/>
                  <a:pt x="883" y="525"/>
                </a:cubicBezTo>
                <a:cubicBezTo>
                  <a:pt x="885" y="525"/>
                  <a:pt x="885" y="525"/>
                  <a:pt x="885" y="525"/>
                </a:cubicBezTo>
                <a:cubicBezTo>
                  <a:pt x="886" y="523"/>
                  <a:pt x="886" y="523"/>
                  <a:pt x="886" y="523"/>
                </a:cubicBezTo>
                <a:cubicBezTo>
                  <a:pt x="888" y="521"/>
                  <a:pt x="888" y="521"/>
                  <a:pt x="888" y="521"/>
                </a:cubicBezTo>
                <a:cubicBezTo>
                  <a:pt x="887" y="523"/>
                  <a:pt x="887" y="523"/>
                  <a:pt x="887" y="523"/>
                </a:cubicBezTo>
                <a:cubicBezTo>
                  <a:pt x="887" y="523"/>
                  <a:pt x="887" y="523"/>
                  <a:pt x="887" y="523"/>
                </a:cubicBezTo>
                <a:cubicBezTo>
                  <a:pt x="887" y="524"/>
                  <a:pt x="887" y="524"/>
                  <a:pt x="887" y="524"/>
                </a:cubicBezTo>
                <a:cubicBezTo>
                  <a:pt x="888" y="525"/>
                  <a:pt x="888" y="525"/>
                  <a:pt x="888" y="525"/>
                </a:cubicBezTo>
                <a:cubicBezTo>
                  <a:pt x="892" y="524"/>
                  <a:pt x="892" y="524"/>
                  <a:pt x="892" y="524"/>
                </a:cubicBezTo>
                <a:cubicBezTo>
                  <a:pt x="893" y="522"/>
                  <a:pt x="893" y="522"/>
                  <a:pt x="893" y="522"/>
                </a:cubicBezTo>
                <a:cubicBezTo>
                  <a:pt x="895" y="522"/>
                  <a:pt x="895" y="522"/>
                  <a:pt x="895" y="522"/>
                </a:cubicBezTo>
                <a:cubicBezTo>
                  <a:pt x="898" y="520"/>
                  <a:pt x="898" y="520"/>
                  <a:pt x="898" y="520"/>
                </a:cubicBezTo>
                <a:cubicBezTo>
                  <a:pt x="899" y="520"/>
                  <a:pt x="899" y="520"/>
                  <a:pt x="899" y="520"/>
                </a:cubicBezTo>
                <a:cubicBezTo>
                  <a:pt x="901" y="516"/>
                  <a:pt x="901" y="516"/>
                  <a:pt x="901" y="516"/>
                </a:cubicBezTo>
                <a:cubicBezTo>
                  <a:pt x="902" y="518"/>
                  <a:pt x="902" y="518"/>
                  <a:pt x="902" y="518"/>
                </a:cubicBezTo>
                <a:cubicBezTo>
                  <a:pt x="903" y="517"/>
                  <a:pt x="903" y="517"/>
                  <a:pt x="903" y="517"/>
                </a:cubicBezTo>
                <a:cubicBezTo>
                  <a:pt x="903" y="518"/>
                  <a:pt x="903" y="518"/>
                  <a:pt x="903" y="518"/>
                </a:cubicBezTo>
                <a:cubicBezTo>
                  <a:pt x="901" y="520"/>
                  <a:pt x="901" y="520"/>
                  <a:pt x="901" y="520"/>
                </a:cubicBezTo>
                <a:cubicBezTo>
                  <a:pt x="899" y="521"/>
                  <a:pt x="899" y="521"/>
                  <a:pt x="899" y="521"/>
                </a:cubicBezTo>
                <a:cubicBezTo>
                  <a:pt x="897" y="523"/>
                  <a:pt x="897" y="523"/>
                  <a:pt x="897" y="523"/>
                </a:cubicBezTo>
                <a:cubicBezTo>
                  <a:pt x="899" y="524"/>
                  <a:pt x="899" y="524"/>
                  <a:pt x="899" y="524"/>
                </a:cubicBezTo>
                <a:cubicBezTo>
                  <a:pt x="900" y="522"/>
                  <a:pt x="900" y="522"/>
                  <a:pt x="900" y="522"/>
                </a:cubicBezTo>
                <a:cubicBezTo>
                  <a:pt x="902" y="522"/>
                  <a:pt x="902" y="522"/>
                  <a:pt x="902" y="522"/>
                </a:cubicBezTo>
                <a:cubicBezTo>
                  <a:pt x="904" y="523"/>
                  <a:pt x="904" y="523"/>
                  <a:pt x="904" y="523"/>
                </a:cubicBezTo>
                <a:cubicBezTo>
                  <a:pt x="908" y="523"/>
                  <a:pt x="908" y="523"/>
                  <a:pt x="908" y="523"/>
                </a:cubicBezTo>
                <a:cubicBezTo>
                  <a:pt x="911" y="523"/>
                  <a:pt x="911" y="523"/>
                  <a:pt x="911" y="523"/>
                </a:cubicBezTo>
                <a:cubicBezTo>
                  <a:pt x="909" y="524"/>
                  <a:pt x="909" y="524"/>
                  <a:pt x="909" y="524"/>
                </a:cubicBezTo>
                <a:cubicBezTo>
                  <a:pt x="906" y="525"/>
                  <a:pt x="906" y="525"/>
                  <a:pt x="906" y="525"/>
                </a:cubicBezTo>
                <a:cubicBezTo>
                  <a:pt x="904" y="525"/>
                  <a:pt x="904" y="525"/>
                  <a:pt x="904" y="525"/>
                </a:cubicBezTo>
                <a:cubicBezTo>
                  <a:pt x="904" y="526"/>
                  <a:pt x="904" y="526"/>
                  <a:pt x="904" y="526"/>
                </a:cubicBezTo>
                <a:cubicBezTo>
                  <a:pt x="904" y="527"/>
                  <a:pt x="904" y="527"/>
                  <a:pt x="904" y="527"/>
                </a:cubicBezTo>
                <a:cubicBezTo>
                  <a:pt x="903" y="526"/>
                  <a:pt x="903" y="526"/>
                  <a:pt x="903" y="526"/>
                </a:cubicBezTo>
                <a:cubicBezTo>
                  <a:pt x="902" y="524"/>
                  <a:pt x="902" y="524"/>
                  <a:pt x="902" y="524"/>
                </a:cubicBezTo>
                <a:cubicBezTo>
                  <a:pt x="901" y="524"/>
                  <a:pt x="901" y="524"/>
                  <a:pt x="901" y="524"/>
                </a:cubicBezTo>
                <a:cubicBezTo>
                  <a:pt x="898" y="525"/>
                  <a:pt x="898" y="525"/>
                  <a:pt x="898" y="525"/>
                </a:cubicBezTo>
                <a:cubicBezTo>
                  <a:pt x="895" y="527"/>
                  <a:pt x="895" y="527"/>
                  <a:pt x="895" y="527"/>
                </a:cubicBezTo>
                <a:cubicBezTo>
                  <a:pt x="890" y="528"/>
                  <a:pt x="890" y="528"/>
                  <a:pt x="890" y="528"/>
                </a:cubicBezTo>
                <a:cubicBezTo>
                  <a:pt x="886" y="530"/>
                  <a:pt x="886" y="530"/>
                  <a:pt x="886" y="530"/>
                </a:cubicBezTo>
                <a:cubicBezTo>
                  <a:pt x="886" y="532"/>
                  <a:pt x="886" y="532"/>
                  <a:pt x="886" y="532"/>
                </a:cubicBezTo>
                <a:cubicBezTo>
                  <a:pt x="884" y="534"/>
                  <a:pt x="884" y="534"/>
                  <a:pt x="884" y="534"/>
                </a:cubicBezTo>
                <a:cubicBezTo>
                  <a:pt x="882" y="537"/>
                  <a:pt x="882" y="537"/>
                  <a:pt x="882" y="537"/>
                </a:cubicBezTo>
                <a:cubicBezTo>
                  <a:pt x="882" y="539"/>
                  <a:pt x="882" y="539"/>
                  <a:pt x="882" y="539"/>
                </a:cubicBezTo>
                <a:cubicBezTo>
                  <a:pt x="883" y="541"/>
                  <a:pt x="883" y="541"/>
                  <a:pt x="883" y="541"/>
                </a:cubicBezTo>
                <a:cubicBezTo>
                  <a:pt x="883" y="543"/>
                  <a:pt x="883" y="543"/>
                  <a:pt x="883" y="543"/>
                </a:cubicBezTo>
                <a:cubicBezTo>
                  <a:pt x="884" y="543"/>
                  <a:pt x="884" y="543"/>
                  <a:pt x="884" y="543"/>
                </a:cubicBezTo>
                <a:cubicBezTo>
                  <a:pt x="885" y="543"/>
                  <a:pt x="885" y="543"/>
                  <a:pt x="885" y="543"/>
                </a:cubicBezTo>
                <a:cubicBezTo>
                  <a:pt x="885" y="546"/>
                  <a:pt x="885" y="546"/>
                  <a:pt x="885" y="546"/>
                </a:cubicBezTo>
                <a:cubicBezTo>
                  <a:pt x="887" y="547"/>
                  <a:pt x="887" y="547"/>
                  <a:pt x="887" y="547"/>
                </a:cubicBezTo>
                <a:cubicBezTo>
                  <a:pt x="888" y="546"/>
                  <a:pt x="888" y="546"/>
                  <a:pt x="888" y="546"/>
                </a:cubicBezTo>
                <a:cubicBezTo>
                  <a:pt x="889" y="547"/>
                  <a:pt x="889" y="547"/>
                  <a:pt x="889" y="547"/>
                </a:cubicBezTo>
                <a:cubicBezTo>
                  <a:pt x="890" y="546"/>
                  <a:pt x="890" y="546"/>
                  <a:pt x="890" y="546"/>
                </a:cubicBezTo>
                <a:cubicBezTo>
                  <a:pt x="890" y="544"/>
                  <a:pt x="890" y="544"/>
                  <a:pt x="890" y="544"/>
                </a:cubicBezTo>
                <a:cubicBezTo>
                  <a:pt x="891" y="544"/>
                  <a:pt x="891" y="544"/>
                  <a:pt x="891" y="544"/>
                </a:cubicBezTo>
                <a:cubicBezTo>
                  <a:pt x="892" y="544"/>
                  <a:pt x="892" y="544"/>
                  <a:pt x="892" y="544"/>
                </a:cubicBezTo>
                <a:cubicBezTo>
                  <a:pt x="894" y="542"/>
                  <a:pt x="894" y="542"/>
                  <a:pt x="894" y="542"/>
                </a:cubicBezTo>
                <a:cubicBezTo>
                  <a:pt x="896" y="542"/>
                  <a:pt x="896" y="542"/>
                  <a:pt x="896" y="542"/>
                </a:cubicBezTo>
                <a:cubicBezTo>
                  <a:pt x="899" y="538"/>
                  <a:pt x="899" y="538"/>
                  <a:pt x="899" y="538"/>
                </a:cubicBezTo>
                <a:cubicBezTo>
                  <a:pt x="902" y="536"/>
                  <a:pt x="902" y="536"/>
                  <a:pt x="902" y="536"/>
                </a:cubicBezTo>
                <a:cubicBezTo>
                  <a:pt x="901" y="535"/>
                  <a:pt x="901" y="535"/>
                  <a:pt x="901" y="535"/>
                </a:cubicBezTo>
                <a:cubicBezTo>
                  <a:pt x="903" y="532"/>
                  <a:pt x="903" y="532"/>
                  <a:pt x="903" y="532"/>
                </a:cubicBezTo>
                <a:cubicBezTo>
                  <a:pt x="904" y="532"/>
                  <a:pt x="904" y="532"/>
                  <a:pt x="904" y="532"/>
                </a:cubicBezTo>
                <a:cubicBezTo>
                  <a:pt x="905" y="531"/>
                  <a:pt x="905" y="531"/>
                  <a:pt x="905" y="531"/>
                </a:cubicBezTo>
                <a:cubicBezTo>
                  <a:pt x="906" y="531"/>
                  <a:pt x="906" y="531"/>
                  <a:pt x="906" y="531"/>
                </a:cubicBezTo>
                <a:cubicBezTo>
                  <a:pt x="907" y="534"/>
                  <a:pt x="907" y="534"/>
                  <a:pt x="907" y="534"/>
                </a:cubicBezTo>
                <a:cubicBezTo>
                  <a:pt x="909" y="534"/>
                  <a:pt x="909" y="534"/>
                  <a:pt x="909" y="534"/>
                </a:cubicBezTo>
                <a:cubicBezTo>
                  <a:pt x="909" y="533"/>
                  <a:pt x="909" y="533"/>
                  <a:pt x="909" y="533"/>
                </a:cubicBezTo>
                <a:cubicBezTo>
                  <a:pt x="911" y="533"/>
                  <a:pt x="911" y="533"/>
                  <a:pt x="911" y="533"/>
                </a:cubicBezTo>
                <a:cubicBezTo>
                  <a:pt x="914" y="531"/>
                  <a:pt x="914" y="531"/>
                  <a:pt x="914" y="531"/>
                </a:cubicBezTo>
                <a:cubicBezTo>
                  <a:pt x="917" y="530"/>
                  <a:pt x="917" y="530"/>
                  <a:pt x="917" y="530"/>
                </a:cubicBezTo>
                <a:cubicBezTo>
                  <a:pt x="920" y="530"/>
                  <a:pt x="920" y="530"/>
                  <a:pt x="920" y="530"/>
                </a:cubicBezTo>
                <a:cubicBezTo>
                  <a:pt x="922" y="529"/>
                  <a:pt x="922" y="529"/>
                  <a:pt x="922" y="529"/>
                </a:cubicBezTo>
                <a:cubicBezTo>
                  <a:pt x="927" y="527"/>
                  <a:pt x="927" y="527"/>
                  <a:pt x="927" y="527"/>
                </a:cubicBezTo>
                <a:cubicBezTo>
                  <a:pt x="930" y="526"/>
                  <a:pt x="930" y="526"/>
                  <a:pt x="930" y="526"/>
                </a:cubicBezTo>
                <a:cubicBezTo>
                  <a:pt x="932" y="526"/>
                  <a:pt x="932" y="526"/>
                  <a:pt x="932" y="526"/>
                </a:cubicBezTo>
                <a:cubicBezTo>
                  <a:pt x="933" y="526"/>
                  <a:pt x="933" y="526"/>
                  <a:pt x="933" y="526"/>
                </a:cubicBezTo>
                <a:cubicBezTo>
                  <a:pt x="934" y="526"/>
                  <a:pt x="934" y="526"/>
                  <a:pt x="934" y="526"/>
                </a:cubicBezTo>
                <a:cubicBezTo>
                  <a:pt x="933" y="525"/>
                  <a:pt x="933" y="525"/>
                  <a:pt x="933" y="525"/>
                </a:cubicBezTo>
                <a:cubicBezTo>
                  <a:pt x="932" y="525"/>
                  <a:pt x="932" y="525"/>
                  <a:pt x="932" y="525"/>
                </a:cubicBezTo>
                <a:cubicBezTo>
                  <a:pt x="930" y="524"/>
                  <a:pt x="930" y="524"/>
                  <a:pt x="930" y="524"/>
                </a:cubicBezTo>
                <a:cubicBezTo>
                  <a:pt x="930" y="523"/>
                  <a:pt x="930" y="523"/>
                  <a:pt x="930" y="523"/>
                </a:cubicBezTo>
                <a:cubicBezTo>
                  <a:pt x="932" y="523"/>
                  <a:pt x="932" y="523"/>
                  <a:pt x="932" y="523"/>
                </a:cubicBezTo>
                <a:cubicBezTo>
                  <a:pt x="932" y="522"/>
                  <a:pt x="932" y="522"/>
                  <a:pt x="932" y="522"/>
                </a:cubicBezTo>
                <a:cubicBezTo>
                  <a:pt x="928" y="520"/>
                  <a:pt x="928" y="520"/>
                  <a:pt x="928" y="520"/>
                </a:cubicBezTo>
                <a:cubicBezTo>
                  <a:pt x="926" y="520"/>
                  <a:pt x="926" y="520"/>
                  <a:pt x="926" y="520"/>
                </a:cubicBezTo>
                <a:cubicBezTo>
                  <a:pt x="926" y="519"/>
                  <a:pt x="926" y="519"/>
                  <a:pt x="926" y="519"/>
                </a:cubicBezTo>
                <a:cubicBezTo>
                  <a:pt x="926" y="517"/>
                  <a:pt x="926" y="517"/>
                  <a:pt x="926" y="517"/>
                </a:cubicBezTo>
                <a:cubicBezTo>
                  <a:pt x="923" y="519"/>
                  <a:pt x="923" y="519"/>
                  <a:pt x="923" y="519"/>
                </a:cubicBezTo>
                <a:cubicBezTo>
                  <a:pt x="923" y="520"/>
                  <a:pt x="923" y="520"/>
                  <a:pt x="923" y="520"/>
                </a:cubicBezTo>
                <a:cubicBezTo>
                  <a:pt x="919" y="520"/>
                  <a:pt x="919" y="520"/>
                  <a:pt x="919" y="520"/>
                </a:cubicBezTo>
                <a:cubicBezTo>
                  <a:pt x="919" y="519"/>
                  <a:pt x="919" y="519"/>
                  <a:pt x="919" y="519"/>
                </a:cubicBezTo>
                <a:cubicBezTo>
                  <a:pt x="916" y="518"/>
                  <a:pt x="916" y="518"/>
                  <a:pt x="916" y="518"/>
                </a:cubicBezTo>
                <a:cubicBezTo>
                  <a:pt x="915" y="518"/>
                  <a:pt x="915" y="518"/>
                  <a:pt x="915" y="518"/>
                </a:cubicBezTo>
                <a:cubicBezTo>
                  <a:pt x="913" y="517"/>
                  <a:pt x="913" y="517"/>
                  <a:pt x="913" y="517"/>
                </a:cubicBezTo>
                <a:cubicBezTo>
                  <a:pt x="910" y="517"/>
                  <a:pt x="910" y="517"/>
                  <a:pt x="910" y="517"/>
                </a:cubicBezTo>
                <a:cubicBezTo>
                  <a:pt x="907" y="516"/>
                  <a:pt x="907" y="516"/>
                  <a:pt x="907" y="516"/>
                </a:cubicBezTo>
                <a:cubicBezTo>
                  <a:pt x="909" y="515"/>
                  <a:pt x="909" y="515"/>
                  <a:pt x="909" y="515"/>
                </a:cubicBezTo>
                <a:cubicBezTo>
                  <a:pt x="910" y="513"/>
                  <a:pt x="910" y="513"/>
                  <a:pt x="910" y="513"/>
                </a:cubicBezTo>
                <a:cubicBezTo>
                  <a:pt x="907" y="513"/>
                  <a:pt x="907" y="513"/>
                  <a:pt x="907" y="513"/>
                </a:cubicBezTo>
                <a:cubicBezTo>
                  <a:pt x="906" y="512"/>
                  <a:pt x="906" y="512"/>
                  <a:pt x="906" y="512"/>
                </a:cubicBezTo>
                <a:cubicBezTo>
                  <a:pt x="904" y="512"/>
                  <a:pt x="904" y="512"/>
                  <a:pt x="904" y="512"/>
                </a:cubicBezTo>
                <a:cubicBezTo>
                  <a:pt x="903" y="510"/>
                  <a:pt x="903" y="510"/>
                  <a:pt x="903" y="510"/>
                </a:cubicBezTo>
                <a:cubicBezTo>
                  <a:pt x="902" y="509"/>
                  <a:pt x="902" y="509"/>
                  <a:pt x="902" y="509"/>
                </a:cubicBezTo>
                <a:cubicBezTo>
                  <a:pt x="902" y="506"/>
                  <a:pt x="902" y="506"/>
                  <a:pt x="902" y="506"/>
                </a:cubicBezTo>
                <a:cubicBezTo>
                  <a:pt x="902" y="504"/>
                  <a:pt x="902" y="504"/>
                  <a:pt x="902" y="504"/>
                </a:cubicBezTo>
                <a:cubicBezTo>
                  <a:pt x="901" y="503"/>
                  <a:pt x="901" y="503"/>
                  <a:pt x="901" y="503"/>
                </a:cubicBezTo>
                <a:cubicBezTo>
                  <a:pt x="902" y="501"/>
                  <a:pt x="902" y="501"/>
                  <a:pt x="902" y="501"/>
                </a:cubicBezTo>
                <a:cubicBezTo>
                  <a:pt x="902" y="500"/>
                  <a:pt x="902" y="500"/>
                  <a:pt x="902" y="500"/>
                </a:cubicBezTo>
                <a:cubicBezTo>
                  <a:pt x="898" y="500"/>
                  <a:pt x="898" y="500"/>
                  <a:pt x="898" y="500"/>
                </a:cubicBezTo>
                <a:cubicBezTo>
                  <a:pt x="899" y="499"/>
                  <a:pt x="899" y="499"/>
                  <a:pt x="899" y="499"/>
                </a:cubicBezTo>
                <a:cubicBezTo>
                  <a:pt x="901" y="499"/>
                  <a:pt x="901" y="499"/>
                  <a:pt x="901" y="499"/>
                </a:cubicBezTo>
                <a:cubicBezTo>
                  <a:pt x="903" y="494"/>
                  <a:pt x="903" y="494"/>
                  <a:pt x="903" y="494"/>
                </a:cubicBezTo>
                <a:cubicBezTo>
                  <a:pt x="905" y="492"/>
                  <a:pt x="905" y="492"/>
                  <a:pt x="905" y="492"/>
                </a:cubicBezTo>
                <a:cubicBezTo>
                  <a:pt x="905" y="491"/>
                  <a:pt x="905" y="491"/>
                  <a:pt x="905" y="491"/>
                </a:cubicBezTo>
                <a:cubicBezTo>
                  <a:pt x="903" y="491"/>
                  <a:pt x="903" y="491"/>
                  <a:pt x="903" y="491"/>
                </a:cubicBezTo>
                <a:cubicBezTo>
                  <a:pt x="903" y="490"/>
                  <a:pt x="903" y="490"/>
                  <a:pt x="903" y="490"/>
                </a:cubicBezTo>
                <a:cubicBezTo>
                  <a:pt x="901" y="490"/>
                  <a:pt x="901" y="490"/>
                  <a:pt x="901" y="490"/>
                </a:cubicBezTo>
                <a:cubicBezTo>
                  <a:pt x="899" y="491"/>
                  <a:pt x="899" y="491"/>
                  <a:pt x="899" y="491"/>
                </a:cubicBezTo>
                <a:cubicBezTo>
                  <a:pt x="896" y="492"/>
                  <a:pt x="896" y="492"/>
                  <a:pt x="896" y="492"/>
                </a:cubicBezTo>
                <a:cubicBezTo>
                  <a:pt x="896" y="491"/>
                  <a:pt x="896" y="491"/>
                  <a:pt x="896" y="491"/>
                </a:cubicBezTo>
                <a:cubicBezTo>
                  <a:pt x="895" y="489"/>
                  <a:pt x="895" y="489"/>
                  <a:pt x="895" y="489"/>
                </a:cubicBezTo>
                <a:cubicBezTo>
                  <a:pt x="891" y="488"/>
                  <a:pt x="891" y="488"/>
                  <a:pt x="891" y="488"/>
                </a:cubicBezTo>
                <a:cubicBezTo>
                  <a:pt x="888" y="488"/>
                  <a:pt x="888" y="488"/>
                  <a:pt x="888" y="488"/>
                </a:cubicBezTo>
                <a:cubicBezTo>
                  <a:pt x="886" y="488"/>
                  <a:pt x="886" y="488"/>
                  <a:pt x="886" y="488"/>
                </a:cubicBezTo>
                <a:cubicBezTo>
                  <a:pt x="888" y="487"/>
                  <a:pt x="888" y="487"/>
                  <a:pt x="888" y="487"/>
                </a:cubicBezTo>
                <a:cubicBezTo>
                  <a:pt x="890" y="487"/>
                  <a:pt x="890" y="487"/>
                  <a:pt x="890" y="487"/>
                </a:cubicBezTo>
                <a:cubicBezTo>
                  <a:pt x="893" y="487"/>
                  <a:pt x="893" y="487"/>
                  <a:pt x="893" y="487"/>
                </a:cubicBezTo>
                <a:cubicBezTo>
                  <a:pt x="894" y="486"/>
                  <a:pt x="894" y="486"/>
                  <a:pt x="894" y="486"/>
                </a:cubicBezTo>
                <a:cubicBezTo>
                  <a:pt x="896" y="487"/>
                  <a:pt x="896" y="487"/>
                  <a:pt x="896" y="487"/>
                </a:cubicBezTo>
                <a:cubicBezTo>
                  <a:pt x="898" y="488"/>
                  <a:pt x="898" y="488"/>
                  <a:pt x="898" y="488"/>
                </a:cubicBezTo>
                <a:cubicBezTo>
                  <a:pt x="900" y="488"/>
                  <a:pt x="900" y="488"/>
                  <a:pt x="900" y="488"/>
                </a:cubicBezTo>
                <a:cubicBezTo>
                  <a:pt x="903" y="486"/>
                  <a:pt x="903" y="486"/>
                  <a:pt x="903" y="486"/>
                </a:cubicBezTo>
                <a:cubicBezTo>
                  <a:pt x="904" y="486"/>
                  <a:pt x="904" y="486"/>
                  <a:pt x="904" y="486"/>
                </a:cubicBezTo>
                <a:cubicBezTo>
                  <a:pt x="907" y="484"/>
                  <a:pt x="907" y="484"/>
                  <a:pt x="907" y="484"/>
                </a:cubicBezTo>
                <a:cubicBezTo>
                  <a:pt x="909" y="484"/>
                  <a:pt x="909" y="484"/>
                  <a:pt x="909" y="484"/>
                </a:cubicBezTo>
                <a:cubicBezTo>
                  <a:pt x="910" y="480"/>
                  <a:pt x="910" y="480"/>
                  <a:pt x="910" y="480"/>
                </a:cubicBezTo>
                <a:cubicBezTo>
                  <a:pt x="909" y="480"/>
                  <a:pt x="909" y="480"/>
                  <a:pt x="909" y="480"/>
                </a:cubicBezTo>
                <a:cubicBezTo>
                  <a:pt x="911" y="479"/>
                  <a:pt x="911" y="479"/>
                  <a:pt x="911" y="479"/>
                </a:cubicBezTo>
                <a:cubicBezTo>
                  <a:pt x="910" y="478"/>
                  <a:pt x="910" y="478"/>
                  <a:pt x="910" y="478"/>
                </a:cubicBezTo>
                <a:cubicBezTo>
                  <a:pt x="908" y="477"/>
                  <a:pt x="908" y="477"/>
                  <a:pt x="908" y="477"/>
                </a:cubicBezTo>
                <a:cubicBezTo>
                  <a:pt x="906" y="477"/>
                  <a:pt x="906" y="477"/>
                  <a:pt x="906" y="477"/>
                </a:cubicBezTo>
                <a:cubicBezTo>
                  <a:pt x="906" y="476"/>
                  <a:pt x="906" y="476"/>
                  <a:pt x="906" y="476"/>
                </a:cubicBezTo>
                <a:cubicBezTo>
                  <a:pt x="906" y="476"/>
                  <a:pt x="906" y="476"/>
                  <a:pt x="906" y="476"/>
                </a:cubicBezTo>
                <a:cubicBezTo>
                  <a:pt x="909" y="477"/>
                  <a:pt x="909" y="477"/>
                  <a:pt x="909" y="477"/>
                </a:cubicBezTo>
                <a:cubicBezTo>
                  <a:pt x="909" y="476"/>
                  <a:pt x="909" y="476"/>
                  <a:pt x="909" y="476"/>
                </a:cubicBezTo>
                <a:cubicBezTo>
                  <a:pt x="905" y="473"/>
                  <a:pt x="905" y="473"/>
                  <a:pt x="905" y="473"/>
                </a:cubicBezTo>
                <a:cubicBezTo>
                  <a:pt x="901" y="472"/>
                  <a:pt x="901" y="472"/>
                  <a:pt x="901" y="472"/>
                </a:cubicBezTo>
                <a:cubicBezTo>
                  <a:pt x="895" y="472"/>
                  <a:pt x="895" y="472"/>
                  <a:pt x="895" y="472"/>
                </a:cubicBezTo>
                <a:cubicBezTo>
                  <a:pt x="893" y="473"/>
                  <a:pt x="893" y="473"/>
                  <a:pt x="893" y="473"/>
                </a:cubicBezTo>
                <a:cubicBezTo>
                  <a:pt x="890" y="473"/>
                  <a:pt x="890" y="473"/>
                  <a:pt x="890" y="473"/>
                </a:cubicBezTo>
                <a:cubicBezTo>
                  <a:pt x="884" y="475"/>
                  <a:pt x="884" y="475"/>
                  <a:pt x="884" y="475"/>
                </a:cubicBezTo>
                <a:cubicBezTo>
                  <a:pt x="879" y="476"/>
                  <a:pt x="879" y="476"/>
                  <a:pt x="879" y="476"/>
                </a:cubicBezTo>
                <a:cubicBezTo>
                  <a:pt x="876" y="478"/>
                  <a:pt x="876" y="478"/>
                  <a:pt x="876" y="478"/>
                </a:cubicBezTo>
                <a:cubicBezTo>
                  <a:pt x="873" y="478"/>
                  <a:pt x="873" y="478"/>
                  <a:pt x="873" y="478"/>
                </a:cubicBezTo>
                <a:cubicBezTo>
                  <a:pt x="869" y="481"/>
                  <a:pt x="869" y="481"/>
                  <a:pt x="869" y="481"/>
                </a:cubicBezTo>
                <a:cubicBezTo>
                  <a:pt x="862" y="486"/>
                  <a:pt x="862" y="486"/>
                  <a:pt x="862" y="486"/>
                </a:cubicBezTo>
                <a:cubicBezTo>
                  <a:pt x="857" y="490"/>
                  <a:pt x="857" y="490"/>
                  <a:pt x="857" y="490"/>
                </a:cubicBezTo>
                <a:cubicBezTo>
                  <a:pt x="855" y="491"/>
                  <a:pt x="855" y="491"/>
                  <a:pt x="855" y="491"/>
                </a:cubicBezTo>
                <a:cubicBezTo>
                  <a:pt x="853" y="493"/>
                  <a:pt x="853" y="493"/>
                  <a:pt x="853" y="493"/>
                </a:cubicBezTo>
                <a:cubicBezTo>
                  <a:pt x="850" y="497"/>
                  <a:pt x="850" y="497"/>
                  <a:pt x="850" y="497"/>
                </a:cubicBezTo>
                <a:cubicBezTo>
                  <a:pt x="847" y="499"/>
                  <a:pt x="847" y="499"/>
                  <a:pt x="847" y="499"/>
                </a:cubicBezTo>
                <a:cubicBezTo>
                  <a:pt x="842" y="501"/>
                  <a:pt x="842" y="501"/>
                  <a:pt x="842" y="501"/>
                </a:cubicBezTo>
                <a:cubicBezTo>
                  <a:pt x="837" y="504"/>
                  <a:pt x="837" y="504"/>
                  <a:pt x="837" y="504"/>
                </a:cubicBezTo>
                <a:cubicBezTo>
                  <a:pt x="835" y="503"/>
                  <a:pt x="835" y="503"/>
                  <a:pt x="835" y="503"/>
                </a:cubicBezTo>
                <a:cubicBezTo>
                  <a:pt x="838" y="503"/>
                  <a:pt x="838" y="503"/>
                  <a:pt x="838" y="503"/>
                </a:cubicBezTo>
                <a:cubicBezTo>
                  <a:pt x="843" y="500"/>
                  <a:pt x="843" y="500"/>
                  <a:pt x="843" y="500"/>
                </a:cubicBezTo>
                <a:cubicBezTo>
                  <a:pt x="843" y="499"/>
                  <a:pt x="843" y="499"/>
                  <a:pt x="843" y="499"/>
                </a:cubicBezTo>
                <a:cubicBezTo>
                  <a:pt x="848" y="496"/>
                  <a:pt x="848" y="496"/>
                  <a:pt x="848" y="496"/>
                </a:cubicBezTo>
                <a:cubicBezTo>
                  <a:pt x="849" y="494"/>
                  <a:pt x="849" y="494"/>
                  <a:pt x="849" y="494"/>
                </a:cubicBezTo>
                <a:cubicBezTo>
                  <a:pt x="850" y="491"/>
                  <a:pt x="850" y="491"/>
                  <a:pt x="850" y="491"/>
                </a:cubicBezTo>
                <a:cubicBezTo>
                  <a:pt x="852" y="491"/>
                  <a:pt x="852" y="491"/>
                  <a:pt x="852" y="491"/>
                </a:cubicBezTo>
                <a:cubicBezTo>
                  <a:pt x="855" y="489"/>
                  <a:pt x="855" y="489"/>
                  <a:pt x="855" y="489"/>
                </a:cubicBezTo>
                <a:cubicBezTo>
                  <a:pt x="857" y="487"/>
                  <a:pt x="857" y="487"/>
                  <a:pt x="857" y="487"/>
                </a:cubicBezTo>
                <a:cubicBezTo>
                  <a:pt x="858" y="484"/>
                  <a:pt x="858" y="484"/>
                  <a:pt x="858" y="484"/>
                </a:cubicBezTo>
                <a:cubicBezTo>
                  <a:pt x="862" y="482"/>
                  <a:pt x="862" y="482"/>
                  <a:pt x="862" y="482"/>
                </a:cubicBezTo>
                <a:cubicBezTo>
                  <a:pt x="865" y="478"/>
                  <a:pt x="865" y="478"/>
                  <a:pt x="865" y="478"/>
                </a:cubicBezTo>
                <a:cubicBezTo>
                  <a:pt x="866" y="478"/>
                  <a:pt x="866" y="478"/>
                  <a:pt x="866" y="478"/>
                </a:cubicBezTo>
                <a:cubicBezTo>
                  <a:pt x="866" y="477"/>
                  <a:pt x="866" y="477"/>
                  <a:pt x="866" y="477"/>
                </a:cubicBezTo>
                <a:cubicBezTo>
                  <a:pt x="868" y="475"/>
                  <a:pt x="868" y="475"/>
                  <a:pt x="868" y="475"/>
                </a:cubicBezTo>
                <a:cubicBezTo>
                  <a:pt x="870" y="475"/>
                  <a:pt x="870" y="475"/>
                  <a:pt x="870" y="475"/>
                </a:cubicBezTo>
                <a:cubicBezTo>
                  <a:pt x="871" y="472"/>
                  <a:pt x="871" y="472"/>
                  <a:pt x="871" y="472"/>
                </a:cubicBezTo>
                <a:cubicBezTo>
                  <a:pt x="873" y="471"/>
                  <a:pt x="873" y="471"/>
                  <a:pt x="873" y="471"/>
                </a:cubicBezTo>
                <a:cubicBezTo>
                  <a:pt x="874" y="472"/>
                  <a:pt x="874" y="472"/>
                  <a:pt x="874" y="472"/>
                </a:cubicBezTo>
                <a:cubicBezTo>
                  <a:pt x="875" y="472"/>
                  <a:pt x="875" y="472"/>
                  <a:pt x="875" y="472"/>
                </a:cubicBezTo>
                <a:cubicBezTo>
                  <a:pt x="876" y="470"/>
                  <a:pt x="876" y="470"/>
                  <a:pt x="876" y="470"/>
                </a:cubicBezTo>
                <a:cubicBezTo>
                  <a:pt x="880" y="469"/>
                  <a:pt x="880" y="469"/>
                  <a:pt x="880" y="469"/>
                </a:cubicBezTo>
                <a:cubicBezTo>
                  <a:pt x="881" y="469"/>
                  <a:pt x="881" y="469"/>
                  <a:pt x="881" y="469"/>
                </a:cubicBezTo>
                <a:cubicBezTo>
                  <a:pt x="885" y="469"/>
                  <a:pt x="885" y="469"/>
                  <a:pt x="885" y="469"/>
                </a:cubicBezTo>
                <a:cubicBezTo>
                  <a:pt x="886" y="467"/>
                  <a:pt x="886" y="467"/>
                  <a:pt x="886" y="467"/>
                </a:cubicBezTo>
                <a:cubicBezTo>
                  <a:pt x="886" y="465"/>
                  <a:pt x="886" y="465"/>
                  <a:pt x="886" y="465"/>
                </a:cubicBezTo>
                <a:cubicBezTo>
                  <a:pt x="887" y="463"/>
                  <a:pt x="887" y="463"/>
                  <a:pt x="887" y="463"/>
                </a:cubicBezTo>
                <a:cubicBezTo>
                  <a:pt x="887" y="462"/>
                  <a:pt x="887" y="462"/>
                  <a:pt x="887" y="462"/>
                </a:cubicBezTo>
                <a:cubicBezTo>
                  <a:pt x="889" y="461"/>
                  <a:pt x="889" y="461"/>
                  <a:pt x="889" y="461"/>
                </a:cubicBezTo>
                <a:cubicBezTo>
                  <a:pt x="893" y="457"/>
                  <a:pt x="893" y="457"/>
                  <a:pt x="893" y="457"/>
                </a:cubicBezTo>
                <a:cubicBezTo>
                  <a:pt x="895" y="457"/>
                  <a:pt x="895" y="457"/>
                  <a:pt x="895" y="457"/>
                </a:cubicBezTo>
                <a:cubicBezTo>
                  <a:pt x="896" y="456"/>
                  <a:pt x="896" y="456"/>
                  <a:pt x="896" y="456"/>
                </a:cubicBezTo>
                <a:cubicBezTo>
                  <a:pt x="895" y="455"/>
                  <a:pt x="895" y="455"/>
                  <a:pt x="895" y="455"/>
                </a:cubicBezTo>
                <a:cubicBezTo>
                  <a:pt x="896" y="454"/>
                  <a:pt x="896" y="454"/>
                  <a:pt x="896" y="454"/>
                </a:cubicBezTo>
                <a:cubicBezTo>
                  <a:pt x="897" y="453"/>
                  <a:pt x="897" y="453"/>
                  <a:pt x="897" y="453"/>
                </a:cubicBezTo>
                <a:cubicBezTo>
                  <a:pt x="899" y="455"/>
                  <a:pt x="899" y="455"/>
                  <a:pt x="899" y="455"/>
                </a:cubicBezTo>
                <a:cubicBezTo>
                  <a:pt x="902" y="456"/>
                  <a:pt x="902" y="456"/>
                  <a:pt x="902" y="456"/>
                </a:cubicBezTo>
                <a:cubicBezTo>
                  <a:pt x="906" y="455"/>
                  <a:pt x="906" y="455"/>
                  <a:pt x="906" y="455"/>
                </a:cubicBezTo>
                <a:cubicBezTo>
                  <a:pt x="909" y="456"/>
                  <a:pt x="909" y="456"/>
                  <a:pt x="909" y="456"/>
                </a:cubicBezTo>
                <a:cubicBezTo>
                  <a:pt x="910" y="456"/>
                  <a:pt x="910" y="456"/>
                  <a:pt x="910" y="456"/>
                </a:cubicBezTo>
                <a:cubicBezTo>
                  <a:pt x="911" y="457"/>
                  <a:pt x="911" y="457"/>
                  <a:pt x="911" y="457"/>
                </a:cubicBezTo>
                <a:cubicBezTo>
                  <a:pt x="914" y="455"/>
                  <a:pt x="914" y="455"/>
                  <a:pt x="914" y="455"/>
                </a:cubicBezTo>
                <a:cubicBezTo>
                  <a:pt x="915" y="457"/>
                  <a:pt x="915" y="457"/>
                  <a:pt x="915" y="457"/>
                </a:cubicBezTo>
                <a:cubicBezTo>
                  <a:pt x="917" y="457"/>
                  <a:pt x="917" y="457"/>
                  <a:pt x="917" y="457"/>
                </a:cubicBezTo>
                <a:cubicBezTo>
                  <a:pt x="919" y="456"/>
                  <a:pt x="919" y="456"/>
                  <a:pt x="919" y="456"/>
                </a:cubicBezTo>
                <a:cubicBezTo>
                  <a:pt x="921" y="457"/>
                  <a:pt x="921" y="457"/>
                  <a:pt x="921" y="457"/>
                </a:cubicBezTo>
                <a:cubicBezTo>
                  <a:pt x="924" y="457"/>
                  <a:pt x="924" y="457"/>
                  <a:pt x="924" y="457"/>
                </a:cubicBezTo>
                <a:cubicBezTo>
                  <a:pt x="925" y="456"/>
                  <a:pt x="925" y="456"/>
                  <a:pt x="925" y="456"/>
                </a:cubicBezTo>
                <a:cubicBezTo>
                  <a:pt x="926" y="456"/>
                  <a:pt x="926" y="456"/>
                  <a:pt x="926" y="456"/>
                </a:cubicBezTo>
                <a:cubicBezTo>
                  <a:pt x="928" y="458"/>
                  <a:pt x="928" y="458"/>
                  <a:pt x="928" y="458"/>
                </a:cubicBezTo>
                <a:cubicBezTo>
                  <a:pt x="930" y="458"/>
                  <a:pt x="930" y="458"/>
                  <a:pt x="930" y="458"/>
                </a:cubicBezTo>
                <a:cubicBezTo>
                  <a:pt x="931" y="458"/>
                  <a:pt x="931" y="458"/>
                  <a:pt x="931" y="458"/>
                </a:cubicBezTo>
                <a:cubicBezTo>
                  <a:pt x="934" y="459"/>
                  <a:pt x="934" y="459"/>
                  <a:pt x="934" y="459"/>
                </a:cubicBezTo>
                <a:cubicBezTo>
                  <a:pt x="936" y="459"/>
                  <a:pt x="936" y="459"/>
                  <a:pt x="936" y="459"/>
                </a:cubicBezTo>
                <a:cubicBezTo>
                  <a:pt x="938" y="458"/>
                  <a:pt x="938" y="458"/>
                  <a:pt x="938" y="458"/>
                </a:cubicBezTo>
                <a:cubicBezTo>
                  <a:pt x="939" y="458"/>
                  <a:pt x="939" y="458"/>
                  <a:pt x="939" y="458"/>
                </a:cubicBezTo>
                <a:cubicBezTo>
                  <a:pt x="939" y="460"/>
                  <a:pt x="939" y="460"/>
                  <a:pt x="939" y="460"/>
                </a:cubicBezTo>
                <a:cubicBezTo>
                  <a:pt x="941" y="460"/>
                  <a:pt x="941" y="460"/>
                  <a:pt x="941" y="460"/>
                </a:cubicBezTo>
                <a:cubicBezTo>
                  <a:pt x="945" y="458"/>
                  <a:pt x="945" y="458"/>
                  <a:pt x="945" y="458"/>
                </a:cubicBezTo>
                <a:cubicBezTo>
                  <a:pt x="946" y="459"/>
                  <a:pt x="946" y="459"/>
                  <a:pt x="946" y="459"/>
                </a:cubicBezTo>
                <a:cubicBezTo>
                  <a:pt x="949" y="458"/>
                  <a:pt x="949" y="458"/>
                  <a:pt x="949" y="458"/>
                </a:cubicBezTo>
                <a:cubicBezTo>
                  <a:pt x="949" y="458"/>
                  <a:pt x="949" y="458"/>
                  <a:pt x="949" y="458"/>
                </a:cubicBezTo>
                <a:cubicBezTo>
                  <a:pt x="953" y="459"/>
                  <a:pt x="953" y="459"/>
                  <a:pt x="953" y="459"/>
                </a:cubicBezTo>
                <a:cubicBezTo>
                  <a:pt x="954" y="459"/>
                  <a:pt x="954" y="459"/>
                  <a:pt x="954" y="459"/>
                </a:cubicBezTo>
                <a:cubicBezTo>
                  <a:pt x="956" y="459"/>
                  <a:pt x="956" y="459"/>
                  <a:pt x="956" y="459"/>
                </a:cubicBezTo>
                <a:cubicBezTo>
                  <a:pt x="956" y="457"/>
                  <a:pt x="956" y="457"/>
                  <a:pt x="956" y="457"/>
                </a:cubicBezTo>
                <a:cubicBezTo>
                  <a:pt x="958" y="457"/>
                  <a:pt x="958" y="457"/>
                  <a:pt x="958" y="457"/>
                </a:cubicBezTo>
                <a:cubicBezTo>
                  <a:pt x="959" y="457"/>
                  <a:pt x="959" y="457"/>
                  <a:pt x="959" y="457"/>
                </a:cubicBezTo>
                <a:cubicBezTo>
                  <a:pt x="960" y="457"/>
                  <a:pt x="960" y="457"/>
                  <a:pt x="960" y="457"/>
                </a:cubicBezTo>
                <a:cubicBezTo>
                  <a:pt x="962" y="455"/>
                  <a:pt x="962" y="455"/>
                  <a:pt x="962" y="455"/>
                </a:cubicBezTo>
                <a:cubicBezTo>
                  <a:pt x="963" y="454"/>
                  <a:pt x="963" y="454"/>
                  <a:pt x="963" y="454"/>
                </a:cubicBezTo>
                <a:cubicBezTo>
                  <a:pt x="964" y="453"/>
                  <a:pt x="964" y="453"/>
                  <a:pt x="964" y="453"/>
                </a:cubicBezTo>
                <a:cubicBezTo>
                  <a:pt x="965" y="453"/>
                  <a:pt x="965" y="453"/>
                  <a:pt x="965" y="453"/>
                </a:cubicBezTo>
                <a:cubicBezTo>
                  <a:pt x="967" y="451"/>
                  <a:pt x="967" y="451"/>
                  <a:pt x="967" y="451"/>
                </a:cubicBezTo>
                <a:cubicBezTo>
                  <a:pt x="967" y="449"/>
                  <a:pt x="967" y="449"/>
                  <a:pt x="967" y="449"/>
                </a:cubicBezTo>
                <a:cubicBezTo>
                  <a:pt x="968" y="449"/>
                  <a:pt x="968" y="449"/>
                  <a:pt x="968" y="449"/>
                </a:cubicBezTo>
                <a:cubicBezTo>
                  <a:pt x="970" y="448"/>
                  <a:pt x="970" y="448"/>
                  <a:pt x="970" y="448"/>
                </a:cubicBezTo>
                <a:cubicBezTo>
                  <a:pt x="970" y="446"/>
                  <a:pt x="970" y="446"/>
                  <a:pt x="970" y="446"/>
                </a:cubicBezTo>
                <a:cubicBezTo>
                  <a:pt x="969" y="446"/>
                  <a:pt x="969" y="446"/>
                  <a:pt x="969" y="446"/>
                </a:cubicBezTo>
                <a:cubicBezTo>
                  <a:pt x="970" y="445"/>
                  <a:pt x="970" y="445"/>
                  <a:pt x="970" y="445"/>
                </a:cubicBezTo>
                <a:cubicBezTo>
                  <a:pt x="972" y="445"/>
                  <a:pt x="972" y="445"/>
                  <a:pt x="972" y="445"/>
                </a:cubicBezTo>
                <a:cubicBezTo>
                  <a:pt x="974" y="445"/>
                  <a:pt x="974" y="445"/>
                  <a:pt x="974" y="445"/>
                </a:cubicBezTo>
                <a:cubicBezTo>
                  <a:pt x="974" y="444"/>
                  <a:pt x="974" y="444"/>
                  <a:pt x="974" y="444"/>
                </a:cubicBezTo>
                <a:cubicBezTo>
                  <a:pt x="974" y="443"/>
                  <a:pt x="974" y="443"/>
                  <a:pt x="974" y="443"/>
                </a:cubicBezTo>
                <a:cubicBezTo>
                  <a:pt x="975" y="445"/>
                  <a:pt x="975" y="445"/>
                  <a:pt x="975" y="445"/>
                </a:cubicBezTo>
                <a:cubicBezTo>
                  <a:pt x="977" y="445"/>
                  <a:pt x="977" y="445"/>
                  <a:pt x="977" y="445"/>
                </a:cubicBezTo>
                <a:cubicBezTo>
                  <a:pt x="979" y="443"/>
                  <a:pt x="979" y="443"/>
                  <a:pt x="979" y="443"/>
                </a:cubicBezTo>
                <a:cubicBezTo>
                  <a:pt x="980" y="444"/>
                  <a:pt x="980" y="444"/>
                  <a:pt x="980" y="444"/>
                </a:cubicBezTo>
                <a:cubicBezTo>
                  <a:pt x="982" y="444"/>
                  <a:pt x="982" y="444"/>
                  <a:pt x="982" y="444"/>
                </a:cubicBezTo>
                <a:cubicBezTo>
                  <a:pt x="983" y="444"/>
                  <a:pt x="983" y="444"/>
                  <a:pt x="983" y="444"/>
                </a:cubicBezTo>
                <a:cubicBezTo>
                  <a:pt x="984" y="445"/>
                  <a:pt x="984" y="445"/>
                  <a:pt x="984" y="445"/>
                </a:cubicBezTo>
                <a:cubicBezTo>
                  <a:pt x="986" y="444"/>
                  <a:pt x="986" y="444"/>
                  <a:pt x="986" y="444"/>
                </a:cubicBezTo>
                <a:cubicBezTo>
                  <a:pt x="986" y="443"/>
                  <a:pt x="986" y="443"/>
                  <a:pt x="986" y="443"/>
                </a:cubicBezTo>
                <a:cubicBezTo>
                  <a:pt x="987" y="443"/>
                  <a:pt x="987" y="443"/>
                  <a:pt x="987" y="443"/>
                </a:cubicBezTo>
                <a:cubicBezTo>
                  <a:pt x="989" y="442"/>
                  <a:pt x="989" y="442"/>
                  <a:pt x="989" y="442"/>
                </a:cubicBezTo>
                <a:cubicBezTo>
                  <a:pt x="990" y="442"/>
                  <a:pt x="990" y="442"/>
                  <a:pt x="990" y="442"/>
                </a:cubicBezTo>
                <a:cubicBezTo>
                  <a:pt x="992" y="440"/>
                  <a:pt x="992" y="440"/>
                  <a:pt x="992" y="440"/>
                </a:cubicBezTo>
                <a:cubicBezTo>
                  <a:pt x="994" y="440"/>
                  <a:pt x="994" y="440"/>
                  <a:pt x="994" y="440"/>
                </a:cubicBezTo>
                <a:cubicBezTo>
                  <a:pt x="997" y="438"/>
                  <a:pt x="997" y="438"/>
                  <a:pt x="997" y="438"/>
                </a:cubicBezTo>
                <a:cubicBezTo>
                  <a:pt x="998" y="436"/>
                  <a:pt x="998" y="436"/>
                  <a:pt x="998" y="436"/>
                </a:cubicBezTo>
                <a:cubicBezTo>
                  <a:pt x="999" y="436"/>
                  <a:pt x="999" y="436"/>
                  <a:pt x="999" y="436"/>
                </a:cubicBezTo>
                <a:cubicBezTo>
                  <a:pt x="999" y="434"/>
                  <a:pt x="999" y="434"/>
                  <a:pt x="999" y="434"/>
                </a:cubicBezTo>
                <a:cubicBezTo>
                  <a:pt x="1000" y="432"/>
                  <a:pt x="1000" y="432"/>
                  <a:pt x="1000" y="432"/>
                </a:cubicBezTo>
                <a:cubicBezTo>
                  <a:pt x="999" y="432"/>
                  <a:pt x="999" y="432"/>
                  <a:pt x="999" y="432"/>
                </a:cubicBezTo>
                <a:cubicBezTo>
                  <a:pt x="997" y="432"/>
                  <a:pt x="997" y="432"/>
                  <a:pt x="997" y="432"/>
                </a:cubicBezTo>
                <a:cubicBezTo>
                  <a:pt x="996" y="431"/>
                  <a:pt x="996" y="431"/>
                  <a:pt x="996" y="431"/>
                </a:cubicBezTo>
                <a:cubicBezTo>
                  <a:pt x="997" y="431"/>
                  <a:pt x="997" y="431"/>
                  <a:pt x="997" y="431"/>
                </a:cubicBezTo>
                <a:cubicBezTo>
                  <a:pt x="999" y="431"/>
                  <a:pt x="999" y="431"/>
                  <a:pt x="999" y="431"/>
                </a:cubicBezTo>
                <a:cubicBezTo>
                  <a:pt x="1000" y="431"/>
                  <a:pt x="1000" y="431"/>
                  <a:pt x="1000" y="431"/>
                </a:cubicBezTo>
                <a:cubicBezTo>
                  <a:pt x="999" y="429"/>
                  <a:pt x="999" y="429"/>
                  <a:pt x="999" y="429"/>
                </a:cubicBezTo>
                <a:cubicBezTo>
                  <a:pt x="997" y="429"/>
                  <a:pt x="997" y="429"/>
                  <a:pt x="997" y="429"/>
                </a:cubicBezTo>
                <a:cubicBezTo>
                  <a:pt x="994" y="428"/>
                  <a:pt x="994" y="428"/>
                  <a:pt x="994" y="428"/>
                </a:cubicBezTo>
                <a:cubicBezTo>
                  <a:pt x="993" y="426"/>
                  <a:pt x="993" y="426"/>
                  <a:pt x="993" y="426"/>
                </a:cubicBezTo>
                <a:cubicBezTo>
                  <a:pt x="996" y="428"/>
                  <a:pt x="996" y="428"/>
                  <a:pt x="996" y="428"/>
                </a:cubicBezTo>
                <a:cubicBezTo>
                  <a:pt x="997" y="427"/>
                  <a:pt x="997" y="427"/>
                  <a:pt x="997" y="427"/>
                </a:cubicBezTo>
                <a:cubicBezTo>
                  <a:pt x="998" y="425"/>
                  <a:pt x="998" y="425"/>
                  <a:pt x="998" y="425"/>
                </a:cubicBezTo>
                <a:cubicBezTo>
                  <a:pt x="999" y="425"/>
                  <a:pt x="999" y="425"/>
                  <a:pt x="999" y="425"/>
                </a:cubicBezTo>
                <a:cubicBezTo>
                  <a:pt x="1000" y="423"/>
                  <a:pt x="1000" y="423"/>
                  <a:pt x="1000" y="423"/>
                </a:cubicBezTo>
                <a:cubicBezTo>
                  <a:pt x="997" y="422"/>
                  <a:pt x="997" y="422"/>
                  <a:pt x="997" y="422"/>
                </a:cubicBezTo>
                <a:cubicBezTo>
                  <a:pt x="999" y="421"/>
                  <a:pt x="999" y="421"/>
                  <a:pt x="999" y="421"/>
                </a:cubicBezTo>
                <a:cubicBezTo>
                  <a:pt x="1000" y="421"/>
                  <a:pt x="1000" y="421"/>
                  <a:pt x="1000" y="421"/>
                </a:cubicBezTo>
                <a:cubicBezTo>
                  <a:pt x="1002" y="420"/>
                  <a:pt x="1002" y="420"/>
                  <a:pt x="1002" y="420"/>
                </a:cubicBezTo>
                <a:cubicBezTo>
                  <a:pt x="1002" y="418"/>
                  <a:pt x="1002" y="418"/>
                  <a:pt x="1002" y="418"/>
                </a:cubicBezTo>
                <a:cubicBezTo>
                  <a:pt x="999" y="417"/>
                  <a:pt x="999" y="417"/>
                  <a:pt x="999" y="417"/>
                </a:cubicBezTo>
                <a:cubicBezTo>
                  <a:pt x="998" y="415"/>
                  <a:pt x="998" y="415"/>
                  <a:pt x="998" y="415"/>
                </a:cubicBezTo>
                <a:cubicBezTo>
                  <a:pt x="999" y="415"/>
                  <a:pt x="999" y="415"/>
                  <a:pt x="999" y="415"/>
                </a:cubicBezTo>
                <a:cubicBezTo>
                  <a:pt x="1001" y="416"/>
                  <a:pt x="1001" y="416"/>
                  <a:pt x="1001" y="416"/>
                </a:cubicBezTo>
                <a:cubicBezTo>
                  <a:pt x="1001" y="415"/>
                  <a:pt x="1001" y="415"/>
                  <a:pt x="1001" y="415"/>
                </a:cubicBezTo>
                <a:cubicBezTo>
                  <a:pt x="998" y="414"/>
                  <a:pt x="998" y="414"/>
                  <a:pt x="998" y="414"/>
                </a:cubicBezTo>
                <a:cubicBezTo>
                  <a:pt x="995" y="414"/>
                  <a:pt x="995" y="414"/>
                  <a:pt x="995" y="414"/>
                </a:cubicBezTo>
                <a:cubicBezTo>
                  <a:pt x="996" y="412"/>
                  <a:pt x="996" y="412"/>
                  <a:pt x="996" y="412"/>
                </a:cubicBezTo>
                <a:cubicBezTo>
                  <a:pt x="996" y="412"/>
                  <a:pt x="996" y="412"/>
                  <a:pt x="996" y="412"/>
                </a:cubicBezTo>
                <a:cubicBezTo>
                  <a:pt x="996" y="411"/>
                  <a:pt x="996" y="411"/>
                  <a:pt x="996" y="411"/>
                </a:cubicBezTo>
                <a:cubicBezTo>
                  <a:pt x="994" y="411"/>
                  <a:pt x="994" y="411"/>
                  <a:pt x="994" y="411"/>
                </a:cubicBezTo>
                <a:cubicBezTo>
                  <a:pt x="991" y="413"/>
                  <a:pt x="991" y="413"/>
                  <a:pt x="991" y="413"/>
                </a:cubicBezTo>
                <a:cubicBezTo>
                  <a:pt x="990" y="414"/>
                  <a:pt x="990" y="414"/>
                  <a:pt x="990" y="414"/>
                </a:cubicBezTo>
                <a:cubicBezTo>
                  <a:pt x="989" y="415"/>
                  <a:pt x="989" y="415"/>
                  <a:pt x="989" y="415"/>
                </a:cubicBezTo>
                <a:cubicBezTo>
                  <a:pt x="988" y="414"/>
                  <a:pt x="988" y="414"/>
                  <a:pt x="988" y="414"/>
                </a:cubicBezTo>
                <a:cubicBezTo>
                  <a:pt x="986" y="414"/>
                  <a:pt x="986" y="414"/>
                  <a:pt x="986" y="414"/>
                </a:cubicBezTo>
                <a:cubicBezTo>
                  <a:pt x="987" y="412"/>
                  <a:pt x="987" y="412"/>
                  <a:pt x="987" y="412"/>
                </a:cubicBezTo>
                <a:cubicBezTo>
                  <a:pt x="988" y="412"/>
                  <a:pt x="988" y="412"/>
                  <a:pt x="988" y="412"/>
                </a:cubicBezTo>
                <a:cubicBezTo>
                  <a:pt x="991" y="410"/>
                  <a:pt x="991" y="410"/>
                  <a:pt x="991" y="410"/>
                </a:cubicBezTo>
                <a:cubicBezTo>
                  <a:pt x="991" y="408"/>
                  <a:pt x="991" y="408"/>
                  <a:pt x="991" y="408"/>
                </a:cubicBezTo>
                <a:cubicBezTo>
                  <a:pt x="989" y="405"/>
                  <a:pt x="989" y="405"/>
                  <a:pt x="989" y="405"/>
                </a:cubicBezTo>
                <a:cubicBezTo>
                  <a:pt x="986" y="404"/>
                  <a:pt x="986" y="404"/>
                  <a:pt x="986" y="404"/>
                </a:cubicBezTo>
                <a:cubicBezTo>
                  <a:pt x="982" y="405"/>
                  <a:pt x="982" y="405"/>
                  <a:pt x="982" y="405"/>
                </a:cubicBezTo>
                <a:cubicBezTo>
                  <a:pt x="980" y="405"/>
                  <a:pt x="980" y="405"/>
                  <a:pt x="980" y="405"/>
                </a:cubicBezTo>
                <a:cubicBezTo>
                  <a:pt x="981" y="406"/>
                  <a:pt x="981" y="406"/>
                  <a:pt x="981" y="406"/>
                </a:cubicBezTo>
                <a:cubicBezTo>
                  <a:pt x="983" y="406"/>
                  <a:pt x="983" y="406"/>
                  <a:pt x="983" y="406"/>
                </a:cubicBezTo>
                <a:cubicBezTo>
                  <a:pt x="984" y="406"/>
                  <a:pt x="984" y="406"/>
                  <a:pt x="984" y="406"/>
                </a:cubicBezTo>
                <a:cubicBezTo>
                  <a:pt x="982" y="406"/>
                  <a:pt x="982" y="406"/>
                  <a:pt x="982" y="406"/>
                </a:cubicBezTo>
                <a:cubicBezTo>
                  <a:pt x="979" y="406"/>
                  <a:pt x="979" y="406"/>
                  <a:pt x="979" y="406"/>
                </a:cubicBezTo>
                <a:cubicBezTo>
                  <a:pt x="976" y="408"/>
                  <a:pt x="976" y="408"/>
                  <a:pt x="976" y="408"/>
                </a:cubicBezTo>
                <a:cubicBezTo>
                  <a:pt x="974" y="408"/>
                  <a:pt x="974" y="408"/>
                  <a:pt x="974" y="408"/>
                </a:cubicBezTo>
                <a:cubicBezTo>
                  <a:pt x="972" y="410"/>
                  <a:pt x="972" y="410"/>
                  <a:pt x="972" y="410"/>
                </a:cubicBezTo>
                <a:cubicBezTo>
                  <a:pt x="971" y="412"/>
                  <a:pt x="971" y="412"/>
                  <a:pt x="971" y="412"/>
                </a:cubicBezTo>
                <a:cubicBezTo>
                  <a:pt x="970" y="412"/>
                  <a:pt x="970" y="412"/>
                  <a:pt x="970" y="412"/>
                </a:cubicBezTo>
                <a:cubicBezTo>
                  <a:pt x="968" y="414"/>
                  <a:pt x="968" y="414"/>
                  <a:pt x="968" y="414"/>
                </a:cubicBezTo>
                <a:cubicBezTo>
                  <a:pt x="965" y="414"/>
                  <a:pt x="965" y="414"/>
                  <a:pt x="965" y="414"/>
                </a:cubicBezTo>
                <a:cubicBezTo>
                  <a:pt x="963" y="417"/>
                  <a:pt x="963" y="417"/>
                  <a:pt x="963" y="417"/>
                </a:cubicBezTo>
                <a:cubicBezTo>
                  <a:pt x="962" y="417"/>
                  <a:pt x="962" y="417"/>
                  <a:pt x="962" y="417"/>
                </a:cubicBezTo>
                <a:cubicBezTo>
                  <a:pt x="961" y="418"/>
                  <a:pt x="961" y="418"/>
                  <a:pt x="961" y="418"/>
                </a:cubicBezTo>
                <a:cubicBezTo>
                  <a:pt x="960" y="418"/>
                  <a:pt x="960" y="418"/>
                  <a:pt x="960" y="418"/>
                </a:cubicBezTo>
                <a:cubicBezTo>
                  <a:pt x="959" y="416"/>
                  <a:pt x="959" y="416"/>
                  <a:pt x="959" y="416"/>
                </a:cubicBezTo>
                <a:cubicBezTo>
                  <a:pt x="960" y="415"/>
                  <a:pt x="960" y="415"/>
                  <a:pt x="960" y="415"/>
                </a:cubicBezTo>
                <a:cubicBezTo>
                  <a:pt x="961" y="415"/>
                  <a:pt x="961" y="415"/>
                  <a:pt x="961" y="415"/>
                </a:cubicBezTo>
                <a:cubicBezTo>
                  <a:pt x="962" y="414"/>
                  <a:pt x="962" y="414"/>
                  <a:pt x="962" y="414"/>
                </a:cubicBezTo>
                <a:cubicBezTo>
                  <a:pt x="958" y="411"/>
                  <a:pt x="958" y="411"/>
                  <a:pt x="958" y="411"/>
                </a:cubicBezTo>
                <a:cubicBezTo>
                  <a:pt x="958" y="410"/>
                  <a:pt x="958" y="410"/>
                  <a:pt x="958" y="410"/>
                </a:cubicBezTo>
                <a:cubicBezTo>
                  <a:pt x="956" y="409"/>
                  <a:pt x="956" y="409"/>
                  <a:pt x="956" y="409"/>
                </a:cubicBezTo>
                <a:cubicBezTo>
                  <a:pt x="957" y="408"/>
                  <a:pt x="957" y="408"/>
                  <a:pt x="957" y="408"/>
                </a:cubicBezTo>
                <a:cubicBezTo>
                  <a:pt x="957" y="407"/>
                  <a:pt x="957" y="407"/>
                  <a:pt x="957" y="407"/>
                </a:cubicBezTo>
                <a:cubicBezTo>
                  <a:pt x="959" y="410"/>
                  <a:pt x="959" y="410"/>
                  <a:pt x="959" y="410"/>
                </a:cubicBezTo>
                <a:cubicBezTo>
                  <a:pt x="962" y="413"/>
                  <a:pt x="962" y="413"/>
                  <a:pt x="962" y="413"/>
                </a:cubicBezTo>
                <a:cubicBezTo>
                  <a:pt x="963" y="412"/>
                  <a:pt x="963" y="412"/>
                  <a:pt x="963" y="412"/>
                </a:cubicBezTo>
                <a:cubicBezTo>
                  <a:pt x="963" y="410"/>
                  <a:pt x="963" y="410"/>
                  <a:pt x="963" y="410"/>
                </a:cubicBezTo>
                <a:cubicBezTo>
                  <a:pt x="966" y="410"/>
                  <a:pt x="966" y="410"/>
                  <a:pt x="966" y="410"/>
                </a:cubicBezTo>
                <a:cubicBezTo>
                  <a:pt x="967" y="409"/>
                  <a:pt x="967" y="409"/>
                  <a:pt x="967" y="409"/>
                </a:cubicBezTo>
                <a:cubicBezTo>
                  <a:pt x="970" y="407"/>
                  <a:pt x="970" y="407"/>
                  <a:pt x="970" y="407"/>
                </a:cubicBezTo>
                <a:cubicBezTo>
                  <a:pt x="974" y="406"/>
                  <a:pt x="974" y="406"/>
                  <a:pt x="974" y="406"/>
                </a:cubicBezTo>
                <a:cubicBezTo>
                  <a:pt x="978" y="405"/>
                  <a:pt x="978" y="405"/>
                  <a:pt x="978" y="405"/>
                </a:cubicBezTo>
                <a:cubicBezTo>
                  <a:pt x="978" y="405"/>
                  <a:pt x="978" y="405"/>
                  <a:pt x="978" y="405"/>
                </a:cubicBezTo>
                <a:cubicBezTo>
                  <a:pt x="976" y="404"/>
                  <a:pt x="976" y="404"/>
                  <a:pt x="976" y="404"/>
                </a:cubicBezTo>
                <a:cubicBezTo>
                  <a:pt x="972" y="405"/>
                  <a:pt x="972" y="405"/>
                  <a:pt x="972" y="405"/>
                </a:cubicBezTo>
                <a:cubicBezTo>
                  <a:pt x="969" y="406"/>
                  <a:pt x="969" y="406"/>
                  <a:pt x="969" y="406"/>
                </a:cubicBezTo>
                <a:cubicBezTo>
                  <a:pt x="969" y="405"/>
                  <a:pt x="969" y="405"/>
                  <a:pt x="969" y="405"/>
                </a:cubicBezTo>
                <a:cubicBezTo>
                  <a:pt x="974" y="404"/>
                  <a:pt x="974" y="404"/>
                  <a:pt x="974" y="404"/>
                </a:cubicBezTo>
                <a:cubicBezTo>
                  <a:pt x="978" y="404"/>
                  <a:pt x="978" y="404"/>
                  <a:pt x="978" y="404"/>
                </a:cubicBezTo>
                <a:cubicBezTo>
                  <a:pt x="980" y="402"/>
                  <a:pt x="980" y="402"/>
                  <a:pt x="980" y="402"/>
                </a:cubicBezTo>
                <a:cubicBezTo>
                  <a:pt x="983" y="401"/>
                  <a:pt x="983" y="401"/>
                  <a:pt x="983" y="401"/>
                </a:cubicBezTo>
                <a:cubicBezTo>
                  <a:pt x="984" y="401"/>
                  <a:pt x="984" y="401"/>
                  <a:pt x="984" y="401"/>
                </a:cubicBezTo>
                <a:cubicBezTo>
                  <a:pt x="988" y="401"/>
                  <a:pt x="988" y="401"/>
                  <a:pt x="988" y="401"/>
                </a:cubicBezTo>
                <a:cubicBezTo>
                  <a:pt x="988" y="400"/>
                  <a:pt x="988" y="400"/>
                  <a:pt x="988" y="400"/>
                </a:cubicBezTo>
                <a:cubicBezTo>
                  <a:pt x="991" y="400"/>
                  <a:pt x="991" y="400"/>
                  <a:pt x="991" y="400"/>
                </a:cubicBezTo>
                <a:cubicBezTo>
                  <a:pt x="989" y="398"/>
                  <a:pt x="989" y="398"/>
                  <a:pt x="989" y="398"/>
                </a:cubicBezTo>
                <a:cubicBezTo>
                  <a:pt x="984" y="397"/>
                  <a:pt x="984" y="397"/>
                  <a:pt x="984" y="397"/>
                </a:cubicBezTo>
                <a:cubicBezTo>
                  <a:pt x="985" y="396"/>
                  <a:pt x="985" y="396"/>
                  <a:pt x="985" y="396"/>
                </a:cubicBezTo>
                <a:cubicBezTo>
                  <a:pt x="986" y="396"/>
                  <a:pt x="986" y="396"/>
                  <a:pt x="986" y="396"/>
                </a:cubicBezTo>
                <a:cubicBezTo>
                  <a:pt x="987" y="394"/>
                  <a:pt x="987" y="394"/>
                  <a:pt x="987" y="394"/>
                </a:cubicBezTo>
                <a:cubicBezTo>
                  <a:pt x="986" y="393"/>
                  <a:pt x="986" y="393"/>
                  <a:pt x="986" y="393"/>
                </a:cubicBezTo>
                <a:cubicBezTo>
                  <a:pt x="983" y="394"/>
                  <a:pt x="983" y="394"/>
                  <a:pt x="983" y="394"/>
                </a:cubicBezTo>
                <a:cubicBezTo>
                  <a:pt x="981" y="396"/>
                  <a:pt x="981" y="396"/>
                  <a:pt x="981" y="396"/>
                </a:cubicBezTo>
                <a:cubicBezTo>
                  <a:pt x="979" y="394"/>
                  <a:pt x="979" y="394"/>
                  <a:pt x="979" y="394"/>
                </a:cubicBezTo>
                <a:cubicBezTo>
                  <a:pt x="977" y="395"/>
                  <a:pt x="977" y="395"/>
                  <a:pt x="977" y="395"/>
                </a:cubicBezTo>
                <a:cubicBezTo>
                  <a:pt x="976" y="394"/>
                  <a:pt x="976" y="394"/>
                  <a:pt x="976" y="394"/>
                </a:cubicBezTo>
                <a:cubicBezTo>
                  <a:pt x="978" y="393"/>
                  <a:pt x="978" y="393"/>
                  <a:pt x="978" y="393"/>
                </a:cubicBezTo>
                <a:cubicBezTo>
                  <a:pt x="978" y="390"/>
                  <a:pt x="978" y="390"/>
                  <a:pt x="978" y="390"/>
                </a:cubicBezTo>
                <a:cubicBezTo>
                  <a:pt x="978" y="389"/>
                  <a:pt x="978" y="389"/>
                  <a:pt x="978" y="389"/>
                </a:cubicBezTo>
                <a:cubicBezTo>
                  <a:pt x="975" y="391"/>
                  <a:pt x="975" y="391"/>
                  <a:pt x="975" y="391"/>
                </a:cubicBezTo>
                <a:cubicBezTo>
                  <a:pt x="975" y="390"/>
                  <a:pt x="975" y="390"/>
                  <a:pt x="975" y="390"/>
                </a:cubicBezTo>
                <a:cubicBezTo>
                  <a:pt x="976" y="389"/>
                  <a:pt x="976" y="389"/>
                  <a:pt x="976" y="389"/>
                </a:cubicBezTo>
                <a:cubicBezTo>
                  <a:pt x="976" y="389"/>
                  <a:pt x="976" y="389"/>
                  <a:pt x="976" y="389"/>
                </a:cubicBezTo>
                <a:cubicBezTo>
                  <a:pt x="972" y="392"/>
                  <a:pt x="972" y="392"/>
                  <a:pt x="972" y="392"/>
                </a:cubicBezTo>
                <a:cubicBezTo>
                  <a:pt x="970" y="393"/>
                  <a:pt x="970" y="393"/>
                  <a:pt x="970" y="393"/>
                </a:cubicBezTo>
                <a:cubicBezTo>
                  <a:pt x="969" y="393"/>
                  <a:pt x="969" y="393"/>
                  <a:pt x="969" y="393"/>
                </a:cubicBezTo>
                <a:cubicBezTo>
                  <a:pt x="971" y="391"/>
                  <a:pt x="971" y="391"/>
                  <a:pt x="971" y="391"/>
                </a:cubicBezTo>
                <a:cubicBezTo>
                  <a:pt x="974" y="389"/>
                  <a:pt x="974" y="389"/>
                  <a:pt x="974" y="389"/>
                </a:cubicBezTo>
                <a:cubicBezTo>
                  <a:pt x="973" y="388"/>
                  <a:pt x="973" y="388"/>
                  <a:pt x="973" y="388"/>
                </a:cubicBezTo>
                <a:cubicBezTo>
                  <a:pt x="970" y="390"/>
                  <a:pt x="970" y="390"/>
                  <a:pt x="970" y="390"/>
                </a:cubicBezTo>
                <a:cubicBezTo>
                  <a:pt x="969" y="389"/>
                  <a:pt x="969" y="389"/>
                  <a:pt x="969" y="389"/>
                </a:cubicBezTo>
                <a:cubicBezTo>
                  <a:pt x="970" y="388"/>
                  <a:pt x="970" y="388"/>
                  <a:pt x="970" y="388"/>
                </a:cubicBezTo>
                <a:cubicBezTo>
                  <a:pt x="972" y="387"/>
                  <a:pt x="972" y="387"/>
                  <a:pt x="972" y="387"/>
                </a:cubicBezTo>
                <a:cubicBezTo>
                  <a:pt x="972" y="387"/>
                  <a:pt x="972" y="387"/>
                  <a:pt x="972" y="387"/>
                </a:cubicBezTo>
                <a:cubicBezTo>
                  <a:pt x="970" y="387"/>
                  <a:pt x="970" y="387"/>
                  <a:pt x="970" y="387"/>
                </a:cubicBezTo>
                <a:cubicBezTo>
                  <a:pt x="968" y="389"/>
                  <a:pt x="968" y="389"/>
                  <a:pt x="968" y="389"/>
                </a:cubicBezTo>
                <a:cubicBezTo>
                  <a:pt x="966" y="391"/>
                  <a:pt x="966" y="391"/>
                  <a:pt x="966" y="391"/>
                </a:cubicBezTo>
                <a:cubicBezTo>
                  <a:pt x="965" y="391"/>
                  <a:pt x="965" y="391"/>
                  <a:pt x="965" y="391"/>
                </a:cubicBezTo>
                <a:cubicBezTo>
                  <a:pt x="966" y="389"/>
                  <a:pt x="966" y="389"/>
                  <a:pt x="966" y="389"/>
                </a:cubicBezTo>
                <a:cubicBezTo>
                  <a:pt x="967" y="388"/>
                  <a:pt x="967" y="388"/>
                  <a:pt x="967" y="388"/>
                </a:cubicBezTo>
                <a:cubicBezTo>
                  <a:pt x="967" y="387"/>
                  <a:pt x="967" y="387"/>
                  <a:pt x="967" y="387"/>
                </a:cubicBezTo>
                <a:cubicBezTo>
                  <a:pt x="966" y="387"/>
                  <a:pt x="966" y="387"/>
                  <a:pt x="966" y="387"/>
                </a:cubicBezTo>
                <a:cubicBezTo>
                  <a:pt x="962" y="390"/>
                  <a:pt x="962" y="390"/>
                  <a:pt x="962" y="390"/>
                </a:cubicBezTo>
                <a:cubicBezTo>
                  <a:pt x="960" y="391"/>
                  <a:pt x="960" y="391"/>
                  <a:pt x="960" y="391"/>
                </a:cubicBezTo>
                <a:cubicBezTo>
                  <a:pt x="958" y="390"/>
                  <a:pt x="958" y="390"/>
                  <a:pt x="958" y="390"/>
                </a:cubicBezTo>
                <a:cubicBezTo>
                  <a:pt x="961" y="390"/>
                  <a:pt x="961" y="390"/>
                  <a:pt x="961" y="390"/>
                </a:cubicBezTo>
                <a:cubicBezTo>
                  <a:pt x="962" y="389"/>
                  <a:pt x="962" y="389"/>
                  <a:pt x="962" y="389"/>
                </a:cubicBezTo>
                <a:cubicBezTo>
                  <a:pt x="965" y="385"/>
                  <a:pt x="965" y="385"/>
                  <a:pt x="965" y="385"/>
                </a:cubicBezTo>
                <a:cubicBezTo>
                  <a:pt x="968" y="383"/>
                  <a:pt x="968" y="383"/>
                  <a:pt x="968" y="383"/>
                </a:cubicBezTo>
                <a:cubicBezTo>
                  <a:pt x="967" y="382"/>
                  <a:pt x="967" y="382"/>
                  <a:pt x="967" y="382"/>
                </a:cubicBezTo>
                <a:cubicBezTo>
                  <a:pt x="967" y="380"/>
                  <a:pt x="967" y="380"/>
                  <a:pt x="967" y="380"/>
                </a:cubicBezTo>
                <a:cubicBezTo>
                  <a:pt x="966" y="380"/>
                  <a:pt x="966" y="380"/>
                  <a:pt x="966" y="380"/>
                </a:cubicBezTo>
                <a:cubicBezTo>
                  <a:pt x="964" y="383"/>
                  <a:pt x="964" y="383"/>
                  <a:pt x="964" y="383"/>
                </a:cubicBezTo>
                <a:cubicBezTo>
                  <a:pt x="964" y="383"/>
                  <a:pt x="964" y="383"/>
                  <a:pt x="964" y="383"/>
                </a:cubicBezTo>
                <a:cubicBezTo>
                  <a:pt x="964" y="382"/>
                  <a:pt x="964" y="382"/>
                  <a:pt x="964" y="382"/>
                </a:cubicBezTo>
                <a:cubicBezTo>
                  <a:pt x="964" y="381"/>
                  <a:pt x="964" y="381"/>
                  <a:pt x="964" y="381"/>
                </a:cubicBezTo>
                <a:cubicBezTo>
                  <a:pt x="964" y="378"/>
                  <a:pt x="964" y="378"/>
                  <a:pt x="964" y="378"/>
                </a:cubicBezTo>
                <a:cubicBezTo>
                  <a:pt x="963" y="378"/>
                  <a:pt x="963" y="378"/>
                  <a:pt x="963" y="378"/>
                </a:cubicBezTo>
                <a:cubicBezTo>
                  <a:pt x="962" y="378"/>
                  <a:pt x="962" y="378"/>
                  <a:pt x="962" y="378"/>
                </a:cubicBezTo>
                <a:cubicBezTo>
                  <a:pt x="961" y="379"/>
                  <a:pt x="961" y="379"/>
                  <a:pt x="961" y="379"/>
                </a:cubicBezTo>
                <a:cubicBezTo>
                  <a:pt x="960" y="378"/>
                  <a:pt x="960" y="378"/>
                  <a:pt x="960" y="378"/>
                </a:cubicBezTo>
                <a:cubicBezTo>
                  <a:pt x="960" y="377"/>
                  <a:pt x="960" y="377"/>
                  <a:pt x="960" y="377"/>
                </a:cubicBezTo>
                <a:cubicBezTo>
                  <a:pt x="960" y="376"/>
                  <a:pt x="960" y="376"/>
                  <a:pt x="960" y="376"/>
                </a:cubicBezTo>
                <a:cubicBezTo>
                  <a:pt x="959" y="376"/>
                  <a:pt x="959" y="376"/>
                  <a:pt x="959" y="376"/>
                </a:cubicBezTo>
                <a:cubicBezTo>
                  <a:pt x="960" y="375"/>
                  <a:pt x="960" y="375"/>
                  <a:pt x="960" y="375"/>
                </a:cubicBezTo>
                <a:cubicBezTo>
                  <a:pt x="959" y="374"/>
                  <a:pt x="959" y="374"/>
                  <a:pt x="959" y="374"/>
                </a:cubicBezTo>
                <a:cubicBezTo>
                  <a:pt x="959" y="373"/>
                  <a:pt x="959" y="373"/>
                  <a:pt x="959" y="373"/>
                </a:cubicBezTo>
                <a:cubicBezTo>
                  <a:pt x="958" y="372"/>
                  <a:pt x="958" y="372"/>
                  <a:pt x="958" y="372"/>
                </a:cubicBezTo>
                <a:cubicBezTo>
                  <a:pt x="955" y="373"/>
                  <a:pt x="955" y="373"/>
                  <a:pt x="955" y="373"/>
                </a:cubicBezTo>
                <a:cubicBezTo>
                  <a:pt x="955" y="374"/>
                  <a:pt x="955" y="374"/>
                  <a:pt x="955" y="374"/>
                </a:cubicBezTo>
                <a:cubicBezTo>
                  <a:pt x="953" y="374"/>
                  <a:pt x="953" y="374"/>
                  <a:pt x="953" y="374"/>
                </a:cubicBezTo>
                <a:cubicBezTo>
                  <a:pt x="950" y="373"/>
                  <a:pt x="950" y="373"/>
                  <a:pt x="950" y="373"/>
                </a:cubicBezTo>
                <a:cubicBezTo>
                  <a:pt x="953" y="373"/>
                  <a:pt x="953" y="373"/>
                  <a:pt x="953" y="373"/>
                </a:cubicBezTo>
                <a:cubicBezTo>
                  <a:pt x="953" y="372"/>
                  <a:pt x="953" y="372"/>
                  <a:pt x="953" y="372"/>
                </a:cubicBezTo>
                <a:cubicBezTo>
                  <a:pt x="956" y="372"/>
                  <a:pt x="956" y="372"/>
                  <a:pt x="956" y="372"/>
                </a:cubicBezTo>
                <a:cubicBezTo>
                  <a:pt x="956" y="371"/>
                  <a:pt x="956" y="371"/>
                  <a:pt x="956" y="371"/>
                </a:cubicBezTo>
                <a:cubicBezTo>
                  <a:pt x="955" y="370"/>
                  <a:pt x="955" y="370"/>
                  <a:pt x="955" y="370"/>
                </a:cubicBezTo>
                <a:cubicBezTo>
                  <a:pt x="953" y="368"/>
                  <a:pt x="953" y="368"/>
                  <a:pt x="953" y="368"/>
                </a:cubicBezTo>
                <a:cubicBezTo>
                  <a:pt x="953" y="366"/>
                  <a:pt x="953" y="366"/>
                  <a:pt x="953" y="366"/>
                </a:cubicBezTo>
                <a:cubicBezTo>
                  <a:pt x="950" y="364"/>
                  <a:pt x="950" y="364"/>
                  <a:pt x="950" y="364"/>
                </a:cubicBezTo>
                <a:cubicBezTo>
                  <a:pt x="953" y="364"/>
                  <a:pt x="953" y="364"/>
                  <a:pt x="953" y="364"/>
                </a:cubicBezTo>
                <a:cubicBezTo>
                  <a:pt x="956" y="366"/>
                  <a:pt x="956" y="366"/>
                  <a:pt x="956" y="366"/>
                </a:cubicBezTo>
                <a:cubicBezTo>
                  <a:pt x="958" y="366"/>
                  <a:pt x="958" y="366"/>
                  <a:pt x="958" y="366"/>
                </a:cubicBezTo>
                <a:cubicBezTo>
                  <a:pt x="958" y="364"/>
                  <a:pt x="958" y="364"/>
                  <a:pt x="958" y="364"/>
                </a:cubicBezTo>
                <a:cubicBezTo>
                  <a:pt x="956" y="364"/>
                  <a:pt x="956" y="364"/>
                  <a:pt x="956" y="364"/>
                </a:cubicBezTo>
                <a:cubicBezTo>
                  <a:pt x="957" y="363"/>
                  <a:pt x="957" y="363"/>
                  <a:pt x="957" y="363"/>
                </a:cubicBezTo>
                <a:cubicBezTo>
                  <a:pt x="958" y="363"/>
                  <a:pt x="958" y="363"/>
                  <a:pt x="958" y="363"/>
                </a:cubicBezTo>
                <a:cubicBezTo>
                  <a:pt x="961" y="361"/>
                  <a:pt x="961" y="361"/>
                  <a:pt x="961" y="361"/>
                </a:cubicBezTo>
                <a:cubicBezTo>
                  <a:pt x="962" y="360"/>
                  <a:pt x="962" y="360"/>
                  <a:pt x="962" y="360"/>
                </a:cubicBezTo>
                <a:cubicBezTo>
                  <a:pt x="963" y="359"/>
                  <a:pt x="963" y="359"/>
                  <a:pt x="963" y="359"/>
                </a:cubicBezTo>
                <a:cubicBezTo>
                  <a:pt x="961" y="357"/>
                  <a:pt x="961" y="357"/>
                  <a:pt x="961" y="357"/>
                </a:cubicBezTo>
                <a:cubicBezTo>
                  <a:pt x="959" y="357"/>
                  <a:pt x="959" y="357"/>
                  <a:pt x="959" y="357"/>
                </a:cubicBezTo>
                <a:cubicBezTo>
                  <a:pt x="957" y="357"/>
                  <a:pt x="957" y="357"/>
                  <a:pt x="957" y="357"/>
                </a:cubicBezTo>
                <a:cubicBezTo>
                  <a:pt x="959" y="356"/>
                  <a:pt x="959" y="356"/>
                  <a:pt x="959" y="356"/>
                </a:cubicBezTo>
                <a:cubicBezTo>
                  <a:pt x="959" y="354"/>
                  <a:pt x="959" y="354"/>
                  <a:pt x="959" y="354"/>
                </a:cubicBezTo>
                <a:cubicBezTo>
                  <a:pt x="958" y="353"/>
                  <a:pt x="958" y="353"/>
                  <a:pt x="958" y="353"/>
                </a:cubicBezTo>
                <a:cubicBezTo>
                  <a:pt x="956" y="353"/>
                  <a:pt x="956" y="353"/>
                  <a:pt x="956" y="353"/>
                </a:cubicBezTo>
                <a:cubicBezTo>
                  <a:pt x="955" y="353"/>
                  <a:pt x="955" y="353"/>
                  <a:pt x="955" y="353"/>
                </a:cubicBezTo>
                <a:cubicBezTo>
                  <a:pt x="954" y="353"/>
                  <a:pt x="954" y="353"/>
                  <a:pt x="954" y="353"/>
                </a:cubicBezTo>
                <a:cubicBezTo>
                  <a:pt x="953" y="352"/>
                  <a:pt x="953" y="352"/>
                  <a:pt x="953" y="352"/>
                </a:cubicBezTo>
                <a:cubicBezTo>
                  <a:pt x="955" y="352"/>
                  <a:pt x="955" y="352"/>
                  <a:pt x="955" y="352"/>
                </a:cubicBezTo>
                <a:cubicBezTo>
                  <a:pt x="956" y="351"/>
                  <a:pt x="956" y="351"/>
                  <a:pt x="956" y="351"/>
                </a:cubicBezTo>
                <a:cubicBezTo>
                  <a:pt x="957" y="351"/>
                  <a:pt x="957" y="351"/>
                  <a:pt x="957" y="351"/>
                </a:cubicBezTo>
                <a:cubicBezTo>
                  <a:pt x="959" y="349"/>
                  <a:pt x="959" y="349"/>
                  <a:pt x="959" y="349"/>
                </a:cubicBezTo>
                <a:cubicBezTo>
                  <a:pt x="958" y="346"/>
                  <a:pt x="958" y="346"/>
                  <a:pt x="958" y="346"/>
                </a:cubicBezTo>
                <a:cubicBezTo>
                  <a:pt x="956" y="344"/>
                  <a:pt x="956" y="344"/>
                  <a:pt x="956" y="344"/>
                </a:cubicBezTo>
                <a:cubicBezTo>
                  <a:pt x="955" y="346"/>
                  <a:pt x="955" y="346"/>
                  <a:pt x="955" y="346"/>
                </a:cubicBezTo>
                <a:cubicBezTo>
                  <a:pt x="953" y="345"/>
                  <a:pt x="953" y="345"/>
                  <a:pt x="953" y="345"/>
                </a:cubicBezTo>
                <a:cubicBezTo>
                  <a:pt x="952" y="346"/>
                  <a:pt x="952" y="346"/>
                  <a:pt x="952" y="346"/>
                </a:cubicBezTo>
                <a:cubicBezTo>
                  <a:pt x="953" y="344"/>
                  <a:pt x="953" y="344"/>
                  <a:pt x="953" y="344"/>
                </a:cubicBezTo>
                <a:cubicBezTo>
                  <a:pt x="955" y="343"/>
                  <a:pt x="955" y="343"/>
                  <a:pt x="955" y="343"/>
                </a:cubicBezTo>
                <a:cubicBezTo>
                  <a:pt x="956" y="343"/>
                  <a:pt x="956" y="343"/>
                  <a:pt x="956" y="343"/>
                </a:cubicBezTo>
                <a:cubicBezTo>
                  <a:pt x="956" y="341"/>
                  <a:pt x="956" y="341"/>
                  <a:pt x="956" y="341"/>
                </a:cubicBezTo>
                <a:cubicBezTo>
                  <a:pt x="954" y="341"/>
                  <a:pt x="954" y="341"/>
                  <a:pt x="954" y="341"/>
                </a:cubicBezTo>
                <a:cubicBezTo>
                  <a:pt x="953" y="341"/>
                  <a:pt x="953" y="341"/>
                  <a:pt x="953" y="341"/>
                </a:cubicBezTo>
                <a:cubicBezTo>
                  <a:pt x="951" y="341"/>
                  <a:pt x="951" y="341"/>
                  <a:pt x="951" y="341"/>
                </a:cubicBezTo>
                <a:cubicBezTo>
                  <a:pt x="948" y="342"/>
                  <a:pt x="948" y="342"/>
                  <a:pt x="948" y="342"/>
                </a:cubicBezTo>
                <a:cubicBezTo>
                  <a:pt x="950" y="339"/>
                  <a:pt x="950" y="339"/>
                  <a:pt x="950" y="339"/>
                </a:cubicBezTo>
                <a:cubicBezTo>
                  <a:pt x="952" y="339"/>
                  <a:pt x="952" y="339"/>
                  <a:pt x="952" y="339"/>
                </a:cubicBezTo>
                <a:cubicBezTo>
                  <a:pt x="954" y="338"/>
                  <a:pt x="954" y="338"/>
                  <a:pt x="954" y="338"/>
                </a:cubicBezTo>
                <a:cubicBezTo>
                  <a:pt x="954" y="337"/>
                  <a:pt x="954" y="337"/>
                  <a:pt x="954" y="337"/>
                </a:cubicBezTo>
                <a:cubicBezTo>
                  <a:pt x="955" y="336"/>
                  <a:pt x="955" y="336"/>
                  <a:pt x="955" y="336"/>
                </a:cubicBezTo>
                <a:cubicBezTo>
                  <a:pt x="955" y="335"/>
                  <a:pt x="955" y="335"/>
                  <a:pt x="955" y="335"/>
                </a:cubicBezTo>
                <a:cubicBezTo>
                  <a:pt x="953" y="336"/>
                  <a:pt x="953" y="336"/>
                  <a:pt x="953" y="336"/>
                </a:cubicBezTo>
                <a:cubicBezTo>
                  <a:pt x="949" y="336"/>
                  <a:pt x="949" y="336"/>
                  <a:pt x="949" y="336"/>
                </a:cubicBezTo>
                <a:cubicBezTo>
                  <a:pt x="947" y="337"/>
                  <a:pt x="947" y="337"/>
                  <a:pt x="947" y="337"/>
                </a:cubicBezTo>
                <a:cubicBezTo>
                  <a:pt x="947" y="335"/>
                  <a:pt x="947" y="335"/>
                  <a:pt x="947" y="335"/>
                </a:cubicBezTo>
                <a:cubicBezTo>
                  <a:pt x="947" y="334"/>
                  <a:pt x="947" y="334"/>
                  <a:pt x="947" y="334"/>
                </a:cubicBezTo>
                <a:cubicBezTo>
                  <a:pt x="948" y="333"/>
                  <a:pt x="948" y="333"/>
                  <a:pt x="948" y="333"/>
                </a:cubicBezTo>
                <a:cubicBezTo>
                  <a:pt x="949" y="334"/>
                  <a:pt x="949" y="334"/>
                  <a:pt x="949" y="334"/>
                </a:cubicBezTo>
                <a:cubicBezTo>
                  <a:pt x="952" y="334"/>
                  <a:pt x="952" y="334"/>
                  <a:pt x="952" y="334"/>
                </a:cubicBezTo>
                <a:cubicBezTo>
                  <a:pt x="954" y="331"/>
                  <a:pt x="954" y="331"/>
                  <a:pt x="954" y="331"/>
                </a:cubicBezTo>
                <a:cubicBezTo>
                  <a:pt x="954" y="329"/>
                  <a:pt x="954" y="329"/>
                  <a:pt x="954" y="329"/>
                </a:cubicBezTo>
                <a:cubicBezTo>
                  <a:pt x="952" y="330"/>
                  <a:pt x="952" y="330"/>
                  <a:pt x="952" y="330"/>
                </a:cubicBezTo>
                <a:cubicBezTo>
                  <a:pt x="951" y="330"/>
                  <a:pt x="951" y="330"/>
                  <a:pt x="951" y="330"/>
                </a:cubicBezTo>
                <a:cubicBezTo>
                  <a:pt x="953" y="327"/>
                  <a:pt x="953" y="327"/>
                  <a:pt x="953" y="327"/>
                </a:cubicBezTo>
                <a:cubicBezTo>
                  <a:pt x="953" y="326"/>
                  <a:pt x="953" y="326"/>
                  <a:pt x="953" y="326"/>
                </a:cubicBezTo>
                <a:cubicBezTo>
                  <a:pt x="952" y="325"/>
                  <a:pt x="952" y="325"/>
                  <a:pt x="952" y="325"/>
                </a:cubicBezTo>
                <a:cubicBezTo>
                  <a:pt x="947" y="327"/>
                  <a:pt x="947" y="327"/>
                  <a:pt x="947" y="327"/>
                </a:cubicBezTo>
                <a:cubicBezTo>
                  <a:pt x="945" y="326"/>
                  <a:pt x="945" y="326"/>
                  <a:pt x="945" y="326"/>
                </a:cubicBezTo>
                <a:cubicBezTo>
                  <a:pt x="946" y="324"/>
                  <a:pt x="946" y="324"/>
                  <a:pt x="946" y="324"/>
                </a:cubicBezTo>
                <a:cubicBezTo>
                  <a:pt x="949" y="325"/>
                  <a:pt x="949" y="325"/>
                  <a:pt x="949" y="325"/>
                </a:cubicBezTo>
                <a:cubicBezTo>
                  <a:pt x="950" y="324"/>
                  <a:pt x="950" y="324"/>
                  <a:pt x="950" y="324"/>
                </a:cubicBezTo>
                <a:cubicBezTo>
                  <a:pt x="952" y="322"/>
                  <a:pt x="952" y="322"/>
                  <a:pt x="952" y="322"/>
                </a:cubicBezTo>
                <a:cubicBezTo>
                  <a:pt x="951" y="321"/>
                  <a:pt x="951" y="321"/>
                  <a:pt x="951" y="321"/>
                </a:cubicBezTo>
                <a:cubicBezTo>
                  <a:pt x="950" y="320"/>
                  <a:pt x="950" y="320"/>
                  <a:pt x="950" y="320"/>
                </a:cubicBezTo>
                <a:cubicBezTo>
                  <a:pt x="949" y="321"/>
                  <a:pt x="949" y="321"/>
                  <a:pt x="949" y="321"/>
                </a:cubicBezTo>
                <a:cubicBezTo>
                  <a:pt x="948" y="321"/>
                  <a:pt x="948" y="321"/>
                  <a:pt x="948" y="321"/>
                </a:cubicBezTo>
                <a:cubicBezTo>
                  <a:pt x="948" y="320"/>
                  <a:pt x="948" y="320"/>
                  <a:pt x="948" y="320"/>
                </a:cubicBezTo>
                <a:cubicBezTo>
                  <a:pt x="946" y="318"/>
                  <a:pt x="946" y="318"/>
                  <a:pt x="946" y="318"/>
                </a:cubicBezTo>
                <a:cubicBezTo>
                  <a:pt x="948" y="318"/>
                  <a:pt x="948" y="318"/>
                  <a:pt x="948" y="318"/>
                </a:cubicBezTo>
                <a:cubicBezTo>
                  <a:pt x="949" y="319"/>
                  <a:pt x="949" y="319"/>
                  <a:pt x="949" y="319"/>
                </a:cubicBezTo>
                <a:cubicBezTo>
                  <a:pt x="949" y="318"/>
                  <a:pt x="949" y="318"/>
                  <a:pt x="949" y="318"/>
                </a:cubicBezTo>
                <a:cubicBezTo>
                  <a:pt x="949" y="315"/>
                  <a:pt x="949" y="315"/>
                  <a:pt x="949" y="315"/>
                </a:cubicBezTo>
                <a:cubicBezTo>
                  <a:pt x="947" y="314"/>
                  <a:pt x="947" y="314"/>
                  <a:pt x="947" y="314"/>
                </a:cubicBezTo>
                <a:cubicBezTo>
                  <a:pt x="947" y="312"/>
                  <a:pt x="947" y="312"/>
                  <a:pt x="947" y="312"/>
                </a:cubicBezTo>
                <a:cubicBezTo>
                  <a:pt x="948" y="311"/>
                  <a:pt x="948" y="311"/>
                  <a:pt x="948" y="311"/>
                </a:cubicBezTo>
                <a:cubicBezTo>
                  <a:pt x="948" y="309"/>
                  <a:pt x="948" y="309"/>
                  <a:pt x="948" y="309"/>
                </a:cubicBezTo>
                <a:cubicBezTo>
                  <a:pt x="947" y="309"/>
                  <a:pt x="947" y="309"/>
                  <a:pt x="947" y="309"/>
                </a:cubicBezTo>
                <a:cubicBezTo>
                  <a:pt x="947" y="308"/>
                  <a:pt x="947" y="308"/>
                  <a:pt x="947" y="308"/>
                </a:cubicBezTo>
                <a:cubicBezTo>
                  <a:pt x="948" y="307"/>
                  <a:pt x="948" y="307"/>
                  <a:pt x="948" y="307"/>
                </a:cubicBezTo>
                <a:cubicBezTo>
                  <a:pt x="947" y="307"/>
                  <a:pt x="947" y="307"/>
                  <a:pt x="947" y="307"/>
                </a:cubicBezTo>
                <a:cubicBezTo>
                  <a:pt x="945" y="306"/>
                  <a:pt x="945" y="306"/>
                  <a:pt x="945" y="306"/>
                </a:cubicBezTo>
                <a:cubicBezTo>
                  <a:pt x="946" y="306"/>
                  <a:pt x="946" y="306"/>
                  <a:pt x="946" y="306"/>
                </a:cubicBezTo>
                <a:cubicBezTo>
                  <a:pt x="947" y="306"/>
                  <a:pt x="947" y="306"/>
                  <a:pt x="947" y="306"/>
                </a:cubicBezTo>
                <a:cubicBezTo>
                  <a:pt x="948" y="304"/>
                  <a:pt x="948" y="304"/>
                  <a:pt x="948" y="304"/>
                </a:cubicBezTo>
                <a:cubicBezTo>
                  <a:pt x="946" y="303"/>
                  <a:pt x="946" y="303"/>
                  <a:pt x="946" y="303"/>
                </a:cubicBezTo>
                <a:cubicBezTo>
                  <a:pt x="947" y="302"/>
                  <a:pt x="947" y="302"/>
                  <a:pt x="947" y="302"/>
                </a:cubicBezTo>
                <a:cubicBezTo>
                  <a:pt x="948" y="301"/>
                  <a:pt x="948" y="301"/>
                  <a:pt x="948" y="301"/>
                </a:cubicBezTo>
                <a:cubicBezTo>
                  <a:pt x="947" y="300"/>
                  <a:pt x="947" y="300"/>
                  <a:pt x="947" y="300"/>
                </a:cubicBezTo>
                <a:cubicBezTo>
                  <a:pt x="946" y="301"/>
                  <a:pt x="946" y="301"/>
                  <a:pt x="946" y="301"/>
                </a:cubicBezTo>
                <a:cubicBezTo>
                  <a:pt x="947" y="299"/>
                  <a:pt x="947" y="299"/>
                  <a:pt x="947" y="299"/>
                </a:cubicBezTo>
                <a:cubicBezTo>
                  <a:pt x="946" y="299"/>
                  <a:pt x="946" y="299"/>
                  <a:pt x="946" y="299"/>
                </a:cubicBezTo>
                <a:cubicBezTo>
                  <a:pt x="944" y="299"/>
                  <a:pt x="944" y="299"/>
                  <a:pt x="944" y="299"/>
                </a:cubicBezTo>
                <a:cubicBezTo>
                  <a:pt x="943" y="302"/>
                  <a:pt x="943" y="302"/>
                  <a:pt x="943" y="302"/>
                </a:cubicBezTo>
                <a:cubicBezTo>
                  <a:pt x="943" y="303"/>
                  <a:pt x="943" y="303"/>
                  <a:pt x="943" y="303"/>
                </a:cubicBezTo>
                <a:cubicBezTo>
                  <a:pt x="942" y="305"/>
                  <a:pt x="942" y="305"/>
                  <a:pt x="942" y="305"/>
                </a:cubicBezTo>
                <a:cubicBezTo>
                  <a:pt x="940" y="307"/>
                  <a:pt x="940" y="307"/>
                  <a:pt x="940" y="307"/>
                </a:cubicBezTo>
                <a:cubicBezTo>
                  <a:pt x="940" y="309"/>
                  <a:pt x="940" y="309"/>
                  <a:pt x="940" y="309"/>
                </a:cubicBezTo>
                <a:cubicBezTo>
                  <a:pt x="938" y="309"/>
                  <a:pt x="938" y="309"/>
                  <a:pt x="938" y="309"/>
                </a:cubicBezTo>
                <a:cubicBezTo>
                  <a:pt x="939" y="311"/>
                  <a:pt x="939" y="311"/>
                  <a:pt x="939" y="311"/>
                </a:cubicBezTo>
                <a:cubicBezTo>
                  <a:pt x="937" y="310"/>
                  <a:pt x="937" y="310"/>
                  <a:pt x="937" y="310"/>
                </a:cubicBezTo>
                <a:cubicBezTo>
                  <a:pt x="936" y="311"/>
                  <a:pt x="936" y="311"/>
                  <a:pt x="936" y="311"/>
                </a:cubicBezTo>
                <a:cubicBezTo>
                  <a:pt x="935" y="314"/>
                  <a:pt x="935" y="314"/>
                  <a:pt x="935" y="314"/>
                </a:cubicBezTo>
                <a:cubicBezTo>
                  <a:pt x="935" y="315"/>
                  <a:pt x="935" y="315"/>
                  <a:pt x="935" y="315"/>
                </a:cubicBezTo>
                <a:cubicBezTo>
                  <a:pt x="937" y="315"/>
                  <a:pt x="937" y="315"/>
                  <a:pt x="937" y="315"/>
                </a:cubicBezTo>
                <a:cubicBezTo>
                  <a:pt x="938" y="316"/>
                  <a:pt x="938" y="316"/>
                  <a:pt x="938" y="316"/>
                </a:cubicBezTo>
                <a:cubicBezTo>
                  <a:pt x="938" y="318"/>
                  <a:pt x="938" y="318"/>
                  <a:pt x="938" y="318"/>
                </a:cubicBezTo>
                <a:cubicBezTo>
                  <a:pt x="936" y="316"/>
                  <a:pt x="936" y="316"/>
                  <a:pt x="936" y="316"/>
                </a:cubicBezTo>
                <a:cubicBezTo>
                  <a:pt x="935" y="316"/>
                  <a:pt x="935" y="316"/>
                  <a:pt x="935" y="316"/>
                </a:cubicBezTo>
                <a:cubicBezTo>
                  <a:pt x="934" y="317"/>
                  <a:pt x="934" y="317"/>
                  <a:pt x="934" y="317"/>
                </a:cubicBezTo>
                <a:cubicBezTo>
                  <a:pt x="933" y="319"/>
                  <a:pt x="933" y="319"/>
                  <a:pt x="933" y="319"/>
                </a:cubicBezTo>
                <a:cubicBezTo>
                  <a:pt x="931" y="320"/>
                  <a:pt x="931" y="320"/>
                  <a:pt x="931" y="320"/>
                </a:cubicBezTo>
                <a:cubicBezTo>
                  <a:pt x="931" y="323"/>
                  <a:pt x="931" y="323"/>
                  <a:pt x="931" y="323"/>
                </a:cubicBezTo>
                <a:cubicBezTo>
                  <a:pt x="929" y="323"/>
                  <a:pt x="929" y="323"/>
                  <a:pt x="929" y="323"/>
                </a:cubicBezTo>
                <a:cubicBezTo>
                  <a:pt x="928" y="325"/>
                  <a:pt x="928" y="325"/>
                  <a:pt x="928" y="325"/>
                </a:cubicBezTo>
                <a:cubicBezTo>
                  <a:pt x="928" y="326"/>
                  <a:pt x="928" y="326"/>
                  <a:pt x="928" y="326"/>
                </a:cubicBezTo>
                <a:cubicBezTo>
                  <a:pt x="927" y="326"/>
                  <a:pt x="927" y="326"/>
                  <a:pt x="927" y="326"/>
                </a:cubicBezTo>
                <a:cubicBezTo>
                  <a:pt x="928" y="329"/>
                  <a:pt x="928" y="329"/>
                  <a:pt x="928" y="329"/>
                </a:cubicBezTo>
                <a:cubicBezTo>
                  <a:pt x="926" y="332"/>
                  <a:pt x="926" y="332"/>
                  <a:pt x="926" y="332"/>
                </a:cubicBezTo>
                <a:cubicBezTo>
                  <a:pt x="926" y="330"/>
                  <a:pt x="926" y="330"/>
                  <a:pt x="926" y="330"/>
                </a:cubicBezTo>
                <a:cubicBezTo>
                  <a:pt x="926" y="327"/>
                  <a:pt x="926" y="327"/>
                  <a:pt x="926" y="327"/>
                </a:cubicBezTo>
                <a:cubicBezTo>
                  <a:pt x="925" y="326"/>
                  <a:pt x="925" y="326"/>
                  <a:pt x="925" y="326"/>
                </a:cubicBezTo>
                <a:cubicBezTo>
                  <a:pt x="922" y="328"/>
                  <a:pt x="922" y="328"/>
                  <a:pt x="922" y="328"/>
                </a:cubicBezTo>
                <a:cubicBezTo>
                  <a:pt x="921" y="330"/>
                  <a:pt x="921" y="330"/>
                  <a:pt x="921" y="330"/>
                </a:cubicBezTo>
                <a:cubicBezTo>
                  <a:pt x="920" y="331"/>
                  <a:pt x="920" y="331"/>
                  <a:pt x="920" y="331"/>
                </a:cubicBezTo>
                <a:cubicBezTo>
                  <a:pt x="918" y="332"/>
                  <a:pt x="918" y="332"/>
                  <a:pt x="918" y="332"/>
                </a:cubicBezTo>
                <a:cubicBezTo>
                  <a:pt x="918" y="333"/>
                  <a:pt x="918" y="333"/>
                  <a:pt x="918" y="333"/>
                </a:cubicBezTo>
                <a:cubicBezTo>
                  <a:pt x="917" y="332"/>
                  <a:pt x="917" y="332"/>
                  <a:pt x="917" y="332"/>
                </a:cubicBezTo>
                <a:cubicBezTo>
                  <a:pt x="916" y="332"/>
                  <a:pt x="916" y="332"/>
                  <a:pt x="916" y="332"/>
                </a:cubicBezTo>
                <a:cubicBezTo>
                  <a:pt x="914" y="333"/>
                  <a:pt x="914" y="333"/>
                  <a:pt x="914" y="333"/>
                </a:cubicBezTo>
                <a:cubicBezTo>
                  <a:pt x="912" y="334"/>
                  <a:pt x="912" y="334"/>
                  <a:pt x="912" y="334"/>
                </a:cubicBezTo>
                <a:cubicBezTo>
                  <a:pt x="910" y="335"/>
                  <a:pt x="910" y="335"/>
                  <a:pt x="910" y="335"/>
                </a:cubicBezTo>
                <a:cubicBezTo>
                  <a:pt x="910" y="338"/>
                  <a:pt x="910" y="338"/>
                  <a:pt x="910" y="338"/>
                </a:cubicBezTo>
                <a:cubicBezTo>
                  <a:pt x="908" y="340"/>
                  <a:pt x="908" y="340"/>
                  <a:pt x="908" y="340"/>
                </a:cubicBezTo>
                <a:cubicBezTo>
                  <a:pt x="908" y="338"/>
                  <a:pt x="908" y="338"/>
                  <a:pt x="908" y="338"/>
                </a:cubicBezTo>
                <a:cubicBezTo>
                  <a:pt x="908" y="337"/>
                  <a:pt x="908" y="337"/>
                  <a:pt x="908" y="337"/>
                </a:cubicBezTo>
                <a:cubicBezTo>
                  <a:pt x="909" y="336"/>
                  <a:pt x="909" y="336"/>
                  <a:pt x="909" y="336"/>
                </a:cubicBezTo>
                <a:cubicBezTo>
                  <a:pt x="909" y="332"/>
                  <a:pt x="909" y="332"/>
                  <a:pt x="909" y="332"/>
                </a:cubicBezTo>
                <a:cubicBezTo>
                  <a:pt x="909" y="330"/>
                  <a:pt x="909" y="330"/>
                  <a:pt x="909" y="330"/>
                </a:cubicBezTo>
                <a:cubicBezTo>
                  <a:pt x="908" y="330"/>
                  <a:pt x="908" y="330"/>
                  <a:pt x="908" y="330"/>
                </a:cubicBezTo>
                <a:cubicBezTo>
                  <a:pt x="906" y="332"/>
                  <a:pt x="906" y="332"/>
                  <a:pt x="906" y="332"/>
                </a:cubicBezTo>
                <a:cubicBezTo>
                  <a:pt x="903" y="337"/>
                  <a:pt x="903" y="337"/>
                  <a:pt x="903" y="337"/>
                </a:cubicBezTo>
                <a:cubicBezTo>
                  <a:pt x="901" y="339"/>
                  <a:pt x="901" y="339"/>
                  <a:pt x="901" y="339"/>
                </a:cubicBezTo>
                <a:cubicBezTo>
                  <a:pt x="902" y="337"/>
                  <a:pt x="902" y="337"/>
                  <a:pt x="902" y="337"/>
                </a:cubicBezTo>
                <a:cubicBezTo>
                  <a:pt x="903" y="334"/>
                  <a:pt x="903" y="334"/>
                  <a:pt x="903" y="334"/>
                </a:cubicBezTo>
                <a:cubicBezTo>
                  <a:pt x="905" y="331"/>
                  <a:pt x="905" y="331"/>
                  <a:pt x="905" y="331"/>
                </a:cubicBezTo>
                <a:cubicBezTo>
                  <a:pt x="905" y="329"/>
                  <a:pt x="905" y="329"/>
                  <a:pt x="905" y="329"/>
                </a:cubicBezTo>
                <a:cubicBezTo>
                  <a:pt x="905" y="327"/>
                  <a:pt x="905" y="327"/>
                  <a:pt x="905" y="327"/>
                </a:cubicBezTo>
                <a:cubicBezTo>
                  <a:pt x="904" y="325"/>
                  <a:pt x="904" y="325"/>
                  <a:pt x="904" y="325"/>
                </a:cubicBezTo>
                <a:cubicBezTo>
                  <a:pt x="902" y="323"/>
                  <a:pt x="902" y="323"/>
                  <a:pt x="902" y="323"/>
                </a:cubicBezTo>
                <a:cubicBezTo>
                  <a:pt x="900" y="323"/>
                  <a:pt x="900" y="323"/>
                  <a:pt x="900" y="323"/>
                </a:cubicBezTo>
                <a:cubicBezTo>
                  <a:pt x="901" y="325"/>
                  <a:pt x="901" y="325"/>
                  <a:pt x="901" y="325"/>
                </a:cubicBezTo>
                <a:cubicBezTo>
                  <a:pt x="900" y="325"/>
                  <a:pt x="900" y="325"/>
                  <a:pt x="900" y="325"/>
                </a:cubicBezTo>
                <a:cubicBezTo>
                  <a:pt x="898" y="324"/>
                  <a:pt x="898" y="324"/>
                  <a:pt x="898" y="324"/>
                </a:cubicBezTo>
                <a:cubicBezTo>
                  <a:pt x="896" y="320"/>
                  <a:pt x="896" y="320"/>
                  <a:pt x="896" y="320"/>
                </a:cubicBezTo>
                <a:cubicBezTo>
                  <a:pt x="900" y="322"/>
                  <a:pt x="900" y="322"/>
                  <a:pt x="900" y="322"/>
                </a:cubicBezTo>
                <a:cubicBezTo>
                  <a:pt x="901" y="321"/>
                  <a:pt x="901" y="321"/>
                  <a:pt x="901" y="321"/>
                </a:cubicBezTo>
                <a:cubicBezTo>
                  <a:pt x="899" y="321"/>
                  <a:pt x="899" y="321"/>
                  <a:pt x="899" y="321"/>
                </a:cubicBezTo>
                <a:cubicBezTo>
                  <a:pt x="897" y="317"/>
                  <a:pt x="897" y="317"/>
                  <a:pt x="897" y="317"/>
                </a:cubicBezTo>
                <a:cubicBezTo>
                  <a:pt x="896" y="317"/>
                  <a:pt x="896" y="317"/>
                  <a:pt x="896" y="317"/>
                </a:cubicBezTo>
                <a:cubicBezTo>
                  <a:pt x="898" y="314"/>
                  <a:pt x="898" y="314"/>
                  <a:pt x="898" y="314"/>
                </a:cubicBezTo>
                <a:cubicBezTo>
                  <a:pt x="898" y="313"/>
                  <a:pt x="898" y="313"/>
                  <a:pt x="898" y="313"/>
                </a:cubicBezTo>
                <a:cubicBezTo>
                  <a:pt x="900" y="310"/>
                  <a:pt x="900" y="310"/>
                  <a:pt x="900" y="310"/>
                </a:cubicBezTo>
                <a:cubicBezTo>
                  <a:pt x="900" y="307"/>
                  <a:pt x="900" y="307"/>
                  <a:pt x="900" y="307"/>
                </a:cubicBezTo>
                <a:cubicBezTo>
                  <a:pt x="898" y="304"/>
                  <a:pt x="898" y="304"/>
                  <a:pt x="898" y="304"/>
                </a:cubicBezTo>
                <a:cubicBezTo>
                  <a:pt x="894" y="304"/>
                  <a:pt x="894" y="304"/>
                  <a:pt x="894" y="304"/>
                </a:cubicBezTo>
                <a:cubicBezTo>
                  <a:pt x="889" y="301"/>
                  <a:pt x="889" y="301"/>
                  <a:pt x="889" y="301"/>
                </a:cubicBezTo>
                <a:cubicBezTo>
                  <a:pt x="894" y="303"/>
                  <a:pt x="894" y="303"/>
                  <a:pt x="894" y="303"/>
                </a:cubicBezTo>
                <a:cubicBezTo>
                  <a:pt x="899" y="303"/>
                  <a:pt x="899" y="303"/>
                  <a:pt x="899" y="303"/>
                </a:cubicBezTo>
                <a:cubicBezTo>
                  <a:pt x="899" y="300"/>
                  <a:pt x="899" y="300"/>
                  <a:pt x="899" y="300"/>
                </a:cubicBezTo>
                <a:cubicBezTo>
                  <a:pt x="900" y="299"/>
                  <a:pt x="900" y="299"/>
                  <a:pt x="900" y="299"/>
                </a:cubicBezTo>
                <a:cubicBezTo>
                  <a:pt x="901" y="302"/>
                  <a:pt x="901" y="302"/>
                  <a:pt x="901" y="302"/>
                </a:cubicBezTo>
                <a:cubicBezTo>
                  <a:pt x="902" y="300"/>
                  <a:pt x="902" y="300"/>
                  <a:pt x="902" y="300"/>
                </a:cubicBezTo>
                <a:cubicBezTo>
                  <a:pt x="901" y="295"/>
                  <a:pt x="901" y="295"/>
                  <a:pt x="901" y="295"/>
                </a:cubicBezTo>
                <a:cubicBezTo>
                  <a:pt x="903" y="292"/>
                  <a:pt x="903" y="292"/>
                  <a:pt x="903" y="292"/>
                </a:cubicBezTo>
                <a:cubicBezTo>
                  <a:pt x="906" y="292"/>
                  <a:pt x="906" y="292"/>
                  <a:pt x="906" y="292"/>
                </a:cubicBezTo>
                <a:cubicBezTo>
                  <a:pt x="906" y="288"/>
                  <a:pt x="906" y="288"/>
                  <a:pt x="906" y="288"/>
                </a:cubicBezTo>
                <a:cubicBezTo>
                  <a:pt x="906" y="285"/>
                  <a:pt x="906" y="285"/>
                  <a:pt x="906" y="285"/>
                </a:cubicBezTo>
                <a:cubicBezTo>
                  <a:pt x="904" y="285"/>
                  <a:pt x="904" y="285"/>
                  <a:pt x="904" y="285"/>
                </a:cubicBezTo>
                <a:cubicBezTo>
                  <a:pt x="904" y="288"/>
                  <a:pt x="904" y="288"/>
                  <a:pt x="904" y="288"/>
                </a:cubicBezTo>
                <a:cubicBezTo>
                  <a:pt x="902" y="290"/>
                  <a:pt x="902" y="290"/>
                  <a:pt x="902" y="290"/>
                </a:cubicBezTo>
                <a:cubicBezTo>
                  <a:pt x="901" y="288"/>
                  <a:pt x="901" y="288"/>
                  <a:pt x="901" y="288"/>
                </a:cubicBezTo>
                <a:cubicBezTo>
                  <a:pt x="901" y="284"/>
                  <a:pt x="901" y="284"/>
                  <a:pt x="901" y="284"/>
                </a:cubicBezTo>
                <a:cubicBezTo>
                  <a:pt x="898" y="284"/>
                  <a:pt x="898" y="284"/>
                  <a:pt x="898" y="284"/>
                </a:cubicBezTo>
                <a:cubicBezTo>
                  <a:pt x="896" y="285"/>
                  <a:pt x="896" y="285"/>
                  <a:pt x="896" y="285"/>
                </a:cubicBezTo>
                <a:cubicBezTo>
                  <a:pt x="896" y="284"/>
                  <a:pt x="896" y="284"/>
                  <a:pt x="896" y="284"/>
                </a:cubicBezTo>
                <a:cubicBezTo>
                  <a:pt x="894" y="284"/>
                  <a:pt x="894" y="284"/>
                  <a:pt x="894" y="284"/>
                </a:cubicBezTo>
                <a:cubicBezTo>
                  <a:pt x="891" y="281"/>
                  <a:pt x="891" y="281"/>
                  <a:pt x="891" y="281"/>
                </a:cubicBezTo>
                <a:cubicBezTo>
                  <a:pt x="890" y="282"/>
                  <a:pt x="890" y="282"/>
                  <a:pt x="890" y="282"/>
                </a:cubicBezTo>
                <a:cubicBezTo>
                  <a:pt x="890" y="281"/>
                  <a:pt x="890" y="281"/>
                  <a:pt x="890" y="281"/>
                </a:cubicBezTo>
                <a:cubicBezTo>
                  <a:pt x="888" y="282"/>
                  <a:pt x="888" y="282"/>
                  <a:pt x="888" y="282"/>
                </a:cubicBezTo>
                <a:cubicBezTo>
                  <a:pt x="888" y="280"/>
                  <a:pt x="888" y="280"/>
                  <a:pt x="888" y="280"/>
                </a:cubicBezTo>
                <a:cubicBezTo>
                  <a:pt x="885" y="278"/>
                  <a:pt x="885" y="278"/>
                  <a:pt x="885" y="278"/>
                </a:cubicBezTo>
                <a:cubicBezTo>
                  <a:pt x="887" y="278"/>
                  <a:pt x="887" y="278"/>
                  <a:pt x="887" y="278"/>
                </a:cubicBezTo>
                <a:cubicBezTo>
                  <a:pt x="888" y="276"/>
                  <a:pt x="888" y="276"/>
                  <a:pt x="888" y="276"/>
                </a:cubicBezTo>
                <a:cubicBezTo>
                  <a:pt x="890" y="277"/>
                  <a:pt x="890" y="277"/>
                  <a:pt x="890" y="277"/>
                </a:cubicBezTo>
                <a:cubicBezTo>
                  <a:pt x="890" y="276"/>
                  <a:pt x="890" y="276"/>
                  <a:pt x="890" y="276"/>
                </a:cubicBezTo>
                <a:cubicBezTo>
                  <a:pt x="888" y="274"/>
                  <a:pt x="888" y="274"/>
                  <a:pt x="888" y="274"/>
                </a:cubicBezTo>
                <a:cubicBezTo>
                  <a:pt x="887" y="275"/>
                  <a:pt x="887" y="275"/>
                  <a:pt x="887" y="275"/>
                </a:cubicBezTo>
                <a:cubicBezTo>
                  <a:pt x="885" y="274"/>
                  <a:pt x="885" y="274"/>
                  <a:pt x="885" y="274"/>
                </a:cubicBezTo>
                <a:cubicBezTo>
                  <a:pt x="887" y="273"/>
                  <a:pt x="887" y="273"/>
                  <a:pt x="887" y="273"/>
                </a:cubicBezTo>
                <a:cubicBezTo>
                  <a:pt x="886" y="271"/>
                  <a:pt x="886" y="271"/>
                  <a:pt x="886" y="271"/>
                </a:cubicBezTo>
                <a:cubicBezTo>
                  <a:pt x="883" y="269"/>
                  <a:pt x="883" y="269"/>
                  <a:pt x="883" y="269"/>
                </a:cubicBezTo>
                <a:cubicBezTo>
                  <a:pt x="882" y="270"/>
                  <a:pt x="882" y="270"/>
                  <a:pt x="882" y="270"/>
                </a:cubicBezTo>
                <a:cubicBezTo>
                  <a:pt x="882" y="268"/>
                  <a:pt x="882" y="268"/>
                  <a:pt x="882" y="268"/>
                </a:cubicBezTo>
                <a:cubicBezTo>
                  <a:pt x="883" y="267"/>
                  <a:pt x="883" y="267"/>
                  <a:pt x="883" y="267"/>
                </a:cubicBezTo>
                <a:cubicBezTo>
                  <a:pt x="883" y="264"/>
                  <a:pt x="883" y="264"/>
                  <a:pt x="883" y="264"/>
                </a:cubicBezTo>
                <a:cubicBezTo>
                  <a:pt x="882" y="264"/>
                  <a:pt x="882" y="264"/>
                  <a:pt x="882" y="264"/>
                </a:cubicBezTo>
                <a:cubicBezTo>
                  <a:pt x="879" y="262"/>
                  <a:pt x="879" y="262"/>
                  <a:pt x="879" y="262"/>
                </a:cubicBezTo>
                <a:cubicBezTo>
                  <a:pt x="879" y="260"/>
                  <a:pt x="879" y="260"/>
                  <a:pt x="879" y="260"/>
                </a:cubicBezTo>
                <a:cubicBezTo>
                  <a:pt x="876" y="257"/>
                  <a:pt x="876" y="257"/>
                  <a:pt x="876" y="257"/>
                </a:cubicBezTo>
                <a:cubicBezTo>
                  <a:pt x="873" y="258"/>
                  <a:pt x="873" y="258"/>
                  <a:pt x="873" y="258"/>
                </a:cubicBezTo>
                <a:cubicBezTo>
                  <a:pt x="871" y="259"/>
                  <a:pt x="871" y="259"/>
                  <a:pt x="871" y="259"/>
                </a:cubicBezTo>
                <a:cubicBezTo>
                  <a:pt x="870" y="260"/>
                  <a:pt x="870" y="260"/>
                  <a:pt x="870" y="260"/>
                </a:cubicBezTo>
                <a:cubicBezTo>
                  <a:pt x="868" y="259"/>
                  <a:pt x="868" y="259"/>
                  <a:pt x="868" y="259"/>
                </a:cubicBezTo>
                <a:cubicBezTo>
                  <a:pt x="868" y="261"/>
                  <a:pt x="868" y="261"/>
                  <a:pt x="868" y="261"/>
                </a:cubicBezTo>
                <a:cubicBezTo>
                  <a:pt x="867" y="259"/>
                  <a:pt x="867" y="259"/>
                  <a:pt x="867" y="259"/>
                </a:cubicBezTo>
                <a:cubicBezTo>
                  <a:pt x="865" y="259"/>
                  <a:pt x="865" y="259"/>
                  <a:pt x="865" y="259"/>
                </a:cubicBezTo>
                <a:cubicBezTo>
                  <a:pt x="864" y="258"/>
                  <a:pt x="864" y="258"/>
                  <a:pt x="864" y="258"/>
                </a:cubicBezTo>
                <a:cubicBezTo>
                  <a:pt x="862" y="258"/>
                  <a:pt x="862" y="258"/>
                  <a:pt x="862" y="258"/>
                </a:cubicBezTo>
                <a:cubicBezTo>
                  <a:pt x="859" y="260"/>
                  <a:pt x="859" y="260"/>
                  <a:pt x="859" y="260"/>
                </a:cubicBezTo>
                <a:cubicBezTo>
                  <a:pt x="856" y="260"/>
                  <a:pt x="856" y="260"/>
                  <a:pt x="856" y="260"/>
                </a:cubicBezTo>
                <a:cubicBezTo>
                  <a:pt x="859" y="259"/>
                  <a:pt x="859" y="259"/>
                  <a:pt x="859" y="259"/>
                </a:cubicBezTo>
                <a:cubicBezTo>
                  <a:pt x="859" y="257"/>
                  <a:pt x="859" y="257"/>
                  <a:pt x="859" y="257"/>
                </a:cubicBezTo>
                <a:cubicBezTo>
                  <a:pt x="857" y="257"/>
                  <a:pt x="857" y="257"/>
                  <a:pt x="857" y="257"/>
                </a:cubicBezTo>
                <a:cubicBezTo>
                  <a:pt x="852" y="254"/>
                  <a:pt x="852" y="254"/>
                  <a:pt x="852" y="254"/>
                </a:cubicBezTo>
                <a:cubicBezTo>
                  <a:pt x="849" y="253"/>
                  <a:pt x="849" y="253"/>
                  <a:pt x="849" y="253"/>
                </a:cubicBezTo>
                <a:cubicBezTo>
                  <a:pt x="846" y="252"/>
                  <a:pt x="846" y="252"/>
                  <a:pt x="846" y="252"/>
                </a:cubicBezTo>
                <a:cubicBezTo>
                  <a:pt x="844" y="251"/>
                  <a:pt x="844" y="251"/>
                  <a:pt x="844" y="251"/>
                </a:cubicBezTo>
                <a:cubicBezTo>
                  <a:pt x="843" y="252"/>
                  <a:pt x="843" y="252"/>
                  <a:pt x="843" y="252"/>
                </a:cubicBezTo>
                <a:cubicBezTo>
                  <a:pt x="842" y="252"/>
                  <a:pt x="842" y="252"/>
                  <a:pt x="842" y="252"/>
                </a:cubicBezTo>
                <a:cubicBezTo>
                  <a:pt x="840" y="254"/>
                  <a:pt x="840" y="254"/>
                  <a:pt x="840" y="254"/>
                </a:cubicBezTo>
                <a:cubicBezTo>
                  <a:pt x="840" y="255"/>
                  <a:pt x="840" y="255"/>
                  <a:pt x="840" y="255"/>
                </a:cubicBezTo>
                <a:cubicBezTo>
                  <a:pt x="839" y="255"/>
                  <a:pt x="839" y="255"/>
                  <a:pt x="839" y="255"/>
                </a:cubicBezTo>
                <a:cubicBezTo>
                  <a:pt x="838" y="254"/>
                  <a:pt x="838" y="254"/>
                  <a:pt x="838" y="254"/>
                </a:cubicBezTo>
                <a:cubicBezTo>
                  <a:pt x="837" y="255"/>
                  <a:pt x="837" y="255"/>
                  <a:pt x="837" y="255"/>
                </a:cubicBezTo>
                <a:cubicBezTo>
                  <a:pt x="837" y="258"/>
                  <a:pt x="837" y="258"/>
                  <a:pt x="837" y="258"/>
                </a:cubicBezTo>
                <a:cubicBezTo>
                  <a:pt x="835" y="261"/>
                  <a:pt x="835" y="261"/>
                  <a:pt x="835" y="261"/>
                </a:cubicBezTo>
                <a:cubicBezTo>
                  <a:pt x="835" y="265"/>
                  <a:pt x="835" y="265"/>
                  <a:pt x="835" y="265"/>
                </a:cubicBezTo>
                <a:cubicBezTo>
                  <a:pt x="837" y="267"/>
                  <a:pt x="837" y="267"/>
                  <a:pt x="837" y="267"/>
                </a:cubicBezTo>
                <a:cubicBezTo>
                  <a:pt x="838" y="267"/>
                  <a:pt x="838" y="267"/>
                  <a:pt x="838" y="267"/>
                </a:cubicBezTo>
                <a:cubicBezTo>
                  <a:pt x="838" y="268"/>
                  <a:pt x="838" y="268"/>
                  <a:pt x="838" y="268"/>
                </a:cubicBezTo>
                <a:cubicBezTo>
                  <a:pt x="839" y="268"/>
                  <a:pt x="839" y="268"/>
                  <a:pt x="839" y="268"/>
                </a:cubicBezTo>
                <a:cubicBezTo>
                  <a:pt x="839" y="270"/>
                  <a:pt x="839" y="270"/>
                  <a:pt x="839" y="270"/>
                </a:cubicBezTo>
                <a:cubicBezTo>
                  <a:pt x="838" y="271"/>
                  <a:pt x="838" y="271"/>
                  <a:pt x="838" y="271"/>
                </a:cubicBezTo>
                <a:cubicBezTo>
                  <a:pt x="837" y="271"/>
                  <a:pt x="837" y="271"/>
                  <a:pt x="837" y="271"/>
                </a:cubicBezTo>
                <a:cubicBezTo>
                  <a:pt x="836" y="274"/>
                  <a:pt x="836" y="274"/>
                  <a:pt x="836" y="274"/>
                </a:cubicBezTo>
                <a:cubicBezTo>
                  <a:pt x="834" y="277"/>
                  <a:pt x="834" y="277"/>
                  <a:pt x="834" y="277"/>
                </a:cubicBezTo>
                <a:cubicBezTo>
                  <a:pt x="829" y="281"/>
                  <a:pt x="829" y="281"/>
                  <a:pt x="829" y="281"/>
                </a:cubicBezTo>
                <a:cubicBezTo>
                  <a:pt x="829" y="282"/>
                  <a:pt x="829" y="282"/>
                  <a:pt x="829" y="282"/>
                </a:cubicBezTo>
                <a:cubicBezTo>
                  <a:pt x="830" y="283"/>
                  <a:pt x="830" y="283"/>
                  <a:pt x="830" y="283"/>
                </a:cubicBezTo>
                <a:cubicBezTo>
                  <a:pt x="833" y="283"/>
                  <a:pt x="833" y="283"/>
                  <a:pt x="833" y="283"/>
                </a:cubicBezTo>
                <a:cubicBezTo>
                  <a:pt x="835" y="283"/>
                  <a:pt x="835" y="283"/>
                  <a:pt x="835" y="283"/>
                </a:cubicBezTo>
                <a:cubicBezTo>
                  <a:pt x="833" y="284"/>
                  <a:pt x="833" y="284"/>
                  <a:pt x="833" y="284"/>
                </a:cubicBezTo>
                <a:cubicBezTo>
                  <a:pt x="832" y="287"/>
                  <a:pt x="832" y="287"/>
                  <a:pt x="832" y="287"/>
                </a:cubicBezTo>
                <a:cubicBezTo>
                  <a:pt x="832" y="288"/>
                  <a:pt x="832" y="288"/>
                  <a:pt x="832" y="288"/>
                </a:cubicBezTo>
                <a:cubicBezTo>
                  <a:pt x="834" y="288"/>
                  <a:pt x="834" y="288"/>
                  <a:pt x="834" y="288"/>
                </a:cubicBezTo>
                <a:cubicBezTo>
                  <a:pt x="833" y="289"/>
                  <a:pt x="833" y="289"/>
                  <a:pt x="833" y="289"/>
                </a:cubicBezTo>
                <a:cubicBezTo>
                  <a:pt x="831" y="290"/>
                  <a:pt x="831" y="290"/>
                  <a:pt x="831" y="290"/>
                </a:cubicBezTo>
                <a:cubicBezTo>
                  <a:pt x="832" y="292"/>
                  <a:pt x="832" y="292"/>
                  <a:pt x="832" y="292"/>
                </a:cubicBezTo>
                <a:cubicBezTo>
                  <a:pt x="833" y="293"/>
                  <a:pt x="833" y="293"/>
                  <a:pt x="833" y="293"/>
                </a:cubicBezTo>
                <a:cubicBezTo>
                  <a:pt x="831" y="295"/>
                  <a:pt x="831" y="295"/>
                  <a:pt x="831" y="295"/>
                </a:cubicBezTo>
                <a:cubicBezTo>
                  <a:pt x="831" y="296"/>
                  <a:pt x="831" y="296"/>
                  <a:pt x="831" y="296"/>
                </a:cubicBezTo>
                <a:cubicBezTo>
                  <a:pt x="834" y="296"/>
                  <a:pt x="834" y="296"/>
                  <a:pt x="834" y="296"/>
                </a:cubicBezTo>
                <a:cubicBezTo>
                  <a:pt x="834" y="297"/>
                  <a:pt x="834" y="297"/>
                  <a:pt x="834" y="297"/>
                </a:cubicBezTo>
                <a:cubicBezTo>
                  <a:pt x="832" y="301"/>
                  <a:pt x="832" y="301"/>
                  <a:pt x="832" y="301"/>
                </a:cubicBezTo>
                <a:cubicBezTo>
                  <a:pt x="830" y="302"/>
                  <a:pt x="830" y="302"/>
                  <a:pt x="830" y="302"/>
                </a:cubicBezTo>
                <a:cubicBezTo>
                  <a:pt x="830" y="304"/>
                  <a:pt x="830" y="304"/>
                  <a:pt x="830" y="304"/>
                </a:cubicBezTo>
                <a:cubicBezTo>
                  <a:pt x="831" y="305"/>
                  <a:pt x="831" y="305"/>
                  <a:pt x="831" y="305"/>
                </a:cubicBezTo>
                <a:cubicBezTo>
                  <a:pt x="829" y="305"/>
                  <a:pt x="829" y="305"/>
                  <a:pt x="829" y="305"/>
                </a:cubicBezTo>
                <a:cubicBezTo>
                  <a:pt x="828" y="302"/>
                  <a:pt x="828" y="302"/>
                  <a:pt x="828" y="302"/>
                </a:cubicBezTo>
                <a:cubicBezTo>
                  <a:pt x="827" y="302"/>
                  <a:pt x="827" y="302"/>
                  <a:pt x="827" y="302"/>
                </a:cubicBezTo>
                <a:cubicBezTo>
                  <a:pt x="825" y="305"/>
                  <a:pt x="825" y="305"/>
                  <a:pt x="825" y="305"/>
                </a:cubicBezTo>
                <a:cubicBezTo>
                  <a:pt x="825" y="306"/>
                  <a:pt x="825" y="306"/>
                  <a:pt x="825" y="306"/>
                </a:cubicBezTo>
                <a:cubicBezTo>
                  <a:pt x="826" y="306"/>
                  <a:pt x="826" y="306"/>
                  <a:pt x="826" y="306"/>
                </a:cubicBezTo>
                <a:cubicBezTo>
                  <a:pt x="826" y="308"/>
                  <a:pt x="826" y="308"/>
                  <a:pt x="826" y="308"/>
                </a:cubicBezTo>
                <a:cubicBezTo>
                  <a:pt x="824" y="309"/>
                  <a:pt x="824" y="309"/>
                  <a:pt x="824" y="309"/>
                </a:cubicBezTo>
                <a:cubicBezTo>
                  <a:pt x="823" y="309"/>
                  <a:pt x="823" y="309"/>
                  <a:pt x="823" y="309"/>
                </a:cubicBezTo>
                <a:cubicBezTo>
                  <a:pt x="817" y="315"/>
                  <a:pt x="817" y="315"/>
                  <a:pt x="817" y="315"/>
                </a:cubicBezTo>
                <a:cubicBezTo>
                  <a:pt x="816" y="316"/>
                  <a:pt x="816" y="316"/>
                  <a:pt x="816" y="316"/>
                </a:cubicBezTo>
                <a:cubicBezTo>
                  <a:pt x="814" y="320"/>
                  <a:pt x="814" y="320"/>
                  <a:pt x="814" y="320"/>
                </a:cubicBezTo>
                <a:cubicBezTo>
                  <a:pt x="815" y="321"/>
                  <a:pt x="815" y="321"/>
                  <a:pt x="815" y="321"/>
                </a:cubicBezTo>
                <a:cubicBezTo>
                  <a:pt x="817" y="322"/>
                  <a:pt x="817" y="322"/>
                  <a:pt x="817" y="322"/>
                </a:cubicBezTo>
                <a:cubicBezTo>
                  <a:pt x="818" y="324"/>
                  <a:pt x="818" y="324"/>
                  <a:pt x="818" y="324"/>
                </a:cubicBezTo>
                <a:cubicBezTo>
                  <a:pt x="820" y="326"/>
                  <a:pt x="820" y="326"/>
                  <a:pt x="820" y="326"/>
                </a:cubicBezTo>
                <a:cubicBezTo>
                  <a:pt x="823" y="330"/>
                  <a:pt x="823" y="330"/>
                  <a:pt x="823" y="330"/>
                </a:cubicBezTo>
                <a:cubicBezTo>
                  <a:pt x="823" y="336"/>
                  <a:pt x="823" y="336"/>
                  <a:pt x="823" y="336"/>
                </a:cubicBezTo>
                <a:cubicBezTo>
                  <a:pt x="823" y="342"/>
                  <a:pt x="823" y="342"/>
                  <a:pt x="823" y="342"/>
                </a:cubicBezTo>
                <a:cubicBezTo>
                  <a:pt x="825" y="345"/>
                  <a:pt x="825" y="345"/>
                  <a:pt x="825" y="345"/>
                </a:cubicBezTo>
                <a:cubicBezTo>
                  <a:pt x="824" y="347"/>
                  <a:pt x="824" y="347"/>
                  <a:pt x="824" y="347"/>
                </a:cubicBezTo>
                <a:cubicBezTo>
                  <a:pt x="824" y="351"/>
                  <a:pt x="824" y="351"/>
                  <a:pt x="824" y="351"/>
                </a:cubicBezTo>
                <a:cubicBezTo>
                  <a:pt x="824" y="352"/>
                  <a:pt x="824" y="352"/>
                  <a:pt x="824" y="352"/>
                </a:cubicBezTo>
                <a:cubicBezTo>
                  <a:pt x="822" y="357"/>
                  <a:pt x="822" y="357"/>
                  <a:pt x="822" y="357"/>
                </a:cubicBezTo>
                <a:cubicBezTo>
                  <a:pt x="821" y="359"/>
                  <a:pt x="821" y="359"/>
                  <a:pt x="821" y="359"/>
                </a:cubicBezTo>
                <a:cubicBezTo>
                  <a:pt x="822" y="359"/>
                  <a:pt x="822" y="359"/>
                  <a:pt x="822" y="359"/>
                </a:cubicBezTo>
                <a:cubicBezTo>
                  <a:pt x="823" y="357"/>
                  <a:pt x="823" y="357"/>
                  <a:pt x="823" y="357"/>
                </a:cubicBezTo>
                <a:cubicBezTo>
                  <a:pt x="824" y="356"/>
                  <a:pt x="824" y="356"/>
                  <a:pt x="824" y="356"/>
                </a:cubicBezTo>
                <a:cubicBezTo>
                  <a:pt x="824" y="358"/>
                  <a:pt x="824" y="358"/>
                  <a:pt x="824" y="358"/>
                </a:cubicBezTo>
                <a:cubicBezTo>
                  <a:pt x="826" y="361"/>
                  <a:pt x="826" y="361"/>
                  <a:pt x="826" y="361"/>
                </a:cubicBezTo>
                <a:cubicBezTo>
                  <a:pt x="824" y="362"/>
                  <a:pt x="824" y="362"/>
                  <a:pt x="824" y="362"/>
                </a:cubicBezTo>
                <a:cubicBezTo>
                  <a:pt x="822" y="363"/>
                  <a:pt x="822" y="363"/>
                  <a:pt x="822" y="363"/>
                </a:cubicBezTo>
                <a:cubicBezTo>
                  <a:pt x="821" y="362"/>
                  <a:pt x="821" y="362"/>
                  <a:pt x="821" y="362"/>
                </a:cubicBezTo>
                <a:cubicBezTo>
                  <a:pt x="820" y="361"/>
                  <a:pt x="820" y="361"/>
                  <a:pt x="820" y="361"/>
                </a:cubicBezTo>
                <a:cubicBezTo>
                  <a:pt x="817" y="366"/>
                  <a:pt x="817" y="366"/>
                  <a:pt x="817" y="366"/>
                </a:cubicBezTo>
                <a:cubicBezTo>
                  <a:pt x="815" y="367"/>
                  <a:pt x="815" y="367"/>
                  <a:pt x="815" y="367"/>
                </a:cubicBezTo>
                <a:cubicBezTo>
                  <a:pt x="815" y="369"/>
                  <a:pt x="815" y="369"/>
                  <a:pt x="815" y="369"/>
                </a:cubicBezTo>
                <a:cubicBezTo>
                  <a:pt x="810" y="371"/>
                  <a:pt x="810" y="371"/>
                  <a:pt x="810" y="371"/>
                </a:cubicBezTo>
                <a:cubicBezTo>
                  <a:pt x="809" y="372"/>
                  <a:pt x="809" y="372"/>
                  <a:pt x="809" y="372"/>
                </a:cubicBezTo>
                <a:cubicBezTo>
                  <a:pt x="808" y="373"/>
                  <a:pt x="808" y="373"/>
                  <a:pt x="808" y="373"/>
                </a:cubicBezTo>
                <a:cubicBezTo>
                  <a:pt x="802" y="375"/>
                  <a:pt x="802" y="375"/>
                  <a:pt x="802" y="375"/>
                </a:cubicBezTo>
                <a:cubicBezTo>
                  <a:pt x="798" y="377"/>
                  <a:pt x="798" y="377"/>
                  <a:pt x="798" y="377"/>
                </a:cubicBezTo>
                <a:cubicBezTo>
                  <a:pt x="797" y="378"/>
                  <a:pt x="797" y="378"/>
                  <a:pt x="797" y="378"/>
                </a:cubicBezTo>
                <a:cubicBezTo>
                  <a:pt x="795" y="378"/>
                  <a:pt x="795" y="378"/>
                  <a:pt x="795" y="378"/>
                </a:cubicBezTo>
                <a:cubicBezTo>
                  <a:pt x="793" y="379"/>
                  <a:pt x="793" y="379"/>
                  <a:pt x="793" y="379"/>
                </a:cubicBezTo>
                <a:cubicBezTo>
                  <a:pt x="789" y="380"/>
                  <a:pt x="789" y="380"/>
                  <a:pt x="789" y="380"/>
                </a:cubicBezTo>
                <a:cubicBezTo>
                  <a:pt x="786" y="381"/>
                  <a:pt x="786" y="381"/>
                  <a:pt x="786" y="381"/>
                </a:cubicBezTo>
                <a:cubicBezTo>
                  <a:pt x="787" y="382"/>
                  <a:pt x="787" y="382"/>
                  <a:pt x="787" y="382"/>
                </a:cubicBezTo>
                <a:cubicBezTo>
                  <a:pt x="787" y="384"/>
                  <a:pt x="787" y="384"/>
                  <a:pt x="787" y="384"/>
                </a:cubicBezTo>
                <a:cubicBezTo>
                  <a:pt x="788" y="386"/>
                  <a:pt x="788" y="386"/>
                  <a:pt x="788" y="386"/>
                </a:cubicBezTo>
                <a:cubicBezTo>
                  <a:pt x="788" y="388"/>
                  <a:pt x="788" y="388"/>
                  <a:pt x="788" y="388"/>
                </a:cubicBezTo>
                <a:cubicBezTo>
                  <a:pt x="789" y="389"/>
                  <a:pt x="789" y="389"/>
                  <a:pt x="789" y="389"/>
                </a:cubicBezTo>
                <a:cubicBezTo>
                  <a:pt x="788" y="390"/>
                  <a:pt x="788" y="390"/>
                  <a:pt x="788" y="390"/>
                </a:cubicBezTo>
                <a:cubicBezTo>
                  <a:pt x="788" y="391"/>
                  <a:pt x="788" y="391"/>
                  <a:pt x="788" y="391"/>
                </a:cubicBezTo>
                <a:cubicBezTo>
                  <a:pt x="789" y="391"/>
                  <a:pt x="789" y="391"/>
                  <a:pt x="789" y="391"/>
                </a:cubicBezTo>
                <a:cubicBezTo>
                  <a:pt x="788" y="392"/>
                  <a:pt x="788" y="392"/>
                  <a:pt x="788" y="392"/>
                </a:cubicBezTo>
                <a:cubicBezTo>
                  <a:pt x="789" y="394"/>
                  <a:pt x="789" y="394"/>
                  <a:pt x="789" y="394"/>
                </a:cubicBezTo>
                <a:cubicBezTo>
                  <a:pt x="788" y="395"/>
                  <a:pt x="788" y="395"/>
                  <a:pt x="788" y="395"/>
                </a:cubicBezTo>
                <a:cubicBezTo>
                  <a:pt x="788" y="397"/>
                  <a:pt x="788" y="397"/>
                  <a:pt x="788" y="397"/>
                </a:cubicBezTo>
                <a:cubicBezTo>
                  <a:pt x="787" y="398"/>
                  <a:pt x="787" y="398"/>
                  <a:pt x="787" y="398"/>
                </a:cubicBezTo>
                <a:cubicBezTo>
                  <a:pt x="787" y="401"/>
                  <a:pt x="787" y="401"/>
                  <a:pt x="787" y="401"/>
                </a:cubicBezTo>
                <a:cubicBezTo>
                  <a:pt x="787" y="403"/>
                  <a:pt x="787" y="403"/>
                  <a:pt x="787" y="403"/>
                </a:cubicBezTo>
                <a:cubicBezTo>
                  <a:pt x="786" y="408"/>
                  <a:pt x="786" y="408"/>
                  <a:pt x="786" y="408"/>
                </a:cubicBezTo>
                <a:cubicBezTo>
                  <a:pt x="786" y="409"/>
                  <a:pt x="786" y="409"/>
                  <a:pt x="786" y="409"/>
                </a:cubicBezTo>
                <a:cubicBezTo>
                  <a:pt x="787" y="410"/>
                  <a:pt x="787" y="410"/>
                  <a:pt x="787" y="410"/>
                </a:cubicBezTo>
                <a:cubicBezTo>
                  <a:pt x="787" y="411"/>
                  <a:pt x="787" y="411"/>
                  <a:pt x="787" y="411"/>
                </a:cubicBezTo>
                <a:cubicBezTo>
                  <a:pt x="788" y="412"/>
                  <a:pt x="788" y="412"/>
                  <a:pt x="788" y="412"/>
                </a:cubicBezTo>
                <a:cubicBezTo>
                  <a:pt x="786" y="414"/>
                  <a:pt x="786" y="414"/>
                  <a:pt x="786" y="414"/>
                </a:cubicBezTo>
                <a:cubicBezTo>
                  <a:pt x="786" y="416"/>
                  <a:pt x="786" y="416"/>
                  <a:pt x="786" y="416"/>
                </a:cubicBezTo>
                <a:cubicBezTo>
                  <a:pt x="787" y="417"/>
                  <a:pt x="787" y="417"/>
                  <a:pt x="787" y="417"/>
                </a:cubicBezTo>
                <a:cubicBezTo>
                  <a:pt x="787" y="420"/>
                  <a:pt x="787" y="420"/>
                  <a:pt x="787" y="420"/>
                </a:cubicBezTo>
                <a:cubicBezTo>
                  <a:pt x="788" y="421"/>
                  <a:pt x="788" y="421"/>
                  <a:pt x="788" y="421"/>
                </a:cubicBezTo>
                <a:cubicBezTo>
                  <a:pt x="786" y="423"/>
                  <a:pt x="786" y="423"/>
                  <a:pt x="786" y="423"/>
                </a:cubicBezTo>
                <a:cubicBezTo>
                  <a:pt x="785" y="426"/>
                  <a:pt x="785" y="426"/>
                  <a:pt x="785" y="426"/>
                </a:cubicBezTo>
                <a:cubicBezTo>
                  <a:pt x="784" y="426"/>
                  <a:pt x="784" y="426"/>
                  <a:pt x="784" y="426"/>
                </a:cubicBezTo>
                <a:cubicBezTo>
                  <a:pt x="783" y="426"/>
                  <a:pt x="783" y="426"/>
                  <a:pt x="783" y="426"/>
                </a:cubicBezTo>
                <a:cubicBezTo>
                  <a:pt x="783" y="428"/>
                  <a:pt x="783" y="428"/>
                  <a:pt x="783" y="428"/>
                </a:cubicBezTo>
                <a:cubicBezTo>
                  <a:pt x="784" y="429"/>
                  <a:pt x="784" y="429"/>
                  <a:pt x="784" y="429"/>
                </a:cubicBezTo>
                <a:cubicBezTo>
                  <a:pt x="783" y="431"/>
                  <a:pt x="783" y="431"/>
                  <a:pt x="783" y="431"/>
                </a:cubicBezTo>
                <a:cubicBezTo>
                  <a:pt x="782" y="434"/>
                  <a:pt x="782" y="434"/>
                  <a:pt x="782" y="434"/>
                </a:cubicBezTo>
                <a:cubicBezTo>
                  <a:pt x="783" y="436"/>
                  <a:pt x="783" y="436"/>
                  <a:pt x="783" y="436"/>
                </a:cubicBezTo>
                <a:cubicBezTo>
                  <a:pt x="785" y="438"/>
                  <a:pt x="785" y="438"/>
                  <a:pt x="785" y="438"/>
                </a:cubicBezTo>
                <a:cubicBezTo>
                  <a:pt x="787" y="439"/>
                  <a:pt x="787" y="439"/>
                  <a:pt x="787" y="439"/>
                </a:cubicBezTo>
                <a:cubicBezTo>
                  <a:pt x="783" y="439"/>
                  <a:pt x="783" y="439"/>
                  <a:pt x="783" y="439"/>
                </a:cubicBezTo>
                <a:cubicBezTo>
                  <a:pt x="781" y="437"/>
                  <a:pt x="781" y="437"/>
                  <a:pt x="781" y="437"/>
                </a:cubicBezTo>
                <a:cubicBezTo>
                  <a:pt x="781" y="434"/>
                  <a:pt x="781" y="434"/>
                  <a:pt x="781" y="434"/>
                </a:cubicBezTo>
                <a:cubicBezTo>
                  <a:pt x="781" y="431"/>
                  <a:pt x="781" y="431"/>
                  <a:pt x="781" y="431"/>
                </a:cubicBezTo>
                <a:cubicBezTo>
                  <a:pt x="779" y="430"/>
                  <a:pt x="779" y="430"/>
                  <a:pt x="779" y="430"/>
                </a:cubicBezTo>
                <a:cubicBezTo>
                  <a:pt x="779" y="429"/>
                  <a:pt x="779" y="429"/>
                  <a:pt x="779" y="429"/>
                </a:cubicBezTo>
                <a:cubicBezTo>
                  <a:pt x="779" y="428"/>
                  <a:pt x="779" y="428"/>
                  <a:pt x="779" y="428"/>
                </a:cubicBezTo>
                <a:cubicBezTo>
                  <a:pt x="779" y="428"/>
                  <a:pt x="779" y="428"/>
                  <a:pt x="779" y="428"/>
                </a:cubicBezTo>
                <a:cubicBezTo>
                  <a:pt x="775" y="432"/>
                  <a:pt x="775" y="432"/>
                  <a:pt x="775" y="432"/>
                </a:cubicBezTo>
                <a:cubicBezTo>
                  <a:pt x="775" y="434"/>
                  <a:pt x="775" y="434"/>
                  <a:pt x="775" y="434"/>
                </a:cubicBezTo>
                <a:cubicBezTo>
                  <a:pt x="775" y="435"/>
                  <a:pt x="775" y="435"/>
                  <a:pt x="775" y="435"/>
                </a:cubicBezTo>
                <a:cubicBezTo>
                  <a:pt x="773" y="435"/>
                  <a:pt x="773" y="435"/>
                  <a:pt x="773" y="435"/>
                </a:cubicBezTo>
                <a:cubicBezTo>
                  <a:pt x="771" y="433"/>
                  <a:pt x="771" y="433"/>
                  <a:pt x="771" y="433"/>
                </a:cubicBezTo>
                <a:cubicBezTo>
                  <a:pt x="769" y="433"/>
                  <a:pt x="769" y="433"/>
                  <a:pt x="769" y="433"/>
                </a:cubicBezTo>
                <a:cubicBezTo>
                  <a:pt x="766" y="434"/>
                  <a:pt x="766" y="434"/>
                  <a:pt x="766" y="434"/>
                </a:cubicBezTo>
                <a:cubicBezTo>
                  <a:pt x="763" y="436"/>
                  <a:pt x="763" y="436"/>
                  <a:pt x="763" y="436"/>
                </a:cubicBezTo>
                <a:cubicBezTo>
                  <a:pt x="767" y="432"/>
                  <a:pt x="767" y="432"/>
                  <a:pt x="767" y="432"/>
                </a:cubicBezTo>
                <a:cubicBezTo>
                  <a:pt x="768" y="430"/>
                  <a:pt x="768" y="430"/>
                  <a:pt x="768" y="430"/>
                </a:cubicBezTo>
                <a:cubicBezTo>
                  <a:pt x="767" y="428"/>
                  <a:pt x="767" y="428"/>
                  <a:pt x="767" y="428"/>
                </a:cubicBezTo>
                <a:cubicBezTo>
                  <a:pt x="767" y="425"/>
                  <a:pt x="767" y="425"/>
                  <a:pt x="767" y="425"/>
                </a:cubicBezTo>
                <a:cubicBezTo>
                  <a:pt x="766" y="423"/>
                  <a:pt x="766" y="423"/>
                  <a:pt x="766" y="423"/>
                </a:cubicBezTo>
                <a:cubicBezTo>
                  <a:pt x="765" y="422"/>
                  <a:pt x="765" y="422"/>
                  <a:pt x="765" y="422"/>
                </a:cubicBezTo>
                <a:cubicBezTo>
                  <a:pt x="765" y="422"/>
                  <a:pt x="765" y="422"/>
                  <a:pt x="765" y="422"/>
                </a:cubicBezTo>
                <a:cubicBezTo>
                  <a:pt x="763" y="421"/>
                  <a:pt x="763" y="421"/>
                  <a:pt x="763" y="421"/>
                </a:cubicBezTo>
                <a:cubicBezTo>
                  <a:pt x="761" y="420"/>
                  <a:pt x="761" y="420"/>
                  <a:pt x="761" y="420"/>
                </a:cubicBezTo>
                <a:cubicBezTo>
                  <a:pt x="761" y="419"/>
                  <a:pt x="761" y="419"/>
                  <a:pt x="761" y="419"/>
                </a:cubicBezTo>
                <a:cubicBezTo>
                  <a:pt x="760" y="418"/>
                  <a:pt x="760" y="418"/>
                  <a:pt x="760" y="418"/>
                </a:cubicBezTo>
                <a:cubicBezTo>
                  <a:pt x="761" y="416"/>
                  <a:pt x="761" y="416"/>
                  <a:pt x="761" y="416"/>
                </a:cubicBezTo>
                <a:cubicBezTo>
                  <a:pt x="760" y="414"/>
                  <a:pt x="760" y="414"/>
                  <a:pt x="760" y="414"/>
                </a:cubicBezTo>
                <a:cubicBezTo>
                  <a:pt x="758" y="413"/>
                  <a:pt x="758" y="413"/>
                  <a:pt x="758" y="413"/>
                </a:cubicBezTo>
                <a:cubicBezTo>
                  <a:pt x="758" y="411"/>
                  <a:pt x="758" y="411"/>
                  <a:pt x="758" y="411"/>
                </a:cubicBezTo>
                <a:cubicBezTo>
                  <a:pt x="756" y="409"/>
                  <a:pt x="756" y="409"/>
                  <a:pt x="756" y="409"/>
                </a:cubicBezTo>
                <a:cubicBezTo>
                  <a:pt x="755" y="408"/>
                  <a:pt x="755" y="408"/>
                  <a:pt x="755" y="408"/>
                </a:cubicBezTo>
                <a:cubicBezTo>
                  <a:pt x="756" y="404"/>
                  <a:pt x="756" y="404"/>
                  <a:pt x="756" y="404"/>
                </a:cubicBezTo>
                <a:cubicBezTo>
                  <a:pt x="758" y="402"/>
                  <a:pt x="758" y="402"/>
                  <a:pt x="758" y="402"/>
                </a:cubicBezTo>
                <a:cubicBezTo>
                  <a:pt x="759" y="399"/>
                  <a:pt x="759" y="399"/>
                  <a:pt x="759" y="399"/>
                </a:cubicBezTo>
                <a:cubicBezTo>
                  <a:pt x="759" y="398"/>
                  <a:pt x="759" y="398"/>
                  <a:pt x="759" y="398"/>
                </a:cubicBezTo>
                <a:cubicBezTo>
                  <a:pt x="762" y="394"/>
                  <a:pt x="762" y="394"/>
                  <a:pt x="762" y="394"/>
                </a:cubicBezTo>
                <a:cubicBezTo>
                  <a:pt x="762" y="389"/>
                  <a:pt x="762" y="389"/>
                  <a:pt x="762" y="389"/>
                </a:cubicBezTo>
                <a:cubicBezTo>
                  <a:pt x="761" y="389"/>
                  <a:pt x="761" y="389"/>
                  <a:pt x="761" y="389"/>
                </a:cubicBezTo>
                <a:cubicBezTo>
                  <a:pt x="761" y="386"/>
                  <a:pt x="761" y="386"/>
                  <a:pt x="761" y="386"/>
                </a:cubicBezTo>
                <a:cubicBezTo>
                  <a:pt x="762" y="384"/>
                  <a:pt x="762" y="384"/>
                  <a:pt x="762" y="384"/>
                </a:cubicBezTo>
                <a:cubicBezTo>
                  <a:pt x="763" y="382"/>
                  <a:pt x="763" y="382"/>
                  <a:pt x="763" y="382"/>
                </a:cubicBezTo>
                <a:cubicBezTo>
                  <a:pt x="764" y="380"/>
                  <a:pt x="764" y="380"/>
                  <a:pt x="764" y="380"/>
                </a:cubicBezTo>
                <a:cubicBezTo>
                  <a:pt x="766" y="375"/>
                  <a:pt x="766" y="375"/>
                  <a:pt x="766" y="375"/>
                </a:cubicBezTo>
                <a:cubicBezTo>
                  <a:pt x="766" y="372"/>
                  <a:pt x="766" y="372"/>
                  <a:pt x="766" y="372"/>
                </a:cubicBezTo>
                <a:cubicBezTo>
                  <a:pt x="765" y="372"/>
                  <a:pt x="765" y="372"/>
                  <a:pt x="765" y="372"/>
                </a:cubicBezTo>
                <a:cubicBezTo>
                  <a:pt x="764" y="372"/>
                  <a:pt x="764" y="372"/>
                  <a:pt x="764" y="372"/>
                </a:cubicBezTo>
                <a:cubicBezTo>
                  <a:pt x="764" y="372"/>
                  <a:pt x="764" y="372"/>
                  <a:pt x="764" y="372"/>
                </a:cubicBezTo>
                <a:cubicBezTo>
                  <a:pt x="763" y="372"/>
                  <a:pt x="763" y="372"/>
                  <a:pt x="763" y="372"/>
                </a:cubicBezTo>
                <a:cubicBezTo>
                  <a:pt x="760" y="373"/>
                  <a:pt x="760" y="373"/>
                  <a:pt x="760" y="373"/>
                </a:cubicBezTo>
                <a:cubicBezTo>
                  <a:pt x="757" y="372"/>
                  <a:pt x="757" y="372"/>
                  <a:pt x="757" y="372"/>
                </a:cubicBezTo>
                <a:cubicBezTo>
                  <a:pt x="754" y="371"/>
                  <a:pt x="754" y="371"/>
                  <a:pt x="754" y="371"/>
                </a:cubicBezTo>
                <a:cubicBezTo>
                  <a:pt x="753" y="371"/>
                  <a:pt x="753" y="371"/>
                  <a:pt x="753" y="371"/>
                </a:cubicBezTo>
                <a:cubicBezTo>
                  <a:pt x="752" y="370"/>
                  <a:pt x="752" y="370"/>
                  <a:pt x="752" y="370"/>
                </a:cubicBezTo>
                <a:cubicBezTo>
                  <a:pt x="748" y="370"/>
                  <a:pt x="748" y="370"/>
                  <a:pt x="748" y="370"/>
                </a:cubicBezTo>
                <a:cubicBezTo>
                  <a:pt x="745" y="370"/>
                  <a:pt x="745" y="370"/>
                  <a:pt x="745" y="370"/>
                </a:cubicBezTo>
                <a:cubicBezTo>
                  <a:pt x="744" y="370"/>
                  <a:pt x="744" y="370"/>
                  <a:pt x="744" y="370"/>
                </a:cubicBezTo>
                <a:cubicBezTo>
                  <a:pt x="741" y="370"/>
                  <a:pt x="741" y="370"/>
                  <a:pt x="741" y="370"/>
                </a:cubicBezTo>
                <a:cubicBezTo>
                  <a:pt x="741" y="369"/>
                  <a:pt x="741" y="369"/>
                  <a:pt x="741" y="369"/>
                </a:cubicBezTo>
                <a:cubicBezTo>
                  <a:pt x="741" y="368"/>
                  <a:pt x="741" y="368"/>
                  <a:pt x="741" y="368"/>
                </a:cubicBezTo>
                <a:cubicBezTo>
                  <a:pt x="738" y="366"/>
                  <a:pt x="738" y="366"/>
                  <a:pt x="738" y="366"/>
                </a:cubicBezTo>
                <a:cubicBezTo>
                  <a:pt x="738" y="364"/>
                  <a:pt x="738" y="364"/>
                  <a:pt x="738" y="364"/>
                </a:cubicBezTo>
                <a:cubicBezTo>
                  <a:pt x="735" y="361"/>
                  <a:pt x="735" y="361"/>
                  <a:pt x="735" y="361"/>
                </a:cubicBezTo>
                <a:cubicBezTo>
                  <a:pt x="733" y="361"/>
                  <a:pt x="733" y="361"/>
                  <a:pt x="733" y="361"/>
                </a:cubicBezTo>
                <a:cubicBezTo>
                  <a:pt x="730" y="359"/>
                  <a:pt x="730" y="359"/>
                  <a:pt x="730" y="359"/>
                </a:cubicBezTo>
                <a:cubicBezTo>
                  <a:pt x="729" y="358"/>
                  <a:pt x="729" y="358"/>
                  <a:pt x="729" y="358"/>
                </a:cubicBezTo>
                <a:cubicBezTo>
                  <a:pt x="724" y="356"/>
                  <a:pt x="724" y="356"/>
                  <a:pt x="724" y="356"/>
                </a:cubicBezTo>
                <a:cubicBezTo>
                  <a:pt x="723" y="354"/>
                  <a:pt x="723" y="354"/>
                  <a:pt x="723" y="354"/>
                </a:cubicBezTo>
                <a:cubicBezTo>
                  <a:pt x="722" y="355"/>
                  <a:pt x="722" y="355"/>
                  <a:pt x="722" y="355"/>
                </a:cubicBezTo>
                <a:cubicBezTo>
                  <a:pt x="722" y="354"/>
                  <a:pt x="722" y="354"/>
                  <a:pt x="722" y="354"/>
                </a:cubicBezTo>
                <a:cubicBezTo>
                  <a:pt x="721" y="351"/>
                  <a:pt x="721" y="351"/>
                  <a:pt x="721" y="351"/>
                </a:cubicBezTo>
                <a:cubicBezTo>
                  <a:pt x="719" y="349"/>
                  <a:pt x="719" y="349"/>
                  <a:pt x="719" y="349"/>
                </a:cubicBezTo>
                <a:cubicBezTo>
                  <a:pt x="719" y="347"/>
                  <a:pt x="719" y="347"/>
                  <a:pt x="719" y="347"/>
                </a:cubicBezTo>
                <a:cubicBezTo>
                  <a:pt x="718" y="346"/>
                  <a:pt x="718" y="346"/>
                  <a:pt x="718" y="346"/>
                </a:cubicBezTo>
                <a:cubicBezTo>
                  <a:pt x="716" y="343"/>
                  <a:pt x="716" y="343"/>
                  <a:pt x="716" y="343"/>
                </a:cubicBezTo>
                <a:cubicBezTo>
                  <a:pt x="715" y="343"/>
                  <a:pt x="715" y="343"/>
                  <a:pt x="715" y="343"/>
                </a:cubicBezTo>
                <a:cubicBezTo>
                  <a:pt x="711" y="339"/>
                  <a:pt x="711" y="339"/>
                  <a:pt x="711" y="339"/>
                </a:cubicBezTo>
                <a:cubicBezTo>
                  <a:pt x="709" y="339"/>
                  <a:pt x="709" y="339"/>
                  <a:pt x="709" y="339"/>
                </a:cubicBezTo>
                <a:cubicBezTo>
                  <a:pt x="708" y="338"/>
                  <a:pt x="708" y="338"/>
                  <a:pt x="708" y="338"/>
                </a:cubicBezTo>
                <a:cubicBezTo>
                  <a:pt x="704" y="337"/>
                  <a:pt x="704" y="337"/>
                  <a:pt x="704" y="337"/>
                </a:cubicBezTo>
                <a:cubicBezTo>
                  <a:pt x="701" y="334"/>
                  <a:pt x="701" y="334"/>
                  <a:pt x="701" y="334"/>
                </a:cubicBezTo>
                <a:cubicBezTo>
                  <a:pt x="696" y="331"/>
                  <a:pt x="696" y="331"/>
                  <a:pt x="696" y="331"/>
                </a:cubicBezTo>
                <a:cubicBezTo>
                  <a:pt x="693" y="331"/>
                  <a:pt x="693" y="331"/>
                  <a:pt x="693" y="331"/>
                </a:cubicBezTo>
                <a:cubicBezTo>
                  <a:pt x="685" y="334"/>
                  <a:pt x="685" y="334"/>
                  <a:pt x="685" y="334"/>
                </a:cubicBezTo>
                <a:cubicBezTo>
                  <a:pt x="678" y="336"/>
                  <a:pt x="678" y="336"/>
                  <a:pt x="678" y="336"/>
                </a:cubicBezTo>
                <a:cubicBezTo>
                  <a:pt x="675" y="336"/>
                  <a:pt x="675" y="336"/>
                  <a:pt x="675" y="336"/>
                </a:cubicBezTo>
                <a:cubicBezTo>
                  <a:pt x="673" y="335"/>
                  <a:pt x="673" y="335"/>
                  <a:pt x="673" y="335"/>
                </a:cubicBezTo>
                <a:cubicBezTo>
                  <a:pt x="675" y="335"/>
                  <a:pt x="675" y="335"/>
                  <a:pt x="675" y="335"/>
                </a:cubicBezTo>
                <a:cubicBezTo>
                  <a:pt x="678" y="334"/>
                  <a:pt x="678" y="334"/>
                  <a:pt x="678" y="334"/>
                </a:cubicBezTo>
                <a:cubicBezTo>
                  <a:pt x="684" y="328"/>
                  <a:pt x="684" y="328"/>
                  <a:pt x="684" y="328"/>
                </a:cubicBezTo>
                <a:cubicBezTo>
                  <a:pt x="685" y="326"/>
                  <a:pt x="685" y="326"/>
                  <a:pt x="685" y="326"/>
                </a:cubicBezTo>
                <a:cubicBezTo>
                  <a:pt x="684" y="322"/>
                  <a:pt x="684" y="322"/>
                  <a:pt x="684" y="322"/>
                </a:cubicBezTo>
                <a:cubicBezTo>
                  <a:pt x="683" y="321"/>
                  <a:pt x="683" y="321"/>
                  <a:pt x="683" y="321"/>
                </a:cubicBezTo>
                <a:cubicBezTo>
                  <a:pt x="685" y="317"/>
                  <a:pt x="685" y="317"/>
                  <a:pt x="685" y="317"/>
                </a:cubicBezTo>
                <a:cubicBezTo>
                  <a:pt x="685" y="313"/>
                  <a:pt x="685" y="313"/>
                  <a:pt x="685" y="313"/>
                </a:cubicBezTo>
                <a:cubicBezTo>
                  <a:pt x="684" y="310"/>
                  <a:pt x="684" y="310"/>
                  <a:pt x="684" y="310"/>
                </a:cubicBezTo>
                <a:cubicBezTo>
                  <a:pt x="684" y="308"/>
                  <a:pt x="684" y="308"/>
                  <a:pt x="684" y="308"/>
                </a:cubicBezTo>
                <a:cubicBezTo>
                  <a:pt x="684" y="305"/>
                  <a:pt x="684" y="305"/>
                  <a:pt x="684" y="305"/>
                </a:cubicBezTo>
                <a:cubicBezTo>
                  <a:pt x="684" y="303"/>
                  <a:pt x="684" y="303"/>
                  <a:pt x="684" y="303"/>
                </a:cubicBezTo>
                <a:cubicBezTo>
                  <a:pt x="683" y="303"/>
                  <a:pt x="683" y="303"/>
                  <a:pt x="683" y="303"/>
                </a:cubicBezTo>
                <a:cubicBezTo>
                  <a:pt x="677" y="303"/>
                  <a:pt x="677" y="303"/>
                  <a:pt x="677" y="303"/>
                </a:cubicBezTo>
                <a:cubicBezTo>
                  <a:pt x="674" y="308"/>
                  <a:pt x="674" y="308"/>
                  <a:pt x="674" y="308"/>
                </a:cubicBezTo>
                <a:cubicBezTo>
                  <a:pt x="671" y="312"/>
                  <a:pt x="671" y="312"/>
                  <a:pt x="671" y="312"/>
                </a:cubicBezTo>
                <a:cubicBezTo>
                  <a:pt x="666" y="313"/>
                  <a:pt x="666" y="313"/>
                  <a:pt x="666" y="313"/>
                </a:cubicBezTo>
                <a:cubicBezTo>
                  <a:pt x="663" y="315"/>
                  <a:pt x="663" y="315"/>
                  <a:pt x="663" y="315"/>
                </a:cubicBezTo>
                <a:cubicBezTo>
                  <a:pt x="664" y="313"/>
                  <a:pt x="664" y="313"/>
                  <a:pt x="664" y="313"/>
                </a:cubicBezTo>
                <a:cubicBezTo>
                  <a:pt x="670" y="312"/>
                  <a:pt x="670" y="312"/>
                  <a:pt x="670" y="312"/>
                </a:cubicBezTo>
                <a:cubicBezTo>
                  <a:pt x="672" y="309"/>
                  <a:pt x="672" y="309"/>
                  <a:pt x="672" y="309"/>
                </a:cubicBezTo>
                <a:cubicBezTo>
                  <a:pt x="674" y="304"/>
                  <a:pt x="674" y="304"/>
                  <a:pt x="674" y="304"/>
                </a:cubicBezTo>
                <a:cubicBezTo>
                  <a:pt x="673" y="304"/>
                  <a:pt x="673" y="304"/>
                  <a:pt x="673" y="304"/>
                </a:cubicBezTo>
                <a:cubicBezTo>
                  <a:pt x="673" y="301"/>
                  <a:pt x="673" y="301"/>
                  <a:pt x="673" y="301"/>
                </a:cubicBezTo>
                <a:cubicBezTo>
                  <a:pt x="672" y="300"/>
                  <a:pt x="672" y="300"/>
                  <a:pt x="672" y="300"/>
                </a:cubicBezTo>
                <a:cubicBezTo>
                  <a:pt x="673" y="298"/>
                  <a:pt x="673" y="298"/>
                  <a:pt x="673" y="298"/>
                </a:cubicBezTo>
                <a:cubicBezTo>
                  <a:pt x="672" y="297"/>
                  <a:pt x="672" y="297"/>
                  <a:pt x="672" y="297"/>
                </a:cubicBezTo>
                <a:cubicBezTo>
                  <a:pt x="670" y="296"/>
                  <a:pt x="670" y="296"/>
                  <a:pt x="670" y="296"/>
                </a:cubicBezTo>
                <a:cubicBezTo>
                  <a:pt x="671" y="295"/>
                  <a:pt x="671" y="295"/>
                  <a:pt x="671" y="295"/>
                </a:cubicBezTo>
                <a:cubicBezTo>
                  <a:pt x="673" y="295"/>
                  <a:pt x="673" y="295"/>
                  <a:pt x="673" y="295"/>
                </a:cubicBezTo>
                <a:cubicBezTo>
                  <a:pt x="674" y="293"/>
                  <a:pt x="674" y="293"/>
                  <a:pt x="674" y="293"/>
                </a:cubicBezTo>
                <a:cubicBezTo>
                  <a:pt x="676" y="290"/>
                  <a:pt x="676" y="290"/>
                  <a:pt x="676" y="290"/>
                </a:cubicBezTo>
                <a:cubicBezTo>
                  <a:pt x="676" y="287"/>
                  <a:pt x="676" y="287"/>
                  <a:pt x="676" y="287"/>
                </a:cubicBezTo>
                <a:cubicBezTo>
                  <a:pt x="675" y="286"/>
                  <a:pt x="675" y="286"/>
                  <a:pt x="675" y="286"/>
                </a:cubicBezTo>
                <a:cubicBezTo>
                  <a:pt x="676" y="282"/>
                  <a:pt x="676" y="282"/>
                  <a:pt x="676" y="282"/>
                </a:cubicBezTo>
                <a:cubicBezTo>
                  <a:pt x="678" y="281"/>
                  <a:pt x="678" y="281"/>
                  <a:pt x="678" y="281"/>
                </a:cubicBezTo>
                <a:cubicBezTo>
                  <a:pt x="679" y="279"/>
                  <a:pt x="679" y="279"/>
                  <a:pt x="679" y="279"/>
                </a:cubicBezTo>
                <a:cubicBezTo>
                  <a:pt x="680" y="277"/>
                  <a:pt x="680" y="277"/>
                  <a:pt x="680" y="277"/>
                </a:cubicBezTo>
                <a:cubicBezTo>
                  <a:pt x="681" y="273"/>
                  <a:pt x="681" y="273"/>
                  <a:pt x="681" y="273"/>
                </a:cubicBezTo>
                <a:cubicBezTo>
                  <a:pt x="682" y="271"/>
                  <a:pt x="682" y="271"/>
                  <a:pt x="682" y="271"/>
                </a:cubicBezTo>
                <a:cubicBezTo>
                  <a:pt x="681" y="269"/>
                  <a:pt x="681" y="269"/>
                  <a:pt x="681" y="269"/>
                </a:cubicBezTo>
                <a:cubicBezTo>
                  <a:pt x="682" y="268"/>
                  <a:pt x="682" y="268"/>
                  <a:pt x="682" y="268"/>
                </a:cubicBezTo>
                <a:cubicBezTo>
                  <a:pt x="684" y="269"/>
                  <a:pt x="684" y="269"/>
                  <a:pt x="684" y="269"/>
                </a:cubicBezTo>
                <a:cubicBezTo>
                  <a:pt x="686" y="267"/>
                  <a:pt x="686" y="267"/>
                  <a:pt x="686" y="267"/>
                </a:cubicBezTo>
                <a:cubicBezTo>
                  <a:pt x="686" y="265"/>
                  <a:pt x="686" y="265"/>
                  <a:pt x="686" y="265"/>
                </a:cubicBezTo>
                <a:cubicBezTo>
                  <a:pt x="688" y="265"/>
                  <a:pt x="688" y="265"/>
                  <a:pt x="688" y="265"/>
                </a:cubicBezTo>
                <a:cubicBezTo>
                  <a:pt x="691" y="262"/>
                  <a:pt x="691" y="262"/>
                  <a:pt x="691" y="262"/>
                </a:cubicBezTo>
                <a:cubicBezTo>
                  <a:pt x="693" y="261"/>
                  <a:pt x="693" y="261"/>
                  <a:pt x="693" y="261"/>
                </a:cubicBezTo>
                <a:cubicBezTo>
                  <a:pt x="693" y="259"/>
                  <a:pt x="693" y="259"/>
                  <a:pt x="693" y="259"/>
                </a:cubicBezTo>
                <a:cubicBezTo>
                  <a:pt x="694" y="258"/>
                  <a:pt x="694" y="258"/>
                  <a:pt x="694" y="258"/>
                </a:cubicBezTo>
                <a:cubicBezTo>
                  <a:pt x="695" y="258"/>
                  <a:pt x="695" y="258"/>
                  <a:pt x="695" y="258"/>
                </a:cubicBezTo>
                <a:cubicBezTo>
                  <a:pt x="696" y="256"/>
                  <a:pt x="696" y="256"/>
                  <a:pt x="696" y="256"/>
                </a:cubicBezTo>
                <a:cubicBezTo>
                  <a:pt x="694" y="255"/>
                  <a:pt x="694" y="255"/>
                  <a:pt x="694" y="255"/>
                </a:cubicBezTo>
                <a:cubicBezTo>
                  <a:pt x="697" y="254"/>
                  <a:pt x="697" y="254"/>
                  <a:pt x="697" y="254"/>
                </a:cubicBezTo>
                <a:cubicBezTo>
                  <a:pt x="699" y="251"/>
                  <a:pt x="699" y="251"/>
                  <a:pt x="699" y="251"/>
                </a:cubicBezTo>
                <a:cubicBezTo>
                  <a:pt x="701" y="251"/>
                  <a:pt x="701" y="251"/>
                  <a:pt x="701" y="251"/>
                </a:cubicBezTo>
                <a:cubicBezTo>
                  <a:pt x="701" y="250"/>
                  <a:pt x="701" y="250"/>
                  <a:pt x="701" y="250"/>
                </a:cubicBezTo>
                <a:cubicBezTo>
                  <a:pt x="701" y="249"/>
                  <a:pt x="701" y="249"/>
                  <a:pt x="701" y="249"/>
                </a:cubicBezTo>
                <a:cubicBezTo>
                  <a:pt x="699" y="247"/>
                  <a:pt x="699" y="247"/>
                  <a:pt x="699" y="247"/>
                </a:cubicBezTo>
                <a:cubicBezTo>
                  <a:pt x="700" y="247"/>
                  <a:pt x="700" y="247"/>
                  <a:pt x="700" y="247"/>
                </a:cubicBezTo>
                <a:cubicBezTo>
                  <a:pt x="700" y="245"/>
                  <a:pt x="700" y="245"/>
                  <a:pt x="700" y="245"/>
                </a:cubicBezTo>
                <a:cubicBezTo>
                  <a:pt x="702" y="246"/>
                  <a:pt x="702" y="246"/>
                  <a:pt x="702" y="246"/>
                </a:cubicBezTo>
                <a:cubicBezTo>
                  <a:pt x="704" y="247"/>
                  <a:pt x="704" y="247"/>
                  <a:pt x="704" y="247"/>
                </a:cubicBezTo>
                <a:cubicBezTo>
                  <a:pt x="704" y="248"/>
                  <a:pt x="704" y="248"/>
                  <a:pt x="704" y="248"/>
                </a:cubicBezTo>
                <a:cubicBezTo>
                  <a:pt x="705" y="248"/>
                  <a:pt x="705" y="248"/>
                  <a:pt x="705" y="248"/>
                </a:cubicBezTo>
                <a:cubicBezTo>
                  <a:pt x="705" y="246"/>
                  <a:pt x="705" y="246"/>
                  <a:pt x="705" y="246"/>
                </a:cubicBezTo>
                <a:cubicBezTo>
                  <a:pt x="703" y="245"/>
                  <a:pt x="703" y="245"/>
                  <a:pt x="703" y="245"/>
                </a:cubicBezTo>
                <a:cubicBezTo>
                  <a:pt x="706" y="244"/>
                  <a:pt x="706" y="244"/>
                  <a:pt x="706" y="244"/>
                </a:cubicBezTo>
                <a:cubicBezTo>
                  <a:pt x="707" y="243"/>
                  <a:pt x="707" y="243"/>
                  <a:pt x="707" y="243"/>
                </a:cubicBezTo>
                <a:cubicBezTo>
                  <a:pt x="710" y="243"/>
                  <a:pt x="710" y="243"/>
                  <a:pt x="710" y="243"/>
                </a:cubicBezTo>
                <a:cubicBezTo>
                  <a:pt x="710" y="244"/>
                  <a:pt x="710" y="244"/>
                  <a:pt x="710" y="244"/>
                </a:cubicBezTo>
                <a:cubicBezTo>
                  <a:pt x="711" y="242"/>
                  <a:pt x="711" y="242"/>
                  <a:pt x="711" y="242"/>
                </a:cubicBezTo>
                <a:cubicBezTo>
                  <a:pt x="710" y="241"/>
                  <a:pt x="710" y="241"/>
                  <a:pt x="710" y="241"/>
                </a:cubicBezTo>
                <a:cubicBezTo>
                  <a:pt x="711" y="242"/>
                  <a:pt x="711" y="242"/>
                  <a:pt x="711" y="242"/>
                </a:cubicBezTo>
                <a:cubicBezTo>
                  <a:pt x="712" y="244"/>
                  <a:pt x="712" y="244"/>
                  <a:pt x="712" y="244"/>
                </a:cubicBezTo>
                <a:cubicBezTo>
                  <a:pt x="713" y="242"/>
                  <a:pt x="713" y="242"/>
                  <a:pt x="713" y="242"/>
                </a:cubicBezTo>
                <a:cubicBezTo>
                  <a:pt x="713" y="240"/>
                  <a:pt x="713" y="240"/>
                  <a:pt x="713" y="240"/>
                </a:cubicBezTo>
                <a:cubicBezTo>
                  <a:pt x="712" y="239"/>
                  <a:pt x="712" y="239"/>
                  <a:pt x="712" y="239"/>
                </a:cubicBezTo>
                <a:cubicBezTo>
                  <a:pt x="712" y="238"/>
                  <a:pt x="712" y="238"/>
                  <a:pt x="712" y="238"/>
                </a:cubicBezTo>
                <a:cubicBezTo>
                  <a:pt x="713" y="238"/>
                  <a:pt x="713" y="238"/>
                  <a:pt x="713" y="238"/>
                </a:cubicBezTo>
                <a:cubicBezTo>
                  <a:pt x="717" y="239"/>
                  <a:pt x="717" y="239"/>
                  <a:pt x="717" y="239"/>
                </a:cubicBezTo>
                <a:cubicBezTo>
                  <a:pt x="716" y="238"/>
                  <a:pt x="716" y="238"/>
                  <a:pt x="716" y="238"/>
                </a:cubicBezTo>
                <a:cubicBezTo>
                  <a:pt x="714" y="237"/>
                  <a:pt x="714" y="237"/>
                  <a:pt x="714" y="237"/>
                </a:cubicBezTo>
                <a:cubicBezTo>
                  <a:pt x="714" y="236"/>
                  <a:pt x="714" y="236"/>
                  <a:pt x="714" y="236"/>
                </a:cubicBezTo>
                <a:cubicBezTo>
                  <a:pt x="714" y="235"/>
                  <a:pt x="714" y="235"/>
                  <a:pt x="714" y="235"/>
                </a:cubicBezTo>
                <a:cubicBezTo>
                  <a:pt x="715" y="234"/>
                  <a:pt x="715" y="234"/>
                  <a:pt x="715" y="234"/>
                </a:cubicBezTo>
                <a:cubicBezTo>
                  <a:pt x="715" y="237"/>
                  <a:pt x="715" y="237"/>
                  <a:pt x="715" y="237"/>
                </a:cubicBezTo>
                <a:cubicBezTo>
                  <a:pt x="717" y="236"/>
                  <a:pt x="717" y="236"/>
                  <a:pt x="717" y="236"/>
                </a:cubicBezTo>
                <a:cubicBezTo>
                  <a:pt x="719" y="237"/>
                  <a:pt x="719" y="237"/>
                  <a:pt x="719" y="237"/>
                </a:cubicBezTo>
                <a:cubicBezTo>
                  <a:pt x="720" y="236"/>
                  <a:pt x="720" y="236"/>
                  <a:pt x="720" y="236"/>
                </a:cubicBezTo>
                <a:cubicBezTo>
                  <a:pt x="718" y="232"/>
                  <a:pt x="718" y="232"/>
                  <a:pt x="718" y="232"/>
                </a:cubicBezTo>
                <a:cubicBezTo>
                  <a:pt x="716" y="228"/>
                  <a:pt x="716" y="228"/>
                  <a:pt x="716" y="228"/>
                </a:cubicBezTo>
                <a:cubicBezTo>
                  <a:pt x="714" y="226"/>
                  <a:pt x="714" y="226"/>
                  <a:pt x="714" y="226"/>
                </a:cubicBezTo>
                <a:cubicBezTo>
                  <a:pt x="715" y="224"/>
                  <a:pt x="715" y="224"/>
                  <a:pt x="715" y="224"/>
                </a:cubicBezTo>
                <a:cubicBezTo>
                  <a:pt x="714" y="223"/>
                  <a:pt x="714" y="223"/>
                  <a:pt x="714" y="223"/>
                </a:cubicBezTo>
                <a:cubicBezTo>
                  <a:pt x="715" y="222"/>
                  <a:pt x="715" y="222"/>
                  <a:pt x="715" y="222"/>
                </a:cubicBezTo>
                <a:cubicBezTo>
                  <a:pt x="716" y="223"/>
                  <a:pt x="716" y="223"/>
                  <a:pt x="716" y="223"/>
                </a:cubicBezTo>
                <a:cubicBezTo>
                  <a:pt x="717" y="227"/>
                  <a:pt x="717" y="227"/>
                  <a:pt x="717" y="227"/>
                </a:cubicBezTo>
                <a:cubicBezTo>
                  <a:pt x="720" y="230"/>
                  <a:pt x="720" y="230"/>
                  <a:pt x="720" y="230"/>
                </a:cubicBezTo>
                <a:cubicBezTo>
                  <a:pt x="724" y="231"/>
                  <a:pt x="724" y="231"/>
                  <a:pt x="724" y="231"/>
                </a:cubicBezTo>
                <a:cubicBezTo>
                  <a:pt x="726" y="232"/>
                  <a:pt x="726" y="232"/>
                  <a:pt x="726" y="232"/>
                </a:cubicBezTo>
                <a:cubicBezTo>
                  <a:pt x="728" y="232"/>
                  <a:pt x="728" y="232"/>
                  <a:pt x="728" y="232"/>
                </a:cubicBezTo>
                <a:cubicBezTo>
                  <a:pt x="729" y="231"/>
                  <a:pt x="729" y="231"/>
                  <a:pt x="729" y="231"/>
                </a:cubicBezTo>
                <a:cubicBezTo>
                  <a:pt x="731" y="231"/>
                  <a:pt x="731" y="231"/>
                  <a:pt x="731" y="231"/>
                </a:cubicBezTo>
                <a:cubicBezTo>
                  <a:pt x="734" y="228"/>
                  <a:pt x="734" y="228"/>
                  <a:pt x="734" y="228"/>
                </a:cubicBezTo>
                <a:cubicBezTo>
                  <a:pt x="734" y="224"/>
                  <a:pt x="734" y="224"/>
                  <a:pt x="734" y="224"/>
                </a:cubicBezTo>
                <a:cubicBezTo>
                  <a:pt x="730" y="219"/>
                  <a:pt x="730" y="219"/>
                  <a:pt x="730" y="219"/>
                </a:cubicBezTo>
                <a:cubicBezTo>
                  <a:pt x="730" y="217"/>
                  <a:pt x="730" y="217"/>
                  <a:pt x="730" y="217"/>
                </a:cubicBezTo>
                <a:cubicBezTo>
                  <a:pt x="729" y="215"/>
                  <a:pt x="729" y="215"/>
                  <a:pt x="729" y="215"/>
                </a:cubicBezTo>
                <a:cubicBezTo>
                  <a:pt x="728" y="216"/>
                  <a:pt x="728" y="216"/>
                  <a:pt x="728" y="216"/>
                </a:cubicBezTo>
                <a:cubicBezTo>
                  <a:pt x="726" y="218"/>
                  <a:pt x="726" y="218"/>
                  <a:pt x="726" y="218"/>
                </a:cubicBezTo>
                <a:cubicBezTo>
                  <a:pt x="722" y="218"/>
                  <a:pt x="722" y="218"/>
                  <a:pt x="722" y="218"/>
                </a:cubicBezTo>
                <a:cubicBezTo>
                  <a:pt x="721" y="219"/>
                  <a:pt x="721" y="219"/>
                  <a:pt x="721" y="219"/>
                </a:cubicBezTo>
                <a:cubicBezTo>
                  <a:pt x="721" y="218"/>
                  <a:pt x="721" y="218"/>
                  <a:pt x="721" y="218"/>
                </a:cubicBezTo>
                <a:cubicBezTo>
                  <a:pt x="720" y="217"/>
                  <a:pt x="720" y="217"/>
                  <a:pt x="720" y="217"/>
                </a:cubicBezTo>
                <a:cubicBezTo>
                  <a:pt x="722" y="217"/>
                  <a:pt x="722" y="217"/>
                  <a:pt x="722" y="217"/>
                </a:cubicBezTo>
                <a:cubicBezTo>
                  <a:pt x="724" y="217"/>
                  <a:pt x="724" y="217"/>
                  <a:pt x="724" y="217"/>
                </a:cubicBezTo>
                <a:cubicBezTo>
                  <a:pt x="726" y="215"/>
                  <a:pt x="726" y="215"/>
                  <a:pt x="726" y="215"/>
                </a:cubicBezTo>
                <a:cubicBezTo>
                  <a:pt x="726" y="214"/>
                  <a:pt x="726" y="214"/>
                  <a:pt x="726" y="214"/>
                </a:cubicBezTo>
                <a:cubicBezTo>
                  <a:pt x="722" y="212"/>
                  <a:pt x="722" y="212"/>
                  <a:pt x="722" y="212"/>
                </a:cubicBezTo>
                <a:cubicBezTo>
                  <a:pt x="718" y="208"/>
                  <a:pt x="718" y="208"/>
                  <a:pt x="718" y="208"/>
                </a:cubicBezTo>
                <a:cubicBezTo>
                  <a:pt x="717" y="208"/>
                  <a:pt x="717" y="208"/>
                  <a:pt x="717" y="208"/>
                </a:cubicBezTo>
                <a:cubicBezTo>
                  <a:pt x="717" y="208"/>
                  <a:pt x="717" y="208"/>
                  <a:pt x="717" y="208"/>
                </a:cubicBezTo>
                <a:cubicBezTo>
                  <a:pt x="718" y="210"/>
                  <a:pt x="718" y="210"/>
                  <a:pt x="718" y="210"/>
                </a:cubicBezTo>
                <a:cubicBezTo>
                  <a:pt x="717" y="211"/>
                  <a:pt x="717" y="211"/>
                  <a:pt x="717" y="211"/>
                </a:cubicBezTo>
                <a:cubicBezTo>
                  <a:pt x="715" y="209"/>
                  <a:pt x="715" y="209"/>
                  <a:pt x="715" y="209"/>
                </a:cubicBezTo>
                <a:cubicBezTo>
                  <a:pt x="714" y="206"/>
                  <a:pt x="714" y="206"/>
                  <a:pt x="714" y="206"/>
                </a:cubicBezTo>
                <a:cubicBezTo>
                  <a:pt x="716" y="207"/>
                  <a:pt x="716" y="207"/>
                  <a:pt x="716" y="207"/>
                </a:cubicBezTo>
                <a:cubicBezTo>
                  <a:pt x="716" y="204"/>
                  <a:pt x="716" y="204"/>
                  <a:pt x="716" y="204"/>
                </a:cubicBezTo>
                <a:cubicBezTo>
                  <a:pt x="717" y="205"/>
                  <a:pt x="717" y="205"/>
                  <a:pt x="717" y="205"/>
                </a:cubicBezTo>
                <a:cubicBezTo>
                  <a:pt x="720" y="207"/>
                  <a:pt x="720" y="207"/>
                  <a:pt x="720" y="207"/>
                </a:cubicBezTo>
                <a:cubicBezTo>
                  <a:pt x="722" y="208"/>
                  <a:pt x="722" y="208"/>
                  <a:pt x="722" y="208"/>
                </a:cubicBezTo>
                <a:cubicBezTo>
                  <a:pt x="723" y="211"/>
                  <a:pt x="723" y="211"/>
                  <a:pt x="723" y="211"/>
                </a:cubicBezTo>
                <a:cubicBezTo>
                  <a:pt x="727" y="213"/>
                  <a:pt x="727" y="213"/>
                  <a:pt x="727" y="213"/>
                </a:cubicBezTo>
                <a:cubicBezTo>
                  <a:pt x="731" y="215"/>
                  <a:pt x="731" y="215"/>
                  <a:pt x="731" y="215"/>
                </a:cubicBezTo>
                <a:cubicBezTo>
                  <a:pt x="733" y="217"/>
                  <a:pt x="733" y="217"/>
                  <a:pt x="733" y="217"/>
                </a:cubicBezTo>
                <a:cubicBezTo>
                  <a:pt x="734" y="218"/>
                  <a:pt x="734" y="218"/>
                  <a:pt x="734" y="218"/>
                </a:cubicBezTo>
                <a:cubicBezTo>
                  <a:pt x="735" y="220"/>
                  <a:pt x="735" y="220"/>
                  <a:pt x="735" y="220"/>
                </a:cubicBezTo>
                <a:cubicBezTo>
                  <a:pt x="737" y="221"/>
                  <a:pt x="737" y="221"/>
                  <a:pt x="737" y="221"/>
                </a:cubicBezTo>
                <a:cubicBezTo>
                  <a:pt x="737" y="221"/>
                  <a:pt x="737" y="221"/>
                  <a:pt x="737" y="221"/>
                </a:cubicBezTo>
                <a:cubicBezTo>
                  <a:pt x="738" y="219"/>
                  <a:pt x="738" y="219"/>
                  <a:pt x="738" y="219"/>
                </a:cubicBezTo>
                <a:cubicBezTo>
                  <a:pt x="740" y="218"/>
                  <a:pt x="740" y="218"/>
                  <a:pt x="740" y="218"/>
                </a:cubicBezTo>
                <a:cubicBezTo>
                  <a:pt x="738" y="217"/>
                  <a:pt x="738" y="217"/>
                  <a:pt x="738" y="217"/>
                </a:cubicBezTo>
                <a:cubicBezTo>
                  <a:pt x="739" y="215"/>
                  <a:pt x="739" y="215"/>
                  <a:pt x="739" y="215"/>
                </a:cubicBezTo>
                <a:cubicBezTo>
                  <a:pt x="740" y="218"/>
                  <a:pt x="740" y="218"/>
                  <a:pt x="740" y="218"/>
                </a:cubicBezTo>
                <a:cubicBezTo>
                  <a:pt x="741" y="219"/>
                  <a:pt x="741" y="219"/>
                  <a:pt x="741" y="219"/>
                </a:cubicBezTo>
                <a:cubicBezTo>
                  <a:pt x="742" y="219"/>
                  <a:pt x="742" y="219"/>
                  <a:pt x="742" y="219"/>
                </a:cubicBezTo>
                <a:cubicBezTo>
                  <a:pt x="744" y="216"/>
                  <a:pt x="744" y="216"/>
                  <a:pt x="744" y="216"/>
                </a:cubicBezTo>
                <a:cubicBezTo>
                  <a:pt x="745" y="212"/>
                  <a:pt x="745" y="212"/>
                  <a:pt x="745" y="212"/>
                </a:cubicBezTo>
                <a:cubicBezTo>
                  <a:pt x="744" y="211"/>
                  <a:pt x="744" y="211"/>
                  <a:pt x="744" y="211"/>
                </a:cubicBezTo>
                <a:cubicBezTo>
                  <a:pt x="745" y="208"/>
                  <a:pt x="745" y="208"/>
                  <a:pt x="745" y="208"/>
                </a:cubicBezTo>
                <a:cubicBezTo>
                  <a:pt x="746" y="211"/>
                  <a:pt x="746" y="211"/>
                  <a:pt x="746" y="211"/>
                </a:cubicBezTo>
                <a:cubicBezTo>
                  <a:pt x="746" y="213"/>
                  <a:pt x="746" y="213"/>
                  <a:pt x="746" y="213"/>
                </a:cubicBezTo>
                <a:cubicBezTo>
                  <a:pt x="747" y="209"/>
                  <a:pt x="747" y="209"/>
                  <a:pt x="747" y="209"/>
                </a:cubicBezTo>
                <a:cubicBezTo>
                  <a:pt x="749" y="208"/>
                  <a:pt x="749" y="208"/>
                  <a:pt x="749" y="208"/>
                </a:cubicBezTo>
                <a:cubicBezTo>
                  <a:pt x="750" y="209"/>
                  <a:pt x="750" y="209"/>
                  <a:pt x="750" y="209"/>
                </a:cubicBezTo>
                <a:cubicBezTo>
                  <a:pt x="750" y="209"/>
                  <a:pt x="750" y="209"/>
                  <a:pt x="750" y="209"/>
                </a:cubicBezTo>
                <a:cubicBezTo>
                  <a:pt x="749" y="211"/>
                  <a:pt x="749" y="211"/>
                  <a:pt x="749" y="211"/>
                </a:cubicBezTo>
                <a:cubicBezTo>
                  <a:pt x="750" y="212"/>
                  <a:pt x="750" y="212"/>
                  <a:pt x="750" y="212"/>
                </a:cubicBezTo>
                <a:cubicBezTo>
                  <a:pt x="750" y="213"/>
                  <a:pt x="750" y="213"/>
                  <a:pt x="750" y="213"/>
                </a:cubicBezTo>
                <a:cubicBezTo>
                  <a:pt x="751" y="212"/>
                  <a:pt x="751" y="212"/>
                  <a:pt x="751" y="212"/>
                </a:cubicBezTo>
                <a:cubicBezTo>
                  <a:pt x="753" y="212"/>
                  <a:pt x="753" y="212"/>
                  <a:pt x="753" y="212"/>
                </a:cubicBezTo>
                <a:cubicBezTo>
                  <a:pt x="755" y="215"/>
                  <a:pt x="755" y="215"/>
                  <a:pt x="755" y="215"/>
                </a:cubicBezTo>
                <a:cubicBezTo>
                  <a:pt x="756" y="214"/>
                  <a:pt x="756" y="214"/>
                  <a:pt x="756" y="214"/>
                </a:cubicBezTo>
                <a:cubicBezTo>
                  <a:pt x="757" y="214"/>
                  <a:pt x="757" y="214"/>
                  <a:pt x="757" y="214"/>
                </a:cubicBezTo>
                <a:cubicBezTo>
                  <a:pt x="758" y="215"/>
                  <a:pt x="758" y="215"/>
                  <a:pt x="758" y="215"/>
                </a:cubicBezTo>
                <a:cubicBezTo>
                  <a:pt x="760" y="214"/>
                  <a:pt x="760" y="214"/>
                  <a:pt x="760" y="214"/>
                </a:cubicBezTo>
                <a:cubicBezTo>
                  <a:pt x="761" y="211"/>
                  <a:pt x="761" y="211"/>
                  <a:pt x="761" y="211"/>
                </a:cubicBezTo>
                <a:cubicBezTo>
                  <a:pt x="764" y="210"/>
                  <a:pt x="764" y="210"/>
                  <a:pt x="764" y="210"/>
                </a:cubicBezTo>
                <a:cubicBezTo>
                  <a:pt x="771" y="204"/>
                  <a:pt x="771" y="204"/>
                  <a:pt x="771" y="204"/>
                </a:cubicBezTo>
                <a:cubicBezTo>
                  <a:pt x="771" y="202"/>
                  <a:pt x="771" y="202"/>
                  <a:pt x="771" y="202"/>
                </a:cubicBezTo>
                <a:cubicBezTo>
                  <a:pt x="772" y="202"/>
                  <a:pt x="772" y="202"/>
                  <a:pt x="772" y="202"/>
                </a:cubicBezTo>
                <a:cubicBezTo>
                  <a:pt x="772" y="202"/>
                  <a:pt x="772" y="202"/>
                  <a:pt x="772" y="202"/>
                </a:cubicBezTo>
                <a:cubicBezTo>
                  <a:pt x="775" y="199"/>
                  <a:pt x="775" y="199"/>
                  <a:pt x="775" y="199"/>
                </a:cubicBezTo>
                <a:cubicBezTo>
                  <a:pt x="777" y="198"/>
                  <a:pt x="777" y="198"/>
                  <a:pt x="777" y="198"/>
                </a:cubicBezTo>
                <a:cubicBezTo>
                  <a:pt x="779" y="196"/>
                  <a:pt x="779" y="196"/>
                  <a:pt x="779" y="196"/>
                </a:cubicBezTo>
                <a:cubicBezTo>
                  <a:pt x="780" y="195"/>
                  <a:pt x="780" y="195"/>
                  <a:pt x="780" y="195"/>
                </a:cubicBezTo>
                <a:cubicBezTo>
                  <a:pt x="780" y="193"/>
                  <a:pt x="780" y="193"/>
                  <a:pt x="780" y="193"/>
                </a:cubicBezTo>
                <a:cubicBezTo>
                  <a:pt x="772" y="191"/>
                  <a:pt x="772" y="191"/>
                  <a:pt x="772" y="191"/>
                </a:cubicBezTo>
                <a:cubicBezTo>
                  <a:pt x="769" y="190"/>
                  <a:pt x="769" y="190"/>
                  <a:pt x="769" y="190"/>
                </a:cubicBezTo>
                <a:cubicBezTo>
                  <a:pt x="765" y="189"/>
                  <a:pt x="765" y="189"/>
                  <a:pt x="765" y="189"/>
                </a:cubicBezTo>
                <a:cubicBezTo>
                  <a:pt x="764" y="186"/>
                  <a:pt x="764" y="186"/>
                  <a:pt x="764" y="186"/>
                </a:cubicBezTo>
                <a:cubicBezTo>
                  <a:pt x="761" y="182"/>
                  <a:pt x="761" y="182"/>
                  <a:pt x="761" y="182"/>
                </a:cubicBezTo>
                <a:cubicBezTo>
                  <a:pt x="760" y="182"/>
                  <a:pt x="760" y="182"/>
                  <a:pt x="760" y="182"/>
                </a:cubicBezTo>
                <a:cubicBezTo>
                  <a:pt x="760" y="178"/>
                  <a:pt x="760" y="178"/>
                  <a:pt x="760" y="178"/>
                </a:cubicBezTo>
                <a:cubicBezTo>
                  <a:pt x="760" y="178"/>
                  <a:pt x="760" y="178"/>
                  <a:pt x="760" y="178"/>
                </a:cubicBezTo>
                <a:cubicBezTo>
                  <a:pt x="760" y="177"/>
                  <a:pt x="760" y="177"/>
                  <a:pt x="760" y="177"/>
                </a:cubicBezTo>
                <a:cubicBezTo>
                  <a:pt x="761" y="177"/>
                  <a:pt x="761" y="177"/>
                  <a:pt x="761" y="177"/>
                </a:cubicBezTo>
                <a:cubicBezTo>
                  <a:pt x="761" y="176"/>
                  <a:pt x="761" y="176"/>
                  <a:pt x="761" y="176"/>
                </a:cubicBezTo>
                <a:cubicBezTo>
                  <a:pt x="760" y="175"/>
                  <a:pt x="760" y="175"/>
                  <a:pt x="760" y="175"/>
                </a:cubicBezTo>
                <a:cubicBezTo>
                  <a:pt x="756" y="175"/>
                  <a:pt x="756" y="175"/>
                  <a:pt x="756" y="175"/>
                </a:cubicBezTo>
                <a:cubicBezTo>
                  <a:pt x="751" y="173"/>
                  <a:pt x="751" y="173"/>
                  <a:pt x="751" y="173"/>
                </a:cubicBezTo>
                <a:cubicBezTo>
                  <a:pt x="750" y="174"/>
                  <a:pt x="750" y="174"/>
                  <a:pt x="750" y="174"/>
                </a:cubicBezTo>
                <a:cubicBezTo>
                  <a:pt x="750" y="175"/>
                  <a:pt x="750" y="175"/>
                  <a:pt x="750" y="175"/>
                </a:cubicBezTo>
                <a:cubicBezTo>
                  <a:pt x="748" y="173"/>
                  <a:pt x="748" y="173"/>
                  <a:pt x="748" y="173"/>
                </a:cubicBezTo>
                <a:cubicBezTo>
                  <a:pt x="748" y="172"/>
                  <a:pt x="748" y="172"/>
                  <a:pt x="748" y="172"/>
                </a:cubicBezTo>
                <a:cubicBezTo>
                  <a:pt x="750" y="172"/>
                  <a:pt x="750" y="172"/>
                  <a:pt x="750" y="172"/>
                </a:cubicBezTo>
                <a:cubicBezTo>
                  <a:pt x="755" y="173"/>
                  <a:pt x="755" y="173"/>
                  <a:pt x="755" y="173"/>
                </a:cubicBezTo>
                <a:cubicBezTo>
                  <a:pt x="758" y="174"/>
                  <a:pt x="758" y="174"/>
                  <a:pt x="758" y="174"/>
                </a:cubicBezTo>
                <a:cubicBezTo>
                  <a:pt x="762" y="174"/>
                  <a:pt x="762" y="174"/>
                  <a:pt x="762" y="174"/>
                </a:cubicBezTo>
                <a:cubicBezTo>
                  <a:pt x="764" y="176"/>
                  <a:pt x="764" y="176"/>
                  <a:pt x="764" y="176"/>
                </a:cubicBezTo>
                <a:cubicBezTo>
                  <a:pt x="766" y="180"/>
                  <a:pt x="766" y="180"/>
                  <a:pt x="766" y="180"/>
                </a:cubicBezTo>
                <a:cubicBezTo>
                  <a:pt x="768" y="181"/>
                  <a:pt x="768" y="181"/>
                  <a:pt x="768" y="181"/>
                </a:cubicBezTo>
                <a:cubicBezTo>
                  <a:pt x="769" y="182"/>
                  <a:pt x="769" y="182"/>
                  <a:pt x="769" y="182"/>
                </a:cubicBezTo>
                <a:cubicBezTo>
                  <a:pt x="769" y="183"/>
                  <a:pt x="769" y="183"/>
                  <a:pt x="769" y="183"/>
                </a:cubicBezTo>
                <a:cubicBezTo>
                  <a:pt x="768" y="183"/>
                  <a:pt x="768" y="183"/>
                  <a:pt x="768" y="183"/>
                </a:cubicBezTo>
                <a:cubicBezTo>
                  <a:pt x="767" y="184"/>
                  <a:pt x="767" y="184"/>
                  <a:pt x="767" y="184"/>
                </a:cubicBezTo>
                <a:cubicBezTo>
                  <a:pt x="771" y="185"/>
                  <a:pt x="771" y="185"/>
                  <a:pt x="771" y="185"/>
                </a:cubicBezTo>
                <a:cubicBezTo>
                  <a:pt x="771" y="187"/>
                  <a:pt x="771" y="187"/>
                  <a:pt x="771" y="187"/>
                </a:cubicBezTo>
                <a:cubicBezTo>
                  <a:pt x="773" y="189"/>
                  <a:pt x="773" y="189"/>
                  <a:pt x="773" y="189"/>
                </a:cubicBezTo>
                <a:cubicBezTo>
                  <a:pt x="779" y="191"/>
                  <a:pt x="779" y="191"/>
                  <a:pt x="779" y="191"/>
                </a:cubicBezTo>
                <a:cubicBezTo>
                  <a:pt x="781" y="190"/>
                  <a:pt x="781" y="190"/>
                  <a:pt x="781" y="190"/>
                </a:cubicBezTo>
                <a:cubicBezTo>
                  <a:pt x="782" y="187"/>
                  <a:pt x="782" y="187"/>
                  <a:pt x="782" y="187"/>
                </a:cubicBezTo>
                <a:cubicBezTo>
                  <a:pt x="783" y="186"/>
                  <a:pt x="783" y="186"/>
                  <a:pt x="783" y="186"/>
                </a:cubicBezTo>
                <a:cubicBezTo>
                  <a:pt x="785" y="187"/>
                  <a:pt x="785" y="187"/>
                  <a:pt x="785" y="187"/>
                </a:cubicBezTo>
                <a:cubicBezTo>
                  <a:pt x="787" y="184"/>
                  <a:pt x="787" y="184"/>
                  <a:pt x="787" y="184"/>
                </a:cubicBezTo>
                <a:cubicBezTo>
                  <a:pt x="789" y="181"/>
                  <a:pt x="789" y="181"/>
                  <a:pt x="789" y="181"/>
                </a:cubicBezTo>
                <a:cubicBezTo>
                  <a:pt x="794" y="178"/>
                  <a:pt x="794" y="178"/>
                  <a:pt x="794" y="178"/>
                </a:cubicBezTo>
                <a:cubicBezTo>
                  <a:pt x="795" y="178"/>
                  <a:pt x="795" y="178"/>
                  <a:pt x="795" y="178"/>
                </a:cubicBezTo>
                <a:cubicBezTo>
                  <a:pt x="797" y="175"/>
                  <a:pt x="797" y="175"/>
                  <a:pt x="797" y="175"/>
                </a:cubicBezTo>
                <a:cubicBezTo>
                  <a:pt x="796" y="173"/>
                  <a:pt x="796" y="173"/>
                  <a:pt x="796" y="173"/>
                </a:cubicBezTo>
                <a:cubicBezTo>
                  <a:pt x="793" y="173"/>
                  <a:pt x="793" y="173"/>
                  <a:pt x="793" y="173"/>
                </a:cubicBezTo>
                <a:cubicBezTo>
                  <a:pt x="792" y="171"/>
                  <a:pt x="792" y="171"/>
                  <a:pt x="792" y="171"/>
                </a:cubicBezTo>
                <a:cubicBezTo>
                  <a:pt x="792" y="169"/>
                  <a:pt x="792" y="169"/>
                  <a:pt x="792" y="169"/>
                </a:cubicBezTo>
                <a:cubicBezTo>
                  <a:pt x="793" y="169"/>
                  <a:pt x="793" y="169"/>
                  <a:pt x="793" y="169"/>
                </a:cubicBezTo>
                <a:cubicBezTo>
                  <a:pt x="793" y="167"/>
                  <a:pt x="793" y="167"/>
                  <a:pt x="793" y="167"/>
                </a:cubicBezTo>
                <a:cubicBezTo>
                  <a:pt x="793" y="166"/>
                  <a:pt x="793" y="166"/>
                  <a:pt x="793" y="166"/>
                </a:cubicBezTo>
                <a:cubicBezTo>
                  <a:pt x="795" y="167"/>
                  <a:pt x="795" y="167"/>
                  <a:pt x="795" y="167"/>
                </a:cubicBezTo>
                <a:cubicBezTo>
                  <a:pt x="797" y="167"/>
                  <a:pt x="797" y="167"/>
                  <a:pt x="797" y="167"/>
                </a:cubicBezTo>
                <a:cubicBezTo>
                  <a:pt x="798" y="168"/>
                  <a:pt x="798" y="168"/>
                  <a:pt x="798" y="168"/>
                </a:cubicBezTo>
                <a:cubicBezTo>
                  <a:pt x="801" y="168"/>
                  <a:pt x="801" y="168"/>
                  <a:pt x="801" y="168"/>
                </a:cubicBezTo>
                <a:cubicBezTo>
                  <a:pt x="804" y="167"/>
                  <a:pt x="804" y="167"/>
                  <a:pt x="804" y="167"/>
                </a:cubicBezTo>
                <a:cubicBezTo>
                  <a:pt x="804" y="168"/>
                  <a:pt x="804" y="168"/>
                  <a:pt x="804" y="168"/>
                </a:cubicBezTo>
                <a:cubicBezTo>
                  <a:pt x="805" y="168"/>
                  <a:pt x="805" y="168"/>
                  <a:pt x="805" y="168"/>
                </a:cubicBezTo>
                <a:cubicBezTo>
                  <a:pt x="804" y="169"/>
                  <a:pt x="804" y="169"/>
                  <a:pt x="804" y="169"/>
                </a:cubicBezTo>
                <a:cubicBezTo>
                  <a:pt x="803" y="172"/>
                  <a:pt x="803" y="172"/>
                  <a:pt x="803" y="172"/>
                </a:cubicBezTo>
                <a:cubicBezTo>
                  <a:pt x="804" y="173"/>
                  <a:pt x="804" y="173"/>
                  <a:pt x="804" y="173"/>
                </a:cubicBezTo>
                <a:cubicBezTo>
                  <a:pt x="805" y="173"/>
                  <a:pt x="805" y="173"/>
                  <a:pt x="805" y="173"/>
                </a:cubicBezTo>
                <a:cubicBezTo>
                  <a:pt x="805" y="174"/>
                  <a:pt x="805" y="174"/>
                  <a:pt x="805" y="174"/>
                </a:cubicBezTo>
                <a:cubicBezTo>
                  <a:pt x="807" y="174"/>
                  <a:pt x="807" y="174"/>
                  <a:pt x="807" y="174"/>
                </a:cubicBezTo>
                <a:cubicBezTo>
                  <a:pt x="809" y="175"/>
                  <a:pt x="809" y="175"/>
                  <a:pt x="809" y="175"/>
                </a:cubicBezTo>
                <a:cubicBezTo>
                  <a:pt x="810" y="174"/>
                  <a:pt x="810" y="174"/>
                  <a:pt x="810" y="174"/>
                </a:cubicBezTo>
                <a:cubicBezTo>
                  <a:pt x="808" y="172"/>
                  <a:pt x="808" y="172"/>
                  <a:pt x="808" y="172"/>
                </a:cubicBezTo>
                <a:cubicBezTo>
                  <a:pt x="809" y="170"/>
                  <a:pt x="809" y="170"/>
                  <a:pt x="809" y="170"/>
                </a:cubicBezTo>
                <a:cubicBezTo>
                  <a:pt x="809" y="172"/>
                  <a:pt x="809" y="172"/>
                  <a:pt x="809" y="172"/>
                </a:cubicBezTo>
                <a:cubicBezTo>
                  <a:pt x="811" y="172"/>
                  <a:pt x="811" y="172"/>
                  <a:pt x="811" y="172"/>
                </a:cubicBezTo>
                <a:cubicBezTo>
                  <a:pt x="811" y="174"/>
                  <a:pt x="811" y="174"/>
                  <a:pt x="811" y="174"/>
                </a:cubicBezTo>
                <a:cubicBezTo>
                  <a:pt x="814" y="177"/>
                  <a:pt x="814" y="177"/>
                  <a:pt x="814" y="177"/>
                </a:cubicBezTo>
                <a:cubicBezTo>
                  <a:pt x="815" y="177"/>
                  <a:pt x="815" y="177"/>
                  <a:pt x="815" y="177"/>
                </a:cubicBezTo>
                <a:cubicBezTo>
                  <a:pt x="815" y="175"/>
                  <a:pt x="815" y="175"/>
                  <a:pt x="815" y="175"/>
                </a:cubicBezTo>
                <a:cubicBezTo>
                  <a:pt x="815" y="174"/>
                  <a:pt x="815" y="174"/>
                  <a:pt x="815" y="174"/>
                </a:cubicBezTo>
                <a:cubicBezTo>
                  <a:pt x="816" y="173"/>
                  <a:pt x="816" y="173"/>
                  <a:pt x="816" y="173"/>
                </a:cubicBezTo>
                <a:cubicBezTo>
                  <a:pt x="815" y="170"/>
                  <a:pt x="815" y="170"/>
                  <a:pt x="815" y="170"/>
                </a:cubicBezTo>
                <a:cubicBezTo>
                  <a:pt x="814" y="170"/>
                  <a:pt x="814" y="170"/>
                  <a:pt x="814" y="170"/>
                </a:cubicBezTo>
                <a:cubicBezTo>
                  <a:pt x="815" y="167"/>
                  <a:pt x="815" y="167"/>
                  <a:pt x="815" y="167"/>
                </a:cubicBezTo>
                <a:cubicBezTo>
                  <a:pt x="813" y="164"/>
                  <a:pt x="813" y="164"/>
                  <a:pt x="813" y="164"/>
                </a:cubicBezTo>
                <a:cubicBezTo>
                  <a:pt x="812" y="163"/>
                  <a:pt x="812" y="163"/>
                  <a:pt x="812" y="163"/>
                </a:cubicBezTo>
                <a:cubicBezTo>
                  <a:pt x="812" y="161"/>
                  <a:pt x="812" y="161"/>
                  <a:pt x="812" y="161"/>
                </a:cubicBezTo>
                <a:cubicBezTo>
                  <a:pt x="811" y="161"/>
                  <a:pt x="811" y="161"/>
                  <a:pt x="811" y="161"/>
                </a:cubicBezTo>
                <a:cubicBezTo>
                  <a:pt x="808" y="162"/>
                  <a:pt x="808" y="162"/>
                  <a:pt x="808" y="162"/>
                </a:cubicBezTo>
                <a:cubicBezTo>
                  <a:pt x="807" y="162"/>
                  <a:pt x="807" y="162"/>
                  <a:pt x="807" y="162"/>
                </a:cubicBezTo>
                <a:cubicBezTo>
                  <a:pt x="809" y="159"/>
                  <a:pt x="809" y="159"/>
                  <a:pt x="809" y="159"/>
                </a:cubicBezTo>
                <a:cubicBezTo>
                  <a:pt x="811" y="159"/>
                  <a:pt x="811" y="159"/>
                  <a:pt x="811" y="159"/>
                </a:cubicBezTo>
                <a:cubicBezTo>
                  <a:pt x="811" y="160"/>
                  <a:pt x="811" y="160"/>
                  <a:pt x="811" y="160"/>
                </a:cubicBezTo>
                <a:cubicBezTo>
                  <a:pt x="813" y="159"/>
                  <a:pt x="813" y="159"/>
                  <a:pt x="813" y="159"/>
                </a:cubicBezTo>
                <a:cubicBezTo>
                  <a:pt x="814" y="161"/>
                  <a:pt x="814" y="161"/>
                  <a:pt x="814" y="161"/>
                </a:cubicBezTo>
                <a:cubicBezTo>
                  <a:pt x="815" y="161"/>
                  <a:pt x="815" y="161"/>
                  <a:pt x="815" y="161"/>
                </a:cubicBezTo>
                <a:cubicBezTo>
                  <a:pt x="816" y="165"/>
                  <a:pt x="816" y="165"/>
                  <a:pt x="816" y="165"/>
                </a:cubicBezTo>
                <a:cubicBezTo>
                  <a:pt x="816" y="165"/>
                  <a:pt x="816" y="165"/>
                  <a:pt x="816" y="165"/>
                </a:cubicBezTo>
                <a:cubicBezTo>
                  <a:pt x="818" y="163"/>
                  <a:pt x="818" y="163"/>
                  <a:pt x="818" y="163"/>
                </a:cubicBezTo>
                <a:cubicBezTo>
                  <a:pt x="817" y="166"/>
                  <a:pt x="817" y="166"/>
                  <a:pt x="817" y="166"/>
                </a:cubicBezTo>
                <a:cubicBezTo>
                  <a:pt x="817" y="167"/>
                  <a:pt x="817" y="167"/>
                  <a:pt x="817" y="167"/>
                </a:cubicBezTo>
                <a:cubicBezTo>
                  <a:pt x="816" y="168"/>
                  <a:pt x="816" y="168"/>
                  <a:pt x="816" y="168"/>
                </a:cubicBezTo>
                <a:cubicBezTo>
                  <a:pt x="816" y="169"/>
                  <a:pt x="816" y="169"/>
                  <a:pt x="816" y="169"/>
                </a:cubicBezTo>
                <a:cubicBezTo>
                  <a:pt x="817" y="170"/>
                  <a:pt x="817" y="170"/>
                  <a:pt x="817" y="170"/>
                </a:cubicBezTo>
                <a:cubicBezTo>
                  <a:pt x="818" y="173"/>
                  <a:pt x="818" y="173"/>
                  <a:pt x="818" y="173"/>
                </a:cubicBezTo>
                <a:cubicBezTo>
                  <a:pt x="817" y="174"/>
                  <a:pt x="817" y="174"/>
                  <a:pt x="817" y="174"/>
                </a:cubicBezTo>
                <a:cubicBezTo>
                  <a:pt x="818" y="175"/>
                  <a:pt x="818" y="175"/>
                  <a:pt x="818" y="175"/>
                </a:cubicBezTo>
                <a:cubicBezTo>
                  <a:pt x="823" y="174"/>
                  <a:pt x="823" y="174"/>
                  <a:pt x="823" y="174"/>
                </a:cubicBezTo>
                <a:cubicBezTo>
                  <a:pt x="824" y="172"/>
                  <a:pt x="824" y="172"/>
                  <a:pt x="824" y="172"/>
                </a:cubicBezTo>
                <a:cubicBezTo>
                  <a:pt x="825" y="172"/>
                  <a:pt x="825" y="172"/>
                  <a:pt x="825" y="172"/>
                </a:cubicBezTo>
                <a:cubicBezTo>
                  <a:pt x="827" y="172"/>
                  <a:pt x="827" y="172"/>
                  <a:pt x="827" y="172"/>
                </a:cubicBezTo>
                <a:cubicBezTo>
                  <a:pt x="829" y="169"/>
                  <a:pt x="829" y="169"/>
                  <a:pt x="829" y="169"/>
                </a:cubicBezTo>
                <a:cubicBezTo>
                  <a:pt x="831" y="169"/>
                  <a:pt x="831" y="169"/>
                  <a:pt x="831" y="169"/>
                </a:cubicBezTo>
                <a:cubicBezTo>
                  <a:pt x="832" y="168"/>
                  <a:pt x="832" y="168"/>
                  <a:pt x="832" y="168"/>
                </a:cubicBezTo>
                <a:cubicBezTo>
                  <a:pt x="834" y="166"/>
                  <a:pt x="834" y="166"/>
                  <a:pt x="834" y="166"/>
                </a:cubicBezTo>
                <a:cubicBezTo>
                  <a:pt x="834" y="164"/>
                  <a:pt x="834" y="164"/>
                  <a:pt x="834" y="164"/>
                </a:cubicBezTo>
                <a:cubicBezTo>
                  <a:pt x="836" y="163"/>
                  <a:pt x="836" y="163"/>
                  <a:pt x="836" y="163"/>
                </a:cubicBezTo>
                <a:cubicBezTo>
                  <a:pt x="839" y="163"/>
                  <a:pt x="839" y="163"/>
                  <a:pt x="839" y="163"/>
                </a:cubicBezTo>
                <a:cubicBezTo>
                  <a:pt x="841" y="164"/>
                  <a:pt x="841" y="164"/>
                  <a:pt x="841" y="164"/>
                </a:cubicBezTo>
                <a:cubicBezTo>
                  <a:pt x="842" y="162"/>
                  <a:pt x="842" y="162"/>
                  <a:pt x="842" y="162"/>
                </a:cubicBezTo>
                <a:cubicBezTo>
                  <a:pt x="841" y="161"/>
                  <a:pt x="841" y="161"/>
                  <a:pt x="841" y="161"/>
                </a:cubicBezTo>
                <a:cubicBezTo>
                  <a:pt x="844" y="158"/>
                  <a:pt x="844" y="158"/>
                  <a:pt x="844" y="158"/>
                </a:cubicBezTo>
                <a:cubicBezTo>
                  <a:pt x="844" y="157"/>
                  <a:pt x="844" y="157"/>
                  <a:pt x="844" y="157"/>
                </a:cubicBezTo>
                <a:cubicBezTo>
                  <a:pt x="845" y="156"/>
                  <a:pt x="845" y="156"/>
                  <a:pt x="845" y="156"/>
                </a:cubicBezTo>
                <a:cubicBezTo>
                  <a:pt x="845" y="154"/>
                  <a:pt x="845" y="154"/>
                  <a:pt x="845" y="154"/>
                </a:cubicBezTo>
                <a:cubicBezTo>
                  <a:pt x="843" y="149"/>
                  <a:pt x="843" y="149"/>
                  <a:pt x="843" y="149"/>
                </a:cubicBezTo>
                <a:cubicBezTo>
                  <a:pt x="843" y="148"/>
                  <a:pt x="843" y="148"/>
                  <a:pt x="843" y="148"/>
                </a:cubicBezTo>
                <a:cubicBezTo>
                  <a:pt x="841" y="146"/>
                  <a:pt x="841" y="146"/>
                  <a:pt x="841" y="146"/>
                </a:cubicBezTo>
                <a:cubicBezTo>
                  <a:pt x="841" y="144"/>
                  <a:pt x="841" y="144"/>
                  <a:pt x="841" y="144"/>
                </a:cubicBezTo>
                <a:cubicBezTo>
                  <a:pt x="841" y="142"/>
                  <a:pt x="841" y="142"/>
                  <a:pt x="841" y="142"/>
                </a:cubicBezTo>
                <a:cubicBezTo>
                  <a:pt x="844" y="141"/>
                  <a:pt x="844" y="141"/>
                  <a:pt x="844" y="141"/>
                </a:cubicBezTo>
                <a:cubicBezTo>
                  <a:pt x="844" y="140"/>
                  <a:pt x="844" y="140"/>
                  <a:pt x="844" y="140"/>
                </a:cubicBezTo>
                <a:cubicBezTo>
                  <a:pt x="844" y="140"/>
                  <a:pt x="844" y="140"/>
                  <a:pt x="844" y="140"/>
                </a:cubicBezTo>
                <a:cubicBezTo>
                  <a:pt x="842" y="141"/>
                  <a:pt x="842" y="141"/>
                  <a:pt x="842" y="141"/>
                </a:cubicBezTo>
                <a:cubicBezTo>
                  <a:pt x="842" y="141"/>
                  <a:pt x="842" y="141"/>
                  <a:pt x="842" y="141"/>
                </a:cubicBezTo>
                <a:cubicBezTo>
                  <a:pt x="842" y="140"/>
                  <a:pt x="842" y="140"/>
                  <a:pt x="842" y="140"/>
                </a:cubicBezTo>
                <a:cubicBezTo>
                  <a:pt x="843" y="138"/>
                  <a:pt x="843" y="138"/>
                  <a:pt x="843" y="138"/>
                </a:cubicBezTo>
                <a:cubicBezTo>
                  <a:pt x="841" y="138"/>
                  <a:pt x="841" y="138"/>
                  <a:pt x="841" y="138"/>
                </a:cubicBezTo>
                <a:cubicBezTo>
                  <a:pt x="842" y="137"/>
                  <a:pt x="842" y="137"/>
                  <a:pt x="842" y="137"/>
                </a:cubicBezTo>
                <a:cubicBezTo>
                  <a:pt x="843" y="135"/>
                  <a:pt x="843" y="135"/>
                  <a:pt x="843" y="135"/>
                </a:cubicBezTo>
                <a:cubicBezTo>
                  <a:pt x="842" y="134"/>
                  <a:pt x="842" y="134"/>
                  <a:pt x="842" y="134"/>
                </a:cubicBezTo>
                <a:cubicBezTo>
                  <a:pt x="840" y="134"/>
                  <a:pt x="840" y="134"/>
                  <a:pt x="840" y="134"/>
                </a:cubicBezTo>
                <a:cubicBezTo>
                  <a:pt x="841" y="133"/>
                  <a:pt x="841" y="133"/>
                  <a:pt x="841" y="133"/>
                </a:cubicBezTo>
                <a:cubicBezTo>
                  <a:pt x="841" y="132"/>
                  <a:pt x="841" y="132"/>
                  <a:pt x="841" y="132"/>
                </a:cubicBezTo>
                <a:cubicBezTo>
                  <a:pt x="842" y="131"/>
                  <a:pt x="842" y="131"/>
                  <a:pt x="842" y="131"/>
                </a:cubicBezTo>
                <a:cubicBezTo>
                  <a:pt x="843" y="133"/>
                  <a:pt x="843" y="133"/>
                  <a:pt x="843" y="133"/>
                </a:cubicBezTo>
                <a:cubicBezTo>
                  <a:pt x="845" y="133"/>
                  <a:pt x="845" y="133"/>
                  <a:pt x="845" y="133"/>
                </a:cubicBezTo>
                <a:cubicBezTo>
                  <a:pt x="846" y="134"/>
                  <a:pt x="846" y="134"/>
                  <a:pt x="846" y="134"/>
                </a:cubicBezTo>
                <a:cubicBezTo>
                  <a:pt x="848" y="135"/>
                  <a:pt x="848" y="135"/>
                  <a:pt x="848" y="135"/>
                </a:cubicBezTo>
                <a:cubicBezTo>
                  <a:pt x="849" y="134"/>
                  <a:pt x="849" y="134"/>
                  <a:pt x="849" y="134"/>
                </a:cubicBezTo>
                <a:cubicBezTo>
                  <a:pt x="850" y="134"/>
                  <a:pt x="850" y="134"/>
                  <a:pt x="850" y="134"/>
                </a:cubicBezTo>
                <a:cubicBezTo>
                  <a:pt x="853" y="133"/>
                  <a:pt x="853" y="133"/>
                  <a:pt x="853" y="133"/>
                </a:cubicBezTo>
                <a:cubicBezTo>
                  <a:pt x="855" y="131"/>
                  <a:pt x="855" y="131"/>
                  <a:pt x="855" y="131"/>
                </a:cubicBezTo>
                <a:cubicBezTo>
                  <a:pt x="855" y="131"/>
                  <a:pt x="855" y="131"/>
                  <a:pt x="855" y="131"/>
                </a:cubicBezTo>
                <a:cubicBezTo>
                  <a:pt x="856" y="129"/>
                  <a:pt x="856" y="129"/>
                  <a:pt x="856" y="129"/>
                </a:cubicBezTo>
                <a:cubicBezTo>
                  <a:pt x="855" y="128"/>
                  <a:pt x="855" y="128"/>
                  <a:pt x="855" y="128"/>
                </a:cubicBezTo>
                <a:cubicBezTo>
                  <a:pt x="854" y="128"/>
                  <a:pt x="854" y="128"/>
                  <a:pt x="854" y="128"/>
                </a:cubicBezTo>
                <a:cubicBezTo>
                  <a:pt x="854" y="127"/>
                  <a:pt x="854" y="127"/>
                  <a:pt x="854" y="127"/>
                </a:cubicBezTo>
                <a:cubicBezTo>
                  <a:pt x="853" y="126"/>
                  <a:pt x="853" y="126"/>
                  <a:pt x="853" y="126"/>
                </a:cubicBezTo>
                <a:cubicBezTo>
                  <a:pt x="851" y="126"/>
                  <a:pt x="851" y="126"/>
                  <a:pt x="851" y="126"/>
                </a:cubicBezTo>
                <a:cubicBezTo>
                  <a:pt x="852" y="125"/>
                  <a:pt x="852" y="125"/>
                  <a:pt x="852" y="125"/>
                </a:cubicBezTo>
                <a:cubicBezTo>
                  <a:pt x="854" y="125"/>
                  <a:pt x="854" y="125"/>
                  <a:pt x="854" y="125"/>
                </a:cubicBezTo>
                <a:cubicBezTo>
                  <a:pt x="857" y="123"/>
                  <a:pt x="857" y="123"/>
                  <a:pt x="857" y="123"/>
                </a:cubicBezTo>
                <a:cubicBezTo>
                  <a:pt x="858" y="121"/>
                  <a:pt x="858" y="121"/>
                  <a:pt x="858" y="121"/>
                </a:cubicBezTo>
                <a:cubicBezTo>
                  <a:pt x="858" y="120"/>
                  <a:pt x="858" y="120"/>
                  <a:pt x="858" y="120"/>
                </a:cubicBezTo>
                <a:cubicBezTo>
                  <a:pt x="857" y="119"/>
                  <a:pt x="857" y="119"/>
                  <a:pt x="857" y="119"/>
                </a:cubicBezTo>
                <a:cubicBezTo>
                  <a:pt x="856" y="118"/>
                  <a:pt x="856" y="118"/>
                  <a:pt x="856" y="118"/>
                </a:cubicBezTo>
                <a:cubicBezTo>
                  <a:pt x="853" y="117"/>
                  <a:pt x="853" y="117"/>
                  <a:pt x="853" y="117"/>
                </a:cubicBezTo>
                <a:cubicBezTo>
                  <a:pt x="851" y="118"/>
                  <a:pt x="851" y="118"/>
                  <a:pt x="851" y="118"/>
                </a:cubicBezTo>
                <a:cubicBezTo>
                  <a:pt x="850" y="117"/>
                  <a:pt x="850" y="117"/>
                  <a:pt x="850" y="117"/>
                </a:cubicBezTo>
                <a:cubicBezTo>
                  <a:pt x="852" y="117"/>
                  <a:pt x="852" y="117"/>
                  <a:pt x="852" y="117"/>
                </a:cubicBezTo>
                <a:cubicBezTo>
                  <a:pt x="852" y="115"/>
                  <a:pt x="852" y="115"/>
                  <a:pt x="852" y="115"/>
                </a:cubicBezTo>
                <a:cubicBezTo>
                  <a:pt x="848" y="112"/>
                  <a:pt x="848" y="112"/>
                  <a:pt x="848" y="112"/>
                </a:cubicBezTo>
                <a:cubicBezTo>
                  <a:pt x="847" y="111"/>
                  <a:pt x="847" y="111"/>
                  <a:pt x="847" y="111"/>
                </a:cubicBezTo>
                <a:cubicBezTo>
                  <a:pt x="849" y="111"/>
                  <a:pt x="849" y="111"/>
                  <a:pt x="849" y="111"/>
                </a:cubicBezTo>
                <a:cubicBezTo>
                  <a:pt x="850" y="112"/>
                  <a:pt x="850" y="112"/>
                  <a:pt x="850" y="112"/>
                </a:cubicBezTo>
                <a:cubicBezTo>
                  <a:pt x="851" y="112"/>
                  <a:pt x="851" y="112"/>
                  <a:pt x="851" y="112"/>
                </a:cubicBezTo>
                <a:cubicBezTo>
                  <a:pt x="850" y="110"/>
                  <a:pt x="850" y="110"/>
                  <a:pt x="850" y="110"/>
                </a:cubicBezTo>
                <a:cubicBezTo>
                  <a:pt x="851" y="110"/>
                  <a:pt x="851" y="110"/>
                  <a:pt x="851" y="110"/>
                </a:cubicBezTo>
                <a:cubicBezTo>
                  <a:pt x="851" y="109"/>
                  <a:pt x="851" y="109"/>
                  <a:pt x="851" y="109"/>
                </a:cubicBezTo>
                <a:cubicBezTo>
                  <a:pt x="849" y="108"/>
                  <a:pt x="849" y="108"/>
                  <a:pt x="849" y="108"/>
                </a:cubicBezTo>
                <a:cubicBezTo>
                  <a:pt x="847" y="106"/>
                  <a:pt x="847" y="106"/>
                  <a:pt x="847" y="106"/>
                </a:cubicBezTo>
                <a:cubicBezTo>
                  <a:pt x="845" y="107"/>
                  <a:pt x="845" y="107"/>
                  <a:pt x="845" y="107"/>
                </a:cubicBezTo>
                <a:cubicBezTo>
                  <a:pt x="841" y="105"/>
                  <a:pt x="841" y="105"/>
                  <a:pt x="841" y="105"/>
                </a:cubicBezTo>
                <a:cubicBezTo>
                  <a:pt x="840" y="104"/>
                  <a:pt x="840" y="104"/>
                  <a:pt x="840" y="104"/>
                </a:cubicBezTo>
                <a:cubicBezTo>
                  <a:pt x="840" y="103"/>
                  <a:pt x="840" y="103"/>
                  <a:pt x="840" y="103"/>
                </a:cubicBezTo>
                <a:cubicBezTo>
                  <a:pt x="837" y="101"/>
                  <a:pt x="837" y="101"/>
                  <a:pt x="837" y="101"/>
                </a:cubicBezTo>
                <a:cubicBezTo>
                  <a:pt x="834" y="101"/>
                  <a:pt x="834" y="101"/>
                  <a:pt x="834" y="101"/>
                </a:cubicBezTo>
                <a:cubicBezTo>
                  <a:pt x="833" y="102"/>
                  <a:pt x="833" y="102"/>
                  <a:pt x="833" y="102"/>
                </a:cubicBezTo>
                <a:cubicBezTo>
                  <a:pt x="831" y="102"/>
                  <a:pt x="831" y="102"/>
                  <a:pt x="831" y="102"/>
                </a:cubicBezTo>
                <a:cubicBezTo>
                  <a:pt x="831" y="100"/>
                  <a:pt x="831" y="100"/>
                  <a:pt x="831" y="100"/>
                </a:cubicBezTo>
                <a:cubicBezTo>
                  <a:pt x="828" y="100"/>
                  <a:pt x="828" y="100"/>
                  <a:pt x="828" y="100"/>
                </a:cubicBezTo>
                <a:cubicBezTo>
                  <a:pt x="829" y="101"/>
                  <a:pt x="829" y="101"/>
                  <a:pt x="829" y="101"/>
                </a:cubicBezTo>
                <a:cubicBezTo>
                  <a:pt x="831" y="102"/>
                  <a:pt x="831" y="102"/>
                  <a:pt x="831" y="102"/>
                </a:cubicBezTo>
                <a:cubicBezTo>
                  <a:pt x="830" y="104"/>
                  <a:pt x="830" y="104"/>
                  <a:pt x="830" y="104"/>
                </a:cubicBezTo>
                <a:cubicBezTo>
                  <a:pt x="828" y="104"/>
                  <a:pt x="828" y="104"/>
                  <a:pt x="828" y="104"/>
                </a:cubicBezTo>
                <a:cubicBezTo>
                  <a:pt x="828" y="104"/>
                  <a:pt x="828" y="104"/>
                  <a:pt x="828" y="104"/>
                </a:cubicBezTo>
                <a:cubicBezTo>
                  <a:pt x="829" y="105"/>
                  <a:pt x="829" y="105"/>
                  <a:pt x="829" y="105"/>
                </a:cubicBezTo>
                <a:cubicBezTo>
                  <a:pt x="827" y="106"/>
                  <a:pt x="827" y="106"/>
                  <a:pt x="827" y="106"/>
                </a:cubicBezTo>
                <a:cubicBezTo>
                  <a:pt x="827" y="108"/>
                  <a:pt x="827" y="108"/>
                  <a:pt x="827" y="108"/>
                </a:cubicBezTo>
                <a:cubicBezTo>
                  <a:pt x="828" y="109"/>
                  <a:pt x="828" y="109"/>
                  <a:pt x="828" y="109"/>
                </a:cubicBezTo>
                <a:cubicBezTo>
                  <a:pt x="827" y="109"/>
                  <a:pt x="827" y="109"/>
                  <a:pt x="827" y="109"/>
                </a:cubicBezTo>
                <a:cubicBezTo>
                  <a:pt x="826" y="111"/>
                  <a:pt x="826" y="111"/>
                  <a:pt x="826" y="111"/>
                </a:cubicBezTo>
                <a:cubicBezTo>
                  <a:pt x="825" y="113"/>
                  <a:pt x="825" y="113"/>
                  <a:pt x="825" y="113"/>
                </a:cubicBezTo>
                <a:cubicBezTo>
                  <a:pt x="825" y="116"/>
                  <a:pt x="825" y="116"/>
                  <a:pt x="825" y="116"/>
                </a:cubicBezTo>
                <a:cubicBezTo>
                  <a:pt x="826" y="116"/>
                  <a:pt x="826" y="116"/>
                  <a:pt x="826" y="116"/>
                </a:cubicBezTo>
                <a:cubicBezTo>
                  <a:pt x="827" y="117"/>
                  <a:pt x="827" y="117"/>
                  <a:pt x="827" y="117"/>
                </a:cubicBezTo>
                <a:cubicBezTo>
                  <a:pt x="828" y="118"/>
                  <a:pt x="828" y="118"/>
                  <a:pt x="828" y="118"/>
                </a:cubicBezTo>
                <a:cubicBezTo>
                  <a:pt x="829" y="119"/>
                  <a:pt x="829" y="119"/>
                  <a:pt x="829" y="119"/>
                </a:cubicBezTo>
                <a:cubicBezTo>
                  <a:pt x="828" y="120"/>
                  <a:pt x="828" y="120"/>
                  <a:pt x="828" y="120"/>
                </a:cubicBezTo>
                <a:cubicBezTo>
                  <a:pt x="827" y="120"/>
                  <a:pt x="827" y="120"/>
                  <a:pt x="827" y="120"/>
                </a:cubicBezTo>
                <a:cubicBezTo>
                  <a:pt x="826" y="121"/>
                  <a:pt x="826" y="121"/>
                  <a:pt x="826" y="121"/>
                </a:cubicBezTo>
                <a:cubicBezTo>
                  <a:pt x="825" y="120"/>
                  <a:pt x="825" y="120"/>
                  <a:pt x="825" y="120"/>
                </a:cubicBezTo>
                <a:cubicBezTo>
                  <a:pt x="823" y="120"/>
                  <a:pt x="823" y="120"/>
                  <a:pt x="823" y="120"/>
                </a:cubicBezTo>
                <a:cubicBezTo>
                  <a:pt x="822" y="121"/>
                  <a:pt x="822" y="121"/>
                  <a:pt x="822" y="121"/>
                </a:cubicBezTo>
                <a:cubicBezTo>
                  <a:pt x="824" y="123"/>
                  <a:pt x="824" y="123"/>
                  <a:pt x="824" y="123"/>
                </a:cubicBezTo>
                <a:cubicBezTo>
                  <a:pt x="825" y="123"/>
                  <a:pt x="825" y="123"/>
                  <a:pt x="825" y="123"/>
                </a:cubicBezTo>
                <a:cubicBezTo>
                  <a:pt x="825" y="124"/>
                  <a:pt x="825" y="124"/>
                  <a:pt x="825" y="124"/>
                </a:cubicBezTo>
                <a:cubicBezTo>
                  <a:pt x="823" y="124"/>
                  <a:pt x="823" y="124"/>
                  <a:pt x="823" y="124"/>
                </a:cubicBezTo>
                <a:cubicBezTo>
                  <a:pt x="822" y="124"/>
                  <a:pt x="822" y="124"/>
                  <a:pt x="822" y="124"/>
                </a:cubicBezTo>
                <a:cubicBezTo>
                  <a:pt x="820" y="125"/>
                  <a:pt x="820" y="125"/>
                  <a:pt x="820" y="125"/>
                </a:cubicBezTo>
                <a:cubicBezTo>
                  <a:pt x="819" y="123"/>
                  <a:pt x="819" y="123"/>
                  <a:pt x="819" y="123"/>
                </a:cubicBezTo>
                <a:cubicBezTo>
                  <a:pt x="817" y="124"/>
                  <a:pt x="817" y="124"/>
                  <a:pt x="817" y="124"/>
                </a:cubicBezTo>
                <a:cubicBezTo>
                  <a:pt x="815" y="128"/>
                  <a:pt x="815" y="128"/>
                  <a:pt x="815" y="128"/>
                </a:cubicBezTo>
                <a:cubicBezTo>
                  <a:pt x="814" y="132"/>
                  <a:pt x="814" y="132"/>
                  <a:pt x="814" y="132"/>
                </a:cubicBezTo>
                <a:cubicBezTo>
                  <a:pt x="811" y="136"/>
                  <a:pt x="811" y="136"/>
                  <a:pt x="811" y="136"/>
                </a:cubicBezTo>
                <a:cubicBezTo>
                  <a:pt x="808" y="139"/>
                  <a:pt x="808" y="139"/>
                  <a:pt x="808" y="139"/>
                </a:cubicBezTo>
                <a:cubicBezTo>
                  <a:pt x="806" y="140"/>
                  <a:pt x="806" y="140"/>
                  <a:pt x="806" y="140"/>
                </a:cubicBezTo>
                <a:cubicBezTo>
                  <a:pt x="806" y="140"/>
                  <a:pt x="806" y="140"/>
                  <a:pt x="806" y="140"/>
                </a:cubicBezTo>
                <a:cubicBezTo>
                  <a:pt x="804" y="143"/>
                  <a:pt x="804" y="143"/>
                  <a:pt x="804" y="143"/>
                </a:cubicBezTo>
                <a:cubicBezTo>
                  <a:pt x="802" y="144"/>
                  <a:pt x="802" y="144"/>
                  <a:pt x="802" y="144"/>
                </a:cubicBezTo>
                <a:cubicBezTo>
                  <a:pt x="802" y="147"/>
                  <a:pt x="802" y="147"/>
                  <a:pt x="802" y="147"/>
                </a:cubicBezTo>
                <a:cubicBezTo>
                  <a:pt x="800" y="149"/>
                  <a:pt x="800" y="149"/>
                  <a:pt x="800" y="149"/>
                </a:cubicBezTo>
                <a:cubicBezTo>
                  <a:pt x="800" y="151"/>
                  <a:pt x="800" y="151"/>
                  <a:pt x="800" y="151"/>
                </a:cubicBezTo>
                <a:cubicBezTo>
                  <a:pt x="799" y="151"/>
                  <a:pt x="799" y="151"/>
                  <a:pt x="799" y="151"/>
                </a:cubicBezTo>
                <a:cubicBezTo>
                  <a:pt x="798" y="149"/>
                  <a:pt x="798" y="149"/>
                  <a:pt x="798" y="149"/>
                </a:cubicBezTo>
                <a:cubicBezTo>
                  <a:pt x="797" y="149"/>
                  <a:pt x="797" y="149"/>
                  <a:pt x="797" y="149"/>
                </a:cubicBezTo>
                <a:cubicBezTo>
                  <a:pt x="795" y="150"/>
                  <a:pt x="795" y="150"/>
                  <a:pt x="795" y="150"/>
                </a:cubicBezTo>
                <a:cubicBezTo>
                  <a:pt x="796" y="151"/>
                  <a:pt x="796" y="151"/>
                  <a:pt x="796" y="151"/>
                </a:cubicBezTo>
                <a:cubicBezTo>
                  <a:pt x="796" y="153"/>
                  <a:pt x="796" y="153"/>
                  <a:pt x="796" y="153"/>
                </a:cubicBezTo>
                <a:cubicBezTo>
                  <a:pt x="795" y="153"/>
                  <a:pt x="795" y="153"/>
                  <a:pt x="795" y="153"/>
                </a:cubicBezTo>
                <a:cubicBezTo>
                  <a:pt x="793" y="152"/>
                  <a:pt x="793" y="152"/>
                  <a:pt x="793" y="152"/>
                </a:cubicBezTo>
                <a:cubicBezTo>
                  <a:pt x="794" y="150"/>
                  <a:pt x="794" y="150"/>
                  <a:pt x="794" y="150"/>
                </a:cubicBezTo>
                <a:cubicBezTo>
                  <a:pt x="792" y="147"/>
                  <a:pt x="792" y="147"/>
                  <a:pt x="792" y="147"/>
                </a:cubicBezTo>
                <a:cubicBezTo>
                  <a:pt x="791" y="140"/>
                  <a:pt x="791" y="140"/>
                  <a:pt x="791" y="140"/>
                </a:cubicBezTo>
                <a:cubicBezTo>
                  <a:pt x="791" y="137"/>
                  <a:pt x="791" y="137"/>
                  <a:pt x="791" y="137"/>
                </a:cubicBezTo>
                <a:cubicBezTo>
                  <a:pt x="790" y="135"/>
                  <a:pt x="790" y="135"/>
                  <a:pt x="790" y="135"/>
                </a:cubicBezTo>
                <a:cubicBezTo>
                  <a:pt x="791" y="133"/>
                  <a:pt x="791" y="133"/>
                  <a:pt x="791" y="133"/>
                </a:cubicBezTo>
                <a:cubicBezTo>
                  <a:pt x="792" y="131"/>
                  <a:pt x="792" y="131"/>
                  <a:pt x="792" y="131"/>
                </a:cubicBezTo>
                <a:cubicBezTo>
                  <a:pt x="792" y="129"/>
                  <a:pt x="792" y="129"/>
                  <a:pt x="792" y="129"/>
                </a:cubicBezTo>
                <a:cubicBezTo>
                  <a:pt x="793" y="127"/>
                  <a:pt x="793" y="127"/>
                  <a:pt x="793" y="127"/>
                </a:cubicBezTo>
                <a:cubicBezTo>
                  <a:pt x="794" y="126"/>
                  <a:pt x="794" y="126"/>
                  <a:pt x="794" y="126"/>
                </a:cubicBezTo>
                <a:cubicBezTo>
                  <a:pt x="795" y="127"/>
                  <a:pt x="795" y="127"/>
                  <a:pt x="795" y="127"/>
                </a:cubicBezTo>
                <a:cubicBezTo>
                  <a:pt x="797" y="127"/>
                  <a:pt x="797" y="127"/>
                  <a:pt x="797" y="127"/>
                </a:cubicBezTo>
                <a:cubicBezTo>
                  <a:pt x="798" y="124"/>
                  <a:pt x="798" y="124"/>
                  <a:pt x="798" y="124"/>
                </a:cubicBezTo>
                <a:cubicBezTo>
                  <a:pt x="797" y="120"/>
                  <a:pt x="797" y="120"/>
                  <a:pt x="797" y="120"/>
                </a:cubicBezTo>
                <a:cubicBezTo>
                  <a:pt x="798" y="119"/>
                  <a:pt x="798" y="119"/>
                  <a:pt x="798" y="119"/>
                </a:cubicBezTo>
                <a:cubicBezTo>
                  <a:pt x="798" y="116"/>
                  <a:pt x="798" y="116"/>
                  <a:pt x="798" y="116"/>
                </a:cubicBezTo>
                <a:cubicBezTo>
                  <a:pt x="796" y="114"/>
                  <a:pt x="796" y="114"/>
                  <a:pt x="796" y="114"/>
                </a:cubicBezTo>
                <a:cubicBezTo>
                  <a:pt x="796" y="111"/>
                  <a:pt x="796" y="111"/>
                  <a:pt x="796" y="111"/>
                </a:cubicBezTo>
                <a:cubicBezTo>
                  <a:pt x="794" y="108"/>
                  <a:pt x="794" y="108"/>
                  <a:pt x="794" y="108"/>
                </a:cubicBezTo>
                <a:cubicBezTo>
                  <a:pt x="794" y="106"/>
                  <a:pt x="794" y="106"/>
                  <a:pt x="794" y="106"/>
                </a:cubicBezTo>
                <a:cubicBezTo>
                  <a:pt x="793" y="105"/>
                  <a:pt x="793" y="105"/>
                  <a:pt x="793" y="105"/>
                </a:cubicBezTo>
                <a:cubicBezTo>
                  <a:pt x="792" y="105"/>
                  <a:pt x="792" y="105"/>
                  <a:pt x="792" y="105"/>
                </a:cubicBezTo>
                <a:cubicBezTo>
                  <a:pt x="791" y="107"/>
                  <a:pt x="791" y="107"/>
                  <a:pt x="791" y="107"/>
                </a:cubicBezTo>
                <a:cubicBezTo>
                  <a:pt x="789" y="111"/>
                  <a:pt x="789" y="111"/>
                  <a:pt x="789" y="111"/>
                </a:cubicBezTo>
                <a:cubicBezTo>
                  <a:pt x="786" y="113"/>
                  <a:pt x="786" y="113"/>
                  <a:pt x="786" y="113"/>
                </a:cubicBezTo>
                <a:cubicBezTo>
                  <a:pt x="786" y="115"/>
                  <a:pt x="786" y="115"/>
                  <a:pt x="786" y="115"/>
                </a:cubicBezTo>
                <a:cubicBezTo>
                  <a:pt x="786" y="119"/>
                  <a:pt x="786" y="119"/>
                  <a:pt x="786" y="119"/>
                </a:cubicBezTo>
                <a:cubicBezTo>
                  <a:pt x="785" y="120"/>
                  <a:pt x="785" y="120"/>
                  <a:pt x="785" y="120"/>
                </a:cubicBezTo>
                <a:cubicBezTo>
                  <a:pt x="784" y="119"/>
                  <a:pt x="784" y="119"/>
                  <a:pt x="784" y="119"/>
                </a:cubicBezTo>
                <a:cubicBezTo>
                  <a:pt x="783" y="120"/>
                  <a:pt x="783" y="120"/>
                  <a:pt x="783" y="120"/>
                </a:cubicBezTo>
                <a:cubicBezTo>
                  <a:pt x="783" y="121"/>
                  <a:pt x="783" y="121"/>
                  <a:pt x="783" y="121"/>
                </a:cubicBezTo>
                <a:cubicBezTo>
                  <a:pt x="783" y="121"/>
                  <a:pt x="783" y="121"/>
                  <a:pt x="783" y="121"/>
                </a:cubicBezTo>
                <a:cubicBezTo>
                  <a:pt x="780" y="123"/>
                  <a:pt x="780" y="123"/>
                  <a:pt x="780" y="123"/>
                </a:cubicBezTo>
                <a:cubicBezTo>
                  <a:pt x="779" y="124"/>
                  <a:pt x="779" y="124"/>
                  <a:pt x="779" y="124"/>
                </a:cubicBezTo>
                <a:cubicBezTo>
                  <a:pt x="778" y="126"/>
                  <a:pt x="778" y="126"/>
                  <a:pt x="778" y="126"/>
                </a:cubicBezTo>
                <a:cubicBezTo>
                  <a:pt x="777" y="126"/>
                  <a:pt x="777" y="126"/>
                  <a:pt x="777" y="126"/>
                </a:cubicBezTo>
                <a:cubicBezTo>
                  <a:pt x="776" y="125"/>
                  <a:pt x="776" y="125"/>
                  <a:pt x="776" y="125"/>
                </a:cubicBezTo>
                <a:cubicBezTo>
                  <a:pt x="778" y="124"/>
                  <a:pt x="778" y="124"/>
                  <a:pt x="778" y="124"/>
                </a:cubicBezTo>
                <a:cubicBezTo>
                  <a:pt x="777" y="122"/>
                  <a:pt x="777" y="122"/>
                  <a:pt x="777" y="122"/>
                </a:cubicBezTo>
                <a:cubicBezTo>
                  <a:pt x="777" y="121"/>
                  <a:pt x="777" y="121"/>
                  <a:pt x="777" y="121"/>
                </a:cubicBezTo>
                <a:cubicBezTo>
                  <a:pt x="779" y="118"/>
                  <a:pt x="779" y="118"/>
                  <a:pt x="779" y="118"/>
                </a:cubicBezTo>
                <a:cubicBezTo>
                  <a:pt x="779" y="116"/>
                  <a:pt x="779" y="116"/>
                  <a:pt x="779" y="116"/>
                </a:cubicBezTo>
                <a:cubicBezTo>
                  <a:pt x="779" y="114"/>
                  <a:pt x="779" y="114"/>
                  <a:pt x="779" y="114"/>
                </a:cubicBezTo>
                <a:cubicBezTo>
                  <a:pt x="781" y="114"/>
                  <a:pt x="781" y="114"/>
                  <a:pt x="781" y="114"/>
                </a:cubicBezTo>
                <a:cubicBezTo>
                  <a:pt x="781" y="112"/>
                  <a:pt x="781" y="112"/>
                  <a:pt x="781" y="112"/>
                </a:cubicBezTo>
                <a:cubicBezTo>
                  <a:pt x="781" y="111"/>
                  <a:pt x="781" y="111"/>
                  <a:pt x="781" y="111"/>
                </a:cubicBezTo>
                <a:cubicBezTo>
                  <a:pt x="781" y="109"/>
                  <a:pt x="781" y="109"/>
                  <a:pt x="781" y="109"/>
                </a:cubicBezTo>
                <a:cubicBezTo>
                  <a:pt x="779" y="106"/>
                  <a:pt x="779" y="106"/>
                  <a:pt x="779" y="106"/>
                </a:cubicBezTo>
                <a:cubicBezTo>
                  <a:pt x="779" y="104"/>
                  <a:pt x="779" y="104"/>
                  <a:pt x="779" y="104"/>
                </a:cubicBezTo>
                <a:cubicBezTo>
                  <a:pt x="778" y="102"/>
                  <a:pt x="778" y="102"/>
                  <a:pt x="778" y="102"/>
                </a:cubicBezTo>
                <a:cubicBezTo>
                  <a:pt x="778" y="101"/>
                  <a:pt x="778" y="101"/>
                  <a:pt x="778" y="101"/>
                </a:cubicBezTo>
                <a:cubicBezTo>
                  <a:pt x="779" y="102"/>
                  <a:pt x="779" y="102"/>
                  <a:pt x="779" y="102"/>
                </a:cubicBezTo>
                <a:cubicBezTo>
                  <a:pt x="780" y="102"/>
                  <a:pt x="780" y="102"/>
                  <a:pt x="780" y="102"/>
                </a:cubicBezTo>
                <a:cubicBezTo>
                  <a:pt x="780" y="104"/>
                  <a:pt x="780" y="104"/>
                  <a:pt x="780" y="104"/>
                </a:cubicBezTo>
                <a:cubicBezTo>
                  <a:pt x="781" y="104"/>
                  <a:pt x="781" y="104"/>
                  <a:pt x="781" y="104"/>
                </a:cubicBezTo>
                <a:cubicBezTo>
                  <a:pt x="783" y="101"/>
                  <a:pt x="783" y="101"/>
                  <a:pt x="783" y="101"/>
                </a:cubicBezTo>
                <a:cubicBezTo>
                  <a:pt x="785" y="101"/>
                  <a:pt x="785" y="101"/>
                  <a:pt x="785" y="101"/>
                </a:cubicBezTo>
                <a:cubicBezTo>
                  <a:pt x="786" y="100"/>
                  <a:pt x="786" y="100"/>
                  <a:pt x="786" y="100"/>
                </a:cubicBezTo>
                <a:cubicBezTo>
                  <a:pt x="785" y="99"/>
                  <a:pt x="785" y="99"/>
                  <a:pt x="785" y="99"/>
                </a:cubicBezTo>
                <a:cubicBezTo>
                  <a:pt x="783" y="100"/>
                  <a:pt x="783" y="100"/>
                  <a:pt x="783" y="100"/>
                </a:cubicBezTo>
                <a:cubicBezTo>
                  <a:pt x="782" y="99"/>
                  <a:pt x="782" y="99"/>
                  <a:pt x="782" y="99"/>
                </a:cubicBezTo>
                <a:cubicBezTo>
                  <a:pt x="780" y="98"/>
                  <a:pt x="780" y="98"/>
                  <a:pt x="780" y="98"/>
                </a:cubicBezTo>
                <a:cubicBezTo>
                  <a:pt x="780" y="98"/>
                  <a:pt x="780" y="98"/>
                  <a:pt x="780" y="98"/>
                </a:cubicBezTo>
                <a:cubicBezTo>
                  <a:pt x="781" y="97"/>
                  <a:pt x="781" y="97"/>
                  <a:pt x="781" y="97"/>
                </a:cubicBezTo>
                <a:cubicBezTo>
                  <a:pt x="780" y="96"/>
                  <a:pt x="780" y="96"/>
                  <a:pt x="780" y="96"/>
                </a:cubicBezTo>
                <a:cubicBezTo>
                  <a:pt x="779" y="96"/>
                  <a:pt x="779" y="96"/>
                  <a:pt x="779" y="96"/>
                </a:cubicBezTo>
                <a:cubicBezTo>
                  <a:pt x="778" y="98"/>
                  <a:pt x="778" y="98"/>
                  <a:pt x="778" y="98"/>
                </a:cubicBezTo>
                <a:cubicBezTo>
                  <a:pt x="776" y="99"/>
                  <a:pt x="776" y="99"/>
                  <a:pt x="776" y="99"/>
                </a:cubicBezTo>
                <a:cubicBezTo>
                  <a:pt x="774" y="97"/>
                  <a:pt x="774" y="97"/>
                  <a:pt x="774" y="97"/>
                </a:cubicBezTo>
                <a:cubicBezTo>
                  <a:pt x="774" y="95"/>
                  <a:pt x="774" y="95"/>
                  <a:pt x="774" y="95"/>
                </a:cubicBezTo>
                <a:cubicBezTo>
                  <a:pt x="772" y="95"/>
                  <a:pt x="772" y="95"/>
                  <a:pt x="772" y="95"/>
                </a:cubicBezTo>
                <a:cubicBezTo>
                  <a:pt x="770" y="95"/>
                  <a:pt x="770" y="95"/>
                  <a:pt x="770" y="95"/>
                </a:cubicBezTo>
                <a:cubicBezTo>
                  <a:pt x="769" y="94"/>
                  <a:pt x="769" y="94"/>
                  <a:pt x="769" y="94"/>
                </a:cubicBezTo>
                <a:cubicBezTo>
                  <a:pt x="770" y="92"/>
                  <a:pt x="770" y="92"/>
                  <a:pt x="770" y="92"/>
                </a:cubicBezTo>
                <a:cubicBezTo>
                  <a:pt x="771" y="92"/>
                  <a:pt x="771" y="92"/>
                  <a:pt x="771" y="92"/>
                </a:cubicBezTo>
                <a:cubicBezTo>
                  <a:pt x="771" y="90"/>
                  <a:pt x="771" y="90"/>
                  <a:pt x="771" y="90"/>
                </a:cubicBezTo>
                <a:cubicBezTo>
                  <a:pt x="773" y="90"/>
                  <a:pt x="773" y="90"/>
                  <a:pt x="773" y="90"/>
                </a:cubicBezTo>
                <a:cubicBezTo>
                  <a:pt x="778" y="86"/>
                  <a:pt x="778" y="86"/>
                  <a:pt x="778" y="86"/>
                </a:cubicBezTo>
                <a:cubicBezTo>
                  <a:pt x="779" y="85"/>
                  <a:pt x="779" y="85"/>
                  <a:pt x="779" y="85"/>
                </a:cubicBezTo>
                <a:cubicBezTo>
                  <a:pt x="777" y="84"/>
                  <a:pt x="777" y="84"/>
                  <a:pt x="777" y="84"/>
                </a:cubicBezTo>
                <a:cubicBezTo>
                  <a:pt x="775" y="85"/>
                  <a:pt x="775" y="85"/>
                  <a:pt x="775" y="85"/>
                </a:cubicBezTo>
                <a:cubicBezTo>
                  <a:pt x="775" y="84"/>
                  <a:pt x="775" y="84"/>
                  <a:pt x="775" y="84"/>
                </a:cubicBezTo>
                <a:cubicBezTo>
                  <a:pt x="776" y="83"/>
                  <a:pt x="776" y="83"/>
                  <a:pt x="776" y="83"/>
                </a:cubicBezTo>
                <a:cubicBezTo>
                  <a:pt x="777" y="81"/>
                  <a:pt x="777" y="81"/>
                  <a:pt x="777" y="81"/>
                </a:cubicBezTo>
                <a:cubicBezTo>
                  <a:pt x="780" y="80"/>
                  <a:pt x="780" y="80"/>
                  <a:pt x="780" y="80"/>
                </a:cubicBezTo>
                <a:cubicBezTo>
                  <a:pt x="779" y="82"/>
                  <a:pt x="779" y="82"/>
                  <a:pt x="779" y="82"/>
                </a:cubicBezTo>
                <a:cubicBezTo>
                  <a:pt x="780" y="84"/>
                  <a:pt x="780" y="84"/>
                  <a:pt x="780" y="84"/>
                </a:cubicBezTo>
                <a:cubicBezTo>
                  <a:pt x="782" y="84"/>
                  <a:pt x="782" y="84"/>
                  <a:pt x="782" y="84"/>
                </a:cubicBezTo>
                <a:cubicBezTo>
                  <a:pt x="783" y="84"/>
                  <a:pt x="783" y="84"/>
                  <a:pt x="783" y="84"/>
                </a:cubicBezTo>
                <a:cubicBezTo>
                  <a:pt x="785" y="83"/>
                  <a:pt x="785" y="83"/>
                  <a:pt x="785" y="83"/>
                </a:cubicBezTo>
                <a:cubicBezTo>
                  <a:pt x="785" y="81"/>
                  <a:pt x="785" y="81"/>
                  <a:pt x="785" y="81"/>
                </a:cubicBezTo>
                <a:cubicBezTo>
                  <a:pt x="783" y="80"/>
                  <a:pt x="783" y="80"/>
                  <a:pt x="783" y="80"/>
                </a:cubicBezTo>
                <a:cubicBezTo>
                  <a:pt x="782" y="79"/>
                  <a:pt x="782" y="79"/>
                  <a:pt x="782" y="79"/>
                </a:cubicBezTo>
                <a:cubicBezTo>
                  <a:pt x="782" y="78"/>
                  <a:pt x="782" y="78"/>
                  <a:pt x="782" y="78"/>
                </a:cubicBezTo>
                <a:cubicBezTo>
                  <a:pt x="783" y="76"/>
                  <a:pt x="783" y="76"/>
                  <a:pt x="783" y="76"/>
                </a:cubicBezTo>
                <a:cubicBezTo>
                  <a:pt x="782" y="74"/>
                  <a:pt x="782" y="74"/>
                  <a:pt x="782" y="74"/>
                </a:cubicBezTo>
                <a:cubicBezTo>
                  <a:pt x="783" y="74"/>
                  <a:pt x="783" y="74"/>
                  <a:pt x="783" y="74"/>
                </a:cubicBezTo>
                <a:cubicBezTo>
                  <a:pt x="783" y="72"/>
                  <a:pt x="783" y="72"/>
                  <a:pt x="783" y="72"/>
                </a:cubicBezTo>
                <a:cubicBezTo>
                  <a:pt x="781" y="70"/>
                  <a:pt x="781" y="70"/>
                  <a:pt x="781" y="70"/>
                </a:cubicBezTo>
                <a:cubicBezTo>
                  <a:pt x="781" y="68"/>
                  <a:pt x="781" y="68"/>
                  <a:pt x="781" y="68"/>
                </a:cubicBezTo>
                <a:cubicBezTo>
                  <a:pt x="780" y="66"/>
                  <a:pt x="780" y="66"/>
                  <a:pt x="780" y="66"/>
                </a:cubicBezTo>
                <a:cubicBezTo>
                  <a:pt x="781" y="65"/>
                  <a:pt x="781" y="65"/>
                  <a:pt x="781" y="65"/>
                </a:cubicBezTo>
                <a:cubicBezTo>
                  <a:pt x="782" y="63"/>
                  <a:pt x="782" y="63"/>
                  <a:pt x="782" y="63"/>
                </a:cubicBezTo>
                <a:cubicBezTo>
                  <a:pt x="783" y="60"/>
                  <a:pt x="783" y="60"/>
                  <a:pt x="783" y="60"/>
                </a:cubicBezTo>
                <a:cubicBezTo>
                  <a:pt x="783" y="59"/>
                  <a:pt x="783" y="59"/>
                  <a:pt x="783" y="59"/>
                </a:cubicBezTo>
                <a:cubicBezTo>
                  <a:pt x="785" y="57"/>
                  <a:pt x="785" y="57"/>
                  <a:pt x="785" y="57"/>
                </a:cubicBezTo>
                <a:cubicBezTo>
                  <a:pt x="785" y="56"/>
                  <a:pt x="785" y="56"/>
                  <a:pt x="785" y="56"/>
                </a:cubicBezTo>
                <a:cubicBezTo>
                  <a:pt x="783" y="55"/>
                  <a:pt x="783" y="55"/>
                  <a:pt x="783" y="55"/>
                </a:cubicBezTo>
                <a:cubicBezTo>
                  <a:pt x="784" y="51"/>
                  <a:pt x="784" y="51"/>
                  <a:pt x="784" y="51"/>
                </a:cubicBezTo>
                <a:cubicBezTo>
                  <a:pt x="783" y="50"/>
                  <a:pt x="783" y="50"/>
                  <a:pt x="783" y="50"/>
                </a:cubicBezTo>
                <a:cubicBezTo>
                  <a:pt x="781" y="48"/>
                  <a:pt x="781" y="48"/>
                  <a:pt x="781" y="48"/>
                </a:cubicBezTo>
                <a:cubicBezTo>
                  <a:pt x="782" y="47"/>
                  <a:pt x="782" y="47"/>
                  <a:pt x="782" y="47"/>
                </a:cubicBezTo>
                <a:cubicBezTo>
                  <a:pt x="781" y="45"/>
                  <a:pt x="781" y="45"/>
                  <a:pt x="781" y="45"/>
                </a:cubicBezTo>
                <a:cubicBezTo>
                  <a:pt x="782" y="44"/>
                  <a:pt x="782" y="44"/>
                  <a:pt x="782" y="44"/>
                </a:cubicBezTo>
                <a:cubicBezTo>
                  <a:pt x="783" y="42"/>
                  <a:pt x="783" y="42"/>
                  <a:pt x="783" y="42"/>
                </a:cubicBezTo>
                <a:cubicBezTo>
                  <a:pt x="782" y="41"/>
                  <a:pt x="782" y="41"/>
                  <a:pt x="782" y="41"/>
                </a:cubicBezTo>
                <a:cubicBezTo>
                  <a:pt x="780" y="40"/>
                  <a:pt x="780" y="40"/>
                  <a:pt x="780" y="40"/>
                </a:cubicBezTo>
                <a:cubicBezTo>
                  <a:pt x="779" y="39"/>
                  <a:pt x="779" y="39"/>
                  <a:pt x="779" y="39"/>
                </a:cubicBezTo>
                <a:cubicBezTo>
                  <a:pt x="779" y="38"/>
                  <a:pt x="779" y="38"/>
                  <a:pt x="779" y="38"/>
                </a:cubicBezTo>
                <a:cubicBezTo>
                  <a:pt x="779" y="37"/>
                  <a:pt x="779" y="37"/>
                  <a:pt x="779" y="37"/>
                </a:cubicBezTo>
                <a:cubicBezTo>
                  <a:pt x="776" y="36"/>
                  <a:pt x="776" y="36"/>
                  <a:pt x="776" y="36"/>
                </a:cubicBezTo>
                <a:cubicBezTo>
                  <a:pt x="773" y="35"/>
                  <a:pt x="773" y="35"/>
                  <a:pt x="773" y="35"/>
                </a:cubicBezTo>
                <a:cubicBezTo>
                  <a:pt x="772" y="36"/>
                  <a:pt x="772" y="36"/>
                  <a:pt x="772" y="36"/>
                </a:cubicBezTo>
                <a:cubicBezTo>
                  <a:pt x="772" y="37"/>
                  <a:pt x="772" y="37"/>
                  <a:pt x="772" y="37"/>
                </a:cubicBezTo>
                <a:cubicBezTo>
                  <a:pt x="769" y="39"/>
                  <a:pt x="769" y="39"/>
                  <a:pt x="769" y="39"/>
                </a:cubicBezTo>
                <a:cubicBezTo>
                  <a:pt x="768" y="40"/>
                  <a:pt x="768" y="40"/>
                  <a:pt x="768" y="40"/>
                </a:cubicBezTo>
                <a:cubicBezTo>
                  <a:pt x="766" y="40"/>
                  <a:pt x="766" y="40"/>
                  <a:pt x="766" y="40"/>
                </a:cubicBezTo>
                <a:cubicBezTo>
                  <a:pt x="764" y="42"/>
                  <a:pt x="764" y="42"/>
                  <a:pt x="764" y="42"/>
                </a:cubicBezTo>
                <a:cubicBezTo>
                  <a:pt x="765" y="44"/>
                  <a:pt x="765" y="44"/>
                  <a:pt x="765" y="44"/>
                </a:cubicBezTo>
                <a:cubicBezTo>
                  <a:pt x="767" y="45"/>
                  <a:pt x="767" y="45"/>
                  <a:pt x="767" y="45"/>
                </a:cubicBezTo>
                <a:cubicBezTo>
                  <a:pt x="769" y="45"/>
                  <a:pt x="769" y="45"/>
                  <a:pt x="769" y="45"/>
                </a:cubicBezTo>
                <a:cubicBezTo>
                  <a:pt x="769" y="46"/>
                  <a:pt x="769" y="46"/>
                  <a:pt x="769" y="46"/>
                </a:cubicBezTo>
                <a:cubicBezTo>
                  <a:pt x="766" y="49"/>
                  <a:pt x="766" y="49"/>
                  <a:pt x="766" y="49"/>
                </a:cubicBezTo>
                <a:cubicBezTo>
                  <a:pt x="766" y="50"/>
                  <a:pt x="766" y="50"/>
                  <a:pt x="766" y="50"/>
                </a:cubicBezTo>
                <a:cubicBezTo>
                  <a:pt x="764" y="52"/>
                  <a:pt x="764" y="52"/>
                  <a:pt x="764" y="52"/>
                </a:cubicBezTo>
                <a:cubicBezTo>
                  <a:pt x="764" y="50"/>
                  <a:pt x="764" y="50"/>
                  <a:pt x="764" y="50"/>
                </a:cubicBezTo>
                <a:cubicBezTo>
                  <a:pt x="763" y="49"/>
                  <a:pt x="763" y="49"/>
                  <a:pt x="763" y="49"/>
                </a:cubicBezTo>
                <a:cubicBezTo>
                  <a:pt x="764" y="47"/>
                  <a:pt x="764" y="47"/>
                  <a:pt x="764" y="47"/>
                </a:cubicBezTo>
                <a:cubicBezTo>
                  <a:pt x="763" y="46"/>
                  <a:pt x="763" y="46"/>
                  <a:pt x="763" y="46"/>
                </a:cubicBezTo>
                <a:cubicBezTo>
                  <a:pt x="760" y="47"/>
                  <a:pt x="760" y="47"/>
                  <a:pt x="760" y="47"/>
                </a:cubicBezTo>
                <a:cubicBezTo>
                  <a:pt x="759" y="49"/>
                  <a:pt x="759" y="49"/>
                  <a:pt x="759" y="49"/>
                </a:cubicBezTo>
                <a:cubicBezTo>
                  <a:pt x="757" y="49"/>
                  <a:pt x="757" y="49"/>
                  <a:pt x="757" y="49"/>
                </a:cubicBezTo>
                <a:cubicBezTo>
                  <a:pt x="756" y="52"/>
                  <a:pt x="756" y="52"/>
                  <a:pt x="756" y="52"/>
                </a:cubicBezTo>
                <a:cubicBezTo>
                  <a:pt x="755" y="52"/>
                  <a:pt x="755" y="52"/>
                  <a:pt x="755" y="52"/>
                </a:cubicBezTo>
                <a:cubicBezTo>
                  <a:pt x="753" y="56"/>
                  <a:pt x="753" y="56"/>
                  <a:pt x="753" y="56"/>
                </a:cubicBezTo>
                <a:cubicBezTo>
                  <a:pt x="751" y="59"/>
                  <a:pt x="751" y="59"/>
                  <a:pt x="751" y="59"/>
                </a:cubicBezTo>
                <a:cubicBezTo>
                  <a:pt x="750" y="61"/>
                  <a:pt x="750" y="61"/>
                  <a:pt x="750" y="61"/>
                </a:cubicBezTo>
                <a:cubicBezTo>
                  <a:pt x="751" y="63"/>
                  <a:pt x="751" y="63"/>
                  <a:pt x="751" y="63"/>
                </a:cubicBezTo>
                <a:cubicBezTo>
                  <a:pt x="751" y="64"/>
                  <a:pt x="751" y="64"/>
                  <a:pt x="751" y="64"/>
                </a:cubicBezTo>
                <a:cubicBezTo>
                  <a:pt x="752" y="65"/>
                  <a:pt x="752" y="65"/>
                  <a:pt x="752" y="65"/>
                </a:cubicBezTo>
                <a:cubicBezTo>
                  <a:pt x="754" y="63"/>
                  <a:pt x="754" y="63"/>
                  <a:pt x="754" y="63"/>
                </a:cubicBezTo>
                <a:cubicBezTo>
                  <a:pt x="755" y="63"/>
                  <a:pt x="755" y="63"/>
                  <a:pt x="755" y="63"/>
                </a:cubicBezTo>
                <a:cubicBezTo>
                  <a:pt x="755" y="65"/>
                  <a:pt x="755" y="65"/>
                  <a:pt x="755" y="65"/>
                </a:cubicBezTo>
                <a:cubicBezTo>
                  <a:pt x="753" y="66"/>
                  <a:pt x="753" y="66"/>
                  <a:pt x="753" y="66"/>
                </a:cubicBezTo>
                <a:cubicBezTo>
                  <a:pt x="753" y="67"/>
                  <a:pt x="753" y="67"/>
                  <a:pt x="753" y="67"/>
                </a:cubicBezTo>
                <a:cubicBezTo>
                  <a:pt x="751" y="67"/>
                  <a:pt x="751" y="67"/>
                  <a:pt x="751" y="67"/>
                </a:cubicBezTo>
                <a:cubicBezTo>
                  <a:pt x="749" y="67"/>
                  <a:pt x="749" y="67"/>
                  <a:pt x="749" y="67"/>
                </a:cubicBezTo>
                <a:cubicBezTo>
                  <a:pt x="746" y="70"/>
                  <a:pt x="746" y="70"/>
                  <a:pt x="746" y="70"/>
                </a:cubicBezTo>
                <a:cubicBezTo>
                  <a:pt x="744" y="72"/>
                  <a:pt x="744" y="72"/>
                  <a:pt x="744" y="72"/>
                </a:cubicBezTo>
                <a:cubicBezTo>
                  <a:pt x="744" y="77"/>
                  <a:pt x="744" y="77"/>
                  <a:pt x="744" y="77"/>
                </a:cubicBezTo>
                <a:cubicBezTo>
                  <a:pt x="745" y="79"/>
                  <a:pt x="745" y="79"/>
                  <a:pt x="745" y="79"/>
                </a:cubicBezTo>
                <a:cubicBezTo>
                  <a:pt x="745" y="80"/>
                  <a:pt x="745" y="80"/>
                  <a:pt x="745" y="80"/>
                </a:cubicBezTo>
                <a:cubicBezTo>
                  <a:pt x="744" y="82"/>
                  <a:pt x="744" y="82"/>
                  <a:pt x="744" y="82"/>
                </a:cubicBezTo>
                <a:cubicBezTo>
                  <a:pt x="745" y="83"/>
                  <a:pt x="745" y="83"/>
                  <a:pt x="745" y="83"/>
                </a:cubicBezTo>
                <a:cubicBezTo>
                  <a:pt x="745" y="85"/>
                  <a:pt x="745" y="85"/>
                  <a:pt x="745" y="85"/>
                </a:cubicBezTo>
                <a:cubicBezTo>
                  <a:pt x="747" y="84"/>
                  <a:pt x="747" y="84"/>
                  <a:pt x="747" y="84"/>
                </a:cubicBezTo>
                <a:cubicBezTo>
                  <a:pt x="748" y="85"/>
                  <a:pt x="748" y="85"/>
                  <a:pt x="748" y="85"/>
                </a:cubicBezTo>
                <a:cubicBezTo>
                  <a:pt x="748" y="87"/>
                  <a:pt x="748" y="87"/>
                  <a:pt x="748" y="87"/>
                </a:cubicBezTo>
                <a:cubicBezTo>
                  <a:pt x="750" y="88"/>
                  <a:pt x="750" y="88"/>
                  <a:pt x="750" y="88"/>
                </a:cubicBezTo>
                <a:cubicBezTo>
                  <a:pt x="751" y="90"/>
                  <a:pt x="751" y="90"/>
                  <a:pt x="751" y="90"/>
                </a:cubicBezTo>
                <a:cubicBezTo>
                  <a:pt x="752" y="90"/>
                  <a:pt x="752" y="90"/>
                  <a:pt x="752" y="90"/>
                </a:cubicBezTo>
                <a:cubicBezTo>
                  <a:pt x="753" y="88"/>
                  <a:pt x="753" y="88"/>
                  <a:pt x="753" y="88"/>
                </a:cubicBezTo>
                <a:cubicBezTo>
                  <a:pt x="753" y="90"/>
                  <a:pt x="753" y="90"/>
                  <a:pt x="753" y="90"/>
                </a:cubicBezTo>
                <a:cubicBezTo>
                  <a:pt x="754" y="93"/>
                  <a:pt x="754" y="93"/>
                  <a:pt x="754" y="93"/>
                </a:cubicBezTo>
                <a:cubicBezTo>
                  <a:pt x="757" y="94"/>
                  <a:pt x="757" y="94"/>
                  <a:pt x="757" y="94"/>
                </a:cubicBezTo>
                <a:cubicBezTo>
                  <a:pt x="758" y="95"/>
                  <a:pt x="758" y="95"/>
                  <a:pt x="758" y="95"/>
                </a:cubicBezTo>
                <a:cubicBezTo>
                  <a:pt x="760" y="95"/>
                  <a:pt x="760" y="95"/>
                  <a:pt x="760" y="95"/>
                </a:cubicBezTo>
                <a:cubicBezTo>
                  <a:pt x="762" y="95"/>
                  <a:pt x="762" y="95"/>
                  <a:pt x="762" y="95"/>
                </a:cubicBezTo>
                <a:cubicBezTo>
                  <a:pt x="762" y="97"/>
                  <a:pt x="762" y="97"/>
                  <a:pt x="762" y="97"/>
                </a:cubicBezTo>
                <a:cubicBezTo>
                  <a:pt x="760" y="100"/>
                  <a:pt x="760" y="100"/>
                  <a:pt x="760" y="100"/>
                </a:cubicBezTo>
                <a:cubicBezTo>
                  <a:pt x="758" y="101"/>
                  <a:pt x="758" y="101"/>
                  <a:pt x="758" y="101"/>
                </a:cubicBezTo>
                <a:cubicBezTo>
                  <a:pt x="757" y="101"/>
                  <a:pt x="757" y="101"/>
                  <a:pt x="757" y="101"/>
                </a:cubicBezTo>
                <a:cubicBezTo>
                  <a:pt x="758" y="99"/>
                  <a:pt x="758" y="99"/>
                  <a:pt x="758" y="99"/>
                </a:cubicBezTo>
                <a:cubicBezTo>
                  <a:pt x="759" y="98"/>
                  <a:pt x="759" y="98"/>
                  <a:pt x="759" y="98"/>
                </a:cubicBezTo>
                <a:cubicBezTo>
                  <a:pt x="757" y="97"/>
                  <a:pt x="757" y="97"/>
                  <a:pt x="757" y="97"/>
                </a:cubicBezTo>
                <a:cubicBezTo>
                  <a:pt x="755" y="98"/>
                  <a:pt x="755" y="98"/>
                  <a:pt x="755" y="98"/>
                </a:cubicBezTo>
                <a:cubicBezTo>
                  <a:pt x="753" y="100"/>
                  <a:pt x="753" y="100"/>
                  <a:pt x="753" y="100"/>
                </a:cubicBezTo>
                <a:cubicBezTo>
                  <a:pt x="754" y="101"/>
                  <a:pt x="754" y="101"/>
                  <a:pt x="754" y="101"/>
                </a:cubicBezTo>
                <a:cubicBezTo>
                  <a:pt x="754" y="102"/>
                  <a:pt x="754" y="102"/>
                  <a:pt x="754" y="102"/>
                </a:cubicBezTo>
                <a:cubicBezTo>
                  <a:pt x="751" y="103"/>
                  <a:pt x="751" y="103"/>
                  <a:pt x="751" y="103"/>
                </a:cubicBezTo>
                <a:cubicBezTo>
                  <a:pt x="750" y="105"/>
                  <a:pt x="750" y="105"/>
                  <a:pt x="750" y="105"/>
                </a:cubicBezTo>
                <a:cubicBezTo>
                  <a:pt x="749" y="105"/>
                  <a:pt x="749" y="105"/>
                  <a:pt x="749" y="105"/>
                </a:cubicBezTo>
                <a:cubicBezTo>
                  <a:pt x="748" y="107"/>
                  <a:pt x="748" y="107"/>
                  <a:pt x="748" y="107"/>
                </a:cubicBezTo>
                <a:cubicBezTo>
                  <a:pt x="748" y="108"/>
                  <a:pt x="748" y="108"/>
                  <a:pt x="748" y="108"/>
                </a:cubicBezTo>
                <a:cubicBezTo>
                  <a:pt x="749" y="108"/>
                  <a:pt x="749" y="108"/>
                  <a:pt x="749" y="108"/>
                </a:cubicBezTo>
                <a:cubicBezTo>
                  <a:pt x="750" y="109"/>
                  <a:pt x="750" y="109"/>
                  <a:pt x="750" y="109"/>
                </a:cubicBezTo>
                <a:cubicBezTo>
                  <a:pt x="752" y="109"/>
                  <a:pt x="752" y="109"/>
                  <a:pt x="752" y="109"/>
                </a:cubicBezTo>
                <a:cubicBezTo>
                  <a:pt x="753" y="107"/>
                  <a:pt x="753" y="107"/>
                  <a:pt x="753" y="107"/>
                </a:cubicBezTo>
                <a:cubicBezTo>
                  <a:pt x="753" y="106"/>
                  <a:pt x="753" y="106"/>
                  <a:pt x="753" y="106"/>
                </a:cubicBezTo>
                <a:cubicBezTo>
                  <a:pt x="755" y="106"/>
                  <a:pt x="755" y="106"/>
                  <a:pt x="755" y="106"/>
                </a:cubicBezTo>
                <a:cubicBezTo>
                  <a:pt x="756" y="105"/>
                  <a:pt x="756" y="105"/>
                  <a:pt x="756" y="105"/>
                </a:cubicBezTo>
                <a:cubicBezTo>
                  <a:pt x="756" y="106"/>
                  <a:pt x="756" y="106"/>
                  <a:pt x="756" y="106"/>
                </a:cubicBezTo>
                <a:cubicBezTo>
                  <a:pt x="756" y="108"/>
                  <a:pt x="756" y="108"/>
                  <a:pt x="756" y="108"/>
                </a:cubicBezTo>
                <a:cubicBezTo>
                  <a:pt x="755" y="110"/>
                  <a:pt x="755" y="110"/>
                  <a:pt x="755" y="110"/>
                </a:cubicBezTo>
                <a:cubicBezTo>
                  <a:pt x="754" y="113"/>
                  <a:pt x="754" y="113"/>
                  <a:pt x="754" y="113"/>
                </a:cubicBezTo>
                <a:cubicBezTo>
                  <a:pt x="754" y="114"/>
                  <a:pt x="754" y="114"/>
                  <a:pt x="754" y="114"/>
                </a:cubicBezTo>
                <a:cubicBezTo>
                  <a:pt x="753" y="116"/>
                  <a:pt x="753" y="116"/>
                  <a:pt x="753" y="116"/>
                </a:cubicBezTo>
                <a:cubicBezTo>
                  <a:pt x="750" y="116"/>
                  <a:pt x="750" y="116"/>
                  <a:pt x="750" y="116"/>
                </a:cubicBezTo>
                <a:cubicBezTo>
                  <a:pt x="748" y="118"/>
                  <a:pt x="748" y="118"/>
                  <a:pt x="748" y="118"/>
                </a:cubicBezTo>
                <a:cubicBezTo>
                  <a:pt x="747" y="118"/>
                  <a:pt x="747" y="118"/>
                  <a:pt x="747" y="118"/>
                </a:cubicBezTo>
                <a:cubicBezTo>
                  <a:pt x="747" y="119"/>
                  <a:pt x="747" y="119"/>
                  <a:pt x="747" y="119"/>
                </a:cubicBezTo>
                <a:cubicBezTo>
                  <a:pt x="746" y="121"/>
                  <a:pt x="746" y="121"/>
                  <a:pt x="746" y="121"/>
                </a:cubicBezTo>
                <a:cubicBezTo>
                  <a:pt x="742" y="123"/>
                  <a:pt x="742" y="123"/>
                  <a:pt x="742" y="123"/>
                </a:cubicBezTo>
                <a:cubicBezTo>
                  <a:pt x="740" y="125"/>
                  <a:pt x="740" y="125"/>
                  <a:pt x="740" y="125"/>
                </a:cubicBezTo>
                <a:cubicBezTo>
                  <a:pt x="739" y="125"/>
                  <a:pt x="739" y="125"/>
                  <a:pt x="739" y="125"/>
                </a:cubicBezTo>
                <a:cubicBezTo>
                  <a:pt x="738" y="124"/>
                  <a:pt x="738" y="124"/>
                  <a:pt x="738" y="124"/>
                </a:cubicBezTo>
                <a:cubicBezTo>
                  <a:pt x="737" y="124"/>
                  <a:pt x="737" y="124"/>
                  <a:pt x="737" y="124"/>
                </a:cubicBezTo>
                <a:cubicBezTo>
                  <a:pt x="737" y="123"/>
                  <a:pt x="737" y="123"/>
                  <a:pt x="737" y="123"/>
                </a:cubicBezTo>
                <a:cubicBezTo>
                  <a:pt x="736" y="124"/>
                  <a:pt x="736" y="124"/>
                  <a:pt x="736" y="124"/>
                </a:cubicBezTo>
                <a:cubicBezTo>
                  <a:pt x="734" y="125"/>
                  <a:pt x="734" y="125"/>
                  <a:pt x="734" y="125"/>
                </a:cubicBezTo>
                <a:cubicBezTo>
                  <a:pt x="735" y="124"/>
                  <a:pt x="735" y="124"/>
                  <a:pt x="735" y="124"/>
                </a:cubicBezTo>
                <a:cubicBezTo>
                  <a:pt x="734" y="123"/>
                  <a:pt x="734" y="123"/>
                  <a:pt x="734" y="123"/>
                </a:cubicBezTo>
                <a:cubicBezTo>
                  <a:pt x="732" y="125"/>
                  <a:pt x="732" y="125"/>
                  <a:pt x="732" y="125"/>
                </a:cubicBezTo>
                <a:cubicBezTo>
                  <a:pt x="732" y="127"/>
                  <a:pt x="732" y="127"/>
                  <a:pt x="732" y="127"/>
                </a:cubicBezTo>
                <a:cubicBezTo>
                  <a:pt x="730" y="130"/>
                  <a:pt x="730" y="130"/>
                  <a:pt x="730" y="130"/>
                </a:cubicBezTo>
                <a:cubicBezTo>
                  <a:pt x="729" y="131"/>
                  <a:pt x="729" y="131"/>
                  <a:pt x="729" y="131"/>
                </a:cubicBezTo>
                <a:cubicBezTo>
                  <a:pt x="730" y="132"/>
                  <a:pt x="730" y="132"/>
                  <a:pt x="730" y="132"/>
                </a:cubicBezTo>
                <a:cubicBezTo>
                  <a:pt x="730" y="133"/>
                  <a:pt x="730" y="133"/>
                  <a:pt x="730" y="133"/>
                </a:cubicBezTo>
                <a:cubicBezTo>
                  <a:pt x="729" y="136"/>
                  <a:pt x="729" y="136"/>
                  <a:pt x="729" y="136"/>
                </a:cubicBezTo>
                <a:cubicBezTo>
                  <a:pt x="729" y="138"/>
                  <a:pt x="729" y="138"/>
                  <a:pt x="729" y="138"/>
                </a:cubicBezTo>
                <a:cubicBezTo>
                  <a:pt x="730" y="139"/>
                  <a:pt x="730" y="139"/>
                  <a:pt x="730" y="139"/>
                </a:cubicBezTo>
                <a:cubicBezTo>
                  <a:pt x="729" y="140"/>
                  <a:pt x="729" y="140"/>
                  <a:pt x="729" y="140"/>
                </a:cubicBezTo>
                <a:cubicBezTo>
                  <a:pt x="728" y="142"/>
                  <a:pt x="728" y="142"/>
                  <a:pt x="728" y="142"/>
                </a:cubicBezTo>
                <a:cubicBezTo>
                  <a:pt x="728" y="142"/>
                  <a:pt x="728" y="142"/>
                  <a:pt x="728" y="142"/>
                </a:cubicBezTo>
                <a:cubicBezTo>
                  <a:pt x="730" y="142"/>
                  <a:pt x="730" y="142"/>
                  <a:pt x="730" y="142"/>
                </a:cubicBezTo>
                <a:cubicBezTo>
                  <a:pt x="731" y="140"/>
                  <a:pt x="731" y="140"/>
                  <a:pt x="731" y="140"/>
                </a:cubicBezTo>
                <a:cubicBezTo>
                  <a:pt x="733" y="141"/>
                  <a:pt x="733" y="141"/>
                  <a:pt x="733" y="141"/>
                </a:cubicBezTo>
                <a:cubicBezTo>
                  <a:pt x="734" y="139"/>
                  <a:pt x="734" y="139"/>
                  <a:pt x="734" y="139"/>
                </a:cubicBezTo>
                <a:cubicBezTo>
                  <a:pt x="733" y="141"/>
                  <a:pt x="733" y="141"/>
                  <a:pt x="733" y="141"/>
                </a:cubicBezTo>
                <a:cubicBezTo>
                  <a:pt x="731" y="141"/>
                  <a:pt x="731" y="141"/>
                  <a:pt x="731" y="141"/>
                </a:cubicBezTo>
                <a:cubicBezTo>
                  <a:pt x="729" y="143"/>
                  <a:pt x="729" y="143"/>
                  <a:pt x="729" y="143"/>
                </a:cubicBezTo>
                <a:cubicBezTo>
                  <a:pt x="726" y="144"/>
                  <a:pt x="726" y="144"/>
                  <a:pt x="726" y="144"/>
                </a:cubicBezTo>
                <a:cubicBezTo>
                  <a:pt x="726" y="146"/>
                  <a:pt x="726" y="146"/>
                  <a:pt x="726" y="146"/>
                </a:cubicBezTo>
                <a:cubicBezTo>
                  <a:pt x="725" y="147"/>
                  <a:pt x="725" y="147"/>
                  <a:pt x="725" y="147"/>
                </a:cubicBezTo>
                <a:cubicBezTo>
                  <a:pt x="723" y="146"/>
                  <a:pt x="723" y="146"/>
                  <a:pt x="723" y="146"/>
                </a:cubicBezTo>
                <a:cubicBezTo>
                  <a:pt x="721" y="146"/>
                  <a:pt x="721" y="146"/>
                  <a:pt x="721" y="146"/>
                </a:cubicBezTo>
                <a:cubicBezTo>
                  <a:pt x="720" y="145"/>
                  <a:pt x="720" y="145"/>
                  <a:pt x="720" y="145"/>
                </a:cubicBezTo>
                <a:cubicBezTo>
                  <a:pt x="719" y="146"/>
                  <a:pt x="719" y="146"/>
                  <a:pt x="719" y="146"/>
                </a:cubicBezTo>
                <a:cubicBezTo>
                  <a:pt x="719" y="149"/>
                  <a:pt x="719" y="149"/>
                  <a:pt x="719" y="149"/>
                </a:cubicBezTo>
                <a:cubicBezTo>
                  <a:pt x="717" y="153"/>
                  <a:pt x="717" y="153"/>
                  <a:pt x="717" y="153"/>
                </a:cubicBezTo>
                <a:cubicBezTo>
                  <a:pt x="718" y="149"/>
                  <a:pt x="718" y="149"/>
                  <a:pt x="718" y="149"/>
                </a:cubicBezTo>
                <a:cubicBezTo>
                  <a:pt x="717" y="146"/>
                  <a:pt x="717" y="146"/>
                  <a:pt x="717" y="146"/>
                </a:cubicBezTo>
                <a:cubicBezTo>
                  <a:pt x="716" y="144"/>
                  <a:pt x="716" y="144"/>
                  <a:pt x="716" y="144"/>
                </a:cubicBezTo>
                <a:cubicBezTo>
                  <a:pt x="717" y="141"/>
                  <a:pt x="717" y="141"/>
                  <a:pt x="717" y="141"/>
                </a:cubicBezTo>
                <a:cubicBezTo>
                  <a:pt x="717" y="141"/>
                  <a:pt x="717" y="141"/>
                  <a:pt x="717" y="141"/>
                </a:cubicBezTo>
                <a:cubicBezTo>
                  <a:pt x="718" y="144"/>
                  <a:pt x="718" y="144"/>
                  <a:pt x="718" y="144"/>
                </a:cubicBezTo>
                <a:cubicBezTo>
                  <a:pt x="721" y="143"/>
                  <a:pt x="721" y="143"/>
                  <a:pt x="721" y="143"/>
                </a:cubicBezTo>
                <a:cubicBezTo>
                  <a:pt x="722" y="145"/>
                  <a:pt x="722" y="145"/>
                  <a:pt x="722" y="145"/>
                </a:cubicBezTo>
                <a:cubicBezTo>
                  <a:pt x="724" y="146"/>
                  <a:pt x="724" y="146"/>
                  <a:pt x="724" y="146"/>
                </a:cubicBezTo>
                <a:cubicBezTo>
                  <a:pt x="725" y="144"/>
                  <a:pt x="725" y="144"/>
                  <a:pt x="725" y="144"/>
                </a:cubicBezTo>
                <a:cubicBezTo>
                  <a:pt x="725" y="143"/>
                  <a:pt x="725" y="143"/>
                  <a:pt x="725" y="143"/>
                </a:cubicBezTo>
                <a:cubicBezTo>
                  <a:pt x="726" y="140"/>
                  <a:pt x="726" y="140"/>
                  <a:pt x="726" y="140"/>
                </a:cubicBezTo>
                <a:cubicBezTo>
                  <a:pt x="725" y="141"/>
                  <a:pt x="725" y="141"/>
                  <a:pt x="725" y="141"/>
                </a:cubicBezTo>
                <a:cubicBezTo>
                  <a:pt x="723" y="141"/>
                  <a:pt x="723" y="141"/>
                  <a:pt x="723" y="141"/>
                </a:cubicBezTo>
                <a:cubicBezTo>
                  <a:pt x="725" y="139"/>
                  <a:pt x="725" y="139"/>
                  <a:pt x="725" y="139"/>
                </a:cubicBezTo>
                <a:cubicBezTo>
                  <a:pt x="726" y="137"/>
                  <a:pt x="726" y="137"/>
                  <a:pt x="726" y="137"/>
                </a:cubicBezTo>
                <a:cubicBezTo>
                  <a:pt x="725" y="137"/>
                  <a:pt x="725" y="137"/>
                  <a:pt x="725" y="137"/>
                </a:cubicBezTo>
                <a:cubicBezTo>
                  <a:pt x="723" y="139"/>
                  <a:pt x="723" y="139"/>
                  <a:pt x="723" y="139"/>
                </a:cubicBezTo>
                <a:cubicBezTo>
                  <a:pt x="721" y="139"/>
                  <a:pt x="721" y="139"/>
                  <a:pt x="721" y="139"/>
                </a:cubicBezTo>
                <a:cubicBezTo>
                  <a:pt x="721" y="138"/>
                  <a:pt x="721" y="138"/>
                  <a:pt x="721" y="138"/>
                </a:cubicBezTo>
                <a:cubicBezTo>
                  <a:pt x="723" y="137"/>
                  <a:pt x="723" y="137"/>
                  <a:pt x="723" y="137"/>
                </a:cubicBezTo>
                <a:cubicBezTo>
                  <a:pt x="723" y="135"/>
                  <a:pt x="723" y="135"/>
                  <a:pt x="723" y="135"/>
                </a:cubicBezTo>
                <a:cubicBezTo>
                  <a:pt x="722" y="135"/>
                  <a:pt x="722" y="135"/>
                  <a:pt x="722" y="135"/>
                </a:cubicBezTo>
                <a:cubicBezTo>
                  <a:pt x="720" y="136"/>
                  <a:pt x="720" y="136"/>
                  <a:pt x="720" y="136"/>
                </a:cubicBezTo>
                <a:cubicBezTo>
                  <a:pt x="720" y="135"/>
                  <a:pt x="720" y="135"/>
                  <a:pt x="720" y="135"/>
                </a:cubicBezTo>
                <a:cubicBezTo>
                  <a:pt x="721" y="131"/>
                  <a:pt x="721" y="131"/>
                  <a:pt x="721" y="131"/>
                </a:cubicBezTo>
                <a:cubicBezTo>
                  <a:pt x="722" y="129"/>
                  <a:pt x="722" y="129"/>
                  <a:pt x="722" y="129"/>
                </a:cubicBezTo>
                <a:cubicBezTo>
                  <a:pt x="722" y="131"/>
                  <a:pt x="722" y="131"/>
                  <a:pt x="722" y="131"/>
                </a:cubicBezTo>
                <a:cubicBezTo>
                  <a:pt x="723" y="130"/>
                  <a:pt x="723" y="130"/>
                  <a:pt x="723" y="130"/>
                </a:cubicBezTo>
                <a:cubicBezTo>
                  <a:pt x="723" y="129"/>
                  <a:pt x="723" y="129"/>
                  <a:pt x="723" y="129"/>
                </a:cubicBezTo>
                <a:cubicBezTo>
                  <a:pt x="726" y="126"/>
                  <a:pt x="726" y="126"/>
                  <a:pt x="726" y="126"/>
                </a:cubicBezTo>
                <a:cubicBezTo>
                  <a:pt x="726" y="125"/>
                  <a:pt x="726" y="125"/>
                  <a:pt x="726" y="125"/>
                </a:cubicBezTo>
                <a:cubicBezTo>
                  <a:pt x="729" y="123"/>
                  <a:pt x="729" y="123"/>
                  <a:pt x="729" y="123"/>
                </a:cubicBezTo>
                <a:cubicBezTo>
                  <a:pt x="730" y="121"/>
                  <a:pt x="730" y="121"/>
                  <a:pt x="730" y="121"/>
                </a:cubicBezTo>
                <a:cubicBezTo>
                  <a:pt x="731" y="119"/>
                  <a:pt x="731" y="119"/>
                  <a:pt x="731" y="119"/>
                </a:cubicBezTo>
                <a:cubicBezTo>
                  <a:pt x="732" y="119"/>
                  <a:pt x="732" y="119"/>
                  <a:pt x="732" y="119"/>
                </a:cubicBezTo>
                <a:cubicBezTo>
                  <a:pt x="732" y="118"/>
                  <a:pt x="732" y="118"/>
                  <a:pt x="732" y="118"/>
                </a:cubicBezTo>
                <a:cubicBezTo>
                  <a:pt x="730" y="118"/>
                  <a:pt x="730" y="118"/>
                  <a:pt x="730" y="118"/>
                </a:cubicBezTo>
                <a:cubicBezTo>
                  <a:pt x="728" y="119"/>
                  <a:pt x="728" y="119"/>
                  <a:pt x="728" y="119"/>
                </a:cubicBezTo>
                <a:cubicBezTo>
                  <a:pt x="727" y="121"/>
                  <a:pt x="727" y="121"/>
                  <a:pt x="727" y="121"/>
                </a:cubicBezTo>
                <a:cubicBezTo>
                  <a:pt x="724" y="122"/>
                  <a:pt x="724" y="122"/>
                  <a:pt x="724" y="122"/>
                </a:cubicBezTo>
                <a:cubicBezTo>
                  <a:pt x="723" y="122"/>
                  <a:pt x="723" y="122"/>
                  <a:pt x="723" y="122"/>
                </a:cubicBezTo>
                <a:cubicBezTo>
                  <a:pt x="723" y="121"/>
                  <a:pt x="723" y="121"/>
                  <a:pt x="723" y="121"/>
                </a:cubicBezTo>
                <a:cubicBezTo>
                  <a:pt x="726" y="120"/>
                  <a:pt x="726" y="120"/>
                  <a:pt x="726" y="120"/>
                </a:cubicBezTo>
                <a:cubicBezTo>
                  <a:pt x="726" y="118"/>
                  <a:pt x="726" y="118"/>
                  <a:pt x="726" y="118"/>
                </a:cubicBezTo>
                <a:cubicBezTo>
                  <a:pt x="725" y="118"/>
                  <a:pt x="725" y="118"/>
                  <a:pt x="725" y="118"/>
                </a:cubicBezTo>
                <a:cubicBezTo>
                  <a:pt x="723" y="118"/>
                  <a:pt x="723" y="118"/>
                  <a:pt x="723" y="118"/>
                </a:cubicBezTo>
                <a:cubicBezTo>
                  <a:pt x="722" y="117"/>
                  <a:pt x="722" y="117"/>
                  <a:pt x="722" y="117"/>
                </a:cubicBezTo>
                <a:cubicBezTo>
                  <a:pt x="723" y="115"/>
                  <a:pt x="723" y="115"/>
                  <a:pt x="723" y="115"/>
                </a:cubicBezTo>
                <a:cubicBezTo>
                  <a:pt x="723" y="113"/>
                  <a:pt x="723" y="113"/>
                  <a:pt x="723" y="113"/>
                </a:cubicBezTo>
                <a:cubicBezTo>
                  <a:pt x="721" y="112"/>
                  <a:pt x="721" y="112"/>
                  <a:pt x="721" y="112"/>
                </a:cubicBezTo>
                <a:cubicBezTo>
                  <a:pt x="720" y="112"/>
                  <a:pt x="720" y="112"/>
                  <a:pt x="720" y="112"/>
                </a:cubicBezTo>
                <a:cubicBezTo>
                  <a:pt x="720" y="113"/>
                  <a:pt x="720" y="113"/>
                  <a:pt x="720" y="113"/>
                </a:cubicBezTo>
                <a:cubicBezTo>
                  <a:pt x="720" y="112"/>
                  <a:pt x="720" y="112"/>
                  <a:pt x="720" y="112"/>
                </a:cubicBezTo>
                <a:cubicBezTo>
                  <a:pt x="721" y="111"/>
                  <a:pt x="721" y="111"/>
                  <a:pt x="721" y="111"/>
                </a:cubicBezTo>
                <a:cubicBezTo>
                  <a:pt x="720" y="109"/>
                  <a:pt x="720" y="109"/>
                  <a:pt x="720" y="109"/>
                </a:cubicBezTo>
                <a:cubicBezTo>
                  <a:pt x="718" y="109"/>
                  <a:pt x="718" y="109"/>
                  <a:pt x="718" y="109"/>
                </a:cubicBezTo>
                <a:cubicBezTo>
                  <a:pt x="717" y="111"/>
                  <a:pt x="717" y="111"/>
                  <a:pt x="717" y="111"/>
                </a:cubicBezTo>
                <a:cubicBezTo>
                  <a:pt x="715" y="113"/>
                  <a:pt x="715" y="113"/>
                  <a:pt x="715" y="113"/>
                </a:cubicBezTo>
                <a:cubicBezTo>
                  <a:pt x="715" y="113"/>
                  <a:pt x="715" y="113"/>
                  <a:pt x="715" y="113"/>
                </a:cubicBezTo>
                <a:cubicBezTo>
                  <a:pt x="714" y="113"/>
                  <a:pt x="714" y="113"/>
                  <a:pt x="714" y="113"/>
                </a:cubicBezTo>
                <a:cubicBezTo>
                  <a:pt x="714" y="112"/>
                  <a:pt x="714" y="112"/>
                  <a:pt x="714" y="112"/>
                </a:cubicBezTo>
                <a:cubicBezTo>
                  <a:pt x="713" y="110"/>
                  <a:pt x="713" y="110"/>
                  <a:pt x="713" y="110"/>
                </a:cubicBezTo>
                <a:cubicBezTo>
                  <a:pt x="711" y="110"/>
                  <a:pt x="711" y="110"/>
                  <a:pt x="711" y="110"/>
                </a:cubicBezTo>
                <a:cubicBezTo>
                  <a:pt x="711" y="111"/>
                  <a:pt x="711" y="111"/>
                  <a:pt x="711" y="111"/>
                </a:cubicBezTo>
                <a:cubicBezTo>
                  <a:pt x="712" y="112"/>
                  <a:pt x="712" y="112"/>
                  <a:pt x="712" y="112"/>
                </a:cubicBezTo>
                <a:cubicBezTo>
                  <a:pt x="711" y="113"/>
                  <a:pt x="711" y="113"/>
                  <a:pt x="711" y="113"/>
                </a:cubicBezTo>
                <a:cubicBezTo>
                  <a:pt x="712" y="115"/>
                  <a:pt x="712" y="115"/>
                  <a:pt x="712" y="115"/>
                </a:cubicBezTo>
                <a:cubicBezTo>
                  <a:pt x="712" y="116"/>
                  <a:pt x="712" y="116"/>
                  <a:pt x="712" y="116"/>
                </a:cubicBezTo>
                <a:cubicBezTo>
                  <a:pt x="711" y="117"/>
                  <a:pt x="711" y="117"/>
                  <a:pt x="711" y="117"/>
                </a:cubicBezTo>
                <a:cubicBezTo>
                  <a:pt x="710" y="116"/>
                  <a:pt x="710" y="116"/>
                  <a:pt x="710" y="116"/>
                </a:cubicBezTo>
                <a:cubicBezTo>
                  <a:pt x="710" y="115"/>
                  <a:pt x="710" y="115"/>
                  <a:pt x="710" y="115"/>
                </a:cubicBezTo>
                <a:cubicBezTo>
                  <a:pt x="709" y="115"/>
                  <a:pt x="709" y="115"/>
                  <a:pt x="709" y="115"/>
                </a:cubicBezTo>
                <a:cubicBezTo>
                  <a:pt x="708" y="116"/>
                  <a:pt x="708" y="116"/>
                  <a:pt x="708" y="116"/>
                </a:cubicBezTo>
                <a:cubicBezTo>
                  <a:pt x="709" y="120"/>
                  <a:pt x="709" y="120"/>
                  <a:pt x="709" y="120"/>
                </a:cubicBezTo>
                <a:cubicBezTo>
                  <a:pt x="710" y="123"/>
                  <a:pt x="710" y="123"/>
                  <a:pt x="710" y="123"/>
                </a:cubicBezTo>
                <a:cubicBezTo>
                  <a:pt x="713" y="124"/>
                  <a:pt x="713" y="124"/>
                  <a:pt x="713" y="124"/>
                </a:cubicBezTo>
                <a:cubicBezTo>
                  <a:pt x="714" y="126"/>
                  <a:pt x="714" y="126"/>
                  <a:pt x="714" y="126"/>
                </a:cubicBezTo>
                <a:cubicBezTo>
                  <a:pt x="714" y="130"/>
                  <a:pt x="714" y="130"/>
                  <a:pt x="714" y="130"/>
                </a:cubicBezTo>
                <a:cubicBezTo>
                  <a:pt x="713" y="128"/>
                  <a:pt x="713" y="128"/>
                  <a:pt x="713" y="128"/>
                </a:cubicBezTo>
                <a:cubicBezTo>
                  <a:pt x="712" y="127"/>
                  <a:pt x="712" y="127"/>
                  <a:pt x="712" y="127"/>
                </a:cubicBezTo>
                <a:cubicBezTo>
                  <a:pt x="709" y="123"/>
                  <a:pt x="709" y="123"/>
                  <a:pt x="709" y="123"/>
                </a:cubicBezTo>
                <a:cubicBezTo>
                  <a:pt x="708" y="121"/>
                  <a:pt x="708" y="121"/>
                  <a:pt x="708" y="121"/>
                </a:cubicBezTo>
                <a:cubicBezTo>
                  <a:pt x="707" y="117"/>
                  <a:pt x="707" y="117"/>
                  <a:pt x="707" y="117"/>
                </a:cubicBezTo>
                <a:cubicBezTo>
                  <a:pt x="706" y="117"/>
                  <a:pt x="706" y="117"/>
                  <a:pt x="706" y="117"/>
                </a:cubicBezTo>
                <a:cubicBezTo>
                  <a:pt x="705" y="118"/>
                  <a:pt x="705" y="118"/>
                  <a:pt x="705" y="118"/>
                </a:cubicBezTo>
                <a:cubicBezTo>
                  <a:pt x="706" y="121"/>
                  <a:pt x="706" y="121"/>
                  <a:pt x="706" y="121"/>
                </a:cubicBezTo>
                <a:cubicBezTo>
                  <a:pt x="708" y="123"/>
                  <a:pt x="708" y="123"/>
                  <a:pt x="708" y="123"/>
                </a:cubicBezTo>
                <a:cubicBezTo>
                  <a:pt x="708" y="125"/>
                  <a:pt x="708" y="125"/>
                  <a:pt x="708" y="125"/>
                </a:cubicBezTo>
                <a:cubicBezTo>
                  <a:pt x="707" y="125"/>
                  <a:pt x="707" y="125"/>
                  <a:pt x="707" y="125"/>
                </a:cubicBezTo>
                <a:cubicBezTo>
                  <a:pt x="706" y="124"/>
                  <a:pt x="706" y="124"/>
                  <a:pt x="706" y="124"/>
                </a:cubicBezTo>
                <a:cubicBezTo>
                  <a:pt x="702" y="124"/>
                  <a:pt x="702" y="124"/>
                  <a:pt x="702" y="124"/>
                </a:cubicBezTo>
                <a:cubicBezTo>
                  <a:pt x="701" y="125"/>
                  <a:pt x="701" y="125"/>
                  <a:pt x="701" y="125"/>
                </a:cubicBezTo>
                <a:cubicBezTo>
                  <a:pt x="700" y="124"/>
                  <a:pt x="700" y="124"/>
                  <a:pt x="700" y="124"/>
                </a:cubicBezTo>
                <a:cubicBezTo>
                  <a:pt x="698" y="123"/>
                  <a:pt x="698" y="123"/>
                  <a:pt x="698" y="123"/>
                </a:cubicBezTo>
                <a:cubicBezTo>
                  <a:pt x="695" y="121"/>
                  <a:pt x="695" y="121"/>
                  <a:pt x="695" y="121"/>
                </a:cubicBezTo>
                <a:cubicBezTo>
                  <a:pt x="691" y="121"/>
                  <a:pt x="691" y="121"/>
                  <a:pt x="691" y="121"/>
                </a:cubicBezTo>
                <a:cubicBezTo>
                  <a:pt x="690" y="120"/>
                  <a:pt x="690" y="120"/>
                  <a:pt x="690" y="120"/>
                </a:cubicBezTo>
                <a:cubicBezTo>
                  <a:pt x="690" y="120"/>
                  <a:pt x="690" y="120"/>
                  <a:pt x="690" y="120"/>
                </a:cubicBezTo>
                <a:cubicBezTo>
                  <a:pt x="687" y="121"/>
                  <a:pt x="687" y="121"/>
                  <a:pt x="687" y="121"/>
                </a:cubicBezTo>
                <a:cubicBezTo>
                  <a:pt x="686" y="123"/>
                  <a:pt x="686" y="123"/>
                  <a:pt x="686" y="123"/>
                </a:cubicBezTo>
                <a:cubicBezTo>
                  <a:pt x="682" y="123"/>
                  <a:pt x="682" y="123"/>
                  <a:pt x="682" y="123"/>
                </a:cubicBezTo>
                <a:cubicBezTo>
                  <a:pt x="680" y="124"/>
                  <a:pt x="680" y="124"/>
                  <a:pt x="680" y="124"/>
                </a:cubicBezTo>
                <a:cubicBezTo>
                  <a:pt x="678" y="122"/>
                  <a:pt x="678" y="122"/>
                  <a:pt x="678" y="122"/>
                </a:cubicBezTo>
                <a:cubicBezTo>
                  <a:pt x="678" y="122"/>
                  <a:pt x="678" y="122"/>
                  <a:pt x="678" y="122"/>
                </a:cubicBezTo>
                <a:cubicBezTo>
                  <a:pt x="677" y="120"/>
                  <a:pt x="677" y="120"/>
                  <a:pt x="677" y="120"/>
                </a:cubicBezTo>
                <a:cubicBezTo>
                  <a:pt x="677" y="119"/>
                  <a:pt x="677" y="119"/>
                  <a:pt x="677" y="119"/>
                </a:cubicBezTo>
                <a:cubicBezTo>
                  <a:pt x="674" y="121"/>
                  <a:pt x="674" y="121"/>
                  <a:pt x="674" y="121"/>
                </a:cubicBezTo>
                <a:cubicBezTo>
                  <a:pt x="674" y="120"/>
                  <a:pt x="674" y="120"/>
                  <a:pt x="674" y="120"/>
                </a:cubicBezTo>
                <a:cubicBezTo>
                  <a:pt x="672" y="117"/>
                  <a:pt x="672" y="117"/>
                  <a:pt x="672" y="117"/>
                </a:cubicBezTo>
                <a:cubicBezTo>
                  <a:pt x="671" y="116"/>
                  <a:pt x="671" y="116"/>
                  <a:pt x="671" y="116"/>
                </a:cubicBezTo>
                <a:cubicBezTo>
                  <a:pt x="670" y="115"/>
                  <a:pt x="670" y="115"/>
                  <a:pt x="670" y="115"/>
                </a:cubicBezTo>
                <a:cubicBezTo>
                  <a:pt x="670" y="114"/>
                  <a:pt x="670" y="114"/>
                  <a:pt x="670" y="114"/>
                </a:cubicBezTo>
                <a:cubicBezTo>
                  <a:pt x="671" y="113"/>
                  <a:pt x="671" y="113"/>
                  <a:pt x="671" y="113"/>
                </a:cubicBezTo>
                <a:cubicBezTo>
                  <a:pt x="670" y="112"/>
                  <a:pt x="670" y="112"/>
                  <a:pt x="670" y="112"/>
                </a:cubicBezTo>
                <a:cubicBezTo>
                  <a:pt x="669" y="112"/>
                  <a:pt x="669" y="112"/>
                  <a:pt x="669" y="112"/>
                </a:cubicBezTo>
                <a:cubicBezTo>
                  <a:pt x="668" y="112"/>
                  <a:pt x="668" y="112"/>
                  <a:pt x="668" y="112"/>
                </a:cubicBezTo>
                <a:cubicBezTo>
                  <a:pt x="669" y="110"/>
                  <a:pt x="669" y="110"/>
                  <a:pt x="669" y="110"/>
                </a:cubicBezTo>
                <a:cubicBezTo>
                  <a:pt x="668" y="110"/>
                  <a:pt x="668" y="110"/>
                  <a:pt x="668" y="110"/>
                </a:cubicBezTo>
                <a:cubicBezTo>
                  <a:pt x="666" y="111"/>
                  <a:pt x="666" y="111"/>
                  <a:pt x="666" y="111"/>
                </a:cubicBezTo>
                <a:cubicBezTo>
                  <a:pt x="664" y="111"/>
                  <a:pt x="664" y="111"/>
                  <a:pt x="664" y="111"/>
                </a:cubicBezTo>
                <a:cubicBezTo>
                  <a:pt x="663" y="109"/>
                  <a:pt x="663" y="109"/>
                  <a:pt x="663" y="109"/>
                </a:cubicBezTo>
                <a:cubicBezTo>
                  <a:pt x="662" y="109"/>
                  <a:pt x="662" y="109"/>
                  <a:pt x="662" y="109"/>
                </a:cubicBezTo>
                <a:cubicBezTo>
                  <a:pt x="661" y="109"/>
                  <a:pt x="661" y="109"/>
                  <a:pt x="661" y="109"/>
                </a:cubicBezTo>
                <a:cubicBezTo>
                  <a:pt x="660" y="108"/>
                  <a:pt x="660" y="108"/>
                  <a:pt x="660" y="108"/>
                </a:cubicBezTo>
                <a:cubicBezTo>
                  <a:pt x="658" y="108"/>
                  <a:pt x="658" y="108"/>
                  <a:pt x="658" y="108"/>
                </a:cubicBezTo>
                <a:cubicBezTo>
                  <a:pt x="658" y="107"/>
                  <a:pt x="658" y="107"/>
                  <a:pt x="658" y="107"/>
                </a:cubicBezTo>
                <a:cubicBezTo>
                  <a:pt x="659" y="105"/>
                  <a:pt x="659" y="105"/>
                  <a:pt x="659" y="105"/>
                </a:cubicBezTo>
                <a:cubicBezTo>
                  <a:pt x="660" y="104"/>
                  <a:pt x="660" y="104"/>
                  <a:pt x="660" y="104"/>
                </a:cubicBezTo>
                <a:cubicBezTo>
                  <a:pt x="660" y="103"/>
                  <a:pt x="660" y="103"/>
                  <a:pt x="660" y="103"/>
                </a:cubicBezTo>
                <a:cubicBezTo>
                  <a:pt x="659" y="102"/>
                  <a:pt x="659" y="102"/>
                  <a:pt x="659" y="102"/>
                </a:cubicBezTo>
                <a:cubicBezTo>
                  <a:pt x="657" y="102"/>
                  <a:pt x="657" y="102"/>
                  <a:pt x="657" y="102"/>
                </a:cubicBezTo>
                <a:cubicBezTo>
                  <a:pt x="657" y="98"/>
                  <a:pt x="657" y="98"/>
                  <a:pt x="657" y="98"/>
                </a:cubicBezTo>
                <a:cubicBezTo>
                  <a:pt x="656" y="98"/>
                  <a:pt x="656" y="98"/>
                  <a:pt x="656" y="98"/>
                </a:cubicBezTo>
                <a:cubicBezTo>
                  <a:pt x="656" y="97"/>
                  <a:pt x="656" y="97"/>
                  <a:pt x="656" y="97"/>
                </a:cubicBezTo>
                <a:cubicBezTo>
                  <a:pt x="658" y="96"/>
                  <a:pt x="658" y="96"/>
                  <a:pt x="658" y="96"/>
                </a:cubicBezTo>
                <a:cubicBezTo>
                  <a:pt x="658" y="95"/>
                  <a:pt x="658" y="95"/>
                  <a:pt x="658" y="95"/>
                </a:cubicBezTo>
                <a:cubicBezTo>
                  <a:pt x="657" y="95"/>
                  <a:pt x="657" y="95"/>
                  <a:pt x="657" y="95"/>
                </a:cubicBezTo>
                <a:cubicBezTo>
                  <a:pt x="657" y="93"/>
                  <a:pt x="657" y="93"/>
                  <a:pt x="657" y="93"/>
                </a:cubicBezTo>
                <a:cubicBezTo>
                  <a:pt x="658" y="89"/>
                  <a:pt x="658" y="89"/>
                  <a:pt x="658" y="89"/>
                </a:cubicBezTo>
                <a:cubicBezTo>
                  <a:pt x="657" y="88"/>
                  <a:pt x="657" y="88"/>
                  <a:pt x="657" y="88"/>
                </a:cubicBezTo>
                <a:cubicBezTo>
                  <a:pt x="656" y="88"/>
                  <a:pt x="656" y="88"/>
                  <a:pt x="656" y="88"/>
                </a:cubicBezTo>
                <a:cubicBezTo>
                  <a:pt x="655" y="86"/>
                  <a:pt x="655" y="86"/>
                  <a:pt x="655" y="86"/>
                </a:cubicBezTo>
                <a:cubicBezTo>
                  <a:pt x="654" y="85"/>
                  <a:pt x="654" y="85"/>
                  <a:pt x="654" y="85"/>
                </a:cubicBezTo>
                <a:cubicBezTo>
                  <a:pt x="651" y="86"/>
                  <a:pt x="651" y="86"/>
                  <a:pt x="651" y="86"/>
                </a:cubicBezTo>
                <a:cubicBezTo>
                  <a:pt x="650" y="86"/>
                  <a:pt x="650" y="86"/>
                  <a:pt x="650" y="86"/>
                </a:cubicBezTo>
                <a:cubicBezTo>
                  <a:pt x="645" y="87"/>
                  <a:pt x="645" y="87"/>
                  <a:pt x="645" y="87"/>
                </a:cubicBezTo>
                <a:cubicBezTo>
                  <a:pt x="638" y="88"/>
                  <a:pt x="638" y="88"/>
                  <a:pt x="638" y="88"/>
                </a:cubicBezTo>
                <a:cubicBezTo>
                  <a:pt x="635" y="87"/>
                  <a:pt x="635" y="87"/>
                  <a:pt x="635" y="87"/>
                </a:cubicBezTo>
                <a:cubicBezTo>
                  <a:pt x="634" y="87"/>
                  <a:pt x="634" y="87"/>
                  <a:pt x="634" y="87"/>
                </a:cubicBezTo>
                <a:cubicBezTo>
                  <a:pt x="631" y="91"/>
                  <a:pt x="631" y="91"/>
                  <a:pt x="631" y="91"/>
                </a:cubicBezTo>
                <a:cubicBezTo>
                  <a:pt x="629" y="92"/>
                  <a:pt x="629" y="92"/>
                  <a:pt x="629" y="92"/>
                </a:cubicBezTo>
                <a:cubicBezTo>
                  <a:pt x="628" y="93"/>
                  <a:pt x="628" y="93"/>
                  <a:pt x="628" y="93"/>
                </a:cubicBezTo>
                <a:cubicBezTo>
                  <a:pt x="630" y="94"/>
                  <a:pt x="630" y="94"/>
                  <a:pt x="630" y="94"/>
                </a:cubicBezTo>
                <a:cubicBezTo>
                  <a:pt x="631" y="93"/>
                  <a:pt x="631" y="93"/>
                  <a:pt x="631" y="93"/>
                </a:cubicBezTo>
                <a:cubicBezTo>
                  <a:pt x="632" y="93"/>
                  <a:pt x="632" y="93"/>
                  <a:pt x="632" y="93"/>
                </a:cubicBezTo>
                <a:cubicBezTo>
                  <a:pt x="631" y="95"/>
                  <a:pt x="631" y="95"/>
                  <a:pt x="631" y="95"/>
                </a:cubicBezTo>
                <a:cubicBezTo>
                  <a:pt x="630" y="96"/>
                  <a:pt x="630" y="96"/>
                  <a:pt x="630" y="96"/>
                </a:cubicBezTo>
                <a:cubicBezTo>
                  <a:pt x="630" y="97"/>
                  <a:pt x="630" y="97"/>
                  <a:pt x="630" y="97"/>
                </a:cubicBezTo>
                <a:cubicBezTo>
                  <a:pt x="633" y="98"/>
                  <a:pt x="633" y="98"/>
                  <a:pt x="633" y="98"/>
                </a:cubicBezTo>
                <a:cubicBezTo>
                  <a:pt x="634" y="99"/>
                  <a:pt x="634" y="99"/>
                  <a:pt x="634" y="99"/>
                </a:cubicBezTo>
                <a:cubicBezTo>
                  <a:pt x="636" y="98"/>
                  <a:pt x="636" y="98"/>
                  <a:pt x="636" y="98"/>
                </a:cubicBezTo>
                <a:cubicBezTo>
                  <a:pt x="636" y="97"/>
                  <a:pt x="636" y="97"/>
                  <a:pt x="636" y="97"/>
                </a:cubicBezTo>
                <a:cubicBezTo>
                  <a:pt x="634" y="95"/>
                  <a:pt x="634" y="95"/>
                  <a:pt x="634" y="95"/>
                </a:cubicBezTo>
                <a:cubicBezTo>
                  <a:pt x="635" y="94"/>
                  <a:pt x="635" y="94"/>
                  <a:pt x="635" y="94"/>
                </a:cubicBezTo>
                <a:cubicBezTo>
                  <a:pt x="636" y="94"/>
                  <a:pt x="636" y="94"/>
                  <a:pt x="636" y="94"/>
                </a:cubicBezTo>
                <a:cubicBezTo>
                  <a:pt x="636" y="95"/>
                  <a:pt x="636" y="95"/>
                  <a:pt x="636" y="95"/>
                </a:cubicBezTo>
                <a:cubicBezTo>
                  <a:pt x="638" y="95"/>
                  <a:pt x="638" y="95"/>
                  <a:pt x="638" y="95"/>
                </a:cubicBezTo>
                <a:cubicBezTo>
                  <a:pt x="640" y="96"/>
                  <a:pt x="640" y="96"/>
                  <a:pt x="640" y="96"/>
                </a:cubicBezTo>
                <a:cubicBezTo>
                  <a:pt x="641" y="96"/>
                  <a:pt x="641" y="96"/>
                  <a:pt x="641" y="96"/>
                </a:cubicBezTo>
                <a:cubicBezTo>
                  <a:pt x="641" y="94"/>
                  <a:pt x="641" y="94"/>
                  <a:pt x="641" y="94"/>
                </a:cubicBezTo>
                <a:cubicBezTo>
                  <a:pt x="643" y="93"/>
                  <a:pt x="643" y="93"/>
                  <a:pt x="643" y="93"/>
                </a:cubicBezTo>
                <a:cubicBezTo>
                  <a:pt x="642" y="94"/>
                  <a:pt x="642" y="94"/>
                  <a:pt x="642" y="94"/>
                </a:cubicBezTo>
                <a:cubicBezTo>
                  <a:pt x="644" y="96"/>
                  <a:pt x="644" y="96"/>
                  <a:pt x="644" y="96"/>
                </a:cubicBezTo>
                <a:cubicBezTo>
                  <a:pt x="645" y="95"/>
                  <a:pt x="645" y="95"/>
                  <a:pt x="645" y="95"/>
                </a:cubicBezTo>
                <a:cubicBezTo>
                  <a:pt x="645" y="94"/>
                  <a:pt x="645" y="94"/>
                  <a:pt x="645" y="94"/>
                </a:cubicBezTo>
                <a:cubicBezTo>
                  <a:pt x="646" y="94"/>
                  <a:pt x="646" y="94"/>
                  <a:pt x="646" y="94"/>
                </a:cubicBezTo>
                <a:cubicBezTo>
                  <a:pt x="647" y="93"/>
                  <a:pt x="647" y="93"/>
                  <a:pt x="647" y="93"/>
                </a:cubicBezTo>
                <a:cubicBezTo>
                  <a:pt x="648" y="93"/>
                  <a:pt x="648" y="93"/>
                  <a:pt x="648" y="93"/>
                </a:cubicBezTo>
                <a:cubicBezTo>
                  <a:pt x="652" y="91"/>
                  <a:pt x="652" y="91"/>
                  <a:pt x="652" y="91"/>
                </a:cubicBezTo>
                <a:cubicBezTo>
                  <a:pt x="654" y="91"/>
                  <a:pt x="654" y="91"/>
                  <a:pt x="654" y="91"/>
                </a:cubicBezTo>
                <a:cubicBezTo>
                  <a:pt x="654" y="92"/>
                  <a:pt x="654" y="92"/>
                  <a:pt x="654" y="92"/>
                </a:cubicBezTo>
                <a:cubicBezTo>
                  <a:pt x="656" y="92"/>
                  <a:pt x="656" y="92"/>
                  <a:pt x="656" y="92"/>
                </a:cubicBezTo>
                <a:cubicBezTo>
                  <a:pt x="654" y="93"/>
                  <a:pt x="654" y="93"/>
                  <a:pt x="654" y="93"/>
                </a:cubicBezTo>
                <a:cubicBezTo>
                  <a:pt x="655" y="95"/>
                  <a:pt x="655" y="95"/>
                  <a:pt x="655" y="95"/>
                </a:cubicBezTo>
                <a:cubicBezTo>
                  <a:pt x="653" y="97"/>
                  <a:pt x="653" y="97"/>
                  <a:pt x="653" y="97"/>
                </a:cubicBezTo>
                <a:cubicBezTo>
                  <a:pt x="652" y="96"/>
                  <a:pt x="652" y="96"/>
                  <a:pt x="652" y="96"/>
                </a:cubicBezTo>
                <a:cubicBezTo>
                  <a:pt x="651" y="97"/>
                  <a:pt x="651" y="97"/>
                  <a:pt x="651" y="97"/>
                </a:cubicBezTo>
                <a:cubicBezTo>
                  <a:pt x="649" y="97"/>
                  <a:pt x="649" y="97"/>
                  <a:pt x="649" y="97"/>
                </a:cubicBezTo>
                <a:cubicBezTo>
                  <a:pt x="648" y="96"/>
                  <a:pt x="648" y="96"/>
                  <a:pt x="648" y="96"/>
                </a:cubicBezTo>
                <a:cubicBezTo>
                  <a:pt x="647" y="96"/>
                  <a:pt x="647" y="96"/>
                  <a:pt x="647" y="96"/>
                </a:cubicBezTo>
                <a:cubicBezTo>
                  <a:pt x="645" y="99"/>
                  <a:pt x="645" y="99"/>
                  <a:pt x="645" y="99"/>
                </a:cubicBezTo>
                <a:cubicBezTo>
                  <a:pt x="646" y="102"/>
                  <a:pt x="646" y="102"/>
                  <a:pt x="646" y="102"/>
                </a:cubicBezTo>
                <a:cubicBezTo>
                  <a:pt x="646" y="104"/>
                  <a:pt x="646" y="104"/>
                  <a:pt x="646" y="104"/>
                </a:cubicBezTo>
                <a:cubicBezTo>
                  <a:pt x="645" y="102"/>
                  <a:pt x="645" y="102"/>
                  <a:pt x="645" y="102"/>
                </a:cubicBezTo>
                <a:cubicBezTo>
                  <a:pt x="644" y="101"/>
                  <a:pt x="644" y="101"/>
                  <a:pt x="644" y="101"/>
                </a:cubicBezTo>
                <a:cubicBezTo>
                  <a:pt x="644" y="100"/>
                  <a:pt x="644" y="100"/>
                  <a:pt x="644" y="100"/>
                </a:cubicBezTo>
                <a:cubicBezTo>
                  <a:pt x="642" y="100"/>
                  <a:pt x="642" y="100"/>
                  <a:pt x="642" y="100"/>
                </a:cubicBezTo>
                <a:cubicBezTo>
                  <a:pt x="641" y="102"/>
                  <a:pt x="641" y="102"/>
                  <a:pt x="641" y="102"/>
                </a:cubicBezTo>
                <a:cubicBezTo>
                  <a:pt x="639" y="102"/>
                  <a:pt x="639" y="102"/>
                  <a:pt x="639" y="102"/>
                </a:cubicBezTo>
                <a:cubicBezTo>
                  <a:pt x="638" y="103"/>
                  <a:pt x="638" y="103"/>
                  <a:pt x="638" y="103"/>
                </a:cubicBezTo>
                <a:cubicBezTo>
                  <a:pt x="638" y="101"/>
                  <a:pt x="638" y="101"/>
                  <a:pt x="638" y="101"/>
                </a:cubicBezTo>
                <a:cubicBezTo>
                  <a:pt x="637" y="101"/>
                  <a:pt x="637" y="101"/>
                  <a:pt x="637" y="101"/>
                </a:cubicBezTo>
                <a:cubicBezTo>
                  <a:pt x="636" y="103"/>
                  <a:pt x="636" y="103"/>
                  <a:pt x="636" y="103"/>
                </a:cubicBezTo>
                <a:cubicBezTo>
                  <a:pt x="634" y="104"/>
                  <a:pt x="634" y="104"/>
                  <a:pt x="634" y="104"/>
                </a:cubicBezTo>
                <a:cubicBezTo>
                  <a:pt x="634" y="103"/>
                  <a:pt x="634" y="103"/>
                  <a:pt x="634" y="103"/>
                </a:cubicBezTo>
                <a:cubicBezTo>
                  <a:pt x="632" y="103"/>
                  <a:pt x="632" y="103"/>
                  <a:pt x="632" y="103"/>
                </a:cubicBezTo>
                <a:cubicBezTo>
                  <a:pt x="631" y="104"/>
                  <a:pt x="631" y="104"/>
                  <a:pt x="631" y="104"/>
                </a:cubicBezTo>
                <a:cubicBezTo>
                  <a:pt x="631" y="105"/>
                  <a:pt x="631" y="105"/>
                  <a:pt x="631" y="105"/>
                </a:cubicBezTo>
                <a:cubicBezTo>
                  <a:pt x="628" y="105"/>
                  <a:pt x="628" y="105"/>
                  <a:pt x="628" y="105"/>
                </a:cubicBezTo>
                <a:cubicBezTo>
                  <a:pt x="627" y="106"/>
                  <a:pt x="627" y="106"/>
                  <a:pt x="627" y="106"/>
                </a:cubicBezTo>
                <a:cubicBezTo>
                  <a:pt x="627" y="108"/>
                  <a:pt x="627" y="108"/>
                  <a:pt x="627" y="108"/>
                </a:cubicBezTo>
                <a:cubicBezTo>
                  <a:pt x="627" y="109"/>
                  <a:pt x="627" y="109"/>
                  <a:pt x="627" y="109"/>
                </a:cubicBezTo>
                <a:cubicBezTo>
                  <a:pt x="626" y="114"/>
                  <a:pt x="626" y="114"/>
                  <a:pt x="626" y="114"/>
                </a:cubicBezTo>
                <a:cubicBezTo>
                  <a:pt x="625" y="118"/>
                  <a:pt x="625" y="118"/>
                  <a:pt x="625" y="118"/>
                </a:cubicBezTo>
                <a:cubicBezTo>
                  <a:pt x="625" y="120"/>
                  <a:pt x="625" y="120"/>
                  <a:pt x="625" y="120"/>
                </a:cubicBezTo>
                <a:cubicBezTo>
                  <a:pt x="626" y="121"/>
                  <a:pt x="626" y="121"/>
                  <a:pt x="626" y="121"/>
                </a:cubicBezTo>
                <a:cubicBezTo>
                  <a:pt x="626" y="122"/>
                  <a:pt x="626" y="122"/>
                  <a:pt x="626" y="122"/>
                </a:cubicBezTo>
                <a:cubicBezTo>
                  <a:pt x="624" y="123"/>
                  <a:pt x="624" y="123"/>
                  <a:pt x="624" y="123"/>
                </a:cubicBezTo>
                <a:cubicBezTo>
                  <a:pt x="624" y="124"/>
                  <a:pt x="624" y="124"/>
                  <a:pt x="624" y="124"/>
                </a:cubicBezTo>
                <a:cubicBezTo>
                  <a:pt x="625" y="126"/>
                  <a:pt x="625" y="126"/>
                  <a:pt x="625" y="126"/>
                </a:cubicBezTo>
                <a:cubicBezTo>
                  <a:pt x="625" y="128"/>
                  <a:pt x="625" y="128"/>
                  <a:pt x="625" y="128"/>
                </a:cubicBezTo>
                <a:cubicBezTo>
                  <a:pt x="624" y="129"/>
                  <a:pt x="624" y="129"/>
                  <a:pt x="624" y="129"/>
                </a:cubicBezTo>
                <a:cubicBezTo>
                  <a:pt x="624" y="128"/>
                  <a:pt x="624" y="128"/>
                  <a:pt x="624" y="128"/>
                </a:cubicBezTo>
                <a:cubicBezTo>
                  <a:pt x="623" y="129"/>
                  <a:pt x="623" y="129"/>
                  <a:pt x="623" y="129"/>
                </a:cubicBezTo>
                <a:cubicBezTo>
                  <a:pt x="622" y="128"/>
                  <a:pt x="622" y="128"/>
                  <a:pt x="622" y="128"/>
                </a:cubicBezTo>
                <a:cubicBezTo>
                  <a:pt x="622" y="127"/>
                  <a:pt x="622" y="127"/>
                  <a:pt x="622" y="127"/>
                </a:cubicBezTo>
                <a:cubicBezTo>
                  <a:pt x="623" y="126"/>
                  <a:pt x="623" y="126"/>
                  <a:pt x="623" y="126"/>
                </a:cubicBezTo>
                <a:cubicBezTo>
                  <a:pt x="623" y="124"/>
                  <a:pt x="623" y="124"/>
                  <a:pt x="623" y="124"/>
                </a:cubicBezTo>
                <a:cubicBezTo>
                  <a:pt x="621" y="124"/>
                  <a:pt x="621" y="124"/>
                  <a:pt x="621" y="124"/>
                </a:cubicBezTo>
                <a:cubicBezTo>
                  <a:pt x="619" y="129"/>
                  <a:pt x="619" y="129"/>
                  <a:pt x="619" y="129"/>
                </a:cubicBezTo>
                <a:cubicBezTo>
                  <a:pt x="619" y="133"/>
                  <a:pt x="619" y="133"/>
                  <a:pt x="619" y="133"/>
                </a:cubicBezTo>
                <a:cubicBezTo>
                  <a:pt x="620" y="138"/>
                  <a:pt x="620" y="138"/>
                  <a:pt x="620" y="138"/>
                </a:cubicBezTo>
                <a:cubicBezTo>
                  <a:pt x="620" y="144"/>
                  <a:pt x="620" y="144"/>
                  <a:pt x="620" y="144"/>
                </a:cubicBezTo>
                <a:cubicBezTo>
                  <a:pt x="619" y="138"/>
                  <a:pt x="619" y="138"/>
                  <a:pt x="619" y="138"/>
                </a:cubicBezTo>
                <a:cubicBezTo>
                  <a:pt x="618" y="135"/>
                  <a:pt x="618" y="135"/>
                  <a:pt x="618" y="135"/>
                </a:cubicBezTo>
                <a:cubicBezTo>
                  <a:pt x="617" y="134"/>
                  <a:pt x="617" y="134"/>
                  <a:pt x="617" y="134"/>
                </a:cubicBezTo>
                <a:cubicBezTo>
                  <a:pt x="618" y="132"/>
                  <a:pt x="618" y="132"/>
                  <a:pt x="618" y="132"/>
                </a:cubicBezTo>
                <a:cubicBezTo>
                  <a:pt x="618" y="131"/>
                  <a:pt x="618" y="131"/>
                  <a:pt x="618" y="131"/>
                </a:cubicBezTo>
                <a:cubicBezTo>
                  <a:pt x="616" y="130"/>
                  <a:pt x="616" y="130"/>
                  <a:pt x="616" y="130"/>
                </a:cubicBezTo>
                <a:cubicBezTo>
                  <a:pt x="617" y="127"/>
                  <a:pt x="617" y="127"/>
                  <a:pt x="617" y="127"/>
                </a:cubicBezTo>
                <a:cubicBezTo>
                  <a:pt x="617" y="124"/>
                  <a:pt x="617" y="124"/>
                  <a:pt x="617" y="124"/>
                </a:cubicBezTo>
                <a:cubicBezTo>
                  <a:pt x="615" y="121"/>
                  <a:pt x="615" y="121"/>
                  <a:pt x="615" y="121"/>
                </a:cubicBezTo>
                <a:cubicBezTo>
                  <a:pt x="615" y="118"/>
                  <a:pt x="615" y="118"/>
                  <a:pt x="615" y="118"/>
                </a:cubicBezTo>
                <a:cubicBezTo>
                  <a:pt x="617" y="116"/>
                  <a:pt x="617" y="116"/>
                  <a:pt x="617" y="116"/>
                </a:cubicBezTo>
                <a:cubicBezTo>
                  <a:pt x="618" y="112"/>
                  <a:pt x="618" y="112"/>
                  <a:pt x="618" y="112"/>
                </a:cubicBezTo>
                <a:cubicBezTo>
                  <a:pt x="618" y="110"/>
                  <a:pt x="618" y="110"/>
                  <a:pt x="618" y="110"/>
                </a:cubicBezTo>
                <a:cubicBezTo>
                  <a:pt x="618" y="110"/>
                  <a:pt x="618" y="110"/>
                  <a:pt x="618" y="110"/>
                </a:cubicBezTo>
                <a:cubicBezTo>
                  <a:pt x="617" y="111"/>
                  <a:pt x="617" y="111"/>
                  <a:pt x="617" y="111"/>
                </a:cubicBezTo>
                <a:cubicBezTo>
                  <a:pt x="617" y="113"/>
                  <a:pt x="617" y="113"/>
                  <a:pt x="617" y="113"/>
                </a:cubicBezTo>
                <a:cubicBezTo>
                  <a:pt x="615" y="115"/>
                  <a:pt x="615" y="115"/>
                  <a:pt x="615" y="115"/>
                </a:cubicBezTo>
                <a:cubicBezTo>
                  <a:pt x="615" y="114"/>
                  <a:pt x="615" y="114"/>
                  <a:pt x="615" y="114"/>
                </a:cubicBezTo>
                <a:cubicBezTo>
                  <a:pt x="614" y="112"/>
                  <a:pt x="614" y="112"/>
                  <a:pt x="614" y="112"/>
                </a:cubicBezTo>
                <a:cubicBezTo>
                  <a:pt x="616" y="109"/>
                  <a:pt x="616" y="109"/>
                  <a:pt x="616" y="109"/>
                </a:cubicBezTo>
                <a:cubicBezTo>
                  <a:pt x="616" y="107"/>
                  <a:pt x="616" y="107"/>
                  <a:pt x="616" y="107"/>
                </a:cubicBezTo>
                <a:cubicBezTo>
                  <a:pt x="615" y="106"/>
                  <a:pt x="615" y="106"/>
                  <a:pt x="615" y="106"/>
                </a:cubicBezTo>
                <a:cubicBezTo>
                  <a:pt x="614" y="107"/>
                  <a:pt x="614" y="107"/>
                  <a:pt x="614" y="107"/>
                </a:cubicBezTo>
                <a:cubicBezTo>
                  <a:pt x="613" y="107"/>
                  <a:pt x="613" y="107"/>
                  <a:pt x="613" y="107"/>
                </a:cubicBezTo>
                <a:cubicBezTo>
                  <a:pt x="612" y="106"/>
                  <a:pt x="612" y="106"/>
                  <a:pt x="612" y="106"/>
                </a:cubicBezTo>
                <a:cubicBezTo>
                  <a:pt x="613" y="104"/>
                  <a:pt x="613" y="104"/>
                  <a:pt x="613" y="104"/>
                </a:cubicBezTo>
                <a:cubicBezTo>
                  <a:pt x="613" y="102"/>
                  <a:pt x="613" y="102"/>
                  <a:pt x="613" y="102"/>
                </a:cubicBezTo>
                <a:cubicBezTo>
                  <a:pt x="612" y="102"/>
                  <a:pt x="612" y="102"/>
                  <a:pt x="612" y="102"/>
                </a:cubicBezTo>
                <a:cubicBezTo>
                  <a:pt x="612" y="101"/>
                  <a:pt x="612" y="101"/>
                  <a:pt x="612" y="101"/>
                </a:cubicBezTo>
                <a:cubicBezTo>
                  <a:pt x="612" y="100"/>
                  <a:pt x="612" y="100"/>
                  <a:pt x="612" y="100"/>
                </a:cubicBezTo>
                <a:cubicBezTo>
                  <a:pt x="612" y="99"/>
                  <a:pt x="612" y="99"/>
                  <a:pt x="612" y="99"/>
                </a:cubicBezTo>
                <a:cubicBezTo>
                  <a:pt x="610" y="99"/>
                  <a:pt x="610" y="99"/>
                  <a:pt x="610" y="99"/>
                </a:cubicBezTo>
                <a:cubicBezTo>
                  <a:pt x="605" y="101"/>
                  <a:pt x="605" y="101"/>
                  <a:pt x="605" y="101"/>
                </a:cubicBezTo>
                <a:cubicBezTo>
                  <a:pt x="602" y="103"/>
                  <a:pt x="602" y="103"/>
                  <a:pt x="602" y="103"/>
                </a:cubicBezTo>
                <a:cubicBezTo>
                  <a:pt x="601" y="102"/>
                  <a:pt x="601" y="102"/>
                  <a:pt x="601" y="102"/>
                </a:cubicBezTo>
                <a:cubicBezTo>
                  <a:pt x="601" y="101"/>
                  <a:pt x="601" y="101"/>
                  <a:pt x="601" y="101"/>
                </a:cubicBezTo>
                <a:cubicBezTo>
                  <a:pt x="600" y="101"/>
                  <a:pt x="600" y="101"/>
                  <a:pt x="600" y="101"/>
                </a:cubicBezTo>
                <a:cubicBezTo>
                  <a:pt x="598" y="103"/>
                  <a:pt x="598" y="103"/>
                  <a:pt x="598" y="103"/>
                </a:cubicBezTo>
                <a:cubicBezTo>
                  <a:pt x="597" y="103"/>
                  <a:pt x="597" y="103"/>
                  <a:pt x="597" y="103"/>
                </a:cubicBezTo>
                <a:cubicBezTo>
                  <a:pt x="596" y="102"/>
                  <a:pt x="596" y="102"/>
                  <a:pt x="596" y="102"/>
                </a:cubicBezTo>
                <a:cubicBezTo>
                  <a:pt x="593" y="104"/>
                  <a:pt x="593" y="104"/>
                  <a:pt x="593" y="104"/>
                </a:cubicBezTo>
                <a:cubicBezTo>
                  <a:pt x="593" y="102"/>
                  <a:pt x="593" y="102"/>
                  <a:pt x="593" y="102"/>
                </a:cubicBezTo>
                <a:cubicBezTo>
                  <a:pt x="592" y="101"/>
                  <a:pt x="592" y="101"/>
                  <a:pt x="592" y="101"/>
                </a:cubicBezTo>
                <a:cubicBezTo>
                  <a:pt x="591" y="102"/>
                  <a:pt x="591" y="102"/>
                  <a:pt x="591" y="102"/>
                </a:cubicBezTo>
                <a:cubicBezTo>
                  <a:pt x="591" y="103"/>
                  <a:pt x="591" y="103"/>
                  <a:pt x="591" y="103"/>
                </a:cubicBezTo>
                <a:cubicBezTo>
                  <a:pt x="588" y="103"/>
                  <a:pt x="588" y="103"/>
                  <a:pt x="588" y="103"/>
                </a:cubicBezTo>
                <a:cubicBezTo>
                  <a:pt x="584" y="101"/>
                  <a:pt x="584" y="101"/>
                  <a:pt x="584" y="101"/>
                </a:cubicBezTo>
                <a:cubicBezTo>
                  <a:pt x="580" y="100"/>
                  <a:pt x="580" y="100"/>
                  <a:pt x="580" y="100"/>
                </a:cubicBezTo>
                <a:cubicBezTo>
                  <a:pt x="577" y="99"/>
                  <a:pt x="577" y="99"/>
                  <a:pt x="577" y="99"/>
                </a:cubicBezTo>
                <a:cubicBezTo>
                  <a:pt x="575" y="99"/>
                  <a:pt x="575" y="99"/>
                  <a:pt x="575" y="99"/>
                </a:cubicBezTo>
                <a:cubicBezTo>
                  <a:pt x="574" y="97"/>
                  <a:pt x="574" y="97"/>
                  <a:pt x="574" y="97"/>
                </a:cubicBezTo>
                <a:cubicBezTo>
                  <a:pt x="572" y="95"/>
                  <a:pt x="572" y="95"/>
                  <a:pt x="572" y="95"/>
                </a:cubicBezTo>
                <a:cubicBezTo>
                  <a:pt x="571" y="96"/>
                  <a:pt x="571" y="96"/>
                  <a:pt x="571" y="96"/>
                </a:cubicBezTo>
                <a:cubicBezTo>
                  <a:pt x="569" y="94"/>
                  <a:pt x="569" y="94"/>
                  <a:pt x="569" y="94"/>
                </a:cubicBezTo>
                <a:cubicBezTo>
                  <a:pt x="569" y="92"/>
                  <a:pt x="569" y="92"/>
                  <a:pt x="569" y="92"/>
                </a:cubicBezTo>
                <a:cubicBezTo>
                  <a:pt x="567" y="91"/>
                  <a:pt x="567" y="91"/>
                  <a:pt x="567" y="91"/>
                </a:cubicBezTo>
                <a:cubicBezTo>
                  <a:pt x="566" y="90"/>
                  <a:pt x="566" y="90"/>
                  <a:pt x="566" y="90"/>
                </a:cubicBezTo>
                <a:cubicBezTo>
                  <a:pt x="568" y="89"/>
                  <a:pt x="568" y="89"/>
                  <a:pt x="568" y="89"/>
                </a:cubicBezTo>
                <a:cubicBezTo>
                  <a:pt x="570" y="90"/>
                  <a:pt x="570" y="90"/>
                  <a:pt x="570" y="90"/>
                </a:cubicBezTo>
                <a:cubicBezTo>
                  <a:pt x="570" y="88"/>
                  <a:pt x="570" y="88"/>
                  <a:pt x="570" y="88"/>
                </a:cubicBezTo>
                <a:cubicBezTo>
                  <a:pt x="572" y="86"/>
                  <a:pt x="572" y="86"/>
                  <a:pt x="572" y="86"/>
                </a:cubicBezTo>
                <a:cubicBezTo>
                  <a:pt x="571" y="85"/>
                  <a:pt x="571" y="85"/>
                  <a:pt x="571" y="85"/>
                </a:cubicBezTo>
                <a:cubicBezTo>
                  <a:pt x="573" y="85"/>
                  <a:pt x="573" y="85"/>
                  <a:pt x="573" y="85"/>
                </a:cubicBezTo>
                <a:cubicBezTo>
                  <a:pt x="575" y="86"/>
                  <a:pt x="575" y="86"/>
                  <a:pt x="575" y="86"/>
                </a:cubicBezTo>
                <a:cubicBezTo>
                  <a:pt x="576" y="85"/>
                  <a:pt x="576" y="85"/>
                  <a:pt x="576" y="85"/>
                </a:cubicBezTo>
                <a:cubicBezTo>
                  <a:pt x="576" y="85"/>
                  <a:pt x="576" y="85"/>
                  <a:pt x="576" y="85"/>
                </a:cubicBezTo>
                <a:cubicBezTo>
                  <a:pt x="579" y="85"/>
                  <a:pt x="579" y="85"/>
                  <a:pt x="579" y="85"/>
                </a:cubicBezTo>
                <a:cubicBezTo>
                  <a:pt x="583" y="86"/>
                  <a:pt x="583" y="86"/>
                  <a:pt x="583" y="86"/>
                </a:cubicBezTo>
                <a:cubicBezTo>
                  <a:pt x="585" y="84"/>
                  <a:pt x="585" y="84"/>
                  <a:pt x="585" y="84"/>
                </a:cubicBezTo>
                <a:cubicBezTo>
                  <a:pt x="585" y="82"/>
                  <a:pt x="585" y="82"/>
                  <a:pt x="585" y="82"/>
                </a:cubicBezTo>
                <a:cubicBezTo>
                  <a:pt x="586" y="80"/>
                  <a:pt x="586" y="80"/>
                  <a:pt x="586" y="80"/>
                </a:cubicBezTo>
                <a:cubicBezTo>
                  <a:pt x="585" y="78"/>
                  <a:pt x="585" y="78"/>
                  <a:pt x="585" y="78"/>
                </a:cubicBezTo>
                <a:cubicBezTo>
                  <a:pt x="585" y="75"/>
                  <a:pt x="585" y="75"/>
                  <a:pt x="585" y="75"/>
                </a:cubicBezTo>
                <a:cubicBezTo>
                  <a:pt x="584" y="74"/>
                  <a:pt x="584" y="74"/>
                  <a:pt x="584" y="74"/>
                </a:cubicBezTo>
                <a:cubicBezTo>
                  <a:pt x="583" y="71"/>
                  <a:pt x="583" y="71"/>
                  <a:pt x="583" y="71"/>
                </a:cubicBezTo>
                <a:cubicBezTo>
                  <a:pt x="582" y="70"/>
                  <a:pt x="582" y="70"/>
                  <a:pt x="582" y="70"/>
                </a:cubicBezTo>
                <a:cubicBezTo>
                  <a:pt x="581" y="69"/>
                  <a:pt x="581" y="69"/>
                  <a:pt x="581" y="69"/>
                </a:cubicBezTo>
                <a:cubicBezTo>
                  <a:pt x="578" y="66"/>
                  <a:pt x="578" y="66"/>
                  <a:pt x="578" y="66"/>
                </a:cubicBezTo>
                <a:cubicBezTo>
                  <a:pt x="578" y="67"/>
                  <a:pt x="578" y="67"/>
                  <a:pt x="578" y="67"/>
                </a:cubicBezTo>
                <a:cubicBezTo>
                  <a:pt x="577" y="68"/>
                  <a:pt x="577" y="68"/>
                  <a:pt x="577" y="68"/>
                </a:cubicBezTo>
                <a:cubicBezTo>
                  <a:pt x="576" y="68"/>
                  <a:pt x="576" y="68"/>
                  <a:pt x="576" y="68"/>
                </a:cubicBezTo>
                <a:cubicBezTo>
                  <a:pt x="575" y="67"/>
                  <a:pt x="575" y="67"/>
                  <a:pt x="575" y="67"/>
                </a:cubicBezTo>
                <a:cubicBezTo>
                  <a:pt x="573" y="65"/>
                  <a:pt x="573" y="65"/>
                  <a:pt x="573" y="65"/>
                </a:cubicBezTo>
                <a:cubicBezTo>
                  <a:pt x="573" y="66"/>
                  <a:pt x="573" y="66"/>
                  <a:pt x="573" y="66"/>
                </a:cubicBezTo>
                <a:cubicBezTo>
                  <a:pt x="574" y="68"/>
                  <a:pt x="574" y="68"/>
                  <a:pt x="574" y="68"/>
                </a:cubicBezTo>
                <a:cubicBezTo>
                  <a:pt x="574" y="69"/>
                  <a:pt x="574" y="69"/>
                  <a:pt x="574" y="69"/>
                </a:cubicBezTo>
                <a:cubicBezTo>
                  <a:pt x="575" y="70"/>
                  <a:pt x="575" y="70"/>
                  <a:pt x="575" y="70"/>
                </a:cubicBezTo>
                <a:cubicBezTo>
                  <a:pt x="574" y="72"/>
                  <a:pt x="574" y="72"/>
                  <a:pt x="574" y="72"/>
                </a:cubicBezTo>
                <a:cubicBezTo>
                  <a:pt x="573" y="70"/>
                  <a:pt x="573" y="70"/>
                  <a:pt x="573" y="70"/>
                </a:cubicBezTo>
                <a:cubicBezTo>
                  <a:pt x="573" y="68"/>
                  <a:pt x="573" y="68"/>
                  <a:pt x="573" y="68"/>
                </a:cubicBezTo>
                <a:cubicBezTo>
                  <a:pt x="571" y="68"/>
                  <a:pt x="571" y="68"/>
                  <a:pt x="571" y="68"/>
                </a:cubicBezTo>
                <a:cubicBezTo>
                  <a:pt x="568" y="66"/>
                  <a:pt x="568" y="66"/>
                  <a:pt x="568" y="66"/>
                </a:cubicBezTo>
                <a:cubicBezTo>
                  <a:pt x="567" y="65"/>
                  <a:pt x="567" y="65"/>
                  <a:pt x="567" y="65"/>
                </a:cubicBezTo>
                <a:cubicBezTo>
                  <a:pt x="566" y="66"/>
                  <a:pt x="566" y="66"/>
                  <a:pt x="566" y="66"/>
                </a:cubicBezTo>
                <a:cubicBezTo>
                  <a:pt x="565" y="65"/>
                  <a:pt x="565" y="65"/>
                  <a:pt x="565" y="65"/>
                </a:cubicBezTo>
                <a:cubicBezTo>
                  <a:pt x="564" y="63"/>
                  <a:pt x="564" y="63"/>
                  <a:pt x="564" y="63"/>
                </a:cubicBezTo>
                <a:cubicBezTo>
                  <a:pt x="562" y="62"/>
                  <a:pt x="562" y="62"/>
                  <a:pt x="562" y="62"/>
                </a:cubicBezTo>
                <a:cubicBezTo>
                  <a:pt x="561" y="62"/>
                  <a:pt x="561" y="62"/>
                  <a:pt x="561" y="62"/>
                </a:cubicBezTo>
                <a:cubicBezTo>
                  <a:pt x="558" y="59"/>
                  <a:pt x="558" y="59"/>
                  <a:pt x="558" y="59"/>
                </a:cubicBezTo>
                <a:cubicBezTo>
                  <a:pt x="556" y="57"/>
                  <a:pt x="556" y="57"/>
                  <a:pt x="556" y="57"/>
                </a:cubicBezTo>
                <a:cubicBezTo>
                  <a:pt x="555" y="55"/>
                  <a:pt x="555" y="55"/>
                  <a:pt x="555" y="55"/>
                </a:cubicBezTo>
                <a:cubicBezTo>
                  <a:pt x="547" y="50"/>
                  <a:pt x="547" y="50"/>
                  <a:pt x="547" y="50"/>
                </a:cubicBezTo>
                <a:cubicBezTo>
                  <a:pt x="544" y="47"/>
                  <a:pt x="544" y="47"/>
                  <a:pt x="544" y="47"/>
                </a:cubicBezTo>
                <a:cubicBezTo>
                  <a:pt x="544" y="44"/>
                  <a:pt x="544" y="44"/>
                  <a:pt x="544" y="44"/>
                </a:cubicBezTo>
                <a:cubicBezTo>
                  <a:pt x="543" y="39"/>
                  <a:pt x="543" y="39"/>
                  <a:pt x="543" y="39"/>
                </a:cubicBezTo>
                <a:cubicBezTo>
                  <a:pt x="543" y="38"/>
                  <a:pt x="543" y="38"/>
                  <a:pt x="543" y="38"/>
                </a:cubicBezTo>
                <a:cubicBezTo>
                  <a:pt x="541" y="38"/>
                  <a:pt x="541" y="38"/>
                  <a:pt x="541" y="38"/>
                </a:cubicBezTo>
                <a:cubicBezTo>
                  <a:pt x="538" y="36"/>
                  <a:pt x="538" y="36"/>
                  <a:pt x="538" y="36"/>
                </a:cubicBezTo>
                <a:cubicBezTo>
                  <a:pt x="537" y="35"/>
                  <a:pt x="537" y="35"/>
                  <a:pt x="537" y="35"/>
                </a:cubicBezTo>
                <a:cubicBezTo>
                  <a:pt x="535" y="34"/>
                  <a:pt x="535" y="34"/>
                  <a:pt x="535" y="34"/>
                </a:cubicBezTo>
                <a:cubicBezTo>
                  <a:pt x="533" y="34"/>
                  <a:pt x="533" y="34"/>
                  <a:pt x="533" y="34"/>
                </a:cubicBezTo>
                <a:cubicBezTo>
                  <a:pt x="532" y="33"/>
                  <a:pt x="532" y="33"/>
                  <a:pt x="532" y="33"/>
                </a:cubicBezTo>
                <a:cubicBezTo>
                  <a:pt x="530" y="33"/>
                  <a:pt x="530" y="33"/>
                  <a:pt x="530" y="33"/>
                </a:cubicBezTo>
                <a:cubicBezTo>
                  <a:pt x="527" y="36"/>
                  <a:pt x="527" y="36"/>
                  <a:pt x="527" y="36"/>
                </a:cubicBezTo>
                <a:cubicBezTo>
                  <a:pt x="525" y="39"/>
                  <a:pt x="525" y="39"/>
                  <a:pt x="525" y="39"/>
                </a:cubicBezTo>
                <a:cubicBezTo>
                  <a:pt x="523" y="40"/>
                  <a:pt x="523" y="40"/>
                  <a:pt x="523" y="40"/>
                </a:cubicBezTo>
                <a:cubicBezTo>
                  <a:pt x="521" y="41"/>
                  <a:pt x="521" y="41"/>
                  <a:pt x="521" y="41"/>
                </a:cubicBezTo>
                <a:cubicBezTo>
                  <a:pt x="519" y="42"/>
                  <a:pt x="519" y="42"/>
                  <a:pt x="519" y="42"/>
                </a:cubicBezTo>
                <a:cubicBezTo>
                  <a:pt x="518" y="40"/>
                  <a:pt x="518" y="40"/>
                  <a:pt x="518" y="40"/>
                </a:cubicBezTo>
                <a:cubicBezTo>
                  <a:pt x="515" y="40"/>
                  <a:pt x="515" y="40"/>
                  <a:pt x="515" y="40"/>
                </a:cubicBezTo>
                <a:cubicBezTo>
                  <a:pt x="514" y="39"/>
                  <a:pt x="514" y="39"/>
                  <a:pt x="514" y="39"/>
                </a:cubicBezTo>
                <a:cubicBezTo>
                  <a:pt x="515" y="37"/>
                  <a:pt x="515" y="37"/>
                  <a:pt x="515" y="37"/>
                </a:cubicBezTo>
                <a:cubicBezTo>
                  <a:pt x="516" y="36"/>
                  <a:pt x="516" y="36"/>
                  <a:pt x="516" y="36"/>
                </a:cubicBezTo>
                <a:cubicBezTo>
                  <a:pt x="517" y="36"/>
                  <a:pt x="517" y="36"/>
                  <a:pt x="517" y="36"/>
                </a:cubicBezTo>
                <a:cubicBezTo>
                  <a:pt x="519" y="34"/>
                  <a:pt x="519" y="34"/>
                  <a:pt x="519" y="34"/>
                </a:cubicBezTo>
                <a:cubicBezTo>
                  <a:pt x="520" y="34"/>
                  <a:pt x="520" y="34"/>
                  <a:pt x="520" y="34"/>
                </a:cubicBezTo>
                <a:cubicBezTo>
                  <a:pt x="521" y="33"/>
                  <a:pt x="521" y="33"/>
                  <a:pt x="521" y="33"/>
                </a:cubicBezTo>
                <a:cubicBezTo>
                  <a:pt x="520" y="32"/>
                  <a:pt x="520" y="32"/>
                  <a:pt x="520" y="32"/>
                </a:cubicBezTo>
                <a:cubicBezTo>
                  <a:pt x="519" y="32"/>
                  <a:pt x="519" y="32"/>
                  <a:pt x="519" y="32"/>
                </a:cubicBezTo>
                <a:cubicBezTo>
                  <a:pt x="518" y="31"/>
                  <a:pt x="518" y="31"/>
                  <a:pt x="518" y="31"/>
                </a:cubicBezTo>
                <a:cubicBezTo>
                  <a:pt x="518" y="30"/>
                  <a:pt x="518" y="30"/>
                  <a:pt x="518" y="30"/>
                </a:cubicBezTo>
                <a:cubicBezTo>
                  <a:pt x="520" y="28"/>
                  <a:pt x="520" y="28"/>
                  <a:pt x="520" y="28"/>
                </a:cubicBezTo>
                <a:cubicBezTo>
                  <a:pt x="520" y="27"/>
                  <a:pt x="520" y="27"/>
                  <a:pt x="520" y="27"/>
                </a:cubicBezTo>
                <a:cubicBezTo>
                  <a:pt x="522" y="26"/>
                  <a:pt x="522" y="26"/>
                  <a:pt x="522" y="26"/>
                </a:cubicBezTo>
                <a:cubicBezTo>
                  <a:pt x="522" y="24"/>
                  <a:pt x="522" y="24"/>
                  <a:pt x="522" y="24"/>
                </a:cubicBezTo>
                <a:cubicBezTo>
                  <a:pt x="522" y="22"/>
                  <a:pt x="522" y="22"/>
                  <a:pt x="522" y="22"/>
                </a:cubicBezTo>
                <a:cubicBezTo>
                  <a:pt x="519" y="22"/>
                  <a:pt x="519" y="22"/>
                  <a:pt x="519" y="22"/>
                </a:cubicBezTo>
                <a:cubicBezTo>
                  <a:pt x="519" y="24"/>
                  <a:pt x="519" y="24"/>
                  <a:pt x="519" y="24"/>
                </a:cubicBezTo>
                <a:cubicBezTo>
                  <a:pt x="516" y="26"/>
                  <a:pt x="516" y="26"/>
                  <a:pt x="516" y="26"/>
                </a:cubicBezTo>
                <a:cubicBezTo>
                  <a:pt x="514" y="26"/>
                  <a:pt x="514" y="26"/>
                  <a:pt x="514" y="26"/>
                </a:cubicBezTo>
                <a:cubicBezTo>
                  <a:pt x="516" y="30"/>
                  <a:pt x="516" y="30"/>
                  <a:pt x="516" y="30"/>
                </a:cubicBezTo>
                <a:cubicBezTo>
                  <a:pt x="514" y="31"/>
                  <a:pt x="514" y="31"/>
                  <a:pt x="514" y="31"/>
                </a:cubicBezTo>
                <a:cubicBezTo>
                  <a:pt x="514" y="30"/>
                  <a:pt x="514" y="30"/>
                  <a:pt x="514" y="30"/>
                </a:cubicBezTo>
                <a:cubicBezTo>
                  <a:pt x="511" y="29"/>
                  <a:pt x="511" y="29"/>
                  <a:pt x="511" y="29"/>
                </a:cubicBezTo>
                <a:cubicBezTo>
                  <a:pt x="509" y="31"/>
                  <a:pt x="509" y="31"/>
                  <a:pt x="509" y="31"/>
                </a:cubicBezTo>
                <a:cubicBezTo>
                  <a:pt x="510" y="32"/>
                  <a:pt x="510" y="32"/>
                  <a:pt x="510" y="32"/>
                </a:cubicBezTo>
                <a:cubicBezTo>
                  <a:pt x="510" y="34"/>
                  <a:pt x="510" y="34"/>
                  <a:pt x="510" y="34"/>
                </a:cubicBezTo>
                <a:cubicBezTo>
                  <a:pt x="508" y="33"/>
                  <a:pt x="508" y="33"/>
                  <a:pt x="508" y="33"/>
                </a:cubicBezTo>
                <a:cubicBezTo>
                  <a:pt x="506" y="34"/>
                  <a:pt x="506" y="34"/>
                  <a:pt x="506" y="34"/>
                </a:cubicBezTo>
                <a:cubicBezTo>
                  <a:pt x="506" y="36"/>
                  <a:pt x="506" y="36"/>
                  <a:pt x="506" y="36"/>
                </a:cubicBezTo>
                <a:cubicBezTo>
                  <a:pt x="508" y="36"/>
                  <a:pt x="508" y="36"/>
                  <a:pt x="508" y="36"/>
                </a:cubicBezTo>
                <a:cubicBezTo>
                  <a:pt x="509" y="37"/>
                  <a:pt x="509" y="37"/>
                  <a:pt x="509" y="37"/>
                </a:cubicBezTo>
                <a:cubicBezTo>
                  <a:pt x="506" y="39"/>
                  <a:pt x="506" y="39"/>
                  <a:pt x="506" y="39"/>
                </a:cubicBezTo>
                <a:cubicBezTo>
                  <a:pt x="505" y="36"/>
                  <a:pt x="505" y="36"/>
                  <a:pt x="505" y="36"/>
                </a:cubicBezTo>
                <a:cubicBezTo>
                  <a:pt x="503" y="35"/>
                  <a:pt x="503" y="35"/>
                  <a:pt x="503" y="35"/>
                </a:cubicBezTo>
                <a:cubicBezTo>
                  <a:pt x="502" y="33"/>
                  <a:pt x="502" y="33"/>
                  <a:pt x="502" y="33"/>
                </a:cubicBezTo>
                <a:cubicBezTo>
                  <a:pt x="502" y="24"/>
                  <a:pt x="502" y="24"/>
                  <a:pt x="502" y="24"/>
                </a:cubicBezTo>
                <a:cubicBezTo>
                  <a:pt x="504" y="20"/>
                  <a:pt x="504" y="20"/>
                  <a:pt x="504" y="20"/>
                </a:cubicBezTo>
                <a:cubicBezTo>
                  <a:pt x="503" y="14"/>
                  <a:pt x="503" y="14"/>
                  <a:pt x="503" y="14"/>
                </a:cubicBezTo>
                <a:cubicBezTo>
                  <a:pt x="505" y="12"/>
                  <a:pt x="505" y="12"/>
                  <a:pt x="505" y="12"/>
                </a:cubicBezTo>
                <a:cubicBezTo>
                  <a:pt x="504" y="4"/>
                  <a:pt x="504" y="4"/>
                  <a:pt x="504" y="4"/>
                </a:cubicBezTo>
                <a:cubicBezTo>
                  <a:pt x="504" y="1"/>
                  <a:pt x="504" y="1"/>
                  <a:pt x="504" y="1"/>
                </a:cubicBezTo>
                <a:cubicBezTo>
                  <a:pt x="501" y="2"/>
                  <a:pt x="501" y="2"/>
                  <a:pt x="501" y="2"/>
                </a:cubicBezTo>
                <a:cubicBezTo>
                  <a:pt x="499" y="5"/>
                  <a:pt x="499" y="5"/>
                  <a:pt x="499" y="5"/>
                </a:cubicBezTo>
                <a:cubicBezTo>
                  <a:pt x="501" y="6"/>
                  <a:pt x="501" y="6"/>
                  <a:pt x="501" y="6"/>
                </a:cubicBezTo>
                <a:cubicBezTo>
                  <a:pt x="499" y="7"/>
                  <a:pt x="499" y="7"/>
                  <a:pt x="499" y="7"/>
                </a:cubicBezTo>
                <a:cubicBezTo>
                  <a:pt x="500" y="10"/>
                  <a:pt x="500" y="10"/>
                  <a:pt x="500" y="10"/>
                </a:cubicBezTo>
                <a:cubicBezTo>
                  <a:pt x="500" y="13"/>
                  <a:pt x="500" y="13"/>
                  <a:pt x="500" y="13"/>
                </a:cubicBezTo>
                <a:cubicBezTo>
                  <a:pt x="498" y="12"/>
                  <a:pt x="498" y="12"/>
                  <a:pt x="498" y="12"/>
                </a:cubicBezTo>
                <a:cubicBezTo>
                  <a:pt x="497" y="11"/>
                  <a:pt x="497" y="11"/>
                  <a:pt x="497" y="11"/>
                </a:cubicBezTo>
                <a:cubicBezTo>
                  <a:pt x="496" y="12"/>
                  <a:pt x="496" y="12"/>
                  <a:pt x="496" y="12"/>
                </a:cubicBezTo>
                <a:cubicBezTo>
                  <a:pt x="496" y="14"/>
                  <a:pt x="496" y="14"/>
                  <a:pt x="496" y="14"/>
                </a:cubicBezTo>
                <a:cubicBezTo>
                  <a:pt x="495" y="13"/>
                  <a:pt x="495" y="13"/>
                  <a:pt x="495" y="13"/>
                </a:cubicBezTo>
                <a:cubicBezTo>
                  <a:pt x="493" y="14"/>
                  <a:pt x="493" y="14"/>
                  <a:pt x="493" y="14"/>
                </a:cubicBezTo>
                <a:cubicBezTo>
                  <a:pt x="493" y="16"/>
                  <a:pt x="493" y="16"/>
                  <a:pt x="493" y="16"/>
                </a:cubicBezTo>
                <a:cubicBezTo>
                  <a:pt x="492" y="16"/>
                  <a:pt x="492" y="16"/>
                  <a:pt x="492" y="16"/>
                </a:cubicBezTo>
                <a:cubicBezTo>
                  <a:pt x="487" y="18"/>
                  <a:pt x="487" y="18"/>
                  <a:pt x="487" y="18"/>
                </a:cubicBezTo>
                <a:cubicBezTo>
                  <a:pt x="485" y="21"/>
                  <a:pt x="485" y="21"/>
                  <a:pt x="485" y="21"/>
                </a:cubicBezTo>
                <a:cubicBezTo>
                  <a:pt x="483" y="19"/>
                  <a:pt x="483" y="19"/>
                  <a:pt x="483" y="19"/>
                </a:cubicBezTo>
                <a:cubicBezTo>
                  <a:pt x="483" y="18"/>
                  <a:pt x="483" y="18"/>
                  <a:pt x="483" y="18"/>
                </a:cubicBezTo>
                <a:cubicBezTo>
                  <a:pt x="486" y="17"/>
                  <a:pt x="486" y="17"/>
                  <a:pt x="486" y="17"/>
                </a:cubicBezTo>
                <a:cubicBezTo>
                  <a:pt x="486" y="15"/>
                  <a:pt x="486" y="15"/>
                  <a:pt x="486" y="15"/>
                </a:cubicBezTo>
                <a:cubicBezTo>
                  <a:pt x="485" y="15"/>
                  <a:pt x="485" y="15"/>
                  <a:pt x="485" y="15"/>
                </a:cubicBezTo>
                <a:cubicBezTo>
                  <a:pt x="483" y="16"/>
                  <a:pt x="483" y="16"/>
                  <a:pt x="483" y="16"/>
                </a:cubicBezTo>
                <a:cubicBezTo>
                  <a:pt x="479" y="16"/>
                  <a:pt x="479" y="16"/>
                  <a:pt x="479" y="16"/>
                </a:cubicBezTo>
                <a:cubicBezTo>
                  <a:pt x="477" y="18"/>
                  <a:pt x="477" y="18"/>
                  <a:pt x="477" y="18"/>
                </a:cubicBezTo>
                <a:cubicBezTo>
                  <a:pt x="474" y="18"/>
                  <a:pt x="474" y="18"/>
                  <a:pt x="474" y="18"/>
                </a:cubicBezTo>
                <a:cubicBezTo>
                  <a:pt x="468" y="22"/>
                  <a:pt x="468" y="22"/>
                  <a:pt x="468" y="22"/>
                </a:cubicBezTo>
                <a:cubicBezTo>
                  <a:pt x="465" y="23"/>
                  <a:pt x="465" y="23"/>
                  <a:pt x="465" y="23"/>
                </a:cubicBezTo>
                <a:cubicBezTo>
                  <a:pt x="463" y="26"/>
                  <a:pt x="463" y="26"/>
                  <a:pt x="463" y="26"/>
                </a:cubicBezTo>
                <a:cubicBezTo>
                  <a:pt x="462" y="25"/>
                  <a:pt x="462" y="25"/>
                  <a:pt x="462" y="25"/>
                </a:cubicBezTo>
                <a:cubicBezTo>
                  <a:pt x="465" y="21"/>
                  <a:pt x="465" y="21"/>
                  <a:pt x="465" y="21"/>
                </a:cubicBezTo>
                <a:cubicBezTo>
                  <a:pt x="464" y="20"/>
                  <a:pt x="464" y="20"/>
                  <a:pt x="464" y="20"/>
                </a:cubicBezTo>
                <a:cubicBezTo>
                  <a:pt x="461" y="22"/>
                  <a:pt x="461" y="22"/>
                  <a:pt x="461" y="22"/>
                </a:cubicBezTo>
                <a:cubicBezTo>
                  <a:pt x="461" y="21"/>
                  <a:pt x="461" y="21"/>
                  <a:pt x="461" y="21"/>
                </a:cubicBezTo>
                <a:cubicBezTo>
                  <a:pt x="459" y="22"/>
                  <a:pt x="459" y="22"/>
                  <a:pt x="459" y="22"/>
                </a:cubicBezTo>
                <a:cubicBezTo>
                  <a:pt x="458" y="23"/>
                  <a:pt x="458" y="23"/>
                  <a:pt x="458" y="23"/>
                </a:cubicBezTo>
                <a:cubicBezTo>
                  <a:pt x="457" y="21"/>
                  <a:pt x="457" y="21"/>
                  <a:pt x="457" y="21"/>
                </a:cubicBezTo>
                <a:cubicBezTo>
                  <a:pt x="455" y="22"/>
                  <a:pt x="455" y="22"/>
                  <a:pt x="455" y="22"/>
                </a:cubicBezTo>
                <a:cubicBezTo>
                  <a:pt x="455" y="23"/>
                  <a:pt x="455" y="23"/>
                  <a:pt x="455" y="23"/>
                </a:cubicBezTo>
                <a:cubicBezTo>
                  <a:pt x="449" y="27"/>
                  <a:pt x="449" y="27"/>
                  <a:pt x="449" y="27"/>
                </a:cubicBezTo>
                <a:cubicBezTo>
                  <a:pt x="447" y="27"/>
                  <a:pt x="447" y="27"/>
                  <a:pt x="447" y="27"/>
                </a:cubicBezTo>
                <a:cubicBezTo>
                  <a:pt x="444" y="27"/>
                  <a:pt x="444" y="27"/>
                  <a:pt x="444" y="27"/>
                </a:cubicBezTo>
                <a:cubicBezTo>
                  <a:pt x="442" y="30"/>
                  <a:pt x="442" y="30"/>
                  <a:pt x="442" y="30"/>
                </a:cubicBezTo>
                <a:cubicBezTo>
                  <a:pt x="442" y="32"/>
                  <a:pt x="442" y="32"/>
                  <a:pt x="442" y="32"/>
                </a:cubicBezTo>
                <a:cubicBezTo>
                  <a:pt x="440" y="31"/>
                  <a:pt x="440" y="31"/>
                  <a:pt x="440" y="31"/>
                </a:cubicBezTo>
                <a:cubicBezTo>
                  <a:pt x="439" y="32"/>
                  <a:pt x="439" y="32"/>
                  <a:pt x="439" y="32"/>
                </a:cubicBezTo>
                <a:cubicBezTo>
                  <a:pt x="438" y="31"/>
                  <a:pt x="438" y="31"/>
                  <a:pt x="438" y="31"/>
                </a:cubicBezTo>
                <a:cubicBezTo>
                  <a:pt x="437" y="32"/>
                  <a:pt x="437" y="32"/>
                  <a:pt x="437" y="32"/>
                </a:cubicBezTo>
                <a:cubicBezTo>
                  <a:pt x="439" y="34"/>
                  <a:pt x="439" y="34"/>
                  <a:pt x="439" y="34"/>
                </a:cubicBezTo>
                <a:cubicBezTo>
                  <a:pt x="437" y="33"/>
                  <a:pt x="437" y="33"/>
                  <a:pt x="437" y="33"/>
                </a:cubicBezTo>
                <a:cubicBezTo>
                  <a:pt x="436" y="31"/>
                  <a:pt x="436" y="31"/>
                  <a:pt x="436" y="31"/>
                </a:cubicBezTo>
                <a:cubicBezTo>
                  <a:pt x="437" y="29"/>
                  <a:pt x="437" y="29"/>
                  <a:pt x="437" y="29"/>
                </a:cubicBezTo>
                <a:cubicBezTo>
                  <a:pt x="438" y="29"/>
                  <a:pt x="438" y="29"/>
                  <a:pt x="438" y="29"/>
                </a:cubicBezTo>
                <a:cubicBezTo>
                  <a:pt x="439" y="27"/>
                  <a:pt x="439" y="27"/>
                  <a:pt x="439" y="27"/>
                </a:cubicBezTo>
                <a:cubicBezTo>
                  <a:pt x="441" y="26"/>
                  <a:pt x="441" y="26"/>
                  <a:pt x="441" y="26"/>
                </a:cubicBezTo>
                <a:cubicBezTo>
                  <a:pt x="442" y="27"/>
                  <a:pt x="442" y="27"/>
                  <a:pt x="442" y="27"/>
                </a:cubicBezTo>
                <a:cubicBezTo>
                  <a:pt x="444" y="26"/>
                  <a:pt x="444" y="26"/>
                  <a:pt x="444" y="26"/>
                </a:cubicBezTo>
                <a:cubicBezTo>
                  <a:pt x="444" y="25"/>
                  <a:pt x="444" y="25"/>
                  <a:pt x="444" y="25"/>
                </a:cubicBezTo>
                <a:cubicBezTo>
                  <a:pt x="446" y="23"/>
                  <a:pt x="446" y="23"/>
                  <a:pt x="446" y="23"/>
                </a:cubicBezTo>
                <a:cubicBezTo>
                  <a:pt x="447" y="24"/>
                  <a:pt x="447" y="24"/>
                  <a:pt x="447" y="24"/>
                </a:cubicBezTo>
                <a:cubicBezTo>
                  <a:pt x="451" y="22"/>
                  <a:pt x="451" y="22"/>
                  <a:pt x="451" y="22"/>
                </a:cubicBezTo>
                <a:cubicBezTo>
                  <a:pt x="453" y="19"/>
                  <a:pt x="453" y="19"/>
                  <a:pt x="453" y="19"/>
                </a:cubicBezTo>
                <a:cubicBezTo>
                  <a:pt x="455" y="19"/>
                  <a:pt x="455" y="19"/>
                  <a:pt x="455" y="19"/>
                </a:cubicBezTo>
                <a:cubicBezTo>
                  <a:pt x="459" y="19"/>
                  <a:pt x="459" y="19"/>
                  <a:pt x="459" y="19"/>
                </a:cubicBezTo>
                <a:cubicBezTo>
                  <a:pt x="459" y="18"/>
                  <a:pt x="459" y="18"/>
                  <a:pt x="459" y="18"/>
                </a:cubicBezTo>
                <a:cubicBezTo>
                  <a:pt x="462" y="18"/>
                  <a:pt x="462" y="18"/>
                  <a:pt x="462" y="18"/>
                </a:cubicBezTo>
                <a:cubicBezTo>
                  <a:pt x="465" y="17"/>
                  <a:pt x="465" y="17"/>
                  <a:pt x="465" y="17"/>
                </a:cubicBezTo>
                <a:cubicBezTo>
                  <a:pt x="466" y="18"/>
                  <a:pt x="466" y="18"/>
                  <a:pt x="466" y="18"/>
                </a:cubicBezTo>
                <a:cubicBezTo>
                  <a:pt x="467" y="18"/>
                  <a:pt x="467" y="18"/>
                  <a:pt x="467" y="18"/>
                </a:cubicBezTo>
                <a:cubicBezTo>
                  <a:pt x="469" y="17"/>
                  <a:pt x="469" y="17"/>
                  <a:pt x="469" y="17"/>
                </a:cubicBezTo>
                <a:cubicBezTo>
                  <a:pt x="470" y="17"/>
                  <a:pt x="470" y="17"/>
                  <a:pt x="470" y="17"/>
                </a:cubicBezTo>
                <a:cubicBezTo>
                  <a:pt x="473" y="17"/>
                  <a:pt x="473" y="17"/>
                  <a:pt x="473" y="17"/>
                </a:cubicBezTo>
                <a:cubicBezTo>
                  <a:pt x="474" y="15"/>
                  <a:pt x="474" y="15"/>
                  <a:pt x="474" y="15"/>
                </a:cubicBezTo>
                <a:cubicBezTo>
                  <a:pt x="478" y="14"/>
                  <a:pt x="478" y="14"/>
                  <a:pt x="478" y="14"/>
                </a:cubicBezTo>
                <a:cubicBezTo>
                  <a:pt x="482" y="12"/>
                  <a:pt x="482" y="12"/>
                  <a:pt x="482" y="12"/>
                </a:cubicBezTo>
                <a:cubicBezTo>
                  <a:pt x="483" y="11"/>
                  <a:pt x="483" y="11"/>
                  <a:pt x="483" y="11"/>
                </a:cubicBezTo>
                <a:cubicBezTo>
                  <a:pt x="484" y="11"/>
                  <a:pt x="484" y="11"/>
                  <a:pt x="484" y="11"/>
                </a:cubicBezTo>
                <a:cubicBezTo>
                  <a:pt x="485" y="10"/>
                  <a:pt x="485" y="10"/>
                  <a:pt x="485" y="10"/>
                </a:cubicBezTo>
                <a:cubicBezTo>
                  <a:pt x="484" y="9"/>
                  <a:pt x="484" y="9"/>
                  <a:pt x="484" y="9"/>
                </a:cubicBezTo>
                <a:cubicBezTo>
                  <a:pt x="484" y="7"/>
                  <a:pt x="484" y="7"/>
                  <a:pt x="484" y="7"/>
                </a:cubicBezTo>
                <a:cubicBezTo>
                  <a:pt x="482" y="6"/>
                  <a:pt x="482" y="6"/>
                  <a:pt x="482" y="6"/>
                </a:cubicBezTo>
                <a:cubicBezTo>
                  <a:pt x="482" y="7"/>
                  <a:pt x="482" y="7"/>
                  <a:pt x="482" y="7"/>
                </a:cubicBezTo>
                <a:cubicBezTo>
                  <a:pt x="482" y="8"/>
                  <a:pt x="482" y="8"/>
                  <a:pt x="482" y="8"/>
                </a:cubicBezTo>
                <a:cubicBezTo>
                  <a:pt x="480" y="9"/>
                  <a:pt x="480" y="9"/>
                  <a:pt x="480" y="9"/>
                </a:cubicBezTo>
                <a:cubicBezTo>
                  <a:pt x="479" y="8"/>
                  <a:pt x="479" y="8"/>
                  <a:pt x="479" y="8"/>
                </a:cubicBezTo>
                <a:cubicBezTo>
                  <a:pt x="478" y="8"/>
                  <a:pt x="478" y="8"/>
                  <a:pt x="478" y="8"/>
                </a:cubicBezTo>
                <a:cubicBezTo>
                  <a:pt x="478" y="7"/>
                  <a:pt x="478" y="7"/>
                  <a:pt x="478" y="7"/>
                </a:cubicBezTo>
                <a:cubicBezTo>
                  <a:pt x="476" y="7"/>
                  <a:pt x="476" y="7"/>
                  <a:pt x="476" y="7"/>
                </a:cubicBezTo>
                <a:cubicBezTo>
                  <a:pt x="472" y="8"/>
                  <a:pt x="472" y="8"/>
                  <a:pt x="472" y="8"/>
                </a:cubicBezTo>
                <a:cubicBezTo>
                  <a:pt x="472" y="10"/>
                  <a:pt x="472" y="10"/>
                  <a:pt x="472" y="10"/>
                </a:cubicBezTo>
                <a:cubicBezTo>
                  <a:pt x="470" y="11"/>
                  <a:pt x="470" y="11"/>
                  <a:pt x="470" y="11"/>
                </a:cubicBezTo>
                <a:cubicBezTo>
                  <a:pt x="469" y="9"/>
                  <a:pt x="469" y="9"/>
                  <a:pt x="469" y="9"/>
                </a:cubicBezTo>
                <a:cubicBezTo>
                  <a:pt x="468" y="10"/>
                  <a:pt x="468" y="10"/>
                  <a:pt x="468" y="10"/>
                </a:cubicBezTo>
                <a:cubicBezTo>
                  <a:pt x="466" y="11"/>
                  <a:pt x="466" y="11"/>
                  <a:pt x="466" y="11"/>
                </a:cubicBezTo>
                <a:cubicBezTo>
                  <a:pt x="462" y="12"/>
                  <a:pt x="462" y="12"/>
                  <a:pt x="462" y="12"/>
                </a:cubicBezTo>
                <a:cubicBezTo>
                  <a:pt x="456" y="13"/>
                  <a:pt x="456" y="13"/>
                  <a:pt x="456" y="13"/>
                </a:cubicBezTo>
                <a:cubicBezTo>
                  <a:pt x="455" y="12"/>
                  <a:pt x="455" y="12"/>
                  <a:pt x="455" y="12"/>
                </a:cubicBezTo>
                <a:cubicBezTo>
                  <a:pt x="454" y="12"/>
                  <a:pt x="454" y="12"/>
                  <a:pt x="454" y="12"/>
                </a:cubicBezTo>
                <a:cubicBezTo>
                  <a:pt x="454" y="12"/>
                  <a:pt x="454" y="12"/>
                  <a:pt x="454" y="12"/>
                </a:cubicBezTo>
                <a:cubicBezTo>
                  <a:pt x="453" y="13"/>
                  <a:pt x="453" y="13"/>
                  <a:pt x="453" y="13"/>
                </a:cubicBezTo>
                <a:cubicBezTo>
                  <a:pt x="451" y="13"/>
                  <a:pt x="451" y="13"/>
                  <a:pt x="451" y="13"/>
                </a:cubicBezTo>
                <a:cubicBezTo>
                  <a:pt x="450" y="13"/>
                  <a:pt x="450" y="13"/>
                  <a:pt x="450" y="13"/>
                </a:cubicBezTo>
                <a:cubicBezTo>
                  <a:pt x="449" y="15"/>
                  <a:pt x="449" y="15"/>
                  <a:pt x="449" y="15"/>
                </a:cubicBezTo>
                <a:cubicBezTo>
                  <a:pt x="446" y="18"/>
                  <a:pt x="446" y="18"/>
                  <a:pt x="446" y="18"/>
                </a:cubicBezTo>
                <a:cubicBezTo>
                  <a:pt x="445" y="17"/>
                  <a:pt x="445" y="17"/>
                  <a:pt x="445" y="17"/>
                </a:cubicBezTo>
                <a:cubicBezTo>
                  <a:pt x="443" y="17"/>
                  <a:pt x="443" y="17"/>
                  <a:pt x="443" y="17"/>
                </a:cubicBezTo>
                <a:cubicBezTo>
                  <a:pt x="443" y="17"/>
                  <a:pt x="443" y="17"/>
                  <a:pt x="443" y="17"/>
                </a:cubicBezTo>
                <a:cubicBezTo>
                  <a:pt x="440" y="17"/>
                  <a:pt x="440" y="17"/>
                  <a:pt x="440" y="17"/>
                </a:cubicBezTo>
                <a:cubicBezTo>
                  <a:pt x="439" y="18"/>
                  <a:pt x="439" y="18"/>
                  <a:pt x="439" y="18"/>
                </a:cubicBezTo>
                <a:cubicBezTo>
                  <a:pt x="438" y="18"/>
                  <a:pt x="438" y="18"/>
                  <a:pt x="438" y="18"/>
                </a:cubicBezTo>
                <a:cubicBezTo>
                  <a:pt x="437" y="19"/>
                  <a:pt x="437" y="19"/>
                  <a:pt x="437" y="19"/>
                </a:cubicBezTo>
                <a:cubicBezTo>
                  <a:pt x="435" y="20"/>
                  <a:pt x="435" y="20"/>
                  <a:pt x="435" y="20"/>
                </a:cubicBezTo>
                <a:cubicBezTo>
                  <a:pt x="433" y="21"/>
                  <a:pt x="433" y="21"/>
                  <a:pt x="433" y="21"/>
                </a:cubicBezTo>
                <a:cubicBezTo>
                  <a:pt x="431" y="23"/>
                  <a:pt x="431" y="23"/>
                  <a:pt x="431" y="23"/>
                </a:cubicBezTo>
                <a:cubicBezTo>
                  <a:pt x="427" y="24"/>
                  <a:pt x="427" y="24"/>
                  <a:pt x="427" y="24"/>
                </a:cubicBezTo>
                <a:cubicBezTo>
                  <a:pt x="426" y="26"/>
                  <a:pt x="426" y="26"/>
                  <a:pt x="426" y="26"/>
                </a:cubicBezTo>
                <a:cubicBezTo>
                  <a:pt x="426" y="29"/>
                  <a:pt x="426" y="29"/>
                  <a:pt x="426" y="29"/>
                </a:cubicBezTo>
                <a:cubicBezTo>
                  <a:pt x="426" y="35"/>
                  <a:pt x="426" y="35"/>
                  <a:pt x="426" y="35"/>
                </a:cubicBezTo>
                <a:cubicBezTo>
                  <a:pt x="426" y="37"/>
                  <a:pt x="426" y="37"/>
                  <a:pt x="426" y="37"/>
                </a:cubicBezTo>
                <a:cubicBezTo>
                  <a:pt x="425" y="37"/>
                  <a:pt x="425" y="37"/>
                  <a:pt x="425" y="37"/>
                </a:cubicBezTo>
                <a:cubicBezTo>
                  <a:pt x="423" y="38"/>
                  <a:pt x="423" y="38"/>
                  <a:pt x="423" y="38"/>
                </a:cubicBezTo>
                <a:cubicBezTo>
                  <a:pt x="419" y="41"/>
                  <a:pt x="419" y="41"/>
                  <a:pt x="419" y="41"/>
                </a:cubicBezTo>
                <a:cubicBezTo>
                  <a:pt x="420" y="40"/>
                  <a:pt x="420" y="40"/>
                  <a:pt x="420" y="40"/>
                </a:cubicBezTo>
                <a:cubicBezTo>
                  <a:pt x="422" y="37"/>
                  <a:pt x="422" y="37"/>
                  <a:pt x="422" y="37"/>
                </a:cubicBezTo>
                <a:cubicBezTo>
                  <a:pt x="423" y="36"/>
                  <a:pt x="423" y="36"/>
                  <a:pt x="423" y="36"/>
                </a:cubicBezTo>
                <a:cubicBezTo>
                  <a:pt x="422" y="35"/>
                  <a:pt x="422" y="35"/>
                  <a:pt x="422" y="35"/>
                </a:cubicBezTo>
                <a:cubicBezTo>
                  <a:pt x="422" y="34"/>
                  <a:pt x="422" y="34"/>
                  <a:pt x="422" y="34"/>
                </a:cubicBezTo>
                <a:cubicBezTo>
                  <a:pt x="419" y="31"/>
                  <a:pt x="419" y="31"/>
                  <a:pt x="419" y="31"/>
                </a:cubicBezTo>
                <a:cubicBezTo>
                  <a:pt x="418" y="31"/>
                  <a:pt x="418" y="31"/>
                  <a:pt x="418" y="31"/>
                </a:cubicBezTo>
                <a:cubicBezTo>
                  <a:pt x="417" y="29"/>
                  <a:pt x="417" y="29"/>
                  <a:pt x="417" y="29"/>
                </a:cubicBezTo>
                <a:cubicBezTo>
                  <a:pt x="416" y="29"/>
                  <a:pt x="416" y="29"/>
                  <a:pt x="416" y="29"/>
                </a:cubicBezTo>
                <a:cubicBezTo>
                  <a:pt x="416" y="26"/>
                  <a:pt x="416" y="26"/>
                  <a:pt x="416" y="26"/>
                </a:cubicBezTo>
                <a:cubicBezTo>
                  <a:pt x="413" y="23"/>
                  <a:pt x="413" y="23"/>
                  <a:pt x="413" y="23"/>
                </a:cubicBezTo>
                <a:cubicBezTo>
                  <a:pt x="413" y="23"/>
                  <a:pt x="413" y="23"/>
                  <a:pt x="413" y="23"/>
                </a:cubicBezTo>
                <a:cubicBezTo>
                  <a:pt x="412" y="22"/>
                  <a:pt x="412" y="22"/>
                  <a:pt x="412" y="22"/>
                </a:cubicBezTo>
                <a:cubicBezTo>
                  <a:pt x="411" y="21"/>
                  <a:pt x="411" y="21"/>
                  <a:pt x="411" y="21"/>
                </a:cubicBezTo>
                <a:cubicBezTo>
                  <a:pt x="410" y="20"/>
                  <a:pt x="410" y="20"/>
                  <a:pt x="410" y="20"/>
                </a:cubicBezTo>
                <a:cubicBezTo>
                  <a:pt x="409" y="21"/>
                  <a:pt x="409" y="21"/>
                  <a:pt x="409" y="21"/>
                </a:cubicBezTo>
                <a:cubicBezTo>
                  <a:pt x="408" y="19"/>
                  <a:pt x="408" y="19"/>
                  <a:pt x="408" y="19"/>
                </a:cubicBezTo>
                <a:cubicBezTo>
                  <a:pt x="404" y="16"/>
                  <a:pt x="404" y="16"/>
                  <a:pt x="404" y="16"/>
                </a:cubicBezTo>
                <a:cubicBezTo>
                  <a:pt x="403" y="13"/>
                  <a:pt x="403" y="13"/>
                  <a:pt x="403" y="13"/>
                </a:cubicBezTo>
                <a:cubicBezTo>
                  <a:pt x="403" y="10"/>
                  <a:pt x="403" y="10"/>
                  <a:pt x="403" y="10"/>
                </a:cubicBezTo>
                <a:cubicBezTo>
                  <a:pt x="403" y="9"/>
                  <a:pt x="403" y="9"/>
                  <a:pt x="403" y="9"/>
                </a:cubicBezTo>
                <a:cubicBezTo>
                  <a:pt x="402" y="10"/>
                  <a:pt x="402" y="10"/>
                  <a:pt x="402" y="10"/>
                </a:cubicBezTo>
                <a:cubicBezTo>
                  <a:pt x="401" y="10"/>
                  <a:pt x="401" y="10"/>
                  <a:pt x="401" y="10"/>
                </a:cubicBezTo>
                <a:cubicBezTo>
                  <a:pt x="400" y="8"/>
                  <a:pt x="400" y="8"/>
                  <a:pt x="400" y="8"/>
                </a:cubicBezTo>
                <a:cubicBezTo>
                  <a:pt x="401" y="5"/>
                  <a:pt x="401" y="5"/>
                  <a:pt x="401" y="5"/>
                </a:cubicBezTo>
                <a:cubicBezTo>
                  <a:pt x="401" y="5"/>
                  <a:pt x="401" y="5"/>
                  <a:pt x="401" y="5"/>
                </a:cubicBezTo>
                <a:cubicBezTo>
                  <a:pt x="401" y="3"/>
                  <a:pt x="401" y="3"/>
                  <a:pt x="401" y="3"/>
                </a:cubicBezTo>
                <a:cubicBezTo>
                  <a:pt x="399" y="1"/>
                  <a:pt x="399" y="1"/>
                  <a:pt x="399" y="1"/>
                </a:cubicBezTo>
                <a:cubicBezTo>
                  <a:pt x="399" y="0"/>
                  <a:pt x="399" y="0"/>
                  <a:pt x="399" y="0"/>
                </a:cubicBezTo>
                <a:cubicBezTo>
                  <a:pt x="172" y="0"/>
                  <a:pt x="172" y="0"/>
                  <a:pt x="172" y="0"/>
                </a:cubicBezTo>
                <a:cubicBezTo>
                  <a:pt x="171" y="2"/>
                  <a:pt x="171" y="2"/>
                  <a:pt x="171" y="2"/>
                </a:cubicBezTo>
                <a:cubicBezTo>
                  <a:pt x="176" y="5"/>
                  <a:pt x="176" y="5"/>
                  <a:pt x="176" y="5"/>
                </a:cubicBezTo>
                <a:cubicBezTo>
                  <a:pt x="175" y="6"/>
                  <a:pt x="175" y="6"/>
                  <a:pt x="175" y="6"/>
                </a:cubicBezTo>
                <a:cubicBezTo>
                  <a:pt x="173" y="6"/>
                  <a:pt x="173" y="6"/>
                  <a:pt x="173" y="6"/>
                </a:cubicBezTo>
                <a:cubicBezTo>
                  <a:pt x="173" y="7"/>
                  <a:pt x="173" y="7"/>
                  <a:pt x="173" y="7"/>
                </a:cubicBezTo>
                <a:cubicBezTo>
                  <a:pt x="172" y="13"/>
                  <a:pt x="172" y="13"/>
                  <a:pt x="172" y="13"/>
                </a:cubicBezTo>
                <a:cubicBezTo>
                  <a:pt x="172" y="15"/>
                  <a:pt x="172" y="15"/>
                  <a:pt x="172" y="15"/>
                </a:cubicBezTo>
                <a:cubicBezTo>
                  <a:pt x="174" y="16"/>
                  <a:pt x="174" y="16"/>
                  <a:pt x="174" y="16"/>
                </a:cubicBezTo>
                <a:cubicBezTo>
                  <a:pt x="175" y="15"/>
                  <a:pt x="175" y="15"/>
                  <a:pt x="175" y="15"/>
                </a:cubicBezTo>
                <a:cubicBezTo>
                  <a:pt x="177" y="14"/>
                  <a:pt x="177" y="14"/>
                  <a:pt x="177" y="14"/>
                </a:cubicBezTo>
                <a:cubicBezTo>
                  <a:pt x="179" y="15"/>
                  <a:pt x="179" y="15"/>
                  <a:pt x="179" y="15"/>
                </a:cubicBezTo>
                <a:cubicBezTo>
                  <a:pt x="180" y="16"/>
                  <a:pt x="180" y="16"/>
                  <a:pt x="180" y="16"/>
                </a:cubicBezTo>
                <a:cubicBezTo>
                  <a:pt x="182" y="15"/>
                  <a:pt x="182" y="15"/>
                  <a:pt x="182" y="15"/>
                </a:cubicBezTo>
                <a:cubicBezTo>
                  <a:pt x="185" y="16"/>
                  <a:pt x="185" y="16"/>
                  <a:pt x="185" y="16"/>
                </a:cubicBezTo>
                <a:cubicBezTo>
                  <a:pt x="188" y="18"/>
                  <a:pt x="188" y="18"/>
                  <a:pt x="188" y="18"/>
                </a:cubicBezTo>
                <a:cubicBezTo>
                  <a:pt x="185" y="19"/>
                  <a:pt x="185" y="19"/>
                  <a:pt x="185" y="19"/>
                </a:cubicBezTo>
                <a:cubicBezTo>
                  <a:pt x="186" y="21"/>
                  <a:pt x="186" y="21"/>
                  <a:pt x="186" y="21"/>
                </a:cubicBezTo>
                <a:cubicBezTo>
                  <a:pt x="185" y="23"/>
                  <a:pt x="185" y="23"/>
                  <a:pt x="185" y="23"/>
                </a:cubicBezTo>
                <a:cubicBezTo>
                  <a:pt x="182" y="24"/>
                  <a:pt x="182" y="24"/>
                  <a:pt x="182" y="24"/>
                </a:cubicBezTo>
                <a:cubicBezTo>
                  <a:pt x="182" y="22"/>
                  <a:pt x="182" y="22"/>
                  <a:pt x="182" y="22"/>
                </a:cubicBezTo>
                <a:cubicBezTo>
                  <a:pt x="180" y="21"/>
                  <a:pt x="180" y="21"/>
                  <a:pt x="180" y="21"/>
                </a:cubicBezTo>
                <a:cubicBezTo>
                  <a:pt x="179" y="22"/>
                  <a:pt x="179" y="22"/>
                  <a:pt x="179" y="22"/>
                </a:cubicBezTo>
                <a:cubicBezTo>
                  <a:pt x="176" y="22"/>
                  <a:pt x="176" y="22"/>
                  <a:pt x="176" y="22"/>
                </a:cubicBezTo>
                <a:cubicBezTo>
                  <a:pt x="175" y="20"/>
                  <a:pt x="175" y="20"/>
                  <a:pt x="175" y="20"/>
                </a:cubicBezTo>
                <a:cubicBezTo>
                  <a:pt x="174" y="18"/>
                  <a:pt x="174" y="18"/>
                  <a:pt x="174" y="18"/>
                </a:cubicBezTo>
                <a:cubicBezTo>
                  <a:pt x="173" y="17"/>
                  <a:pt x="173" y="17"/>
                  <a:pt x="173" y="17"/>
                </a:cubicBezTo>
                <a:cubicBezTo>
                  <a:pt x="172" y="17"/>
                  <a:pt x="172" y="17"/>
                  <a:pt x="172" y="17"/>
                </a:cubicBezTo>
                <a:cubicBezTo>
                  <a:pt x="169" y="15"/>
                  <a:pt x="169" y="15"/>
                  <a:pt x="169" y="15"/>
                </a:cubicBezTo>
                <a:cubicBezTo>
                  <a:pt x="170" y="12"/>
                  <a:pt x="170" y="12"/>
                  <a:pt x="170" y="12"/>
                </a:cubicBezTo>
                <a:cubicBezTo>
                  <a:pt x="172" y="6"/>
                  <a:pt x="172" y="6"/>
                  <a:pt x="172" y="6"/>
                </a:cubicBezTo>
                <a:cubicBezTo>
                  <a:pt x="171" y="4"/>
                  <a:pt x="171" y="4"/>
                  <a:pt x="171" y="4"/>
                </a:cubicBezTo>
                <a:cubicBezTo>
                  <a:pt x="171" y="4"/>
                  <a:pt x="171" y="4"/>
                  <a:pt x="171" y="4"/>
                </a:cubicBezTo>
                <a:cubicBezTo>
                  <a:pt x="169" y="6"/>
                  <a:pt x="169" y="6"/>
                  <a:pt x="169" y="6"/>
                </a:cubicBezTo>
                <a:cubicBezTo>
                  <a:pt x="169" y="12"/>
                  <a:pt x="169" y="12"/>
                  <a:pt x="169" y="12"/>
                </a:cubicBezTo>
                <a:cubicBezTo>
                  <a:pt x="168" y="16"/>
                  <a:pt x="168" y="16"/>
                  <a:pt x="168" y="16"/>
                </a:cubicBezTo>
                <a:cubicBezTo>
                  <a:pt x="166" y="18"/>
                  <a:pt x="166" y="18"/>
                  <a:pt x="166" y="18"/>
                </a:cubicBezTo>
                <a:cubicBezTo>
                  <a:pt x="166" y="19"/>
                  <a:pt x="166" y="19"/>
                  <a:pt x="166" y="19"/>
                </a:cubicBezTo>
                <a:cubicBezTo>
                  <a:pt x="167" y="17"/>
                  <a:pt x="167" y="17"/>
                  <a:pt x="167" y="17"/>
                </a:cubicBezTo>
                <a:cubicBezTo>
                  <a:pt x="169" y="17"/>
                  <a:pt x="169" y="17"/>
                  <a:pt x="169" y="17"/>
                </a:cubicBezTo>
                <a:cubicBezTo>
                  <a:pt x="170" y="18"/>
                  <a:pt x="170" y="18"/>
                  <a:pt x="170" y="18"/>
                </a:cubicBezTo>
                <a:cubicBezTo>
                  <a:pt x="172" y="18"/>
                  <a:pt x="172" y="18"/>
                  <a:pt x="172" y="18"/>
                </a:cubicBezTo>
                <a:cubicBezTo>
                  <a:pt x="173" y="21"/>
                  <a:pt x="173" y="21"/>
                  <a:pt x="173" y="21"/>
                </a:cubicBezTo>
                <a:cubicBezTo>
                  <a:pt x="173" y="24"/>
                  <a:pt x="173" y="24"/>
                  <a:pt x="173" y="24"/>
                </a:cubicBezTo>
                <a:cubicBezTo>
                  <a:pt x="171" y="26"/>
                  <a:pt x="171" y="26"/>
                  <a:pt x="171" y="26"/>
                </a:cubicBezTo>
                <a:cubicBezTo>
                  <a:pt x="168" y="28"/>
                  <a:pt x="168" y="28"/>
                  <a:pt x="168" y="28"/>
                </a:cubicBezTo>
                <a:cubicBezTo>
                  <a:pt x="171" y="24"/>
                  <a:pt x="171" y="24"/>
                  <a:pt x="171" y="24"/>
                </a:cubicBezTo>
                <a:cubicBezTo>
                  <a:pt x="170" y="23"/>
                  <a:pt x="170" y="23"/>
                  <a:pt x="170" y="23"/>
                </a:cubicBezTo>
                <a:cubicBezTo>
                  <a:pt x="169" y="22"/>
                  <a:pt x="169" y="22"/>
                  <a:pt x="169" y="22"/>
                </a:cubicBezTo>
                <a:cubicBezTo>
                  <a:pt x="168" y="22"/>
                  <a:pt x="168" y="22"/>
                  <a:pt x="168" y="22"/>
                </a:cubicBezTo>
                <a:cubicBezTo>
                  <a:pt x="167" y="23"/>
                  <a:pt x="167" y="23"/>
                  <a:pt x="167" y="23"/>
                </a:cubicBezTo>
                <a:cubicBezTo>
                  <a:pt x="164" y="25"/>
                  <a:pt x="164" y="25"/>
                  <a:pt x="164" y="25"/>
                </a:cubicBezTo>
                <a:cubicBezTo>
                  <a:pt x="164" y="27"/>
                  <a:pt x="164" y="27"/>
                  <a:pt x="164" y="27"/>
                </a:cubicBezTo>
                <a:cubicBezTo>
                  <a:pt x="162" y="28"/>
                  <a:pt x="162" y="28"/>
                  <a:pt x="162" y="28"/>
                </a:cubicBezTo>
                <a:cubicBezTo>
                  <a:pt x="160" y="28"/>
                  <a:pt x="160" y="28"/>
                  <a:pt x="160" y="28"/>
                </a:cubicBezTo>
                <a:cubicBezTo>
                  <a:pt x="160" y="26"/>
                  <a:pt x="160" y="26"/>
                  <a:pt x="160" y="26"/>
                </a:cubicBezTo>
                <a:cubicBezTo>
                  <a:pt x="159" y="26"/>
                  <a:pt x="159" y="26"/>
                  <a:pt x="159" y="26"/>
                </a:cubicBezTo>
                <a:cubicBezTo>
                  <a:pt x="156" y="26"/>
                  <a:pt x="156" y="26"/>
                  <a:pt x="156" y="26"/>
                </a:cubicBezTo>
                <a:cubicBezTo>
                  <a:pt x="155" y="26"/>
                  <a:pt x="155" y="26"/>
                  <a:pt x="155" y="26"/>
                </a:cubicBezTo>
                <a:cubicBezTo>
                  <a:pt x="155" y="23"/>
                  <a:pt x="155" y="23"/>
                  <a:pt x="155" y="23"/>
                </a:cubicBezTo>
                <a:cubicBezTo>
                  <a:pt x="153" y="23"/>
                  <a:pt x="153" y="23"/>
                  <a:pt x="153" y="23"/>
                </a:cubicBezTo>
                <a:cubicBezTo>
                  <a:pt x="152" y="24"/>
                  <a:pt x="152" y="24"/>
                  <a:pt x="152" y="24"/>
                </a:cubicBezTo>
                <a:cubicBezTo>
                  <a:pt x="150" y="23"/>
                  <a:pt x="150" y="23"/>
                  <a:pt x="150" y="23"/>
                </a:cubicBezTo>
                <a:cubicBezTo>
                  <a:pt x="150" y="22"/>
                  <a:pt x="150" y="22"/>
                  <a:pt x="150" y="22"/>
                </a:cubicBezTo>
                <a:cubicBezTo>
                  <a:pt x="149" y="21"/>
                  <a:pt x="149" y="21"/>
                  <a:pt x="149" y="21"/>
                </a:cubicBezTo>
                <a:cubicBezTo>
                  <a:pt x="147" y="22"/>
                  <a:pt x="147" y="22"/>
                  <a:pt x="147" y="22"/>
                </a:cubicBezTo>
                <a:cubicBezTo>
                  <a:pt x="147" y="22"/>
                  <a:pt x="147" y="22"/>
                  <a:pt x="147" y="22"/>
                </a:cubicBezTo>
                <a:cubicBezTo>
                  <a:pt x="146" y="19"/>
                  <a:pt x="146" y="19"/>
                  <a:pt x="146" y="19"/>
                </a:cubicBezTo>
                <a:cubicBezTo>
                  <a:pt x="146" y="18"/>
                  <a:pt x="146" y="18"/>
                  <a:pt x="146" y="18"/>
                </a:cubicBezTo>
                <a:cubicBezTo>
                  <a:pt x="146" y="17"/>
                  <a:pt x="146" y="17"/>
                  <a:pt x="146" y="17"/>
                </a:cubicBezTo>
                <a:cubicBezTo>
                  <a:pt x="148" y="16"/>
                  <a:pt x="148" y="16"/>
                  <a:pt x="148" y="16"/>
                </a:cubicBezTo>
                <a:cubicBezTo>
                  <a:pt x="150" y="13"/>
                  <a:pt x="150" y="13"/>
                  <a:pt x="150" y="13"/>
                </a:cubicBezTo>
                <a:cubicBezTo>
                  <a:pt x="151" y="13"/>
                  <a:pt x="151" y="13"/>
                  <a:pt x="151" y="13"/>
                </a:cubicBezTo>
                <a:cubicBezTo>
                  <a:pt x="152" y="11"/>
                  <a:pt x="152" y="11"/>
                  <a:pt x="152" y="11"/>
                </a:cubicBezTo>
                <a:cubicBezTo>
                  <a:pt x="152" y="10"/>
                  <a:pt x="152" y="10"/>
                  <a:pt x="152" y="10"/>
                </a:cubicBezTo>
                <a:cubicBezTo>
                  <a:pt x="149" y="7"/>
                  <a:pt x="149" y="7"/>
                  <a:pt x="149" y="7"/>
                </a:cubicBezTo>
                <a:cubicBezTo>
                  <a:pt x="148" y="7"/>
                  <a:pt x="148" y="7"/>
                  <a:pt x="148" y="7"/>
                </a:cubicBezTo>
                <a:cubicBezTo>
                  <a:pt x="146" y="6"/>
                  <a:pt x="146" y="6"/>
                  <a:pt x="146" y="6"/>
                </a:cubicBezTo>
                <a:cubicBezTo>
                  <a:pt x="143" y="8"/>
                  <a:pt x="143" y="8"/>
                  <a:pt x="143" y="8"/>
                </a:cubicBezTo>
                <a:cubicBezTo>
                  <a:pt x="141" y="8"/>
                  <a:pt x="141" y="8"/>
                  <a:pt x="141" y="8"/>
                </a:cubicBezTo>
                <a:cubicBezTo>
                  <a:pt x="139" y="7"/>
                  <a:pt x="139" y="7"/>
                  <a:pt x="139" y="7"/>
                </a:cubicBezTo>
                <a:cubicBezTo>
                  <a:pt x="137" y="7"/>
                  <a:pt x="137" y="7"/>
                  <a:pt x="137" y="7"/>
                </a:cubicBezTo>
                <a:cubicBezTo>
                  <a:pt x="131" y="10"/>
                  <a:pt x="131" y="10"/>
                  <a:pt x="131" y="10"/>
                </a:cubicBezTo>
                <a:cubicBezTo>
                  <a:pt x="131" y="11"/>
                  <a:pt x="131" y="11"/>
                  <a:pt x="131" y="11"/>
                </a:cubicBezTo>
                <a:cubicBezTo>
                  <a:pt x="132" y="12"/>
                  <a:pt x="132" y="12"/>
                  <a:pt x="132" y="12"/>
                </a:cubicBezTo>
                <a:cubicBezTo>
                  <a:pt x="134" y="14"/>
                  <a:pt x="134" y="14"/>
                  <a:pt x="134" y="14"/>
                </a:cubicBezTo>
                <a:cubicBezTo>
                  <a:pt x="134" y="14"/>
                  <a:pt x="134" y="14"/>
                  <a:pt x="134" y="14"/>
                </a:cubicBezTo>
                <a:cubicBezTo>
                  <a:pt x="132" y="14"/>
                  <a:pt x="132" y="14"/>
                  <a:pt x="132" y="14"/>
                </a:cubicBezTo>
                <a:cubicBezTo>
                  <a:pt x="130" y="14"/>
                  <a:pt x="130" y="14"/>
                  <a:pt x="130" y="14"/>
                </a:cubicBezTo>
                <a:cubicBezTo>
                  <a:pt x="129" y="13"/>
                  <a:pt x="129" y="13"/>
                  <a:pt x="129" y="13"/>
                </a:cubicBezTo>
                <a:cubicBezTo>
                  <a:pt x="128" y="12"/>
                  <a:pt x="128" y="12"/>
                  <a:pt x="128" y="12"/>
                </a:cubicBezTo>
                <a:cubicBezTo>
                  <a:pt x="124" y="12"/>
                  <a:pt x="124" y="12"/>
                  <a:pt x="124" y="12"/>
                </a:cubicBezTo>
                <a:cubicBezTo>
                  <a:pt x="120" y="12"/>
                  <a:pt x="120" y="12"/>
                  <a:pt x="120" y="12"/>
                </a:cubicBezTo>
                <a:cubicBezTo>
                  <a:pt x="119" y="14"/>
                  <a:pt x="119" y="14"/>
                  <a:pt x="119" y="14"/>
                </a:cubicBezTo>
                <a:cubicBezTo>
                  <a:pt x="119" y="15"/>
                  <a:pt x="119" y="15"/>
                  <a:pt x="119" y="15"/>
                </a:cubicBezTo>
                <a:cubicBezTo>
                  <a:pt x="117" y="15"/>
                  <a:pt x="117" y="15"/>
                  <a:pt x="117" y="15"/>
                </a:cubicBezTo>
                <a:cubicBezTo>
                  <a:pt x="116" y="14"/>
                  <a:pt x="116" y="14"/>
                  <a:pt x="116" y="14"/>
                </a:cubicBezTo>
                <a:cubicBezTo>
                  <a:pt x="115" y="14"/>
                  <a:pt x="115" y="14"/>
                  <a:pt x="115" y="14"/>
                </a:cubicBezTo>
                <a:cubicBezTo>
                  <a:pt x="112" y="16"/>
                  <a:pt x="112" y="16"/>
                  <a:pt x="112" y="16"/>
                </a:cubicBezTo>
                <a:cubicBezTo>
                  <a:pt x="112" y="17"/>
                  <a:pt x="112" y="17"/>
                  <a:pt x="112" y="17"/>
                </a:cubicBezTo>
                <a:cubicBezTo>
                  <a:pt x="110" y="17"/>
                  <a:pt x="110" y="17"/>
                  <a:pt x="110" y="17"/>
                </a:cubicBezTo>
                <a:cubicBezTo>
                  <a:pt x="107" y="19"/>
                  <a:pt x="107" y="19"/>
                  <a:pt x="107" y="19"/>
                </a:cubicBezTo>
                <a:cubicBezTo>
                  <a:pt x="105" y="20"/>
                  <a:pt x="105" y="20"/>
                  <a:pt x="105" y="20"/>
                </a:cubicBezTo>
                <a:cubicBezTo>
                  <a:pt x="104" y="20"/>
                  <a:pt x="104" y="20"/>
                  <a:pt x="104" y="20"/>
                </a:cubicBezTo>
                <a:cubicBezTo>
                  <a:pt x="104" y="20"/>
                  <a:pt x="104" y="20"/>
                  <a:pt x="104" y="20"/>
                </a:cubicBezTo>
                <a:cubicBezTo>
                  <a:pt x="105" y="18"/>
                  <a:pt x="105" y="18"/>
                  <a:pt x="105" y="18"/>
                </a:cubicBezTo>
                <a:cubicBezTo>
                  <a:pt x="103" y="19"/>
                  <a:pt x="103" y="19"/>
                  <a:pt x="103" y="19"/>
                </a:cubicBezTo>
                <a:cubicBezTo>
                  <a:pt x="102" y="21"/>
                  <a:pt x="102" y="21"/>
                  <a:pt x="102" y="21"/>
                </a:cubicBezTo>
                <a:cubicBezTo>
                  <a:pt x="102" y="22"/>
                  <a:pt x="102" y="22"/>
                  <a:pt x="102" y="22"/>
                </a:cubicBezTo>
                <a:cubicBezTo>
                  <a:pt x="104" y="26"/>
                  <a:pt x="104" y="26"/>
                  <a:pt x="104" y="26"/>
                </a:cubicBezTo>
                <a:cubicBezTo>
                  <a:pt x="107" y="30"/>
                  <a:pt x="107" y="30"/>
                  <a:pt x="107" y="30"/>
                </a:cubicBezTo>
                <a:cubicBezTo>
                  <a:pt x="110" y="30"/>
                  <a:pt x="110" y="30"/>
                  <a:pt x="110" y="30"/>
                </a:cubicBezTo>
                <a:cubicBezTo>
                  <a:pt x="112" y="33"/>
                  <a:pt x="112" y="33"/>
                  <a:pt x="112" y="33"/>
                </a:cubicBezTo>
                <a:cubicBezTo>
                  <a:pt x="114" y="35"/>
                  <a:pt x="114" y="35"/>
                  <a:pt x="114" y="35"/>
                </a:cubicBezTo>
                <a:cubicBezTo>
                  <a:pt x="115" y="37"/>
                  <a:pt x="115" y="37"/>
                  <a:pt x="115" y="37"/>
                </a:cubicBezTo>
                <a:cubicBezTo>
                  <a:pt x="117" y="37"/>
                  <a:pt x="117" y="37"/>
                  <a:pt x="117" y="37"/>
                </a:cubicBezTo>
                <a:cubicBezTo>
                  <a:pt x="119" y="39"/>
                  <a:pt x="119" y="39"/>
                  <a:pt x="119" y="39"/>
                </a:cubicBezTo>
                <a:cubicBezTo>
                  <a:pt x="119" y="39"/>
                  <a:pt x="119" y="39"/>
                  <a:pt x="119" y="39"/>
                </a:cubicBezTo>
                <a:cubicBezTo>
                  <a:pt x="115" y="39"/>
                  <a:pt x="115" y="39"/>
                  <a:pt x="115" y="39"/>
                </a:cubicBezTo>
                <a:cubicBezTo>
                  <a:pt x="115" y="37"/>
                  <a:pt x="115" y="37"/>
                  <a:pt x="115" y="37"/>
                </a:cubicBezTo>
                <a:cubicBezTo>
                  <a:pt x="112" y="36"/>
                  <a:pt x="112" y="36"/>
                  <a:pt x="112" y="36"/>
                </a:cubicBezTo>
                <a:cubicBezTo>
                  <a:pt x="111" y="35"/>
                  <a:pt x="111" y="35"/>
                  <a:pt x="111" y="35"/>
                </a:cubicBezTo>
                <a:cubicBezTo>
                  <a:pt x="110" y="35"/>
                  <a:pt x="110" y="35"/>
                  <a:pt x="110" y="35"/>
                </a:cubicBezTo>
                <a:cubicBezTo>
                  <a:pt x="108" y="37"/>
                  <a:pt x="108" y="37"/>
                  <a:pt x="108" y="37"/>
                </a:cubicBezTo>
                <a:cubicBezTo>
                  <a:pt x="107" y="37"/>
                  <a:pt x="107" y="37"/>
                  <a:pt x="107" y="37"/>
                </a:cubicBezTo>
                <a:cubicBezTo>
                  <a:pt x="105" y="35"/>
                  <a:pt x="105" y="35"/>
                  <a:pt x="105" y="35"/>
                </a:cubicBezTo>
                <a:cubicBezTo>
                  <a:pt x="107" y="33"/>
                  <a:pt x="107" y="33"/>
                  <a:pt x="107" y="33"/>
                </a:cubicBezTo>
                <a:cubicBezTo>
                  <a:pt x="107" y="32"/>
                  <a:pt x="107" y="32"/>
                  <a:pt x="107" y="32"/>
                </a:cubicBezTo>
                <a:cubicBezTo>
                  <a:pt x="105" y="33"/>
                  <a:pt x="105" y="33"/>
                  <a:pt x="105" y="33"/>
                </a:cubicBezTo>
                <a:cubicBezTo>
                  <a:pt x="104" y="35"/>
                  <a:pt x="104" y="35"/>
                  <a:pt x="104" y="35"/>
                </a:cubicBezTo>
                <a:cubicBezTo>
                  <a:pt x="104" y="39"/>
                  <a:pt x="104" y="39"/>
                  <a:pt x="104" y="39"/>
                </a:cubicBezTo>
                <a:cubicBezTo>
                  <a:pt x="105" y="39"/>
                  <a:pt x="105" y="39"/>
                  <a:pt x="105" y="39"/>
                </a:cubicBezTo>
                <a:cubicBezTo>
                  <a:pt x="105" y="41"/>
                  <a:pt x="105" y="41"/>
                  <a:pt x="105" y="41"/>
                </a:cubicBezTo>
                <a:cubicBezTo>
                  <a:pt x="103" y="43"/>
                  <a:pt x="103" y="43"/>
                  <a:pt x="103" y="43"/>
                </a:cubicBezTo>
                <a:cubicBezTo>
                  <a:pt x="101" y="46"/>
                  <a:pt x="101" y="46"/>
                  <a:pt x="101" y="46"/>
                </a:cubicBezTo>
                <a:cubicBezTo>
                  <a:pt x="101" y="48"/>
                  <a:pt x="101" y="48"/>
                  <a:pt x="101" y="48"/>
                </a:cubicBezTo>
                <a:cubicBezTo>
                  <a:pt x="101" y="51"/>
                  <a:pt x="101" y="51"/>
                  <a:pt x="101" y="51"/>
                </a:cubicBezTo>
                <a:cubicBezTo>
                  <a:pt x="104" y="55"/>
                  <a:pt x="104" y="55"/>
                  <a:pt x="104" y="55"/>
                </a:cubicBezTo>
                <a:cubicBezTo>
                  <a:pt x="108" y="56"/>
                  <a:pt x="108" y="56"/>
                  <a:pt x="108" y="56"/>
                </a:cubicBezTo>
                <a:cubicBezTo>
                  <a:pt x="110" y="59"/>
                  <a:pt x="110" y="59"/>
                  <a:pt x="110" y="59"/>
                </a:cubicBezTo>
                <a:cubicBezTo>
                  <a:pt x="111" y="59"/>
                  <a:pt x="111" y="59"/>
                  <a:pt x="111" y="59"/>
                </a:cubicBezTo>
                <a:cubicBezTo>
                  <a:pt x="114" y="57"/>
                  <a:pt x="114" y="57"/>
                  <a:pt x="114" y="57"/>
                </a:cubicBezTo>
                <a:cubicBezTo>
                  <a:pt x="117" y="56"/>
                  <a:pt x="117" y="56"/>
                  <a:pt x="117" y="56"/>
                </a:cubicBezTo>
                <a:cubicBezTo>
                  <a:pt x="119" y="57"/>
                  <a:pt x="119" y="57"/>
                  <a:pt x="119" y="57"/>
                </a:cubicBezTo>
                <a:cubicBezTo>
                  <a:pt x="124" y="58"/>
                  <a:pt x="124" y="58"/>
                  <a:pt x="124" y="58"/>
                </a:cubicBezTo>
                <a:cubicBezTo>
                  <a:pt x="125" y="59"/>
                  <a:pt x="125" y="59"/>
                  <a:pt x="125" y="59"/>
                </a:cubicBezTo>
                <a:cubicBezTo>
                  <a:pt x="126" y="61"/>
                  <a:pt x="126" y="61"/>
                  <a:pt x="126" y="61"/>
                </a:cubicBezTo>
                <a:cubicBezTo>
                  <a:pt x="127" y="62"/>
                  <a:pt x="127" y="62"/>
                  <a:pt x="127" y="62"/>
                </a:cubicBezTo>
                <a:cubicBezTo>
                  <a:pt x="128" y="61"/>
                  <a:pt x="128" y="61"/>
                  <a:pt x="128" y="61"/>
                </a:cubicBezTo>
                <a:cubicBezTo>
                  <a:pt x="128" y="58"/>
                  <a:pt x="128" y="58"/>
                  <a:pt x="128" y="58"/>
                </a:cubicBezTo>
                <a:cubicBezTo>
                  <a:pt x="128" y="57"/>
                  <a:pt x="128" y="57"/>
                  <a:pt x="128" y="57"/>
                </a:cubicBezTo>
                <a:cubicBezTo>
                  <a:pt x="131" y="58"/>
                  <a:pt x="131" y="58"/>
                  <a:pt x="131" y="58"/>
                </a:cubicBezTo>
                <a:cubicBezTo>
                  <a:pt x="130" y="59"/>
                  <a:pt x="130" y="59"/>
                  <a:pt x="130" y="59"/>
                </a:cubicBezTo>
                <a:cubicBezTo>
                  <a:pt x="128" y="62"/>
                  <a:pt x="128" y="62"/>
                  <a:pt x="128" y="62"/>
                </a:cubicBezTo>
                <a:cubicBezTo>
                  <a:pt x="128" y="64"/>
                  <a:pt x="128" y="64"/>
                  <a:pt x="128" y="64"/>
                </a:cubicBezTo>
                <a:cubicBezTo>
                  <a:pt x="129" y="64"/>
                  <a:pt x="129" y="64"/>
                  <a:pt x="129" y="64"/>
                </a:cubicBezTo>
                <a:cubicBezTo>
                  <a:pt x="132" y="61"/>
                  <a:pt x="132" y="61"/>
                  <a:pt x="132" y="61"/>
                </a:cubicBezTo>
                <a:cubicBezTo>
                  <a:pt x="133" y="60"/>
                  <a:pt x="133" y="60"/>
                  <a:pt x="133" y="60"/>
                </a:cubicBezTo>
                <a:cubicBezTo>
                  <a:pt x="136" y="60"/>
                  <a:pt x="136" y="60"/>
                  <a:pt x="136" y="60"/>
                </a:cubicBezTo>
                <a:cubicBezTo>
                  <a:pt x="140" y="57"/>
                  <a:pt x="140" y="57"/>
                  <a:pt x="140" y="57"/>
                </a:cubicBezTo>
                <a:cubicBezTo>
                  <a:pt x="143" y="57"/>
                  <a:pt x="143" y="57"/>
                  <a:pt x="143" y="57"/>
                </a:cubicBezTo>
                <a:cubicBezTo>
                  <a:pt x="145" y="55"/>
                  <a:pt x="145" y="55"/>
                  <a:pt x="145" y="55"/>
                </a:cubicBezTo>
                <a:cubicBezTo>
                  <a:pt x="145" y="55"/>
                  <a:pt x="145" y="55"/>
                  <a:pt x="145" y="55"/>
                </a:cubicBezTo>
                <a:cubicBezTo>
                  <a:pt x="146" y="56"/>
                  <a:pt x="146" y="56"/>
                  <a:pt x="146" y="56"/>
                </a:cubicBezTo>
                <a:cubicBezTo>
                  <a:pt x="147" y="56"/>
                  <a:pt x="147" y="56"/>
                  <a:pt x="147" y="56"/>
                </a:cubicBezTo>
                <a:cubicBezTo>
                  <a:pt x="150" y="54"/>
                  <a:pt x="150" y="54"/>
                  <a:pt x="150" y="54"/>
                </a:cubicBezTo>
                <a:cubicBezTo>
                  <a:pt x="153" y="54"/>
                  <a:pt x="153" y="54"/>
                  <a:pt x="153" y="54"/>
                </a:cubicBezTo>
                <a:cubicBezTo>
                  <a:pt x="154" y="53"/>
                  <a:pt x="154" y="53"/>
                  <a:pt x="154" y="53"/>
                </a:cubicBezTo>
                <a:cubicBezTo>
                  <a:pt x="153" y="55"/>
                  <a:pt x="153" y="55"/>
                  <a:pt x="153" y="55"/>
                </a:cubicBezTo>
                <a:cubicBezTo>
                  <a:pt x="151" y="56"/>
                  <a:pt x="151" y="56"/>
                  <a:pt x="151" y="56"/>
                </a:cubicBezTo>
                <a:cubicBezTo>
                  <a:pt x="151" y="57"/>
                  <a:pt x="151" y="57"/>
                  <a:pt x="151" y="57"/>
                </a:cubicBezTo>
                <a:cubicBezTo>
                  <a:pt x="152" y="58"/>
                  <a:pt x="152" y="58"/>
                  <a:pt x="152" y="58"/>
                </a:cubicBezTo>
                <a:cubicBezTo>
                  <a:pt x="150" y="61"/>
                  <a:pt x="150" y="61"/>
                  <a:pt x="150" y="61"/>
                </a:cubicBezTo>
                <a:cubicBezTo>
                  <a:pt x="147" y="62"/>
                  <a:pt x="147" y="62"/>
                  <a:pt x="147" y="62"/>
                </a:cubicBezTo>
                <a:cubicBezTo>
                  <a:pt x="146" y="61"/>
                  <a:pt x="146" y="61"/>
                  <a:pt x="146" y="61"/>
                </a:cubicBezTo>
                <a:cubicBezTo>
                  <a:pt x="145" y="60"/>
                  <a:pt x="145" y="60"/>
                  <a:pt x="145" y="60"/>
                </a:cubicBezTo>
                <a:cubicBezTo>
                  <a:pt x="142" y="63"/>
                  <a:pt x="142" y="63"/>
                  <a:pt x="142" y="63"/>
                </a:cubicBezTo>
                <a:cubicBezTo>
                  <a:pt x="142" y="63"/>
                  <a:pt x="142" y="63"/>
                  <a:pt x="142" y="63"/>
                </a:cubicBezTo>
                <a:cubicBezTo>
                  <a:pt x="145" y="63"/>
                  <a:pt x="145" y="63"/>
                  <a:pt x="145" y="63"/>
                </a:cubicBezTo>
                <a:cubicBezTo>
                  <a:pt x="146" y="65"/>
                  <a:pt x="146" y="65"/>
                  <a:pt x="146" y="65"/>
                </a:cubicBezTo>
                <a:cubicBezTo>
                  <a:pt x="146" y="68"/>
                  <a:pt x="146" y="68"/>
                  <a:pt x="146" y="68"/>
                </a:cubicBezTo>
                <a:cubicBezTo>
                  <a:pt x="142" y="71"/>
                  <a:pt x="142" y="71"/>
                  <a:pt x="142" y="71"/>
                </a:cubicBezTo>
                <a:cubicBezTo>
                  <a:pt x="142" y="73"/>
                  <a:pt x="142" y="73"/>
                  <a:pt x="142" y="73"/>
                </a:cubicBezTo>
                <a:cubicBezTo>
                  <a:pt x="141" y="75"/>
                  <a:pt x="141" y="75"/>
                  <a:pt x="141" y="75"/>
                </a:cubicBezTo>
                <a:cubicBezTo>
                  <a:pt x="140" y="76"/>
                  <a:pt x="140" y="76"/>
                  <a:pt x="140" y="76"/>
                </a:cubicBezTo>
                <a:cubicBezTo>
                  <a:pt x="141" y="77"/>
                  <a:pt x="141" y="77"/>
                  <a:pt x="141" y="77"/>
                </a:cubicBezTo>
                <a:cubicBezTo>
                  <a:pt x="141" y="79"/>
                  <a:pt x="141" y="79"/>
                  <a:pt x="141" y="79"/>
                </a:cubicBezTo>
                <a:cubicBezTo>
                  <a:pt x="141" y="81"/>
                  <a:pt x="141" y="81"/>
                  <a:pt x="141" y="81"/>
                </a:cubicBezTo>
                <a:cubicBezTo>
                  <a:pt x="139" y="83"/>
                  <a:pt x="139" y="83"/>
                  <a:pt x="139" y="83"/>
                </a:cubicBezTo>
                <a:cubicBezTo>
                  <a:pt x="137" y="84"/>
                  <a:pt x="137" y="84"/>
                  <a:pt x="137" y="84"/>
                </a:cubicBezTo>
                <a:cubicBezTo>
                  <a:pt x="135" y="84"/>
                  <a:pt x="135" y="84"/>
                  <a:pt x="135" y="84"/>
                </a:cubicBezTo>
                <a:cubicBezTo>
                  <a:pt x="134" y="85"/>
                  <a:pt x="134" y="85"/>
                  <a:pt x="134" y="85"/>
                </a:cubicBezTo>
                <a:cubicBezTo>
                  <a:pt x="132" y="87"/>
                  <a:pt x="132" y="87"/>
                  <a:pt x="132" y="87"/>
                </a:cubicBezTo>
                <a:cubicBezTo>
                  <a:pt x="130" y="87"/>
                  <a:pt x="130" y="87"/>
                  <a:pt x="130" y="87"/>
                </a:cubicBezTo>
                <a:cubicBezTo>
                  <a:pt x="128" y="87"/>
                  <a:pt x="128" y="87"/>
                  <a:pt x="128" y="87"/>
                </a:cubicBezTo>
                <a:cubicBezTo>
                  <a:pt x="125" y="85"/>
                  <a:pt x="125" y="85"/>
                  <a:pt x="125" y="85"/>
                </a:cubicBezTo>
                <a:cubicBezTo>
                  <a:pt x="124" y="86"/>
                  <a:pt x="124" y="86"/>
                  <a:pt x="124" y="86"/>
                </a:cubicBezTo>
                <a:cubicBezTo>
                  <a:pt x="123" y="85"/>
                  <a:pt x="123" y="85"/>
                  <a:pt x="123" y="85"/>
                </a:cubicBezTo>
                <a:cubicBezTo>
                  <a:pt x="122" y="83"/>
                  <a:pt x="122" y="83"/>
                  <a:pt x="122" y="83"/>
                </a:cubicBezTo>
                <a:cubicBezTo>
                  <a:pt x="121" y="83"/>
                  <a:pt x="121" y="83"/>
                  <a:pt x="121" y="83"/>
                </a:cubicBezTo>
                <a:cubicBezTo>
                  <a:pt x="119" y="86"/>
                  <a:pt x="119" y="86"/>
                  <a:pt x="119" y="86"/>
                </a:cubicBezTo>
                <a:cubicBezTo>
                  <a:pt x="117" y="87"/>
                  <a:pt x="117" y="87"/>
                  <a:pt x="117" y="87"/>
                </a:cubicBezTo>
                <a:cubicBezTo>
                  <a:pt x="115" y="89"/>
                  <a:pt x="115" y="89"/>
                  <a:pt x="115" y="89"/>
                </a:cubicBezTo>
                <a:cubicBezTo>
                  <a:pt x="111" y="91"/>
                  <a:pt x="111" y="91"/>
                  <a:pt x="111" y="91"/>
                </a:cubicBezTo>
                <a:cubicBezTo>
                  <a:pt x="110" y="92"/>
                  <a:pt x="110" y="92"/>
                  <a:pt x="110" y="92"/>
                </a:cubicBezTo>
                <a:cubicBezTo>
                  <a:pt x="108" y="92"/>
                  <a:pt x="108" y="92"/>
                  <a:pt x="108" y="92"/>
                </a:cubicBezTo>
                <a:cubicBezTo>
                  <a:pt x="106" y="91"/>
                  <a:pt x="106" y="91"/>
                  <a:pt x="106" y="91"/>
                </a:cubicBezTo>
                <a:cubicBezTo>
                  <a:pt x="103" y="91"/>
                  <a:pt x="103" y="91"/>
                  <a:pt x="103" y="91"/>
                </a:cubicBezTo>
                <a:cubicBezTo>
                  <a:pt x="101" y="93"/>
                  <a:pt x="101" y="93"/>
                  <a:pt x="101" y="93"/>
                </a:cubicBezTo>
                <a:cubicBezTo>
                  <a:pt x="99" y="93"/>
                  <a:pt x="99" y="93"/>
                  <a:pt x="99" y="93"/>
                </a:cubicBezTo>
                <a:cubicBezTo>
                  <a:pt x="97" y="94"/>
                  <a:pt x="97" y="94"/>
                  <a:pt x="97" y="94"/>
                </a:cubicBezTo>
                <a:cubicBezTo>
                  <a:pt x="97" y="97"/>
                  <a:pt x="97" y="97"/>
                  <a:pt x="97" y="97"/>
                </a:cubicBezTo>
                <a:cubicBezTo>
                  <a:pt x="96" y="100"/>
                  <a:pt x="96" y="100"/>
                  <a:pt x="96" y="100"/>
                </a:cubicBezTo>
                <a:cubicBezTo>
                  <a:pt x="94" y="102"/>
                  <a:pt x="94" y="102"/>
                  <a:pt x="94" y="102"/>
                </a:cubicBezTo>
                <a:cubicBezTo>
                  <a:pt x="94" y="101"/>
                  <a:pt x="94" y="101"/>
                  <a:pt x="94" y="101"/>
                </a:cubicBezTo>
                <a:cubicBezTo>
                  <a:pt x="92" y="98"/>
                  <a:pt x="92" y="98"/>
                  <a:pt x="92" y="98"/>
                </a:cubicBezTo>
                <a:cubicBezTo>
                  <a:pt x="89" y="98"/>
                  <a:pt x="89" y="98"/>
                  <a:pt x="89" y="98"/>
                </a:cubicBezTo>
                <a:cubicBezTo>
                  <a:pt x="88" y="99"/>
                  <a:pt x="88" y="99"/>
                  <a:pt x="88" y="99"/>
                </a:cubicBezTo>
                <a:cubicBezTo>
                  <a:pt x="88" y="100"/>
                  <a:pt x="88" y="100"/>
                  <a:pt x="88" y="100"/>
                </a:cubicBezTo>
                <a:cubicBezTo>
                  <a:pt x="89" y="101"/>
                  <a:pt x="89" y="101"/>
                  <a:pt x="89" y="101"/>
                </a:cubicBezTo>
                <a:cubicBezTo>
                  <a:pt x="88" y="103"/>
                  <a:pt x="88" y="103"/>
                  <a:pt x="88" y="103"/>
                </a:cubicBezTo>
                <a:cubicBezTo>
                  <a:pt x="87" y="103"/>
                  <a:pt x="87" y="103"/>
                  <a:pt x="87" y="103"/>
                </a:cubicBezTo>
                <a:cubicBezTo>
                  <a:pt x="87" y="101"/>
                  <a:pt x="87" y="101"/>
                  <a:pt x="87" y="101"/>
                </a:cubicBezTo>
                <a:cubicBezTo>
                  <a:pt x="85" y="99"/>
                  <a:pt x="85" y="99"/>
                  <a:pt x="85" y="99"/>
                </a:cubicBezTo>
                <a:cubicBezTo>
                  <a:pt x="84" y="99"/>
                  <a:pt x="84" y="99"/>
                  <a:pt x="84" y="99"/>
                </a:cubicBezTo>
                <a:cubicBezTo>
                  <a:pt x="81" y="102"/>
                  <a:pt x="81" y="102"/>
                  <a:pt x="81" y="102"/>
                </a:cubicBezTo>
                <a:cubicBezTo>
                  <a:pt x="80" y="104"/>
                  <a:pt x="80" y="104"/>
                  <a:pt x="80" y="104"/>
                </a:cubicBezTo>
                <a:cubicBezTo>
                  <a:pt x="79" y="105"/>
                  <a:pt x="79" y="105"/>
                  <a:pt x="79" y="105"/>
                </a:cubicBezTo>
                <a:cubicBezTo>
                  <a:pt x="78" y="105"/>
                  <a:pt x="78" y="105"/>
                  <a:pt x="78" y="105"/>
                </a:cubicBezTo>
                <a:cubicBezTo>
                  <a:pt x="73" y="109"/>
                  <a:pt x="73" y="109"/>
                  <a:pt x="73" y="109"/>
                </a:cubicBezTo>
                <a:cubicBezTo>
                  <a:pt x="72" y="112"/>
                  <a:pt x="72" y="112"/>
                  <a:pt x="72" y="112"/>
                </a:cubicBezTo>
                <a:cubicBezTo>
                  <a:pt x="71" y="113"/>
                  <a:pt x="71" y="113"/>
                  <a:pt x="71" y="113"/>
                </a:cubicBezTo>
                <a:cubicBezTo>
                  <a:pt x="69" y="113"/>
                  <a:pt x="69" y="113"/>
                  <a:pt x="69" y="113"/>
                </a:cubicBezTo>
                <a:cubicBezTo>
                  <a:pt x="67" y="113"/>
                  <a:pt x="67" y="113"/>
                  <a:pt x="67" y="113"/>
                </a:cubicBezTo>
                <a:cubicBezTo>
                  <a:pt x="67" y="113"/>
                  <a:pt x="67" y="113"/>
                  <a:pt x="67" y="113"/>
                </a:cubicBezTo>
                <a:cubicBezTo>
                  <a:pt x="69" y="115"/>
                  <a:pt x="69" y="115"/>
                  <a:pt x="69" y="115"/>
                </a:cubicBezTo>
                <a:cubicBezTo>
                  <a:pt x="68" y="117"/>
                  <a:pt x="68" y="117"/>
                  <a:pt x="68" y="117"/>
                </a:cubicBezTo>
                <a:cubicBezTo>
                  <a:pt x="67" y="117"/>
                  <a:pt x="67" y="117"/>
                  <a:pt x="67" y="117"/>
                </a:cubicBezTo>
                <a:cubicBezTo>
                  <a:pt x="66" y="115"/>
                  <a:pt x="66" y="115"/>
                  <a:pt x="66" y="115"/>
                </a:cubicBezTo>
                <a:cubicBezTo>
                  <a:pt x="65" y="115"/>
                  <a:pt x="65" y="115"/>
                  <a:pt x="65" y="115"/>
                </a:cubicBezTo>
                <a:cubicBezTo>
                  <a:pt x="64" y="117"/>
                  <a:pt x="64" y="117"/>
                  <a:pt x="64" y="117"/>
                </a:cubicBezTo>
                <a:cubicBezTo>
                  <a:pt x="62" y="120"/>
                  <a:pt x="62" y="120"/>
                  <a:pt x="62" y="120"/>
                </a:cubicBezTo>
                <a:cubicBezTo>
                  <a:pt x="62" y="121"/>
                  <a:pt x="62" y="121"/>
                  <a:pt x="62" y="121"/>
                </a:cubicBezTo>
                <a:cubicBezTo>
                  <a:pt x="64" y="124"/>
                  <a:pt x="64" y="124"/>
                  <a:pt x="64" y="124"/>
                </a:cubicBezTo>
                <a:cubicBezTo>
                  <a:pt x="64" y="126"/>
                  <a:pt x="64" y="126"/>
                  <a:pt x="64" y="126"/>
                </a:cubicBezTo>
                <a:cubicBezTo>
                  <a:pt x="64" y="128"/>
                  <a:pt x="64" y="128"/>
                  <a:pt x="64" y="128"/>
                </a:cubicBezTo>
                <a:cubicBezTo>
                  <a:pt x="63" y="130"/>
                  <a:pt x="63" y="130"/>
                  <a:pt x="63" y="130"/>
                </a:cubicBezTo>
                <a:cubicBezTo>
                  <a:pt x="63" y="132"/>
                  <a:pt x="63" y="132"/>
                  <a:pt x="63" y="132"/>
                </a:cubicBezTo>
                <a:cubicBezTo>
                  <a:pt x="64" y="131"/>
                  <a:pt x="64" y="131"/>
                  <a:pt x="64" y="131"/>
                </a:cubicBezTo>
                <a:cubicBezTo>
                  <a:pt x="65" y="130"/>
                  <a:pt x="65" y="130"/>
                  <a:pt x="65" y="130"/>
                </a:cubicBezTo>
                <a:cubicBezTo>
                  <a:pt x="66" y="131"/>
                  <a:pt x="66" y="131"/>
                  <a:pt x="66" y="131"/>
                </a:cubicBezTo>
                <a:cubicBezTo>
                  <a:pt x="66" y="134"/>
                  <a:pt x="66" y="134"/>
                  <a:pt x="66" y="134"/>
                </a:cubicBezTo>
                <a:cubicBezTo>
                  <a:pt x="65" y="134"/>
                  <a:pt x="65" y="134"/>
                  <a:pt x="65" y="134"/>
                </a:cubicBezTo>
                <a:cubicBezTo>
                  <a:pt x="65" y="135"/>
                  <a:pt x="65" y="135"/>
                  <a:pt x="65" y="135"/>
                </a:cubicBezTo>
                <a:cubicBezTo>
                  <a:pt x="65" y="136"/>
                  <a:pt x="65" y="136"/>
                  <a:pt x="65" y="136"/>
                </a:cubicBezTo>
                <a:cubicBezTo>
                  <a:pt x="66" y="136"/>
                  <a:pt x="66" y="136"/>
                  <a:pt x="66" y="136"/>
                </a:cubicBezTo>
                <a:cubicBezTo>
                  <a:pt x="67" y="135"/>
                  <a:pt x="67" y="135"/>
                  <a:pt x="67" y="135"/>
                </a:cubicBezTo>
                <a:cubicBezTo>
                  <a:pt x="69" y="135"/>
                  <a:pt x="69" y="135"/>
                  <a:pt x="69" y="135"/>
                </a:cubicBezTo>
                <a:cubicBezTo>
                  <a:pt x="69" y="136"/>
                  <a:pt x="69" y="136"/>
                  <a:pt x="69" y="136"/>
                </a:cubicBezTo>
                <a:cubicBezTo>
                  <a:pt x="69" y="137"/>
                  <a:pt x="69" y="137"/>
                  <a:pt x="69" y="137"/>
                </a:cubicBezTo>
                <a:cubicBezTo>
                  <a:pt x="72" y="137"/>
                  <a:pt x="72" y="137"/>
                  <a:pt x="72" y="137"/>
                </a:cubicBezTo>
                <a:cubicBezTo>
                  <a:pt x="73" y="138"/>
                  <a:pt x="73" y="138"/>
                  <a:pt x="73" y="138"/>
                </a:cubicBezTo>
                <a:cubicBezTo>
                  <a:pt x="75" y="138"/>
                  <a:pt x="75" y="138"/>
                  <a:pt x="75" y="138"/>
                </a:cubicBezTo>
                <a:cubicBezTo>
                  <a:pt x="77" y="136"/>
                  <a:pt x="77" y="136"/>
                  <a:pt x="77" y="136"/>
                </a:cubicBezTo>
                <a:cubicBezTo>
                  <a:pt x="78" y="133"/>
                  <a:pt x="78" y="133"/>
                  <a:pt x="78" y="133"/>
                </a:cubicBezTo>
                <a:cubicBezTo>
                  <a:pt x="79" y="131"/>
                  <a:pt x="79" y="131"/>
                  <a:pt x="79" y="131"/>
                </a:cubicBezTo>
                <a:cubicBezTo>
                  <a:pt x="83" y="131"/>
                  <a:pt x="83" y="131"/>
                  <a:pt x="83" y="131"/>
                </a:cubicBezTo>
                <a:cubicBezTo>
                  <a:pt x="84" y="130"/>
                  <a:pt x="84" y="130"/>
                  <a:pt x="84" y="130"/>
                </a:cubicBezTo>
                <a:cubicBezTo>
                  <a:pt x="82" y="132"/>
                  <a:pt x="82" y="132"/>
                  <a:pt x="82" y="132"/>
                </a:cubicBezTo>
                <a:cubicBezTo>
                  <a:pt x="81" y="132"/>
                  <a:pt x="81" y="132"/>
                  <a:pt x="81" y="132"/>
                </a:cubicBezTo>
                <a:cubicBezTo>
                  <a:pt x="78" y="136"/>
                  <a:pt x="78" y="136"/>
                  <a:pt x="78" y="136"/>
                </a:cubicBezTo>
                <a:cubicBezTo>
                  <a:pt x="77" y="138"/>
                  <a:pt x="77" y="138"/>
                  <a:pt x="77" y="138"/>
                </a:cubicBezTo>
                <a:cubicBezTo>
                  <a:pt x="76" y="139"/>
                  <a:pt x="76" y="139"/>
                  <a:pt x="76" y="139"/>
                </a:cubicBezTo>
                <a:cubicBezTo>
                  <a:pt x="78" y="141"/>
                  <a:pt x="78" y="141"/>
                  <a:pt x="78" y="141"/>
                </a:cubicBezTo>
                <a:cubicBezTo>
                  <a:pt x="78" y="142"/>
                  <a:pt x="78" y="142"/>
                  <a:pt x="78" y="142"/>
                </a:cubicBezTo>
                <a:cubicBezTo>
                  <a:pt x="75" y="143"/>
                  <a:pt x="75" y="143"/>
                  <a:pt x="75" y="143"/>
                </a:cubicBezTo>
                <a:cubicBezTo>
                  <a:pt x="74" y="142"/>
                  <a:pt x="74" y="142"/>
                  <a:pt x="74" y="142"/>
                </a:cubicBezTo>
                <a:cubicBezTo>
                  <a:pt x="74" y="141"/>
                  <a:pt x="74" y="141"/>
                  <a:pt x="74" y="141"/>
                </a:cubicBezTo>
                <a:cubicBezTo>
                  <a:pt x="74" y="140"/>
                  <a:pt x="74" y="140"/>
                  <a:pt x="74" y="140"/>
                </a:cubicBezTo>
                <a:cubicBezTo>
                  <a:pt x="72" y="140"/>
                  <a:pt x="72" y="140"/>
                  <a:pt x="72" y="140"/>
                </a:cubicBezTo>
                <a:cubicBezTo>
                  <a:pt x="71" y="138"/>
                  <a:pt x="71" y="138"/>
                  <a:pt x="71" y="138"/>
                </a:cubicBezTo>
                <a:cubicBezTo>
                  <a:pt x="68" y="138"/>
                  <a:pt x="68" y="138"/>
                  <a:pt x="68" y="138"/>
                </a:cubicBezTo>
                <a:cubicBezTo>
                  <a:pt x="67" y="137"/>
                  <a:pt x="67" y="137"/>
                  <a:pt x="67" y="137"/>
                </a:cubicBezTo>
                <a:cubicBezTo>
                  <a:pt x="65" y="138"/>
                  <a:pt x="65" y="138"/>
                  <a:pt x="65" y="138"/>
                </a:cubicBezTo>
                <a:cubicBezTo>
                  <a:pt x="64" y="138"/>
                  <a:pt x="64" y="138"/>
                  <a:pt x="64" y="138"/>
                </a:cubicBezTo>
                <a:cubicBezTo>
                  <a:pt x="63" y="140"/>
                  <a:pt x="63" y="140"/>
                  <a:pt x="63" y="140"/>
                </a:cubicBezTo>
                <a:cubicBezTo>
                  <a:pt x="62" y="141"/>
                  <a:pt x="62" y="141"/>
                  <a:pt x="62" y="141"/>
                </a:cubicBezTo>
                <a:cubicBezTo>
                  <a:pt x="60" y="140"/>
                  <a:pt x="60" y="140"/>
                  <a:pt x="60" y="140"/>
                </a:cubicBezTo>
                <a:cubicBezTo>
                  <a:pt x="59" y="142"/>
                  <a:pt x="59" y="142"/>
                  <a:pt x="59" y="142"/>
                </a:cubicBezTo>
                <a:cubicBezTo>
                  <a:pt x="60" y="143"/>
                  <a:pt x="60" y="143"/>
                  <a:pt x="60" y="143"/>
                </a:cubicBezTo>
                <a:cubicBezTo>
                  <a:pt x="61" y="144"/>
                  <a:pt x="61" y="144"/>
                  <a:pt x="61" y="144"/>
                </a:cubicBezTo>
                <a:cubicBezTo>
                  <a:pt x="60" y="145"/>
                  <a:pt x="60" y="145"/>
                  <a:pt x="60" y="145"/>
                </a:cubicBezTo>
                <a:cubicBezTo>
                  <a:pt x="60" y="148"/>
                  <a:pt x="60" y="148"/>
                  <a:pt x="60" y="148"/>
                </a:cubicBezTo>
                <a:cubicBezTo>
                  <a:pt x="60" y="150"/>
                  <a:pt x="60" y="150"/>
                  <a:pt x="60" y="150"/>
                </a:cubicBezTo>
                <a:cubicBezTo>
                  <a:pt x="62" y="150"/>
                  <a:pt x="62" y="150"/>
                  <a:pt x="62" y="150"/>
                </a:cubicBezTo>
                <a:cubicBezTo>
                  <a:pt x="62" y="153"/>
                  <a:pt x="62" y="153"/>
                  <a:pt x="62" y="153"/>
                </a:cubicBezTo>
                <a:cubicBezTo>
                  <a:pt x="62" y="154"/>
                  <a:pt x="62" y="154"/>
                  <a:pt x="62" y="154"/>
                </a:cubicBezTo>
                <a:cubicBezTo>
                  <a:pt x="62" y="156"/>
                  <a:pt x="62" y="156"/>
                  <a:pt x="62" y="156"/>
                </a:cubicBezTo>
                <a:cubicBezTo>
                  <a:pt x="64" y="157"/>
                  <a:pt x="64" y="157"/>
                  <a:pt x="64" y="157"/>
                </a:cubicBezTo>
                <a:cubicBezTo>
                  <a:pt x="64" y="158"/>
                  <a:pt x="64" y="158"/>
                  <a:pt x="64" y="158"/>
                </a:cubicBezTo>
                <a:cubicBezTo>
                  <a:pt x="62" y="158"/>
                  <a:pt x="62" y="158"/>
                  <a:pt x="62" y="158"/>
                </a:cubicBezTo>
                <a:cubicBezTo>
                  <a:pt x="61" y="160"/>
                  <a:pt x="61" y="160"/>
                  <a:pt x="61" y="160"/>
                </a:cubicBezTo>
                <a:cubicBezTo>
                  <a:pt x="68" y="163"/>
                  <a:pt x="68" y="163"/>
                  <a:pt x="68" y="163"/>
                </a:cubicBezTo>
                <a:cubicBezTo>
                  <a:pt x="70" y="163"/>
                  <a:pt x="70" y="163"/>
                  <a:pt x="70" y="163"/>
                </a:cubicBezTo>
                <a:cubicBezTo>
                  <a:pt x="73" y="161"/>
                  <a:pt x="73" y="161"/>
                  <a:pt x="73" y="161"/>
                </a:cubicBezTo>
                <a:cubicBezTo>
                  <a:pt x="75" y="161"/>
                  <a:pt x="75" y="161"/>
                  <a:pt x="75" y="161"/>
                </a:cubicBezTo>
                <a:cubicBezTo>
                  <a:pt x="76" y="161"/>
                  <a:pt x="76" y="161"/>
                  <a:pt x="76" y="161"/>
                </a:cubicBezTo>
                <a:cubicBezTo>
                  <a:pt x="77" y="161"/>
                  <a:pt x="77" y="161"/>
                  <a:pt x="77" y="161"/>
                </a:cubicBezTo>
                <a:cubicBezTo>
                  <a:pt x="80" y="158"/>
                  <a:pt x="80" y="158"/>
                  <a:pt x="80" y="158"/>
                </a:cubicBezTo>
                <a:cubicBezTo>
                  <a:pt x="80" y="156"/>
                  <a:pt x="80" y="156"/>
                  <a:pt x="80" y="156"/>
                </a:cubicBezTo>
                <a:cubicBezTo>
                  <a:pt x="79" y="154"/>
                  <a:pt x="79" y="154"/>
                  <a:pt x="79" y="154"/>
                </a:cubicBezTo>
                <a:cubicBezTo>
                  <a:pt x="79" y="154"/>
                  <a:pt x="79" y="154"/>
                  <a:pt x="79" y="154"/>
                </a:cubicBezTo>
                <a:cubicBezTo>
                  <a:pt x="82" y="152"/>
                  <a:pt x="82" y="152"/>
                  <a:pt x="82" y="152"/>
                </a:cubicBezTo>
                <a:cubicBezTo>
                  <a:pt x="85" y="150"/>
                  <a:pt x="85" y="150"/>
                  <a:pt x="85" y="150"/>
                </a:cubicBezTo>
                <a:cubicBezTo>
                  <a:pt x="89" y="147"/>
                  <a:pt x="89" y="147"/>
                  <a:pt x="89" y="147"/>
                </a:cubicBezTo>
                <a:cubicBezTo>
                  <a:pt x="91" y="147"/>
                  <a:pt x="91" y="147"/>
                  <a:pt x="91" y="147"/>
                </a:cubicBezTo>
                <a:cubicBezTo>
                  <a:pt x="89" y="148"/>
                  <a:pt x="89" y="148"/>
                  <a:pt x="89" y="148"/>
                </a:cubicBezTo>
                <a:cubicBezTo>
                  <a:pt x="85" y="152"/>
                  <a:pt x="85" y="152"/>
                  <a:pt x="85" y="152"/>
                </a:cubicBezTo>
                <a:cubicBezTo>
                  <a:pt x="82" y="153"/>
                  <a:pt x="82" y="153"/>
                  <a:pt x="82" y="153"/>
                </a:cubicBezTo>
                <a:cubicBezTo>
                  <a:pt x="82" y="154"/>
                  <a:pt x="82" y="154"/>
                  <a:pt x="82" y="154"/>
                </a:cubicBezTo>
                <a:cubicBezTo>
                  <a:pt x="84" y="156"/>
                  <a:pt x="84" y="156"/>
                  <a:pt x="84" y="156"/>
                </a:cubicBezTo>
                <a:cubicBezTo>
                  <a:pt x="84" y="157"/>
                  <a:pt x="84" y="157"/>
                  <a:pt x="84" y="157"/>
                </a:cubicBezTo>
                <a:cubicBezTo>
                  <a:pt x="82" y="160"/>
                  <a:pt x="82" y="160"/>
                  <a:pt x="82" y="160"/>
                </a:cubicBezTo>
                <a:cubicBezTo>
                  <a:pt x="80" y="161"/>
                  <a:pt x="80" y="161"/>
                  <a:pt x="80" y="161"/>
                </a:cubicBezTo>
                <a:cubicBezTo>
                  <a:pt x="80" y="163"/>
                  <a:pt x="80" y="163"/>
                  <a:pt x="80" y="163"/>
                </a:cubicBezTo>
                <a:cubicBezTo>
                  <a:pt x="80" y="166"/>
                  <a:pt x="80" y="166"/>
                  <a:pt x="80" y="166"/>
                </a:cubicBezTo>
                <a:cubicBezTo>
                  <a:pt x="79" y="168"/>
                  <a:pt x="79" y="168"/>
                  <a:pt x="79" y="168"/>
                </a:cubicBezTo>
                <a:cubicBezTo>
                  <a:pt x="80" y="169"/>
                  <a:pt x="80" y="169"/>
                  <a:pt x="80" y="169"/>
                </a:cubicBezTo>
                <a:cubicBezTo>
                  <a:pt x="79" y="171"/>
                  <a:pt x="79" y="171"/>
                  <a:pt x="79" y="171"/>
                </a:cubicBezTo>
                <a:cubicBezTo>
                  <a:pt x="80" y="173"/>
                  <a:pt x="80" y="173"/>
                  <a:pt x="80" y="173"/>
                </a:cubicBezTo>
                <a:cubicBezTo>
                  <a:pt x="77" y="174"/>
                  <a:pt x="77" y="174"/>
                  <a:pt x="77" y="174"/>
                </a:cubicBezTo>
                <a:cubicBezTo>
                  <a:pt x="76" y="175"/>
                  <a:pt x="76" y="175"/>
                  <a:pt x="76" y="175"/>
                </a:cubicBezTo>
                <a:cubicBezTo>
                  <a:pt x="75" y="176"/>
                  <a:pt x="75" y="176"/>
                  <a:pt x="75" y="176"/>
                </a:cubicBezTo>
                <a:cubicBezTo>
                  <a:pt x="74" y="176"/>
                  <a:pt x="74" y="176"/>
                  <a:pt x="74" y="176"/>
                </a:cubicBezTo>
                <a:cubicBezTo>
                  <a:pt x="74" y="177"/>
                  <a:pt x="74" y="177"/>
                  <a:pt x="74" y="177"/>
                </a:cubicBezTo>
                <a:cubicBezTo>
                  <a:pt x="74" y="179"/>
                  <a:pt x="74" y="179"/>
                  <a:pt x="74" y="179"/>
                </a:cubicBezTo>
                <a:cubicBezTo>
                  <a:pt x="74" y="181"/>
                  <a:pt x="74" y="181"/>
                  <a:pt x="74" y="181"/>
                </a:cubicBezTo>
                <a:cubicBezTo>
                  <a:pt x="75" y="181"/>
                  <a:pt x="75" y="181"/>
                  <a:pt x="75" y="181"/>
                </a:cubicBezTo>
                <a:cubicBezTo>
                  <a:pt x="77" y="180"/>
                  <a:pt x="77" y="180"/>
                  <a:pt x="77" y="180"/>
                </a:cubicBezTo>
                <a:cubicBezTo>
                  <a:pt x="78" y="180"/>
                  <a:pt x="78" y="180"/>
                  <a:pt x="78" y="180"/>
                </a:cubicBezTo>
                <a:cubicBezTo>
                  <a:pt x="79" y="182"/>
                  <a:pt x="79" y="182"/>
                  <a:pt x="79" y="182"/>
                </a:cubicBezTo>
                <a:cubicBezTo>
                  <a:pt x="78" y="183"/>
                  <a:pt x="78" y="183"/>
                  <a:pt x="78" y="183"/>
                </a:cubicBezTo>
                <a:cubicBezTo>
                  <a:pt x="75" y="183"/>
                  <a:pt x="75" y="183"/>
                  <a:pt x="75" y="183"/>
                </a:cubicBezTo>
                <a:cubicBezTo>
                  <a:pt x="75" y="184"/>
                  <a:pt x="75" y="184"/>
                  <a:pt x="75" y="184"/>
                </a:cubicBezTo>
                <a:cubicBezTo>
                  <a:pt x="75" y="185"/>
                  <a:pt x="75" y="185"/>
                  <a:pt x="75" y="185"/>
                </a:cubicBezTo>
                <a:cubicBezTo>
                  <a:pt x="75" y="186"/>
                  <a:pt x="75" y="186"/>
                  <a:pt x="75" y="186"/>
                </a:cubicBezTo>
                <a:cubicBezTo>
                  <a:pt x="75" y="187"/>
                  <a:pt x="75" y="187"/>
                  <a:pt x="75" y="187"/>
                </a:cubicBezTo>
                <a:cubicBezTo>
                  <a:pt x="74" y="188"/>
                  <a:pt x="74" y="188"/>
                  <a:pt x="74" y="188"/>
                </a:cubicBezTo>
                <a:cubicBezTo>
                  <a:pt x="73" y="188"/>
                  <a:pt x="73" y="188"/>
                  <a:pt x="73" y="188"/>
                </a:cubicBezTo>
                <a:cubicBezTo>
                  <a:pt x="71" y="189"/>
                  <a:pt x="71" y="189"/>
                  <a:pt x="71" y="189"/>
                </a:cubicBezTo>
                <a:cubicBezTo>
                  <a:pt x="69" y="189"/>
                  <a:pt x="69" y="189"/>
                  <a:pt x="69" y="189"/>
                </a:cubicBezTo>
                <a:cubicBezTo>
                  <a:pt x="69" y="189"/>
                  <a:pt x="69" y="189"/>
                  <a:pt x="69" y="189"/>
                </a:cubicBezTo>
                <a:cubicBezTo>
                  <a:pt x="70" y="190"/>
                  <a:pt x="70" y="190"/>
                  <a:pt x="70" y="190"/>
                </a:cubicBezTo>
                <a:cubicBezTo>
                  <a:pt x="72" y="191"/>
                  <a:pt x="72" y="191"/>
                  <a:pt x="72" y="191"/>
                </a:cubicBezTo>
                <a:cubicBezTo>
                  <a:pt x="73" y="192"/>
                  <a:pt x="73" y="192"/>
                  <a:pt x="73" y="192"/>
                </a:cubicBezTo>
                <a:cubicBezTo>
                  <a:pt x="75" y="190"/>
                  <a:pt x="75" y="190"/>
                  <a:pt x="75" y="190"/>
                </a:cubicBezTo>
                <a:cubicBezTo>
                  <a:pt x="79" y="187"/>
                  <a:pt x="79" y="187"/>
                  <a:pt x="79" y="187"/>
                </a:cubicBezTo>
                <a:cubicBezTo>
                  <a:pt x="80" y="187"/>
                  <a:pt x="80" y="187"/>
                  <a:pt x="80" y="187"/>
                </a:cubicBezTo>
                <a:cubicBezTo>
                  <a:pt x="82" y="187"/>
                  <a:pt x="82" y="187"/>
                  <a:pt x="82" y="187"/>
                </a:cubicBezTo>
                <a:cubicBezTo>
                  <a:pt x="83" y="186"/>
                  <a:pt x="83" y="186"/>
                  <a:pt x="83" y="186"/>
                </a:cubicBezTo>
                <a:cubicBezTo>
                  <a:pt x="86" y="185"/>
                  <a:pt x="86" y="185"/>
                  <a:pt x="86" y="185"/>
                </a:cubicBezTo>
                <a:cubicBezTo>
                  <a:pt x="86" y="186"/>
                  <a:pt x="86" y="186"/>
                  <a:pt x="86" y="186"/>
                </a:cubicBezTo>
                <a:cubicBezTo>
                  <a:pt x="85" y="187"/>
                  <a:pt x="85" y="187"/>
                  <a:pt x="85" y="187"/>
                </a:cubicBezTo>
                <a:cubicBezTo>
                  <a:pt x="85" y="188"/>
                  <a:pt x="85" y="188"/>
                  <a:pt x="85" y="188"/>
                </a:cubicBezTo>
                <a:cubicBezTo>
                  <a:pt x="86" y="188"/>
                  <a:pt x="86" y="188"/>
                  <a:pt x="86" y="188"/>
                </a:cubicBezTo>
                <a:cubicBezTo>
                  <a:pt x="86" y="190"/>
                  <a:pt x="86" y="190"/>
                  <a:pt x="86" y="190"/>
                </a:cubicBezTo>
                <a:cubicBezTo>
                  <a:pt x="86" y="191"/>
                  <a:pt x="86" y="191"/>
                  <a:pt x="86" y="191"/>
                </a:cubicBezTo>
                <a:cubicBezTo>
                  <a:pt x="88" y="192"/>
                  <a:pt x="88" y="192"/>
                  <a:pt x="88" y="192"/>
                </a:cubicBezTo>
                <a:cubicBezTo>
                  <a:pt x="89" y="191"/>
                  <a:pt x="89" y="191"/>
                  <a:pt x="89" y="191"/>
                </a:cubicBezTo>
                <a:cubicBezTo>
                  <a:pt x="90" y="189"/>
                  <a:pt x="90" y="189"/>
                  <a:pt x="90" y="189"/>
                </a:cubicBezTo>
                <a:cubicBezTo>
                  <a:pt x="91" y="190"/>
                  <a:pt x="91" y="190"/>
                  <a:pt x="91" y="190"/>
                </a:cubicBezTo>
                <a:cubicBezTo>
                  <a:pt x="90" y="191"/>
                  <a:pt x="90" y="191"/>
                  <a:pt x="90" y="191"/>
                </a:cubicBezTo>
                <a:cubicBezTo>
                  <a:pt x="92" y="194"/>
                  <a:pt x="92" y="194"/>
                  <a:pt x="92" y="194"/>
                </a:cubicBezTo>
                <a:cubicBezTo>
                  <a:pt x="92" y="197"/>
                  <a:pt x="92" y="197"/>
                  <a:pt x="92" y="197"/>
                </a:cubicBezTo>
                <a:cubicBezTo>
                  <a:pt x="92" y="199"/>
                  <a:pt x="92" y="199"/>
                  <a:pt x="92" y="199"/>
                </a:cubicBezTo>
                <a:cubicBezTo>
                  <a:pt x="93" y="201"/>
                  <a:pt x="93" y="201"/>
                  <a:pt x="93" y="201"/>
                </a:cubicBezTo>
                <a:cubicBezTo>
                  <a:pt x="94" y="201"/>
                  <a:pt x="94" y="201"/>
                  <a:pt x="94" y="201"/>
                </a:cubicBezTo>
                <a:cubicBezTo>
                  <a:pt x="95" y="199"/>
                  <a:pt x="95" y="199"/>
                  <a:pt x="95" y="199"/>
                </a:cubicBezTo>
                <a:cubicBezTo>
                  <a:pt x="95" y="197"/>
                  <a:pt x="95" y="197"/>
                  <a:pt x="95" y="197"/>
                </a:cubicBezTo>
                <a:cubicBezTo>
                  <a:pt x="96" y="194"/>
                  <a:pt x="96" y="194"/>
                  <a:pt x="96" y="194"/>
                </a:cubicBezTo>
                <a:cubicBezTo>
                  <a:pt x="97" y="192"/>
                  <a:pt x="97" y="192"/>
                  <a:pt x="97" y="192"/>
                </a:cubicBezTo>
                <a:cubicBezTo>
                  <a:pt x="99" y="190"/>
                  <a:pt x="99" y="190"/>
                  <a:pt x="99" y="190"/>
                </a:cubicBezTo>
                <a:cubicBezTo>
                  <a:pt x="100" y="190"/>
                  <a:pt x="100" y="190"/>
                  <a:pt x="100" y="190"/>
                </a:cubicBezTo>
                <a:cubicBezTo>
                  <a:pt x="102" y="189"/>
                  <a:pt x="102" y="189"/>
                  <a:pt x="102" y="189"/>
                </a:cubicBezTo>
                <a:cubicBezTo>
                  <a:pt x="105" y="189"/>
                  <a:pt x="105" y="189"/>
                  <a:pt x="105" y="189"/>
                </a:cubicBezTo>
                <a:cubicBezTo>
                  <a:pt x="102" y="190"/>
                  <a:pt x="102" y="190"/>
                  <a:pt x="102" y="190"/>
                </a:cubicBezTo>
                <a:cubicBezTo>
                  <a:pt x="99" y="193"/>
                  <a:pt x="99" y="193"/>
                  <a:pt x="99" y="193"/>
                </a:cubicBezTo>
                <a:cubicBezTo>
                  <a:pt x="99" y="194"/>
                  <a:pt x="99" y="194"/>
                  <a:pt x="99" y="194"/>
                </a:cubicBezTo>
                <a:cubicBezTo>
                  <a:pt x="102" y="197"/>
                  <a:pt x="102" y="197"/>
                  <a:pt x="102" y="197"/>
                </a:cubicBezTo>
                <a:cubicBezTo>
                  <a:pt x="103" y="197"/>
                  <a:pt x="103" y="197"/>
                  <a:pt x="103" y="197"/>
                </a:cubicBezTo>
                <a:cubicBezTo>
                  <a:pt x="106" y="196"/>
                  <a:pt x="106" y="196"/>
                  <a:pt x="106" y="196"/>
                </a:cubicBezTo>
                <a:cubicBezTo>
                  <a:pt x="110" y="195"/>
                  <a:pt x="110" y="195"/>
                  <a:pt x="110" y="195"/>
                </a:cubicBezTo>
                <a:cubicBezTo>
                  <a:pt x="112" y="194"/>
                  <a:pt x="112" y="194"/>
                  <a:pt x="112" y="194"/>
                </a:cubicBezTo>
                <a:cubicBezTo>
                  <a:pt x="113" y="194"/>
                  <a:pt x="113" y="194"/>
                  <a:pt x="113" y="194"/>
                </a:cubicBezTo>
                <a:cubicBezTo>
                  <a:pt x="116" y="192"/>
                  <a:pt x="116" y="192"/>
                  <a:pt x="116" y="192"/>
                </a:cubicBezTo>
                <a:cubicBezTo>
                  <a:pt x="118" y="192"/>
                  <a:pt x="118" y="192"/>
                  <a:pt x="118" y="192"/>
                </a:cubicBezTo>
                <a:cubicBezTo>
                  <a:pt x="116" y="193"/>
                  <a:pt x="116" y="193"/>
                  <a:pt x="116" y="193"/>
                </a:cubicBezTo>
                <a:cubicBezTo>
                  <a:pt x="114" y="195"/>
                  <a:pt x="114" y="195"/>
                  <a:pt x="114" y="195"/>
                </a:cubicBezTo>
                <a:cubicBezTo>
                  <a:pt x="114" y="196"/>
                  <a:pt x="114" y="196"/>
                  <a:pt x="114" y="196"/>
                </a:cubicBezTo>
                <a:cubicBezTo>
                  <a:pt x="113" y="198"/>
                  <a:pt x="113" y="198"/>
                  <a:pt x="113" y="198"/>
                </a:cubicBezTo>
                <a:cubicBezTo>
                  <a:pt x="107" y="201"/>
                  <a:pt x="107" y="201"/>
                  <a:pt x="107" y="201"/>
                </a:cubicBezTo>
                <a:cubicBezTo>
                  <a:pt x="105" y="203"/>
                  <a:pt x="105" y="203"/>
                  <a:pt x="105" y="203"/>
                </a:cubicBezTo>
                <a:cubicBezTo>
                  <a:pt x="103" y="206"/>
                  <a:pt x="103" y="206"/>
                  <a:pt x="103" y="206"/>
                </a:cubicBezTo>
                <a:cubicBezTo>
                  <a:pt x="103" y="208"/>
                  <a:pt x="103" y="208"/>
                  <a:pt x="103" y="208"/>
                </a:cubicBezTo>
                <a:cubicBezTo>
                  <a:pt x="103" y="209"/>
                  <a:pt x="103" y="209"/>
                  <a:pt x="103" y="209"/>
                </a:cubicBezTo>
                <a:cubicBezTo>
                  <a:pt x="105" y="211"/>
                  <a:pt x="105" y="211"/>
                  <a:pt x="105" y="211"/>
                </a:cubicBezTo>
                <a:cubicBezTo>
                  <a:pt x="102" y="210"/>
                  <a:pt x="102" y="210"/>
                  <a:pt x="102" y="210"/>
                </a:cubicBezTo>
                <a:cubicBezTo>
                  <a:pt x="101" y="211"/>
                  <a:pt x="101" y="211"/>
                  <a:pt x="101" y="211"/>
                </a:cubicBezTo>
                <a:cubicBezTo>
                  <a:pt x="99" y="213"/>
                  <a:pt x="99" y="213"/>
                  <a:pt x="99" y="213"/>
                </a:cubicBezTo>
                <a:cubicBezTo>
                  <a:pt x="98" y="215"/>
                  <a:pt x="98" y="215"/>
                  <a:pt x="98" y="215"/>
                </a:cubicBezTo>
                <a:cubicBezTo>
                  <a:pt x="96" y="218"/>
                  <a:pt x="96" y="218"/>
                  <a:pt x="96" y="218"/>
                </a:cubicBezTo>
                <a:cubicBezTo>
                  <a:pt x="94" y="220"/>
                  <a:pt x="94" y="220"/>
                  <a:pt x="94" y="220"/>
                </a:cubicBezTo>
                <a:cubicBezTo>
                  <a:pt x="95" y="221"/>
                  <a:pt x="95" y="221"/>
                  <a:pt x="95" y="221"/>
                </a:cubicBezTo>
                <a:cubicBezTo>
                  <a:pt x="96" y="222"/>
                  <a:pt x="96" y="222"/>
                  <a:pt x="96" y="222"/>
                </a:cubicBezTo>
                <a:cubicBezTo>
                  <a:pt x="95" y="224"/>
                  <a:pt x="95" y="224"/>
                  <a:pt x="95" y="224"/>
                </a:cubicBezTo>
                <a:cubicBezTo>
                  <a:pt x="94" y="223"/>
                  <a:pt x="94" y="223"/>
                  <a:pt x="94" y="223"/>
                </a:cubicBezTo>
                <a:cubicBezTo>
                  <a:pt x="94" y="222"/>
                  <a:pt x="94" y="222"/>
                  <a:pt x="94" y="222"/>
                </a:cubicBezTo>
                <a:cubicBezTo>
                  <a:pt x="92" y="222"/>
                  <a:pt x="92" y="222"/>
                  <a:pt x="92" y="222"/>
                </a:cubicBezTo>
                <a:cubicBezTo>
                  <a:pt x="91" y="224"/>
                  <a:pt x="91" y="224"/>
                  <a:pt x="91" y="224"/>
                </a:cubicBezTo>
                <a:cubicBezTo>
                  <a:pt x="88" y="225"/>
                  <a:pt x="88" y="225"/>
                  <a:pt x="88" y="225"/>
                </a:cubicBezTo>
                <a:cubicBezTo>
                  <a:pt x="89" y="226"/>
                  <a:pt x="89" y="226"/>
                  <a:pt x="89" y="226"/>
                </a:cubicBezTo>
                <a:cubicBezTo>
                  <a:pt x="88" y="228"/>
                  <a:pt x="88" y="228"/>
                  <a:pt x="88" y="228"/>
                </a:cubicBezTo>
                <a:cubicBezTo>
                  <a:pt x="87" y="227"/>
                  <a:pt x="87" y="227"/>
                  <a:pt x="87" y="227"/>
                </a:cubicBezTo>
                <a:cubicBezTo>
                  <a:pt x="86" y="226"/>
                  <a:pt x="86" y="226"/>
                  <a:pt x="86" y="226"/>
                </a:cubicBezTo>
                <a:cubicBezTo>
                  <a:pt x="85" y="227"/>
                  <a:pt x="85" y="227"/>
                  <a:pt x="85" y="227"/>
                </a:cubicBezTo>
                <a:cubicBezTo>
                  <a:pt x="81" y="231"/>
                  <a:pt x="81" y="231"/>
                  <a:pt x="81" y="231"/>
                </a:cubicBezTo>
                <a:cubicBezTo>
                  <a:pt x="79" y="233"/>
                  <a:pt x="79" y="233"/>
                  <a:pt x="79" y="233"/>
                </a:cubicBezTo>
                <a:cubicBezTo>
                  <a:pt x="80" y="234"/>
                  <a:pt x="80" y="234"/>
                  <a:pt x="80" y="234"/>
                </a:cubicBezTo>
                <a:cubicBezTo>
                  <a:pt x="79" y="235"/>
                  <a:pt x="79" y="235"/>
                  <a:pt x="79" y="235"/>
                </a:cubicBezTo>
                <a:cubicBezTo>
                  <a:pt x="77" y="234"/>
                  <a:pt x="77" y="234"/>
                  <a:pt x="77" y="234"/>
                </a:cubicBezTo>
                <a:cubicBezTo>
                  <a:pt x="77" y="232"/>
                  <a:pt x="77" y="232"/>
                  <a:pt x="77" y="232"/>
                </a:cubicBezTo>
                <a:cubicBezTo>
                  <a:pt x="74" y="233"/>
                  <a:pt x="74" y="233"/>
                  <a:pt x="74" y="233"/>
                </a:cubicBezTo>
                <a:cubicBezTo>
                  <a:pt x="72" y="235"/>
                  <a:pt x="72" y="235"/>
                  <a:pt x="72" y="235"/>
                </a:cubicBezTo>
                <a:cubicBezTo>
                  <a:pt x="70" y="236"/>
                  <a:pt x="70" y="236"/>
                  <a:pt x="70" y="236"/>
                </a:cubicBezTo>
                <a:cubicBezTo>
                  <a:pt x="70" y="237"/>
                  <a:pt x="70" y="237"/>
                  <a:pt x="70" y="237"/>
                </a:cubicBezTo>
                <a:cubicBezTo>
                  <a:pt x="68" y="238"/>
                  <a:pt x="68" y="238"/>
                  <a:pt x="68" y="238"/>
                </a:cubicBezTo>
                <a:cubicBezTo>
                  <a:pt x="66" y="238"/>
                  <a:pt x="66" y="238"/>
                  <a:pt x="66" y="238"/>
                </a:cubicBezTo>
                <a:cubicBezTo>
                  <a:pt x="63" y="241"/>
                  <a:pt x="63" y="241"/>
                  <a:pt x="63" y="241"/>
                </a:cubicBezTo>
                <a:cubicBezTo>
                  <a:pt x="58" y="242"/>
                  <a:pt x="58" y="242"/>
                  <a:pt x="58" y="242"/>
                </a:cubicBezTo>
                <a:cubicBezTo>
                  <a:pt x="55" y="245"/>
                  <a:pt x="55" y="245"/>
                  <a:pt x="55" y="245"/>
                </a:cubicBezTo>
                <a:cubicBezTo>
                  <a:pt x="54" y="248"/>
                  <a:pt x="54" y="248"/>
                  <a:pt x="54" y="248"/>
                </a:cubicBezTo>
                <a:cubicBezTo>
                  <a:pt x="54" y="249"/>
                  <a:pt x="54" y="249"/>
                  <a:pt x="54" y="249"/>
                </a:cubicBezTo>
                <a:cubicBezTo>
                  <a:pt x="54" y="250"/>
                  <a:pt x="54" y="250"/>
                  <a:pt x="54" y="250"/>
                </a:cubicBezTo>
                <a:cubicBezTo>
                  <a:pt x="54" y="252"/>
                  <a:pt x="54" y="252"/>
                  <a:pt x="54" y="252"/>
                </a:cubicBezTo>
                <a:cubicBezTo>
                  <a:pt x="54" y="252"/>
                  <a:pt x="54" y="252"/>
                  <a:pt x="54" y="252"/>
                </a:cubicBezTo>
                <a:cubicBezTo>
                  <a:pt x="52" y="250"/>
                  <a:pt x="52" y="250"/>
                  <a:pt x="52" y="250"/>
                </a:cubicBezTo>
                <a:cubicBezTo>
                  <a:pt x="51" y="250"/>
                  <a:pt x="51" y="250"/>
                  <a:pt x="51" y="250"/>
                </a:cubicBezTo>
                <a:cubicBezTo>
                  <a:pt x="51" y="251"/>
                  <a:pt x="51" y="251"/>
                  <a:pt x="51" y="251"/>
                </a:cubicBezTo>
                <a:cubicBezTo>
                  <a:pt x="51" y="253"/>
                  <a:pt x="51" y="253"/>
                  <a:pt x="51" y="253"/>
                </a:cubicBezTo>
                <a:cubicBezTo>
                  <a:pt x="50" y="253"/>
                  <a:pt x="50" y="253"/>
                  <a:pt x="50" y="253"/>
                </a:cubicBezTo>
                <a:cubicBezTo>
                  <a:pt x="49" y="252"/>
                  <a:pt x="49" y="252"/>
                  <a:pt x="49" y="252"/>
                </a:cubicBezTo>
                <a:cubicBezTo>
                  <a:pt x="49" y="250"/>
                  <a:pt x="49" y="250"/>
                  <a:pt x="49" y="250"/>
                </a:cubicBezTo>
                <a:cubicBezTo>
                  <a:pt x="50" y="249"/>
                  <a:pt x="50" y="249"/>
                  <a:pt x="50" y="249"/>
                </a:cubicBezTo>
                <a:cubicBezTo>
                  <a:pt x="49" y="248"/>
                  <a:pt x="49" y="248"/>
                  <a:pt x="49" y="248"/>
                </a:cubicBezTo>
                <a:cubicBezTo>
                  <a:pt x="47" y="248"/>
                  <a:pt x="47" y="248"/>
                  <a:pt x="47" y="248"/>
                </a:cubicBezTo>
                <a:cubicBezTo>
                  <a:pt x="46" y="248"/>
                  <a:pt x="46" y="248"/>
                  <a:pt x="46" y="248"/>
                </a:cubicBezTo>
                <a:cubicBezTo>
                  <a:pt x="44" y="248"/>
                  <a:pt x="44" y="248"/>
                  <a:pt x="44" y="248"/>
                </a:cubicBezTo>
                <a:cubicBezTo>
                  <a:pt x="41" y="249"/>
                  <a:pt x="41" y="249"/>
                  <a:pt x="41" y="249"/>
                </a:cubicBezTo>
                <a:cubicBezTo>
                  <a:pt x="39" y="250"/>
                  <a:pt x="39" y="250"/>
                  <a:pt x="39" y="250"/>
                </a:cubicBezTo>
                <a:cubicBezTo>
                  <a:pt x="38" y="251"/>
                  <a:pt x="38" y="251"/>
                  <a:pt x="38" y="251"/>
                </a:cubicBezTo>
                <a:cubicBezTo>
                  <a:pt x="35" y="252"/>
                  <a:pt x="35" y="252"/>
                  <a:pt x="35" y="252"/>
                </a:cubicBezTo>
                <a:cubicBezTo>
                  <a:pt x="33" y="254"/>
                  <a:pt x="33" y="254"/>
                  <a:pt x="33" y="254"/>
                </a:cubicBezTo>
                <a:cubicBezTo>
                  <a:pt x="30" y="256"/>
                  <a:pt x="30" y="256"/>
                  <a:pt x="30" y="256"/>
                </a:cubicBezTo>
                <a:cubicBezTo>
                  <a:pt x="31" y="257"/>
                  <a:pt x="31" y="257"/>
                  <a:pt x="31" y="257"/>
                </a:cubicBezTo>
                <a:cubicBezTo>
                  <a:pt x="30" y="258"/>
                  <a:pt x="30" y="258"/>
                  <a:pt x="30" y="258"/>
                </a:cubicBezTo>
                <a:cubicBezTo>
                  <a:pt x="29" y="258"/>
                  <a:pt x="29" y="258"/>
                  <a:pt x="29" y="258"/>
                </a:cubicBezTo>
                <a:cubicBezTo>
                  <a:pt x="27" y="259"/>
                  <a:pt x="27" y="259"/>
                  <a:pt x="27" y="259"/>
                </a:cubicBezTo>
                <a:cubicBezTo>
                  <a:pt x="25" y="260"/>
                  <a:pt x="25" y="260"/>
                  <a:pt x="25" y="260"/>
                </a:cubicBezTo>
                <a:cubicBezTo>
                  <a:pt x="25" y="261"/>
                  <a:pt x="25" y="261"/>
                  <a:pt x="25" y="261"/>
                </a:cubicBezTo>
                <a:cubicBezTo>
                  <a:pt x="24" y="261"/>
                  <a:pt x="24" y="261"/>
                  <a:pt x="24" y="261"/>
                </a:cubicBezTo>
                <a:cubicBezTo>
                  <a:pt x="22" y="261"/>
                  <a:pt x="22" y="261"/>
                  <a:pt x="22" y="261"/>
                </a:cubicBezTo>
                <a:cubicBezTo>
                  <a:pt x="20" y="261"/>
                  <a:pt x="20" y="261"/>
                  <a:pt x="20" y="261"/>
                </a:cubicBezTo>
                <a:cubicBezTo>
                  <a:pt x="20" y="263"/>
                  <a:pt x="20" y="263"/>
                  <a:pt x="20" y="263"/>
                </a:cubicBezTo>
                <a:cubicBezTo>
                  <a:pt x="19" y="265"/>
                  <a:pt x="19" y="265"/>
                  <a:pt x="19" y="265"/>
                </a:cubicBezTo>
                <a:cubicBezTo>
                  <a:pt x="20" y="266"/>
                  <a:pt x="20" y="266"/>
                  <a:pt x="20" y="266"/>
                </a:cubicBezTo>
                <a:cubicBezTo>
                  <a:pt x="21" y="265"/>
                  <a:pt x="21" y="265"/>
                  <a:pt x="21" y="265"/>
                </a:cubicBezTo>
                <a:cubicBezTo>
                  <a:pt x="22" y="264"/>
                  <a:pt x="22" y="264"/>
                  <a:pt x="22" y="264"/>
                </a:cubicBezTo>
                <a:cubicBezTo>
                  <a:pt x="21" y="263"/>
                  <a:pt x="21" y="263"/>
                  <a:pt x="21" y="263"/>
                </a:cubicBezTo>
                <a:cubicBezTo>
                  <a:pt x="23" y="262"/>
                  <a:pt x="23" y="262"/>
                  <a:pt x="23" y="262"/>
                </a:cubicBezTo>
                <a:cubicBezTo>
                  <a:pt x="23" y="263"/>
                  <a:pt x="23" y="263"/>
                  <a:pt x="23" y="263"/>
                </a:cubicBezTo>
                <a:cubicBezTo>
                  <a:pt x="23" y="264"/>
                  <a:pt x="23" y="264"/>
                  <a:pt x="23" y="264"/>
                </a:cubicBezTo>
                <a:cubicBezTo>
                  <a:pt x="23" y="265"/>
                  <a:pt x="23" y="265"/>
                  <a:pt x="23" y="265"/>
                </a:cubicBezTo>
                <a:cubicBezTo>
                  <a:pt x="25" y="265"/>
                  <a:pt x="25" y="265"/>
                  <a:pt x="25" y="265"/>
                </a:cubicBezTo>
                <a:cubicBezTo>
                  <a:pt x="27" y="262"/>
                  <a:pt x="27" y="262"/>
                  <a:pt x="27" y="262"/>
                </a:cubicBezTo>
                <a:cubicBezTo>
                  <a:pt x="28" y="261"/>
                  <a:pt x="28" y="261"/>
                  <a:pt x="28" y="261"/>
                </a:cubicBezTo>
                <a:cubicBezTo>
                  <a:pt x="28" y="263"/>
                  <a:pt x="28" y="263"/>
                  <a:pt x="28" y="263"/>
                </a:cubicBezTo>
                <a:cubicBezTo>
                  <a:pt x="28" y="264"/>
                  <a:pt x="28" y="264"/>
                  <a:pt x="28" y="264"/>
                </a:cubicBezTo>
                <a:cubicBezTo>
                  <a:pt x="28" y="265"/>
                  <a:pt x="28" y="265"/>
                  <a:pt x="28" y="265"/>
                </a:cubicBezTo>
                <a:cubicBezTo>
                  <a:pt x="30" y="264"/>
                  <a:pt x="30" y="264"/>
                  <a:pt x="30" y="264"/>
                </a:cubicBezTo>
                <a:cubicBezTo>
                  <a:pt x="31" y="263"/>
                  <a:pt x="31" y="263"/>
                  <a:pt x="31" y="263"/>
                </a:cubicBezTo>
                <a:cubicBezTo>
                  <a:pt x="31" y="264"/>
                  <a:pt x="31" y="264"/>
                  <a:pt x="31" y="264"/>
                </a:cubicBezTo>
                <a:cubicBezTo>
                  <a:pt x="32" y="264"/>
                  <a:pt x="32" y="264"/>
                  <a:pt x="32" y="264"/>
                </a:cubicBezTo>
                <a:cubicBezTo>
                  <a:pt x="32" y="263"/>
                  <a:pt x="32" y="263"/>
                  <a:pt x="32" y="263"/>
                </a:cubicBezTo>
                <a:cubicBezTo>
                  <a:pt x="34" y="262"/>
                  <a:pt x="34" y="262"/>
                  <a:pt x="34" y="262"/>
                </a:cubicBezTo>
                <a:cubicBezTo>
                  <a:pt x="36" y="262"/>
                  <a:pt x="36" y="262"/>
                  <a:pt x="36" y="262"/>
                </a:cubicBezTo>
                <a:cubicBezTo>
                  <a:pt x="38" y="261"/>
                  <a:pt x="38" y="261"/>
                  <a:pt x="38" y="261"/>
                </a:cubicBezTo>
                <a:cubicBezTo>
                  <a:pt x="39" y="258"/>
                  <a:pt x="39" y="258"/>
                  <a:pt x="39" y="258"/>
                </a:cubicBezTo>
                <a:cubicBezTo>
                  <a:pt x="38" y="257"/>
                  <a:pt x="38" y="257"/>
                  <a:pt x="38" y="257"/>
                </a:cubicBezTo>
                <a:cubicBezTo>
                  <a:pt x="40" y="256"/>
                  <a:pt x="40" y="256"/>
                  <a:pt x="40" y="256"/>
                </a:cubicBezTo>
                <a:cubicBezTo>
                  <a:pt x="42" y="254"/>
                  <a:pt x="42" y="254"/>
                  <a:pt x="42" y="254"/>
                </a:cubicBezTo>
                <a:cubicBezTo>
                  <a:pt x="43" y="254"/>
                  <a:pt x="43" y="254"/>
                  <a:pt x="43" y="254"/>
                </a:cubicBezTo>
                <a:cubicBezTo>
                  <a:pt x="45" y="256"/>
                  <a:pt x="45" y="256"/>
                  <a:pt x="45" y="256"/>
                </a:cubicBezTo>
                <a:cubicBezTo>
                  <a:pt x="44" y="256"/>
                  <a:pt x="44" y="256"/>
                  <a:pt x="44" y="256"/>
                </a:cubicBezTo>
                <a:cubicBezTo>
                  <a:pt x="43" y="257"/>
                  <a:pt x="43" y="257"/>
                  <a:pt x="43" y="257"/>
                </a:cubicBezTo>
                <a:cubicBezTo>
                  <a:pt x="41" y="258"/>
                  <a:pt x="41" y="258"/>
                  <a:pt x="41" y="258"/>
                </a:cubicBezTo>
                <a:cubicBezTo>
                  <a:pt x="41" y="260"/>
                  <a:pt x="41" y="260"/>
                  <a:pt x="41" y="260"/>
                </a:cubicBezTo>
                <a:cubicBezTo>
                  <a:pt x="42" y="261"/>
                  <a:pt x="42" y="261"/>
                  <a:pt x="42" y="261"/>
                </a:cubicBezTo>
                <a:cubicBezTo>
                  <a:pt x="45" y="259"/>
                  <a:pt x="45" y="259"/>
                  <a:pt x="45" y="259"/>
                </a:cubicBezTo>
                <a:cubicBezTo>
                  <a:pt x="45" y="257"/>
                  <a:pt x="45" y="257"/>
                  <a:pt x="45" y="257"/>
                </a:cubicBezTo>
                <a:cubicBezTo>
                  <a:pt x="47" y="257"/>
                  <a:pt x="47" y="257"/>
                  <a:pt x="47" y="257"/>
                </a:cubicBezTo>
                <a:cubicBezTo>
                  <a:pt x="47" y="258"/>
                  <a:pt x="47" y="258"/>
                  <a:pt x="47" y="258"/>
                </a:cubicBezTo>
                <a:cubicBezTo>
                  <a:pt x="48" y="256"/>
                  <a:pt x="48" y="256"/>
                  <a:pt x="48" y="256"/>
                </a:cubicBezTo>
                <a:cubicBezTo>
                  <a:pt x="49" y="257"/>
                  <a:pt x="49" y="257"/>
                  <a:pt x="49" y="257"/>
                </a:cubicBezTo>
                <a:cubicBezTo>
                  <a:pt x="49" y="258"/>
                  <a:pt x="49" y="258"/>
                  <a:pt x="49" y="258"/>
                </a:cubicBezTo>
                <a:cubicBezTo>
                  <a:pt x="48" y="259"/>
                  <a:pt x="48" y="259"/>
                  <a:pt x="48" y="259"/>
                </a:cubicBezTo>
                <a:cubicBezTo>
                  <a:pt x="49" y="259"/>
                  <a:pt x="49" y="259"/>
                  <a:pt x="49" y="259"/>
                </a:cubicBezTo>
                <a:cubicBezTo>
                  <a:pt x="51" y="257"/>
                  <a:pt x="51" y="257"/>
                  <a:pt x="51" y="257"/>
                </a:cubicBezTo>
                <a:cubicBezTo>
                  <a:pt x="52" y="257"/>
                  <a:pt x="52" y="257"/>
                  <a:pt x="52" y="257"/>
                </a:cubicBezTo>
                <a:cubicBezTo>
                  <a:pt x="54" y="256"/>
                  <a:pt x="54" y="256"/>
                  <a:pt x="54" y="256"/>
                </a:cubicBezTo>
                <a:cubicBezTo>
                  <a:pt x="55" y="256"/>
                  <a:pt x="55" y="256"/>
                  <a:pt x="55" y="256"/>
                </a:cubicBezTo>
                <a:cubicBezTo>
                  <a:pt x="57" y="253"/>
                  <a:pt x="57" y="253"/>
                  <a:pt x="57" y="253"/>
                </a:cubicBezTo>
                <a:cubicBezTo>
                  <a:pt x="59" y="252"/>
                  <a:pt x="59" y="252"/>
                  <a:pt x="59" y="252"/>
                </a:cubicBezTo>
                <a:cubicBezTo>
                  <a:pt x="60" y="253"/>
                  <a:pt x="60" y="253"/>
                  <a:pt x="60" y="253"/>
                </a:cubicBezTo>
                <a:cubicBezTo>
                  <a:pt x="60" y="254"/>
                  <a:pt x="60" y="254"/>
                  <a:pt x="60" y="254"/>
                </a:cubicBezTo>
                <a:cubicBezTo>
                  <a:pt x="59" y="256"/>
                  <a:pt x="59" y="256"/>
                  <a:pt x="59" y="256"/>
                </a:cubicBezTo>
                <a:cubicBezTo>
                  <a:pt x="58" y="258"/>
                  <a:pt x="58" y="258"/>
                  <a:pt x="58" y="258"/>
                </a:cubicBezTo>
                <a:cubicBezTo>
                  <a:pt x="58" y="259"/>
                  <a:pt x="58" y="259"/>
                  <a:pt x="58" y="259"/>
                </a:cubicBezTo>
                <a:cubicBezTo>
                  <a:pt x="59" y="259"/>
                  <a:pt x="59" y="259"/>
                  <a:pt x="59" y="259"/>
                </a:cubicBezTo>
                <a:cubicBezTo>
                  <a:pt x="62" y="256"/>
                  <a:pt x="62" y="256"/>
                  <a:pt x="62" y="256"/>
                </a:cubicBezTo>
                <a:cubicBezTo>
                  <a:pt x="62" y="253"/>
                  <a:pt x="62" y="253"/>
                  <a:pt x="62" y="253"/>
                </a:cubicBezTo>
                <a:cubicBezTo>
                  <a:pt x="62" y="252"/>
                  <a:pt x="62" y="252"/>
                  <a:pt x="62" y="252"/>
                </a:cubicBezTo>
                <a:cubicBezTo>
                  <a:pt x="63" y="254"/>
                  <a:pt x="63" y="254"/>
                  <a:pt x="63" y="254"/>
                </a:cubicBezTo>
                <a:cubicBezTo>
                  <a:pt x="64" y="253"/>
                  <a:pt x="64" y="253"/>
                  <a:pt x="64" y="253"/>
                </a:cubicBezTo>
                <a:cubicBezTo>
                  <a:pt x="66" y="253"/>
                  <a:pt x="66" y="253"/>
                  <a:pt x="66" y="253"/>
                </a:cubicBezTo>
                <a:cubicBezTo>
                  <a:pt x="68" y="253"/>
                  <a:pt x="68" y="253"/>
                  <a:pt x="68" y="253"/>
                </a:cubicBezTo>
                <a:cubicBezTo>
                  <a:pt x="70" y="251"/>
                  <a:pt x="70" y="251"/>
                  <a:pt x="70" y="251"/>
                </a:cubicBezTo>
                <a:cubicBezTo>
                  <a:pt x="70" y="251"/>
                  <a:pt x="70" y="251"/>
                  <a:pt x="70" y="251"/>
                </a:cubicBezTo>
                <a:cubicBezTo>
                  <a:pt x="71" y="251"/>
                  <a:pt x="71" y="251"/>
                  <a:pt x="71" y="251"/>
                </a:cubicBezTo>
                <a:cubicBezTo>
                  <a:pt x="72" y="249"/>
                  <a:pt x="72" y="249"/>
                  <a:pt x="72" y="249"/>
                </a:cubicBezTo>
                <a:cubicBezTo>
                  <a:pt x="73" y="248"/>
                  <a:pt x="73" y="248"/>
                  <a:pt x="73" y="248"/>
                </a:cubicBezTo>
                <a:cubicBezTo>
                  <a:pt x="73" y="249"/>
                  <a:pt x="73" y="249"/>
                  <a:pt x="73" y="249"/>
                </a:cubicBezTo>
                <a:cubicBezTo>
                  <a:pt x="73" y="250"/>
                  <a:pt x="73" y="250"/>
                  <a:pt x="73" y="250"/>
                </a:cubicBezTo>
                <a:cubicBezTo>
                  <a:pt x="73" y="252"/>
                  <a:pt x="73" y="252"/>
                  <a:pt x="73" y="252"/>
                </a:cubicBezTo>
                <a:cubicBezTo>
                  <a:pt x="74" y="251"/>
                  <a:pt x="74" y="251"/>
                  <a:pt x="74" y="251"/>
                </a:cubicBezTo>
                <a:cubicBezTo>
                  <a:pt x="76" y="250"/>
                  <a:pt x="76" y="250"/>
                  <a:pt x="76" y="250"/>
                </a:cubicBezTo>
                <a:cubicBezTo>
                  <a:pt x="75" y="249"/>
                  <a:pt x="75" y="249"/>
                  <a:pt x="75" y="249"/>
                </a:cubicBezTo>
                <a:cubicBezTo>
                  <a:pt x="76" y="248"/>
                  <a:pt x="76" y="248"/>
                  <a:pt x="76" y="248"/>
                </a:cubicBezTo>
                <a:cubicBezTo>
                  <a:pt x="76" y="247"/>
                  <a:pt x="76" y="247"/>
                  <a:pt x="76" y="247"/>
                </a:cubicBezTo>
                <a:cubicBezTo>
                  <a:pt x="73" y="247"/>
                  <a:pt x="73" y="247"/>
                  <a:pt x="73" y="247"/>
                </a:cubicBezTo>
                <a:cubicBezTo>
                  <a:pt x="73" y="246"/>
                  <a:pt x="73" y="246"/>
                  <a:pt x="73" y="246"/>
                </a:cubicBezTo>
                <a:cubicBezTo>
                  <a:pt x="75" y="246"/>
                  <a:pt x="75" y="246"/>
                  <a:pt x="75" y="246"/>
                </a:cubicBezTo>
                <a:cubicBezTo>
                  <a:pt x="78" y="244"/>
                  <a:pt x="78" y="244"/>
                  <a:pt x="78" y="244"/>
                </a:cubicBezTo>
                <a:cubicBezTo>
                  <a:pt x="82" y="244"/>
                  <a:pt x="82" y="244"/>
                  <a:pt x="82" y="244"/>
                </a:cubicBezTo>
                <a:cubicBezTo>
                  <a:pt x="83" y="243"/>
                  <a:pt x="83" y="243"/>
                  <a:pt x="83" y="243"/>
                </a:cubicBezTo>
                <a:cubicBezTo>
                  <a:pt x="83" y="242"/>
                  <a:pt x="83" y="242"/>
                  <a:pt x="83" y="242"/>
                </a:cubicBezTo>
                <a:cubicBezTo>
                  <a:pt x="82" y="242"/>
                  <a:pt x="82" y="242"/>
                  <a:pt x="82" y="242"/>
                </a:cubicBezTo>
                <a:cubicBezTo>
                  <a:pt x="83" y="241"/>
                  <a:pt x="83" y="241"/>
                  <a:pt x="83" y="241"/>
                </a:cubicBezTo>
                <a:cubicBezTo>
                  <a:pt x="85" y="241"/>
                  <a:pt x="85" y="241"/>
                  <a:pt x="85" y="241"/>
                </a:cubicBezTo>
                <a:cubicBezTo>
                  <a:pt x="86" y="240"/>
                  <a:pt x="86" y="240"/>
                  <a:pt x="86" y="240"/>
                </a:cubicBezTo>
                <a:cubicBezTo>
                  <a:pt x="87" y="240"/>
                  <a:pt x="87" y="240"/>
                  <a:pt x="87" y="240"/>
                </a:cubicBezTo>
                <a:cubicBezTo>
                  <a:pt x="87" y="242"/>
                  <a:pt x="87" y="242"/>
                  <a:pt x="87" y="242"/>
                </a:cubicBezTo>
                <a:cubicBezTo>
                  <a:pt x="88" y="242"/>
                  <a:pt x="88" y="242"/>
                  <a:pt x="88" y="242"/>
                </a:cubicBezTo>
                <a:cubicBezTo>
                  <a:pt x="89" y="240"/>
                  <a:pt x="89" y="240"/>
                  <a:pt x="89" y="240"/>
                </a:cubicBezTo>
                <a:cubicBezTo>
                  <a:pt x="89" y="240"/>
                  <a:pt x="89" y="240"/>
                  <a:pt x="89" y="240"/>
                </a:cubicBezTo>
                <a:cubicBezTo>
                  <a:pt x="90" y="238"/>
                  <a:pt x="90" y="238"/>
                  <a:pt x="90" y="238"/>
                </a:cubicBezTo>
                <a:cubicBezTo>
                  <a:pt x="90" y="237"/>
                  <a:pt x="90" y="237"/>
                  <a:pt x="90" y="237"/>
                </a:cubicBezTo>
                <a:cubicBezTo>
                  <a:pt x="91" y="236"/>
                  <a:pt x="91" y="236"/>
                  <a:pt x="91" y="236"/>
                </a:cubicBezTo>
                <a:cubicBezTo>
                  <a:pt x="92" y="237"/>
                  <a:pt x="92" y="237"/>
                  <a:pt x="92" y="237"/>
                </a:cubicBezTo>
                <a:cubicBezTo>
                  <a:pt x="92" y="238"/>
                  <a:pt x="92" y="238"/>
                  <a:pt x="92" y="238"/>
                </a:cubicBezTo>
                <a:cubicBezTo>
                  <a:pt x="93" y="239"/>
                  <a:pt x="93" y="239"/>
                  <a:pt x="93" y="239"/>
                </a:cubicBezTo>
                <a:cubicBezTo>
                  <a:pt x="95" y="237"/>
                  <a:pt x="95" y="237"/>
                  <a:pt x="95" y="237"/>
                </a:cubicBezTo>
                <a:cubicBezTo>
                  <a:pt x="96" y="236"/>
                  <a:pt x="96" y="236"/>
                  <a:pt x="96" y="236"/>
                </a:cubicBezTo>
                <a:cubicBezTo>
                  <a:pt x="98" y="236"/>
                  <a:pt x="98" y="236"/>
                  <a:pt x="98" y="236"/>
                </a:cubicBezTo>
                <a:cubicBezTo>
                  <a:pt x="99" y="234"/>
                  <a:pt x="99" y="234"/>
                  <a:pt x="99" y="234"/>
                </a:cubicBezTo>
                <a:cubicBezTo>
                  <a:pt x="99" y="234"/>
                  <a:pt x="99" y="234"/>
                  <a:pt x="99" y="234"/>
                </a:cubicBezTo>
                <a:cubicBezTo>
                  <a:pt x="100" y="235"/>
                  <a:pt x="100" y="235"/>
                  <a:pt x="100" y="235"/>
                </a:cubicBezTo>
                <a:cubicBezTo>
                  <a:pt x="102" y="234"/>
                  <a:pt x="102" y="234"/>
                  <a:pt x="102" y="234"/>
                </a:cubicBezTo>
                <a:cubicBezTo>
                  <a:pt x="104" y="232"/>
                  <a:pt x="104" y="232"/>
                  <a:pt x="104" y="232"/>
                </a:cubicBezTo>
                <a:cubicBezTo>
                  <a:pt x="104" y="230"/>
                  <a:pt x="104" y="230"/>
                  <a:pt x="104" y="230"/>
                </a:cubicBezTo>
                <a:cubicBezTo>
                  <a:pt x="104" y="230"/>
                  <a:pt x="104" y="230"/>
                  <a:pt x="104" y="230"/>
                </a:cubicBezTo>
                <a:cubicBezTo>
                  <a:pt x="102" y="230"/>
                  <a:pt x="102" y="230"/>
                  <a:pt x="102" y="230"/>
                </a:cubicBezTo>
                <a:cubicBezTo>
                  <a:pt x="102" y="230"/>
                  <a:pt x="102" y="230"/>
                  <a:pt x="102" y="230"/>
                </a:cubicBezTo>
                <a:cubicBezTo>
                  <a:pt x="105" y="228"/>
                  <a:pt x="105" y="228"/>
                  <a:pt x="105" y="228"/>
                </a:cubicBezTo>
                <a:cubicBezTo>
                  <a:pt x="106" y="227"/>
                  <a:pt x="106" y="227"/>
                  <a:pt x="106" y="227"/>
                </a:cubicBezTo>
                <a:cubicBezTo>
                  <a:pt x="108" y="226"/>
                  <a:pt x="108" y="226"/>
                  <a:pt x="108" y="226"/>
                </a:cubicBezTo>
                <a:cubicBezTo>
                  <a:pt x="109" y="226"/>
                  <a:pt x="109" y="226"/>
                  <a:pt x="109" y="226"/>
                </a:cubicBezTo>
                <a:cubicBezTo>
                  <a:pt x="109" y="226"/>
                  <a:pt x="109" y="226"/>
                  <a:pt x="109" y="226"/>
                </a:cubicBezTo>
                <a:cubicBezTo>
                  <a:pt x="111" y="224"/>
                  <a:pt x="111" y="224"/>
                  <a:pt x="111" y="224"/>
                </a:cubicBezTo>
                <a:cubicBezTo>
                  <a:pt x="113" y="223"/>
                  <a:pt x="113" y="223"/>
                  <a:pt x="113" y="223"/>
                </a:cubicBezTo>
                <a:cubicBezTo>
                  <a:pt x="114" y="222"/>
                  <a:pt x="114" y="222"/>
                  <a:pt x="114" y="222"/>
                </a:cubicBezTo>
                <a:cubicBezTo>
                  <a:pt x="115" y="222"/>
                  <a:pt x="115" y="222"/>
                  <a:pt x="115" y="222"/>
                </a:cubicBezTo>
                <a:cubicBezTo>
                  <a:pt x="116" y="221"/>
                  <a:pt x="116" y="221"/>
                  <a:pt x="116" y="221"/>
                </a:cubicBezTo>
                <a:cubicBezTo>
                  <a:pt x="117" y="220"/>
                  <a:pt x="117" y="220"/>
                  <a:pt x="117" y="220"/>
                </a:cubicBezTo>
                <a:cubicBezTo>
                  <a:pt x="118" y="222"/>
                  <a:pt x="118" y="222"/>
                  <a:pt x="118" y="222"/>
                </a:cubicBezTo>
                <a:cubicBezTo>
                  <a:pt x="118" y="222"/>
                  <a:pt x="118" y="222"/>
                  <a:pt x="118" y="222"/>
                </a:cubicBezTo>
                <a:cubicBezTo>
                  <a:pt x="119" y="221"/>
                  <a:pt x="119" y="221"/>
                  <a:pt x="119" y="221"/>
                </a:cubicBezTo>
                <a:cubicBezTo>
                  <a:pt x="121" y="221"/>
                  <a:pt x="121" y="221"/>
                  <a:pt x="121" y="221"/>
                </a:cubicBezTo>
                <a:cubicBezTo>
                  <a:pt x="121" y="220"/>
                  <a:pt x="121" y="220"/>
                  <a:pt x="121" y="220"/>
                </a:cubicBezTo>
                <a:cubicBezTo>
                  <a:pt x="121" y="219"/>
                  <a:pt x="121" y="219"/>
                  <a:pt x="121" y="219"/>
                </a:cubicBezTo>
                <a:cubicBezTo>
                  <a:pt x="123" y="218"/>
                  <a:pt x="123" y="218"/>
                  <a:pt x="123" y="218"/>
                </a:cubicBezTo>
                <a:cubicBezTo>
                  <a:pt x="124" y="217"/>
                  <a:pt x="124" y="217"/>
                  <a:pt x="124" y="217"/>
                </a:cubicBezTo>
                <a:cubicBezTo>
                  <a:pt x="124" y="218"/>
                  <a:pt x="124" y="218"/>
                  <a:pt x="124" y="218"/>
                </a:cubicBezTo>
                <a:cubicBezTo>
                  <a:pt x="127" y="218"/>
                  <a:pt x="127" y="218"/>
                  <a:pt x="127" y="218"/>
                </a:cubicBezTo>
                <a:cubicBezTo>
                  <a:pt x="128" y="216"/>
                  <a:pt x="128" y="216"/>
                  <a:pt x="128" y="216"/>
                </a:cubicBezTo>
                <a:cubicBezTo>
                  <a:pt x="129" y="216"/>
                  <a:pt x="129" y="216"/>
                  <a:pt x="129" y="216"/>
                </a:cubicBezTo>
                <a:cubicBezTo>
                  <a:pt x="129" y="217"/>
                  <a:pt x="129" y="217"/>
                  <a:pt x="129" y="217"/>
                </a:cubicBezTo>
                <a:cubicBezTo>
                  <a:pt x="129" y="217"/>
                  <a:pt x="129" y="217"/>
                  <a:pt x="129" y="217"/>
                </a:cubicBezTo>
                <a:cubicBezTo>
                  <a:pt x="131" y="216"/>
                  <a:pt x="131" y="216"/>
                  <a:pt x="131" y="216"/>
                </a:cubicBezTo>
                <a:cubicBezTo>
                  <a:pt x="131" y="217"/>
                  <a:pt x="131" y="217"/>
                  <a:pt x="131" y="217"/>
                </a:cubicBezTo>
                <a:cubicBezTo>
                  <a:pt x="132" y="217"/>
                  <a:pt x="132" y="217"/>
                  <a:pt x="132" y="217"/>
                </a:cubicBezTo>
                <a:cubicBezTo>
                  <a:pt x="133" y="214"/>
                  <a:pt x="133" y="214"/>
                  <a:pt x="133" y="214"/>
                </a:cubicBezTo>
                <a:cubicBezTo>
                  <a:pt x="132" y="214"/>
                  <a:pt x="132" y="214"/>
                  <a:pt x="132" y="214"/>
                </a:cubicBezTo>
                <a:cubicBezTo>
                  <a:pt x="131" y="214"/>
                  <a:pt x="131" y="214"/>
                  <a:pt x="131" y="214"/>
                </a:cubicBezTo>
                <a:cubicBezTo>
                  <a:pt x="132" y="213"/>
                  <a:pt x="132" y="213"/>
                  <a:pt x="132" y="213"/>
                </a:cubicBezTo>
                <a:cubicBezTo>
                  <a:pt x="134" y="211"/>
                  <a:pt x="134" y="211"/>
                  <a:pt x="134" y="211"/>
                </a:cubicBezTo>
                <a:cubicBezTo>
                  <a:pt x="135" y="211"/>
                  <a:pt x="135" y="211"/>
                  <a:pt x="135" y="211"/>
                </a:cubicBezTo>
                <a:cubicBezTo>
                  <a:pt x="136" y="212"/>
                  <a:pt x="136" y="212"/>
                  <a:pt x="136" y="212"/>
                </a:cubicBezTo>
                <a:cubicBezTo>
                  <a:pt x="136" y="211"/>
                  <a:pt x="136" y="211"/>
                  <a:pt x="136" y="211"/>
                </a:cubicBezTo>
                <a:cubicBezTo>
                  <a:pt x="135" y="210"/>
                  <a:pt x="135" y="210"/>
                  <a:pt x="135" y="210"/>
                </a:cubicBezTo>
                <a:cubicBezTo>
                  <a:pt x="134" y="210"/>
                  <a:pt x="134" y="210"/>
                  <a:pt x="134" y="210"/>
                </a:cubicBezTo>
                <a:cubicBezTo>
                  <a:pt x="135" y="209"/>
                  <a:pt x="135" y="209"/>
                  <a:pt x="135" y="209"/>
                </a:cubicBezTo>
                <a:cubicBezTo>
                  <a:pt x="137" y="210"/>
                  <a:pt x="137" y="210"/>
                  <a:pt x="137" y="210"/>
                </a:cubicBezTo>
                <a:cubicBezTo>
                  <a:pt x="139" y="208"/>
                  <a:pt x="139" y="208"/>
                  <a:pt x="139" y="208"/>
                </a:cubicBezTo>
                <a:cubicBezTo>
                  <a:pt x="141" y="208"/>
                  <a:pt x="141" y="208"/>
                  <a:pt x="141" y="208"/>
                </a:cubicBezTo>
                <a:cubicBezTo>
                  <a:pt x="143" y="206"/>
                  <a:pt x="143" y="206"/>
                  <a:pt x="143" y="206"/>
                </a:cubicBezTo>
                <a:cubicBezTo>
                  <a:pt x="145" y="206"/>
                  <a:pt x="145" y="206"/>
                  <a:pt x="145" y="206"/>
                </a:cubicBezTo>
                <a:cubicBezTo>
                  <a:pt x="147" y="203"/>
                  <a:pt x="147" y="203"/>
                  <a:pt x="147" y="203"/>
                </a:cubicBezTo>
                <a:cubicBezTo>
                  <a:pt x="147" y="200"/>
                  <a:pt x="147" y="200"/>
                  <a:pt x="147" y="200"/>
                </a:cubicBezTo>
                <a:cubicBezTo>
                  <a:pt x="146" y="200"/>
                  <a:pt x="146" y="200"/>
                  <a:pt x="146" y="200"/>
                </a:cubicBezTo>
                <a:cubicBezTo>
                  <a:pt x="146" y="200"/>
                  <a:pt x="146" y="200"/>
                  <a:pt x="146" y="200"/>
                </a:cubicBezTo>
                <a:cubicBezTo>
                  <a:pt x="145" y="197"/>
                  <a:pt x="145" y="197"/>
                  <a:pt x="145" y="197"/>
                </a:cubicBezTo>
                <a:cubicBezTo>
                  <a:pt x="144" y="197"/>
                  <a:pt x="144" y="197"/>
                  <a:pt x="144" y="197"/>
                </a:cubicBezTo>
                <a:cubicBezTo>
                  <a:pt x="141" y="197"/>
                  <a:pt x="141" y="197"/>
                  <a:pt x="141" y="197"/>
                </a:cubicBezTo>
                <a:cubicBezTo>
                  <a:pt x="142" y="195"/>
                  <a:pt x="142" y="195"/>
                  <a:pt x="142" y="195"/>
                </a:cubicBezTo>
                <a:cubicBezTo>
                  <a:pt x="142" y="193"/>
                  <a:pt x="142" y="193"/>
                  <a:pt x="142" y="193"/>
                </a:cubicBezTo>
                <a:cubicBezTo>
                  <a:pt x="144" y="192"/>
                  <a:pt x="144" y="192"/>
                  <a:pt x="144" y="192"/>
                </a:cubicBezTo>
                <a:cubicBezTo>
                  <a:pt x="145" y="191"/>
                  <a:pt x="145" y="191"/>
                  <a:pt x="145" y="191"/>
                </a:cubicBezTo>
                <a:cubicBezTo>
                  <a:pt x="146" y="191"/>
                  <a:pt x="146" y="191"/>
                  <a:pt x="146" y="191"/>
                </a:cubicBezTo>
                <a:cubicBezTo>
                  <a:pt x="147" y="189"/>
                  <a:pt x="147" y="189"/>
                  <a:pt x="147" y="189"/>
                </a:cubicBezTo>
                <a:cubicBezTo>
                  <a:pt x="146" y="189"/>
                  <a:pt x="146" y="189"/>
                  <a:pt x="146" y="189"/>
                </a:cubicBezTo>
                <a:cubicBezTo>
                  <a:pt x="147" y="188"/>
                  <a:pt x="147" y="188"/>
                  <a:pt x="147" y="188"/>
                </a:cubicBezTo>
                <a:cubicBezTo>
                  <a:pt x="149" y="189"/>
                  <a:pt x="149" y="189"/>
                  <a:pt x="149" y="189"/>
                </a:cubicBezTo>
                <a:cubicBezTo>
                  <a:pt x="152" y="187"/>
                  <a:pt x="152" y="187"/>
                  <a:pt x="152" y="187"/>
                </a:cubicBezTo>
                <a:cubicBezTo>
                  <a:pt x="154" y="189"/>
                  <a:pt x="154" y="189"/>
                  <a:pt x="154" y="189"/>
                </a:cubicBezTo>
                <a:cubicBezTo>
                  <a:pt x="156" y="187"/>
                  <a:pt x="156" y="187"/>
                  <a:pt x="156" y="187"/>
                </a:cubicBezTo>
                <a:cubicBezTo>
                  <a:pt x="156" y="189"/>
                  <a:pt x="156" y="189"/>
                  <a:pt x="156" y="189"/>
                </a:cubicBezTo>
                <a:cubicBezTo>
                  <a:pt x="157" y="190"/>
                  <a:pt x="157" y="190"/>
                  <a:pt x="157" y="190"/>
                </a:cubicBezTo>
                <a:cubicBezTo>
                  <a:pt x="158" y="190"/>
                  <a:pt x="158" y="190"/>
                  <a:pt x="158" y="190"/>
                </a:cubicBezTo>
                <a:cubicBezTo>
                  <a:pt x="160" y="187"/>
                  <a:pt x="160" y="187"/>
                  <a:pt x="160" y="187"/>
                </a:cubicBezTo>
                <a:cubicBezTo>
                  <a:pt x="159" y="186"/>
                  <a:pt x="159" y="186"/>
                  <a:pt x="159" y="186"/>
                </a:cubicBezTo>
                <a:cubicBezTo>
                  <a:pt x="158" y="186"/>
                  <a:pt x="158" y="186"/>
                  <a:pt x="158" y="186"/>
                </a:cubicBezTo>
                <a:cubicBezTo>
                  <a:pt x="158" y="185"/>
                  <a:pt x="158" y="185"/>
                  <a:pt x="158" y="185"/>
                </a:cubicBezTo>
                <a:cubicBezTo>
                  <a:pt x="159" y="185"/>
                  <a:pt x="159" y="185"/>
                  <a:pt x="159" y="185"/>
                </a:cubicBezTo>
                <a:cubicBezTo>
                  <a:pt x="161" y="185"/>
                  <a:pt x="161" y="185"/>
                  <a:pt x="161" y="185"/>
                </a:cubicBezTo>
                <a:cubicBezTo>
                  <a:pt x="164" y="184"/>
                  <a:pt x="164" y="184"/>
                  <a:pt x="164" y="184"/>
                </a:cubicBezTo>
                <a:cubicBezTo>
                  <a:pt x="165" y="182"/>
                  <a:pt x="165" y="182"/>
                  <a:pt x="165" y="182"/>
                </a:cubicBezTo>
                <a:cubicBezTo>
                  <a:pt x="164" y="179"/>
                  <a:pt x="164" y="179"/>
                  <a:pt x="164" y="179"/>
                </a:cubicBezTo>
                <a:cubicBezTo>
                  <a:pt x="161" y="177"/>
                  <a:pt x="161" y="177"/>
                  <a:pt x="161" y="177"/>
                </a:cubicBezTo>
                <a:cubicBezTo>
                  <a:pt x="160" y="178"/>
                  <a:pt x="160" y="178"/>
                  <a:pt x="160" y="178"/>
                </a:cubicBezTo>
                <a:cubicBezTo>
                  <a:pt x="159" y="178"/>
                  <a:pt x="159" y="178"/>
                  <a:pt x="159" y="178"/>
                </a:cubicBezTo>
                <a:cubicBezTo>
                  <a:pt x="159" y="178"/>
                  <a:pt x="159" y="178"/>
                  <a:pt x="159" y="178"/>
                </a:cubicBezTo>
                <a:cubicBezTo>
                  <a:pt x="160" y="177"/>
                  <a:pt x="160" y="177"/>
                  <a:pt x="160" y="177"/>
                </a:cubicBezTo>
                <a:cubicBezTo>
                  <a:pt x="163" y="177"/>
                  <a:pt x="163" y="177"/>
                  <a:pt x="163" y="177"/>
                </a:cubicBezTo>
                <a:cubicBezTo>
                  <a:pt x="164" y="178"/>
                  <a:pt x="164" y="178"/>
                  <a:pt x="164" y="178"/>
                </a:cubicBezTo>
                <a:cubicBezTo>
                  <a:pt x="167" y="178"/>
                  <a:pt x="167" y="178"/>
                  <a:pt x="167" y="178"/>
                </a:cubicBezTo>
                <a:cubicBezTo>
                  <a:pt x="169" y="176"/>
                  <a:pt x="169" y="176"/>
                  <a:pt x="169" y="176"/>
                </a:cubicBezTo>
                <a:cubicBezTo>
                  <a:pt x="169" y="175"/>
                  <a:pt x="169" y="175"/>
                  <a:pt x="169" y="175"/>
                </a:cubicBezTo>
                <a:cubicBezTo>
                  <a:pt x="174" y="172"/>
                  <a:pt x="174" y="172"/>
                  <a:pt x="174" y="172"/>
                </a:cubicBezTo>
                <a:cubicBezTo>
                  <a:pt x="176" y="170"/>
                  <a:pt x="176" y="170"/>
                  <a:pt x="176" y="170"/>
                </a:cubicBezTo>
                <a:cubicBezTo>
                  <a:pt x="178" y="170"/>
                  <a:pt x="178" y="170"/>
                  <a:pt x="178" y="170"/>
                </a:cubicBezTo>
                <a:cubicBezTo>
                  <a:pt x="179" y="169"/>
                  <a:pt x="179" y="169"/>
                  <a:pt x="179" y="169"/>
                </a:cubicBezTo>
                <a:cubicBezTo>
                  <a:pt x="179" y="168"/>
                  <a:pt x="179" y="168"/>
                  <a:pt x="179" y="168"/>
                </a:cubicBezTo>
                <a:cubicBezTo>
                  <a:pt x="183" y="165"/>
                  <a:pt x="183" y="165"/>
                  <a:pt x="183" y="165"/>
                </a:cubicBezTo>
                <a:cubicBezTo>
                  <a:pt x="187" y="164"/>
                  <a:pt x="187" y="164"/>
                  <a:pt x="187" y="164"/>
                </a:cubicBezTo>
                <a:cubicBezTo>
                  <a:pt x="191" y="161"/>
                  <a:pt x="191" y="161"/>
                  <a:pt x="191" y="161"/>
                </a:cubicBezTo>
                <a:cubicBezTo>
                  <a:pt x="194" y="160"/>
                  <a:pt x="194" y="160"/>
                  <a:pt x="194" y="160"/>
                </a:cubicBezTo>
                <a:cubicBezTo>
                  <a:pt x="198" y="156"/>
                  <a:pt x="198" y="156"/>
                  <a:pt x="198" y="156"/>
                </a:cubicBezTo>
                <a:cubicBezTo>
                  <a:pt x="196" y="159"/>
                  <a:pt x="196" y="159"/>
                  <a:pt x="196" y="159"/>
                </a:cubicBezTo>
                <a:cubicBezTo>
                  <a:pt x="197" y="161"/>
                  <a:pt x="197" y="161"/>
                  <a:pt x="197" y="161"/>
                </a:cubicBezTo>
                <a:cubicBezTo>
                  <a:pt x="198" y="162"/>
                  <a:pt x="198" y="162"/>
                  <a:pt x="198" y="162"/>
                </a:cubicBezTo>
                <a:cubicBezTo>
                  <a:pt x="199" y="162"/>
                  <a:pt x="199" y="162"/>
                  <a:pt x="199" y="162"/>
                </a:cubicBezTo>
                <a:cubicBezTo>
                  <a:pt x="200" y="163"/>
                  <a:pt x="200" y="163"/>
                  <a:pt x="200" y="163"/>
                </a:cubicBezTo>
                <a:cubicBezTo>
                  <a:pt x="202" y="160"/>
                  <a:pt x="202" y="160"/>
                  <a:pt x="202" y="160"/>
                </a:cubicBezTo>
                <a:cubicBezTo>
                  <a:pt x="204" y="159"/>
                  <a:pt x="204" y="159"/>
                  <a:pt x="204" y="159"/>
                </a:cubicBezTo>
                <a:cubicBezTo>
                  <a:pt x="208" y="158"/>
                  <a:pt x="208" y="158"/>
                  <a:pt x="208" y="158"/>
                </a:cubicBezTo>
                <a:cubicBezTo>
                  <a:pt x="210" y="156"/>
                  <a:pt x="210" y="156"/>
                  <a:pt x="210" y="156"/>
                </a:cubicBezTo>
                <a:cubicBezTo>
                  <a:pt x="209" y="159"/>
                  <a:pt x="209" y="159"/>
                  <a:pt x="209" y="159"/>
                </a:cubicBezTo>
                <a:cubicBezTo>
                  <a:pt x="206" y="160"/>
                  <a:pt x="206" y="160"/>
                  <a:pt x="206" y="160"/>
                </a:cubicBezTo>
                <a:cubicBezTo>
                  <a:pt x="203" y="161"/>
                  <a:pt x="203" y="161"/>
                  <a:pt x="203" y="161"/>
                </a:cubicBezTo>
                <a:cubicBezTo>
                  <a:pt x="199" y="165"/>
                  <a:pt x="199" y="165"/>
                  <a:pt x="199" y="165"/>
                </a:cubicBezTo>
                <a:cubicBezTo>
                  <a:pt x="199" y="167"/>
                  <a:pt x="199" y="167"/>
                  <a:pt x="199" y="167"/>
                </a:cubicBezTo>
                <a:cubicBezTo>
                  <a:pt x="201" y="170"/>
                  <a:pt x="201" y="170"/>
                  <a:pt x="201" y="170"/>
                </a:cubicBezTo>
                <a:cubicBezTo>
                  <a:pt x="201" y="172"/>
                  <a:pt x="201" y="172"/>
                  <a:pt x="201" y="172"/>
                </a:cubicBezTo>
                <a:cubicBezTo>
                  <a:pt x="199" y="171"/>
                  <a:pt x="199" y="171"/>
                  <a:pt x="199" y="171"/>
                </a:cubicBezTo>
                <a:cubicBezTo>
                  <a:pt x="198" y="171"/>
                  <a:pt x="198" y="171"/>
                  <a:pt x="198" y="171"/>
                </a:cubicBezTo>
                <a:cubicBezTo>
                  <a:pt x="197" y="171"/>
                  <a:pt x="197" y="171"/>
                  <a:pt x="197" y="171"/>
                </a:cubicBezTo>
                <a:cubicBezTo>
                  <a:pt x="195" y="171"/>
                  <a:pt x="195" y="171"/>
                  <a:pt x="195" y="171"/>
                </a:cubicBezTo>
                <a:cubicBezTo>
                  <a:pt x="193" y="170"/>
                  <a:pt x="193" y="170"/>
                  <a:pt x="193" y="170"/>
                </a:cubicBezTo>
                <a:cubicBezTo>
                  <a:pt x="193" y="167"/>
                  <a:pt x="193" y="167"/>
                  <a:pt x="193" y="167"/>
                </a:cubicBezTo>
                <a:cubicBezTo>
                  <a:pt x="189" y="169"/>
                  <a:pt x="189" y="169"/>
                  <a:pt x="189" y="169"/>
                </a:cubicBezTo>
                <a:cubicBezTo>
                  <a:pt x="188" y="169"/>
                  <a:pt x="188" y="169"/>
                  <a:pt x="188" y="169"/>
                </a:cubicBezTo>
                <a:cubicBezTo>
                  <a:pt x="185" y="171"/>
                  <a:pt x="185" y="171"/>
                  <a:pt x="185" y="171"/>
                </a:cubicBezTo>
                <a:cubicBezTo>
                  <a:pt x="182" y="171"/>
                  <a:pt x="182" y="171"/>
                  <a:pt x="182" y="171"/>
                </a:cubicBezTo>
                <a:cubicBezTo>
                  <a:pt x="180" y="173"/>
                  <a:pt x="180" y="173"/>
                  <a:pt x="180" y="173"/>
                </a:cubicBezTo>
                <a:cubicBezTo>
                  <a:pt x="180" y="175"/>
                  <a:pt x="180" y="175"/>
                  <a:pt x="180" y="175"/>
                </a:cubicBezTo>
                <a:cubicBezTo>
                  <a:pt x="180" y="176"/>
                  <a:pt x="180" y="176"/>
                  <a:pt x="180" y="176"/>
                </a:cubicBezTo>
                <a:cubicBezTo>
                  <a:pt x="179" y="179"/>
                  <a:pt x="179" y="179"/>
                  <a:pt x="179" y="179"/>
                </a:cubicBezTo>
                <a:cubicBezTo>
                  <a:pt x="177" y="180"/>
                  <a:pt x="177" y="180"/>
                  <a:pt x="177" y="180"/>
                </a:cubicBezTo>
                <a:cubicBezTo>
                  <a:pt x="176" y="183"/>
                  <a:pt x="176" y="183"/>
                  <a:pt x="176" y="183"/>
                </a:cubicBezTo>
                <a:cubicBezTo>
                  <a:pt x="170" y="188"/>
                  <a:pt x="170" y="188"/>
                  <a:pt x="170" y="188"/>
                </a:cubicBezTo>
                <a:cubicBezTo>
                  <a:pt x="168" y="190"/>
                  <a:pt x="168" y="190"/>
                  <a:pt x="168" y="190"/>
                </a:cubicBezTo>
                <a:cubicBezTo>
                  <a:pt x="168" y="191"/>
                  <a:pt x="168" y="191"/>
                  <a:pt x="168" y="191"/>
                </a:cubicBezTo>
                <a:cubicBezTo>
                  <a:pt x="170" y="194"/>
                  <a:pt x="170" y="194"/>
                  <a:pt x="170" y="194"/>
                </a:cubicBezTo>
                <a:cubicBezTo>
                  <a:pt x="171" y="193"/>
                  <a:pt x="171" y="193"/>
                  <a:pt x="171" y="193"/>
                </a:cubicBezTo>
                <a:cubicBezTo>
                  <a:pt x="173" y="193"/>
                  <a:pt x="173" y="193"/>
                  <a:pt x="173" y="193"/>
                </a:cubicBezTo>
                <a:cubicBezTo>
                  <a:pt x="174" y="191"/>
                  <a:pt x="174" y="191"/>
                  <a:pt x="174" y="191"/>
                </a:cubicBezTo>
                <a:cubicBezTo>
                  <a:pt x="176" y="192"/>
                  <a:pt x="176" y="192"/>
                  <a:pt x="176" y="192"/>
                </a:cubicBezTo>
                <a:cubicBezTo>
                  <a:pt x="176" y="193"/>
                  <a:pt x="176" y="193"/>
                  <a:pt x="176" y="193"/>
                </a:cubicBezTo>
                <a:cubicBezTo>
                  <a:pt x="172" y="196"/>
                  <a:pt x="172" y="196"/>
                  <a:pt x="172" y="196"/>
                </a:cubicBezTo>
                <a:cubicBezTo>
                  <a:pt x="171" y="196"/>
                  <a:pt x="171" y="196"/>
                  <a:pt x="171" y="196"/>
                </a:cubicBezTo>
                <a:cubicBezTo>
                  <a:pt x="170" y="197"/>
                  <a:pt x="170" y="197"/>
                  <a:pt x="170" y="197"/>
                </a:cubicBezTo>
                <a:cubicBezTo>
                  <a:pt x="168" y="197"/>
                  <a:pt x="168" y="197"/>
                  <a:pt x="168" y="197"/>
                </a:cubicBezTo>
                <a:cubicBezTo>
                  <a:pt x="166" y="197"/>
                  <a:pt x="166" y="197"/>
                  <a:pt x="166" y="197"/>
                </a:cubicBezTo>
                <a:cubicBezTo>
                  <a:pt x="165" y="197"/>
                  <a:pt x="165" y="197"/>
                  <a:pt x="165" y="197"/>
                </a:cubicBezTo>
                <a:cubicBezTo>
                  <a:pt x="165" y="199"/>
                  <a:pt x="165" y="199"/>
                  <a:pt x="165" y="199"/>
                </a:cubicBezTo>
                <a:cubicBezTo>
                  <a:pt x="164" y="199"/>
                  <a:pt x="164" y="199"/>
                  <a:pt x="164" y="199"/>
                </a:cubicBezTo>
                <a:cubicBezTo>
                  <a:pt x="162" y="199"/>
                  <a:pt x="162" y="199"/>
                  <a:pt x="162" y="199"/>
                </a:cubicBezTo>
                <a:cubicBezTo>
                  <a:pt x="162" y="201"/>
                  <a:pt x="162" y="201"/>
                  <a:pt x="162" y="201"/>
                </a:cubicBezTo>
                <a:cubicBezTo>
                  <a:pt x="165" y="205"/>
                  <a:pt x="165" y="205"/>
                  <a:pt x="165" y="205"/>
                </a:cubicBezTo>
                <a:cubicBezTo>
                  <a:pt x="166" y="204"/>
                  <a:pt x="166" y="204"/>
                  <a:pt x="166" y="204"/>
                </a:cubicBezTo>
                <a:cubicBezTo>
                  <a:pt x="167" y="203"/>
                  <a:pt x="167" y="203"/>
                  <a:pt x="167" y="203"/>
                </a:cubicBezTo>
                <a:cubicBezTo>
                  <a:pt x="168" y="204"/>
                  <a:pt x="168" y="204"/>
                  <a:pt x="168" y="204"/>
                </a:cubicBezTo>
                <a:cubicBezTo>
                  <a:pt x="168" y="202"/>
                  <a:pt x="168" y="202"/>
                  <a:pt x="168" y="202"/>
                </a:cubicBezTo>
                <a:cubicBezTo>
                  <a:pt x="170" y="202"/>
                  <a:pt x="170" y="202"/>
                  <a:pt x="170" y="202"/>
                </a:cubicBezTo>
                <a:cubicBezTo>
                  <a:pt x="170" y="203"/>
                  <a:pt x="170" y="203"/>
                  <a:pt x="170" y="203"/>
                </a:cubicBezTo>
                <a:cubicBezTo>
                  <a:pt x="171" y="203"/>
                  <a:pt x="171" y="203"/>
                  <a:pt x="171" y="203"/>
                </a:cubicBezTo>
                <a:cubicBezTo>
                  <a:pt x="171" y="201"/>
                  <a:pt x="171" y="201"/>
                  <a:pt x="171" y="201"/>
                </a:cubicBezTo>
                <a:cubicBezTo>
                  <a:pt x="173" y="201"/>
                  <a:pt x="173" y="201"/>
                  <a:pt x="173" y="201"/>
                </a:cubicBezTo>
                <a:cubicBezTo>
                  <a:pt x="175" y="199"/>
                  <a:pt x="175" y="199"/>
                  <a:pt x="175" y="199"/>
                </a:cubicBezTo>
                <a:cubicBezTo>
                  <a:pt x="175" y="197"/>
                  <a:pt x="175" y="197"/>
                  <a:pt x="175" y="197"/>
                </a:cubicBezTo>
                <a:cubicBezTo>
                  <a:pt x="177" y="196"/>
                  <a:pt x="177" y="196"/>
                  <a:pt x="177" y="196"/>
                </a:cubicBezTo>
                <a:cubicBezTo>
                  <a:pt x="177" y="197"/>
                  <a:pt x="177" y="197"/>
                  <a:pt x="177" y="197"/>
                </a:cubicBezTo>
                <a:cubicBezTo>
                  <a:pt x="176" y="198"/>
                  <a:pt x="176" y="198"/>
                  <a:pt x="176" y="198"/>
                </a:cubicBezTo>
                <a:cubicBezTo>
                  <a:pt x="177" y="199"/>
                  <a:pt x="177" y="199"/>
                  <a:pt x="177" y="199"/>
                </a:cubicBezTo>
                <a:cubicBezTo>
                  <a:pt x="179" y="199"/>
                  <a:pt x="179" y="199"/>
                  <a:pt x="179" y="199"/>
                </a:cubicBezTo>
                <a:cubicBezTo>
                  <a:pt x="182" y="196"/>
                  <a:pt x="182" y="196"/>
                  <a:pt x="182" y="196"/>
                </a:cubicBezTo>
                <a:cubicBezTo>
                  <a:pt x="184" y="196"/>
                  <a:pt x="184" y="196"/>
                  <a:pt x="184" y="196"/>
                </a:cubicBezTo>
                <a:cubicBezTo>
                  <a:pt x="185" y="197"/>
                  <a:pt x="185" y="197"/>
                  <a:pt x="185" y="197"/>
                </a:cubicBezTo>
                <a:cubicBezTo>
                  <a:pt x="186" y="197"/>
                  <a:pt x="186" y="197"/>
                  <a:pt x="186" y="197"/>
                </a:cubicBezTo>
                <a:cubicBezTo>
                  <a:pt x="187" y="193"/>
                  <a:pt x="187" y="193"/>
                  <a:pt x="187" y="193"/>
                </a:cubicBezTo>
                <a:cubicBezTo>
                  <a:pt x="189" y="191"/>
                  <a:pt x="189" y="191"/>
                  <a:pt x="189" y="191"/>
                </a:cubicBezTo>
                <a:cubicBezTo>
                  <a:pt x="190" y="192"/>
                  <a:pt x="190" y="192"/>
                  <a:pt x="190" y="192"/>
                </a:cubicBezTo>
                <a:cubicBezTo>
                  <a:pt x="188" y="194"/>
                  <a:pt x="188" y="194"/>
                  <a:pt x="188" y="194"/>
                </a:cubicBezTo>
                <a:cubicBezTo>
                  <a:pt x="188" y="196"/>
                  <a:pt x="188" y="196"/>
                  <a:pt x="188" y="196"/>
                </a:cubicBezTo>
                <a:cubicBezTo>
                  <a:pt x="189" y="195"/>
                  <a:pt x="189" y="195"/>
                  <a:pt x="189" y="195"/>
                </a:cubicBezTo>
                <a:cubicBezTo>
                  <a:pt x="191" y="192"/>
                  <a:pt x="191" y="192"/>
                  <a:pt x="191" y="192"/>
                </a:cubicBezTo>
                <a:cubicBezTo>
                  <a:pt x="193" y="189"/>
                  <a:pt x="193" y="189"/>
                  <a:pt x="193" y="189"/>
                </a:cubicBezTo>
                <a:cubicBezTo>
                  <a:pt x="194" y="188"/>
                  <a:pt x="194" y="188"/>
                  <a:pt x="194" y="188"/>
                </a:cubicBezTo>
                <a:cubicBezTo>
                  <a:pt x="194" y="189"/>
                  <a:pt x="194" y="189"/>
                  <a:pt x="194" y="189"/>
                </a:cubicBezTo>
                <a:cubicBezTo>
                  <a:pt x="193" y="192"/>
                  <a:pt x="193" y="192"/>
                  <a:pt x="193" y="192"/>
                </a:cubicBezTo>
                <a:cubicBezTo>
                  <a:pt x="193" y="193"/>
                  <a:pt x="193" y="193"/>
                  <a:pt x="193" y="193"/>
                </a:cubicBezTo>
                <a:cubicBezTo>
                  <a:pt x="195" y="190"/>
                  <a:pt x="195" y="190"/>
                  <a:pt x="195" y="190"/>
                </a:cubicBezTo>
                <a:cubicBezTo>
                  <a:pt x="196" y="191"/>
                  <a:pt x="196" y="191"/>
                  <a:pt x="196" y="191"/>
                </a:cubicBezTo>
                <a:cubicBezTo>
                  <a:pt x="196" y="193"/>
                  <a:pt x="196" y="193"/>
                  <a:pt x="196" y="193"/>
                </a:cubicBezTo>
                <a:cubicBezTo>
                  <a:pt x="198" y="193"/>
                  <a:pt x="198" y="193"/>
                  <a:pt x="198" y="193"/>
                </a:cubicBezTo>
                <a:cubicBezTo>
                  <a:pt x="199" y="194"/>
                  <a:pt x="199" y="194"/>
                  <a:pt x="199" y="194"/>
                </a:cubicBezTo>
                <a:cubicBezTo>
                  <a:pt x="201" y="192"/>
                  <a:pt x="201" y="192"/>
                  <a:pt x="201" y="192"/>
                </a:cubicBezTo>
                <a:cubicBezTo>
                  <a:pt x="201" y="190"/>
                  <a:pt x="201" y="190"/>
                  <a:pt x="201" y="190"/>
                </a:cubicBezTo>
                <a:cubicBezTo>
                  <a:pt x="204" y="190"/>
                  <a:pt x="204" y="190"/>
                  <a:pt x="204" y="190"/>
                </a:cubicBezTo>
                <a:cubicBezTo>
                  <a:pt x="206" y="189"/>
                  <a:pt x="206" y="189"/>
                  <a:pt x="206" y="189"/>
                </a:cubicBezTo>
                <a:cubicBezTo>
                  <a:pt x="205" y="188"/>
                  <a:pt x="205" y="188"/>
                  <a:pt x="205" y="188"/>
                </a:cubicBezTo>
                <a:cubicBezTo>
                  <a:pt x="205" y="186"/>
                  <a:pt x="205" y="186"/>
                  <a:pt x="205" y="186"/>
                </a:cubicBezTo>
                <a:cubicBezTo>
                  <a:pt x="209" y="185"/>
                  <a:pt x="209" y="185"/>
                  <a:pt x="209" y="185"/>
                </a:cubicBezTo>
                <a:cubicBezTo>
                  <a:pt x="210" y="183"/>
                  <a:pt x="210" y="183"/>
                  <a:pt x="210" y="183"/>
                </a:cubicBezTo>
                <a:cubicBezTo>
                  <a:pt x="210" y="181"/>
                  <a:pt x="210" y="181"/>
                  <a:pt x="210" y="181"/>
                </a:cubicBezTo>
                <a:cubicBezTo>
                  <a:pt x="208" y="182"/>
                  <a:pt x="208" y="182"/>
                  <a:pt x="208" y="182"/>
                </a:cubicBezTo>
                <a:cubicBezTo>
                  <a:pt x="206" y="181"/>
                  <a:pt x="206" y="181"/>
                  <a:pt x="206" y="181"/>
                </a:cubicBezTo>
                <a:cubicBezTo>
                  <a:pt x="204" y="180"/>
                  <a:pt x="204" y="180"/>
                  <a:pt x="204" y="180"/>
                </a:cubicBezTo>
                <a:cubicBezTo>
                  <a:pt x="205" y="179"/>
                  <a:pt x="205" y="179"/>
                  <a:pt x="205" y="179"/>
                </a:cubicBezTo>
                <a:cubicBezTo>
                  <a:pt x="207" y="179"/>
                  <a:pt x="207" y="179"/>
                  <a:pt x="207" y="179"/>
                </a:cubicBezTo>
                <a:cubicBezTo>
                  <a:pt x="208" y="180"/>
                  <a:pt x="208" y="180"/>
                  <a:pt x="208" y="180"/>
                </a:cubicBezTo>
                <a:cubicBezTo>
                  <a:pt x="209" y="179"/>
                  <a:pt x="209" y="179"/>
                  <a:pt x="209" y="179"/>
                </a:cubicBezTo>
                <a:cubicBezTo>
                  <a:pt x="209" y="177"/>
                  <a:pt x="209" y="177"/>
                  <a:pt x="209" y="177"/>
                </a:cubicBezTo>
                <a:cubicBezTo>
                  <a:pt x="207" y="178"/>
                  <a:pt x="207" y="178"/>
                  <a:pt x="207" y="178"/>
                </a:cubicBezTo>
                <a:cubicBezTo>
                  <a:pt x="205" y="176"/>
                  <a:pt x="205" y="176"/>
                  <a:pt x="205" y="176"/>
                </a:cubicBezTo>
                <a:cubicBezTo>
                  <a:pt x="205" y="174"/>
                  <a:pt x="205" y="174"/>
                  <a:pt x="205" y="174"/>
                </a:cubicBezTo>
                <a:cubicBezTo>
                  <a:pt x="208" y="174"/>
                  <a:pt x="208" y="174"/>
                  <a:pt x="208" y="174"/>
                </a:cubicBezTo>
                <a:cubicBezTo>
                  <a:pt x="209" y="173"/>
                  <a:pt x="209" y="173"/>
                  <a:pt x="209" y="173"/>
                </a:cubicBezTo>
                <a:cubicBezTo>
                  <a:pt x="210" y="174"/>
                  <a:pt x="210" y="174"/>
                  <a:pt x="210" y="174"/>
                </a:cubicBezTo>
                <a:cubicBezTo>
                  <a:pt x="210" y="173"/>
                  <a:pt x="210" y="173"/>
                  <a:pt x="210" y="173"/>
                </a:cubicBezTo>
                <a:cubicBezTo>
                  <a:pt x="210" y="171"/>
                  <a:pt x="210" y="171"/>
                  <a:pt x="210" y="171"/>
                </a:cubicBezTo>
                <a:cubicBezTo>
                  <a:pt x="213" y="169"/>
                  <a:pt x="213" y="169"/>
                  <a:pt x="213" y="169"/>
                </a:cubicBezTo>
                <a:cubicBezTo>
                  <a:pt x="215" y="171"/>
                  <a:pt x="215" y="171"/>
                  <a:pt x="215" y="171"/>
                </a:cubicBezTo>
                <a:cubicBezTo>
                  <a:pt x="216" y="170"/>
                  <a:pt x="216" y="170"/>
                  <a:pt x="216" y="170"/>
                </a:cubicBezTo>
                <a:cubicBezTo>
                  <a:pt x="219" y="170"/>
                  <a:pt x="219" y="170"/>
                  <a:pt x="219" y="170"/>
                </a:cubicBezTo>
                <a:cubicBezTo>
                  <a:pt x="215" y="173"/>
                  <a:pt x="215" y="173"/>
                  <a:pt x="215" y="173"/>
                </a:cubicBezTo>
                <a:cubicBezTo>
                  <a:pt x="215" y="175"/>
                  <a:pt x="215" y="175"/>
                  <a:pt x="215" y="175"/>
                </a:cubicBezTo>
                <a:cubicBezTo>
                  <a:pt x="216" y="178"/>
                  <a:pt x="216" y="178"/>
                  <a:pt x="216" y="178"/>
                </a:cubicBezTo>
                <a:cubicBezTo>
                  <a:pt x="217" y="178"/>
                  <a:pt x="217" y="178"/>
                  <a:pt x="217" y="178"/>
                </a:cubicBezTo>
                <a:cubicBezTo>
                  <a:pt x="218" y="174"/>
                  <a:pt x="218" y="174"/>
                  <a:pt x="218" y="174"/>
                </a:cubicBezTo>
                <a:cubicBezTo>
                  <a:pt x="219" y="173"/>
                  <a:pt x="219" y="173"/>
                  <a:pt x="219" y="173"/>
                </a:cubicBezTo>
                <a:cubicBezTo>
                  <a:pt x="220" y="173"/>
                  <a:pt x="220" y="173"/>
                  <a:pt x="220" y="173"/>
                </a:cubicBezTo>
                <a:cubicBezTo>
                  <a:pt x="220" y="174"/>
                  <a:pt x="220" y="174"/>
                  <a:pt x="220" y="174"/>
                </a:cubicBezTo>
                <a:cubicBezTo>
                  <a:pt x="219" y="176"/>
                  <a:pt x="219" y="176"/>
                  <a:pt x="219" y="176"/>
                </a:cubicBezTo>
                <a:cubicBezTo>
                  <a:pt x="219" y="177"/>
                  <a:pt x="219" y="177"/>
                  <a:pt x="219" y="177"/>
                </a:cubicBezTo>
                <a:cubicBezTo>
                  <a:pt x="221" y="175"/>
                  <a:pt x="221" y="175"/>
                  <a:pt x="221" y="175"/>
                </a:cubicBezTo>
                <a:cubicBezTo>
                  <a:pt x="222" y="174"/>
                  <a:pt x="222" y="174"/>
                  <a:pt x="222" y="174"/>
                </a:cubicBezTo>
                <a:cubicBezTo>
                  <a:pt x="223" y="175"/>
                  <a:pt x="223" y="175"/>
                  <a:pt x="223" y="175"/>
                </a:cubicBezTo>
                <a:cubicBezTo>
                  <a:pt x="225" y="174"/>
                  <a:pt x="225" y="174"/>
                  <a:pt x="225" y="174"/>
                </a:cubicBezTo>
                <a:cubicBezTo>
                  <a:pt x="226" y="174"/>
                  <a:pt x="226" y="174"/>
                  <a:pt x="226" y="174"/>
                </a:cubicBezTo>
                <a:cubicBezTo>
                  <a:pt x="228" y="172"/>
                  <a:pt x="228" y="172"/>
                  <a:pt x="228" y="172"/>
                </a:cubicBezTo>
                <a:cubicBezTo>
                  <a:pt x="230" y="172"/>
                  <a:pt x="230" y="172"/>
                  <a:pt x="230" y="172"/>
                </a:cubicBezTo>
                <a:cubicBezTo>
                  <a:pt x="232" y="172"/>
                  <a:pt x="232" y="172"/>
                  <a:pt x="232" y="172"/>
                </a:cubicBezTo>
                <a:cubicBezTo>
                  <a:pt x="232" y="173"/>
                  <a:pt x="232" y="173"/>
                  <a:pt x="232" y="173"/>
                </a:cubicBezTo>
                <a:cubicBezTo>
                  <a:pt x="230" y="173"/>
                  <a:pt x="230" y="173"/>
                  <a:pt x="230" y="173"/>
                </a:cubicBezTo>
                <a:cubicBezTo>
                  <a:pt x="228" y="175"/>
                  <a:pt x="228" y="175"/>
                  <a:pt x="228" y="175"/>
                </a:cubicBezTo>
                <a:cubicBezTo>
                  <a:pt x="226" y="175"/>
                  <a:pt x="226" y="175"/>
                  <a:pt x="226" y="175"/>
                </a:cubicBezTo>
                <a:cubicBezTo>
                  <a:pt x="225" y="177"/>
                  <a:pt x="225" y="177"/>
                  <a:pt x="225" y="177"/>
                </a:cubicBezTo>
                <a:cubicBezTo>
                  <a:pt x="226" y="178"/>
                  <a:pt x="226" y="178"/>
                  <a:pt x="226" y="178"/>
                </a:cubicBezTo>
                <a:cubicBezTo>
                  <a:pt x="230" y="179"/>
                  <a:pt x="230" y="179"/>
                  <a:pt x="230" y="179"/>
                </a:cubicBezTo>
                <a:cubicBezTo>
                  <a:pt x="231" y="180"/>
                  <a:pt x="231" y="180"/>
                  <a:pt x="231" y="180"/>
                </a:cubicBezTo>
                <a:cubicBezTo>
                  <a:pt x="231" y="181"/>
                  <a:pt x="231" y="181"/>
                  <a:pt x="231" y="181"/>
                </a:cubicBezTo>
                <a:cubicBezTo>
                  <a:pt x="229" y="179"/>
                  <a:pt x="229" y="179"/>
                  <a:pt x="229" y="179"/>
                </a:cubicBezTo>
                <a:cubicBezTo>
                  <a:pt x="226" y="179"/>
                  <a:pt x="226" y="179"/>
                  <a:pt x="226" y="179"/>
                </a:cubicBezTo>
                <a:cubicBezTo>
                  <a:pt x="224" y="180"/>
                  <a:pt x="224" y="180"/>
                  <a:pt x="224" y="180"/>
                </a:cubicBezTo>
                <a:cubicBezTo>
                  <a:pt x="224" y="181"/>
                  <a:pt x="224" y="181"/>
                  <a:pt x="224" y="181"/>
                </a:cubicBezTo>
                <a:cubicBezTo>
                  <a:pt x="226" y="182"/>
                  <a:pt x="226" y="182"/>
                  <a:pt x="226" y="182"/>
                </a:cubicBezTo>
                <a:cubicBezTo>
                  <a:pt x="227" y="181"/>
                  <a:pt x="227" y="181"/>
                  <a:pt x="227" y="181"/>
                </a:cubicBezTo>
                <a:cubicBezTo>
                  <a:pt x="229" y="182"/>
                  <a:pt x="229" y="182"/>
                  <a:pt x="229" y="182"/>
                </a:cubicBezTo>
                <a:cubicBezTo>
                  <a:pt x="228" y="183"/>
                  <a:pt x="228" y="183"/>
                  <a:pt x="228" y="183"/>
                </a:cubicBezTo>
                <a:cubicBezTo>
                  <a:pt x="226" y="183"/>
                  <a:pt x="226" y="183"/>
                  <a:pt x="226" y="183"/>
                </a:cubicBezTo>
                <a:cubicBezTo>
                  <a:pt x="226" y="184"/>
                  <a:pt x="226" y="184"/>
                  <a:pt x="226" y="184"/>
                </a:cubicBezTo>
                <a:cubicBezTo>
                  <a:pt x="229" y="185"/>
                  <a:pt x="229" y="185"/>
                  <a:pt x="229" y="185"/>
                </a:cubicBezTo>
                <a:cubicBezTo>
                  <a:pt x="230" y="186"/>
                  <a:pt x="230" y="186"/>
                  <a:pt x="230" y="186"/>
                </a:cubicBezTo>
                <a:cubicBezTo>
                  <a:pt x="228" y="187"/>
                  <a:pt x="228" y="187"/>
                  <a:pt x="228" y="187"/>
                </a:cubicBezTo>
                <a:cubicBezTo>
                  <a:pt x="227" y="187"/>
                  <a:pt x="227" y="187"/>
                  <a:pt x="227" y="187"/>
                </a:cubicBezTo>
                <a:cubicBezTo>
                  <a:pt x="227" y="188"/>
                  <a:pt x="227" y="188"/>
                  <a:pt x="227" y="188"/>
                </a:cubicBezTo>
                <a:cubicBezTo>
                  <a:pt x="229" y="188"/>
                  <a:pt x="229" y="188"/>
                  <a:pt x="229" y="188"/>
                </a:cubicBezTo>
                <a:cubicBezTo>
                  <a:pt x="231" y="187"/>
                  <a:pt x="231" y="187"/>
                  <a:pt x="231" y="187"/>
                </a:cubicBezTo>
                <a:cubicBezTo>
                  <a:pt x="233" y="189"/>
                  <a:pt x="233" y="189"/>
                  <a:pt x="233" y="189"/>
                </a:cubicBezTo>
                <a:cubicBezTo>
                  <a:pt x="234" y="190"/>
                  <a:pt x="234" y="190"/>
                  <a:pt x="234" y="190"/>
                </a:cubicBezTo>
                <a:cubicBezTo>
                  <a:pt x="237" y="189"/>
                  <a:pt x="237" y="189"/>
                  <a:pt x="237" y="189"/>
                </a:cubicBezTo>
                <a:cubicBezTo>
                  <a:pt x="238" y="190"/>
                  <a:pt x="238" y="190"/>
                  <a:pt x="238" y="190"/>
                </a:cubicBezTo>
                <a:cubicBezTo>
                  <a:pt x="238" y="191"/>
                  <a:pt x="238" y="191"/>
                  <a:pt x="238" y="191"/>
                </a:cubicBezTo>
                <a:cubicBezTo>
                  <a:pt x="237" y="192"/>
                  <a:pt x="237" y="192"/>
                  <a:pt x="237" y="192"/>
                </a:cubicBezTo>
                <a:cubicBezTo>
                  <a:pt x="237" y="193"/>
                  <a:pt x="237" y="193"/>
                  <a:pt x="237" y="193"/>
                </a:cubicBezTo>
                <a:cubicBezTo>
                  <a:pt x="238" y="193"/>
                  <a:pt x="238" y="193"/>
                  <a:pt x="238" y="193"/>
                </a:cubicBezTo>
                <a:cubicBezTo>
                  <a:pt x="238" y="194"/>
                  <a:pt x="238" y="194"/>
                  <a:pt x="238" y="194"/>
                </a:cubicBezTo>
                <a:cubicBezTo>
                  <a:pt x="240" y="195"/>
                  <a:pt x="240" y="195"/>
                  <a:pt x="240" y="195"/>
                </a:cubicBezTo>
                <a:cubicBezTo>
                  <a:pt x="241" y="193"/>
                  <a:pt x="241" y="193"/>
                  <a:pt x="241" y="193"/>
                </a:cubicBezTo>
                <a:cubicBezTo>
                  <a:pt x="241" y="192"/>
                  <a:pt x="241" y="192"/>
                  <a:pt x="241" y="192"/>
                </a:cubicBezTo>
                <a:cubicBezTo>
                  <a:pt x="241" y="191"/>
                  <a:pt x="241" y="191"/>
                  <a:pt x="241" y="191"/>
                </a:cubicBezTo>
                <a:cubicBezTo>
                  <a:pt x="244" y="191"/>
                  <a:pt x="244" y="191"/>
                  <a:pt x="244" y="191"/>
                </a:cubicBezTo>
                <a:cubicBezTo>
                  <a:pt x="242" y="193"/>
                  <a:pt x="242" y="193"/>
                  <a:pt x="242" y="193"/>
                </a:cubicBezTo>
                <a:cubicBezTo>
                  <a:pt x="242" y="194"/>
                  <a:pt x="242" y="194"/>
                  <a:pt x="242" y="194"/>
                </a:cubicBezTo>
                <a:cubicBezTo>
                  <a:pt x="240" y="197"/>
                  <a:pt x="240" y="197"/>
                  <a:pt x="240" y="197"/>
                </a:cubicBezTo>
                <a:cubicBezTo>
                  <a:pt x="242" y="199"/>
                  <a:pt x="242" y="199"/>
                  <a:pt x="242" y="199"/>
                </a:cubicBezTo>
                <a:cubicBezTo>
                  <a:pt x="241" y="199"/>
                  <a:pt x="241" y="199"/>
                  <a:pt x="241" y="199"/>
                </a:cubicBezTo>
                <a:cubicBezTo>
                  <a:pt x="240" y="199"/>
                  <a:pt x="240" y="199"/>
                  <a:pt x="240" y="199"/>
                </a:cubicBezTo>
                <a:cubicBezTo>
                  <a:pt x="238" y="199"/>
                  <a:pt x="238" y="199"/>
                  <a:pt x="238" y="199"/>
                </a:cubicBezTo>
                <a:cubicBezTo>
                  <a:pt x="239" y="201"/>
                  <a:pt x="239" y="201"/>
                  <a:pt x="239" y="201"/>
                </a:cubicBezTo>
                <a:cubicBezTo>
                  <a:pt x="244" y="202"/>
                  <a:pt x="244" y="202"/>
                  <a:pt x="244" y="202"/>
                </a:cubicBezTo>
                <a:cubicBezTo>
                  <a:pt x="245" y="201"/>
                  <a:pt x="245" y="201"/>
                  <a:pt x="245" y="201"/>
                </a:cubicBezTo>
                <a:cubicBezTo>
                  <a:pt x="247" y="201"/>
                  <a:pt x="247" y="201"/>
                  <a:pt x="247" y="201"/>
                </a:cubicBezTo>
                <a:cubicBezTo>
                  <a:pt x="249" y="201"/>
                  <a:pt x="249" y="201"/>
                  <a:pt x="249" y="201"/>
                </a:cubicBezTo>
                <a:cubicBezTo>
                  <a:pt x="251" y="201"/>
                  <a:pt x="251" y="201"/>
                  <a:pt x="251" y="201"/>
                </a:cubicBezTo>
                <a:cubicBezTo>
                  <a:pt x="254" y="201"/>
                  <a:pt x="254" y="201"/>
                  <a:pt x="254" y="201"/>
                </a:cubicBezTo>
                <a:cubicBezTo>
                  <a:pt x="255" y="201"/>
                  <a:pt x="255" y="201"/>
                  <a:pt x="255" y="201"/>
                </a:cubicBezTo>
                <a:cubicBezTo>
                  <a:pt x="255" y="203"/>
                  <a:pt x="255" y="203"/>
                  <a:pt x="255" y="203"/>
                </a:cubicBezTo>
                <a:cubicBezTo>
                  <a:pt x="256" y="203"/>
                  <a:pt x="256" y="203"/>
                  <a:pt x="256" y="203"/>
                </a:cubicBezTo>
                <a:cubicBezTo>
                  <a:pt x="257" y="204"/>
                  <a:pt x="257" y="204"/>
                  <a:pt x="257" y="204"/>
                </a:cubicBezTo>
                <a:cubicBezTo>
                  <a:pt x="259" y="205"/>
                  <a:pt x="259" y="205"/>
                  <a:pt x="259" y="205"/>
                </a:cubicBezTo>
                <a:cubicBezTo>
                  <a:pt x="259" y="207"/>
                  <a:pt x="259" y="207"/>
                  <a:pt x="259" y="207"/>
                </a:cubicBezTo>
                <a:cubicBezTo>
                  <a:pt x="261" y="207"/>
                  <a:pt x="261" y="207"/>
                  <a:pt x="261" y="207"/>
                </a:cubicBezTo>
                <a:cubicBezTo>
                  <a:pt x="264" y="205"/>
                  <a:pt x="264" y="205"/>
                  <a:pt x="264" y="205"/>
                </a:cubicBezTo>
                <a:cubicBezTo>
                  <a:pt x="264" y="205"/>
                  <a:pt x="264" y="205"/>
                  <a:pt x="264" y="205"/>
                </a:cubicBezTo>
                <a:cubicBezTo>
                  <a:pt x="265" y="205"/>
                  <a:pt x="265" y="205"/>
                  <a:pt x="265" y="205"/>
                </a:cubicBezTo>
                <a:cubicBezTo>
                  <a:pt x="265" y="207"/>
                  <a:pt x="265" y="207"/>
                  <a:pt x="265" y="207"/>
                </a:cubicBezTo>
                <a:cubicBezTo>
                  <a:pt x="264" y="208"/>
                  <a:pt x="264" y="208"/>
                  <a:pt x="264" y="208"/>
                </a:cubicBezTo>
                <a:cubicBezTo>
                  <a:pt x="262" y="208"/>
                  <a:pt x="262" y="208"/>
                  <a:pt x="262" y="208"/>
                </a:cubicBezTo>
                <a:cubicBezTo>
                  <a:pt x="262" y="209"/>
                  <a:pt x="262" y="209"/>
                  <a:pt x="262" y="209"/>
                </a:cubicBezTo>
                <a:cubicBezTo>
                  <a:pt x="265" y="210"/>
                  <a:pt x="265" y="210"/>
                  <a:pt x="265" y="210"/>
                </a:cubicBezTo>
                <a:cubicBezTo>
                  <a:pt x="266" y="212"/>
                  <a:pt x="266" y="212"/>
                  <a:pt x="266" y="212"/>
                </a:cubicBezTo>
                <a:cubicBezTo>
                  <a:pt x="267" y="213"/>
                  <a:pt x="267" y="213"/>
                  <a:pt x="267" y="213"/>
                </a:cubicBezTo>
                <a:cubicBezTo>
                  <a:pt x="270" y="214"/>
                  <a:pt x="270" y="214"/>
                  <a:pt x="270" y="214"/>
                </a:cubicBezTo>
                <a:cubicBezTo>
                  <a:pt x="273" y="213"/>
                  <a:pt x="273" y="213"/>
                  <a:pt x="273" y="213"/>
                </a:cubicBezTo>
                <a:cubicBezTo>
                  <a:pt x="275" y="213"/>
                  <a:pt x="275" y="213"/>
                  <a:pt x="275" y="213"/>
                </a:cubicBezTo>
                <a:cubicBezTo>
                  <a:pt x="276" y="214"/>
                  <a:pt x="276" y="214"/>
                  <a:pt x="276" y="214"/>
                </a:cubicBezTo>
                <a:cubicBezTo>
                  <a:pt x="277" y="212"/>
                  <a:pt x="277" y="212"/>
                  <a:pt x="277" y="212"/>
                </a:cubicBezTo>
                <a:cubicBezTo>
                  <a:pt x="279" y="210"/>
                  <a:pt x="279" y="210"/>
                  <a:pt x="279" y="210"/>
                </a:cubicBezTo>
                <a:cubicBezTo>
                  <a:pt x="280" y="210"/>
                  <a:pt x="280" y="210"/>
                  <a:pt x="280" y="210"/>
                </a:cubicBezTo>
                <a:cubicBezTo>
                  <a:pt x="280" y="211"/>
                  <a:pt x="280" y="211"/>
                  <a:pt x="280" y="211"/>
                </a:cubicBezTo>
                <a:cubicBezTo>
                  <a:pt x="278" y="213"/>
                  <a:pt x="278" y="213"/>
                  <a:pt x="278" y="213"/>
                </a:cubicBezTo>
                <a:cubicBezTo>
                  <a:pt x="277" y="216"/>
                  <a:pt x="277" y="216"/>
                  <a:pt x="277" y="216"/>
                </a:cubicBezTo>
                <a:cubicBezTo>
                  <a:pt x="276" y="219"/>
                  <a:pt x="276" y="219"/>
                  <a:pt x="276" y="219"/>
                </a:cubicBezTo>
                <a:cubicBezTo>
                  <a:pt x="275" y="219"/>
                  <a:pt x="275" y="219"/>
                  <a:pt x="275" y="219"/>
                </a:cubicBezTo>
                <a:cubicBezTo>
                  <a:pt x="273" y="218"/>
                  <a:pt x="273" y="218"/>
                  <a:pt x="273" y="218"/>
                </a:cubicBezTo>
                <a:cubicBezTo>
                  <a:pt x="272" y="218"/>
                  <a:pt x="272" y="218"/>
                  <a:pt x="272" y="218"/>
                </a:cubicBezTo>
                <a:cubicBezTo>
                  <a:pt x="274" y="220"/>
                  <a:pt x="274" y="220"/>
                  <a:pt x="274" y="220"/>
                </a:cubicBezTo>
                <a:cubicBezTo>
                  <a:pt x="274" y="222"/>
                  <a:pt x="274" y="222"/>
                  <a:pt x="274" y="222"/>
                </a:cubicBezTo>
                <a:cubicBezTo>
                  <a:pt x="275" y="223"/>
                  <a:pt x="275" y="223"/>
                  <a:pt x="275" y="223"/>
                </a:cubicBezTo>
                <a:cubicBezTo>
                  <a:pt x="277" y="223"/>
                  <a:pt x="277" y="223"/>
                  <a:pt x="277" y="223"/>
                </a:cubicBezTo>
                <a:cubicBezTo>
                  <a:pt x="278" y="223"/>
                  <a:pt x="278" y="223"/>
                  <a:pt x="278" y="223"/>
                </a:cubicBezTo>
                <a:cubicBezTo>
                  <a:pt x="278" y="225"/>
                  <a:pt x="278" y="225"/>
                  <a:pt x="278" y="225"/>
                </a:cubicBezTo>
                <a:cubicBezTo>
                  <a:pt x="277" y="225"/>
                  <a:pt x="277" y="225"/>
                  <a:pt x="277" y="225"/>
                </a:cubicBezTo>
                <a:cubicBezTo>
                  <a:pt x="277" y="225"/>
                  <a:pt x="277" y="225"/>
                  <a:pt x="277" y="225"/>
                </a:cubicBezTo>
                <a:cubicBezTo>
                  <a:pt x="279" y="228"/>
                  <a:pt x="279" y="228"/>
                  <a:pt x="279" y="228"/>
                </a:cubicBezTo>
                <a:cubicBezTo>
                  <a:pt x="280" y="228"/>
                  <a:pt x="280" y="228"/>
                  <a:pt x="280" y="228"/>
                </a:cubicBezTo>
                <a:cubicBezTo>
                  <a:pt x="283" y="228"/>
                  <a:pt x="283" y="228"/>
                  <a:pt x="283" y="228"/>
                </a:cubicBezTo>
                <a:cubicBezTo>
                  <a:pt x="284" y="226"/>
                  <a:pt x="284" y="226"/>
                  <a:pt x="284" y="226"/>
                </a:cubicBezTo>
                <a:cubicBezTo>
                  <a:pt x="286" y="222"/>
                  <a:pt x="286" y="222"/>
                  <a:pt x="286" y="222"/>
                </a:cubicBezTo>
                <a:cubicBezTo>
                  <a:pt x="285" y="225"/>
                  <a:pt x="285" y="225"/>
                  <a:pt x="285" y="225"/>
                </a:cubicBezTo>
                <a:cubicBezTo>
                  <a:pt x="285" y="227"/>
                  <a:pt x="285" y="227"/>
                  <a:pt x="285" y="227"/>
                </a:cubicBezTo>
                <a:cubicBezTo>
                  <a:pt x="284" y="229"/>
                  <a:pt x="284" y="229"/>
                  <a:pt x="284" y="229"/>
                </a:cubicBezTo>
                <a:cubicBezTo>
                  <a:pt x="283" y="229"/>
                  <a:pt x="283" y="229"/>
                  <a:pt x="283" y="229"/>
                </a:cubicBezTo>
                <a:cubicBezTo>
                  <a:pt x="282" y="231"/>
                  <a:pt x="282" y="231"/>
                  <a:pt x="282" y="231"/>
                </a:cubicBezTo>
                <a:cubicBezTo>
                  <a:pt x="282" y="232"/>
                  <a:pt x="282" y="232"/>
                  <a:pt x="282" y="232"/>
                </a:cubicBezTo>
                <a:cubicBezTo>
                  <a:pt x="284" y="233"/>
                  <a:pt x="284" y="233"/>
                  <a:pt x="284" y="233"/>
                </a:cubicBezTo>
                <a:cubicBezTo>
                  <a:pt x="283" y="234"/>
                  <a:pt x="283" y="234"/>
                  <a:pt x="283" y="234"/>
                </a:cubicBezTo>
                <a:cubicBezTo>
                  <a:pt x="283" y="239"/>
                  <a:pt x="283" y="239"/>
                  <a:pt x="283" y="239"/>
                </a:cubicBezTo>
                <a:cubicBezTo>
                  <a:pt x="284" y="240"/>
                  <a:pt x="284" y="240"/>
                  <a:pt x="284" y="240"/>
                </a:cubicBezTo>
                <a:cubicBezTo>
                  <a:pt x="285" y="240"/>
                  <a:pt x="285" y="240"/>
                  <a:pt x="285" y="240"/>
                </a:cubicBezTo>
                <a:cubicBezTo>
                  <a:pt x="285" y="242"/>
                  <a:pt x="285" y="242"/>
                  <a:pt x="285" y="242"/>
                </a:cubicBezTo>
                <a:cubicBezTo>
                  <a:pt x="285" y="243"/>
                  <a:pt x="285" y="243"/>
                  <a:pt x="285" y="243"/>
                </a:cubicBezTo>
                <a:cubicBezTo>
                  <a:pt x="288" y="247"/>
                  <a:pt x="288" y="247"/>
                  <a:pt x="288" y="247"/>
                </a:cubicBezTo>
                <a:cubicBezTo>
                  <a:pt x="289" y="247"/>
                  <a:pt x="289" y="247"/>
                  <a:pt x="289" y="247"/>
                </a:cubicBezTo>
                <a:cubicBezTo>
                  <a:pt x="290" y="248"/>
                  <a:pt x="290" y="248"/>
                  <a:pt x="290" y="248"/>
                </a:cubicBezTo>
                <a:cubicBezTo>
                  <a:pt x="291" y="247"/>
                  <a:pt x="291" y="247"/>
                  <a:pt x="291" y="247"/>
                </a:cubicBezTo>
                <a:cubicBezTo>
                  <a:pt x="292" y="249"/>
                  <a:pt x="292" y="249"/>
                  <a:pt x="292" y="249"/>
                </a:cubicBezTo>
                <a:cubicBezTo>
                  <a:pt x="293" y="248"/>
                  <a:pt x="293" y="248"/>
                  <a:pt x="293" y="248"/>
                </a:cubicBezTo>
                <a:cubicBezTo>
                  <a:pt x="293" y="247"/>
                  <a:pt x="293" y="247"/>
                  <a:pt x="293" y="247"/>
                </a:cubicBezTo>
                <a:cubicBezTo>
                  <a:pt x="293" y="247"/>
                  <a:pt x="293" y="247"/>
                  <a:pt x="293" y="247"/>
                </a:cubicBezTo>
                <a:cubicBezTo>
                  <a:pt x="294" y="248"/>
                  <a:pt x="294" y="248"/>
                  <a:pt x="294" y="248"/>
                </a:cubicBezTo>
                <a:cubicBezTo>
                  <a:pt x="295" y="248"/>
                  <a:pt x="295" y="248"/>
                  <a:pt x="295" y="248"/>
                </a:cubicBezTo>
                <a:cubicBezTo>
                  <a:pt x="296" y="246"/>
                  <a:pt x="296" y="246"/>
                  <a:pt x="296" y="246"/>
                </a:cubicBezTo>
                <a:cubicBezTo>
                  <a:pt x="295" y="243"/>
                  <a:pt x="295" y="243"/>
                  <a:pt x="295" y="243"/>
                </a:cubicBezTo>
                <a:cubicBezTo>
                  <a:pt x="294" y="243"/>
                  <a:pt x="294" y="243"/>
                  <a:pt x="294" y="243"/>
                </a:cubicBezTo>
                <a:cubicBezTo>
                  <a:pt x="293" y="244"/>
                  <a:pt x="293" y="244"/>
                  <a:pt x="293" y="244"/>
                </a:cubicBezTo>
                <a:cubicBezTo>
                  <a:pt x="292" y="243"/>
                  <a:pt x="292" y="243"/>
                  <a:pt x="292" y="243"/>
                </a:cubicBezTo>
                <a:cubicBezTo>
                  <a:pt x="294" y="241"/>
                  <a:pt x="294" y="241"/>
                  <a:pt x="294" y="241"/>
                </a:cubicBezTo>
                <a:cubicBezTo>
                  <a:pt x="294" y="240"/>
                  <a:pt x="294" y="240"/>
                  <a:pt x="294" y="240"/>
                </a:cubicBezTo>
                <a:cubicBezTo>
                  <a:pt x="293" y="239"/>
                  <a:pt x="293" y="239"/>
                  <a:pt x="293" y="239"/>
                </a:cubicBezTo>
                <a:cubicBezTo>
                  <a:pt x="292" y="238"/>
                  <a:pt x="292" y="238"/>
                  <a:pt x="292" y="238"/>
                </a:cubicBezTo>
                <a:cubicBezTo>
                  <a:pt x="291" y="237"/>
                  <a:pt x="291" y="237"/>
                  <a:pt x="291" y="237"/>
                </a:cubicBezTo>
                <a:cubicBezTo>
                  <a:pt x="292" y="236"/>
                  <a:pt x="292" y="236"/>
                  <a:pt x="292" y="236"/>
                </a:cubicBezTo>
                <a:cubicBezTo>
                  <a:pt x="293" y="234"/>
                  <a:pt x="293" y="234"/>
                  <a:pt x="293" y="234"/>
                </a:cubicBezTo>
                <a:cubicBezTo>
                  <a:pt x="294" y="234"/>
                  <a:pt x="294" y="234"/>
                  <a:pt x="294" y="234"/>
                </a:cubicBezTo>
                <a:cubicBezTo>
                  <a:pt x="294" y="236"/>
                  <a:pt x="294" y="236"/>
                  <a:pt x="294" y="236"/>
                </a:cubicBezTo>
                <a:cubicBezTo>
                  <a:pt x="294" y="237"/>
                  <a:pt x="294" y="237"/>
                  <a:pt x="294" y="237"/>
                </a:cubicBezTo>
                <a:cubicBezTo>
                  <a:pt x="296" y="235"/>
                  <a:pt x="296" y="235"/>
                  <a:pt x="296" y="235"/>
                </a:cubicBezTo>
                <a:cubicBezTo>
                  <a:pt x="296" y="237"/>
                  <a:pt x="296" y="237"/>
                  <a:pt x="296" y="237"/>
                </a:cubicBezTo>
                <a:cubicBezTo>
                  <a:pt x="297" y="238"/>
                  <a:pt x="297" y="238"/>
                  <a:pt x="297" y="238"/>
                </a:cubicBezTo>
                <a:cubicBezTo>
                  <a:pt x="296" y="240"/>
                  <a:pt x="296" y="240"/>
                  <a:pt x="296" y="240"/>
                </a:cubicBezTo>
                <a:cubicBezTo>
                  <a:pt x="297" y="242"/>
                  <a:pt x="297" y="242"/>
                  <a:pt x="297" y="242"/>
                </a:cubicBezTo>
                <a:cubicBezTo>
                  <a:pt x="298" y="242"/>
                  <a:pt x="298" y="242"/>
                  <a:pt x="298" y="242"/>
                </a:cubicBezTo>
                <a:cubicBezTo>
                  <a:pt x="300" y="240"/>
                  <a:pt x="300" y="240"/>
                  <a:pt x="300" y="240"/>
                </a:cubicBezTo>
                <a:cubicBezTo>
                  <a:pt x="300" y="240"/>
                  <a:pt x="300" y="240"/>
                  <a:pt x="300" y="240"/>
                </a:cubicBezTo>
                <a:cubicBezTo>
                  <a:pt x="300" y="242"/>
                  <a:pt x="300" y="242"/>
                  <a:pt x="300" y="242"/>
                </a:cubicBezTo>
                <a:cubicBezTo>
                  <a:pt x="298" y="243"/>
                  <a:pt x="298" y="243"/>
                  <a:pt x="298" y="243"/>
                </a:cubicBezTo>
                <a:cubicBezTo>
                  <a:pt x="298" y="244"/>
                  <a:pt x="298" y="244"/>
                  <a:pt x="298" y="244"/>
                </a:cubicBezTo>
                <a:cubicBezTo>
                  <a:pt x="299" y="246"/>
                  <a:pt x="299" y="246"/>
                  <a:pt x="299" y="246"/>
                </a:cubicBezTo>
                <a:cubicBezTo>
                  <a:pt x="298" y="248"/>
                  <a:pt x="298" y="248"/>
                  <a:pt x="298" y="248"/>
                </a:cubicBezTo>
                <a:cubicBezTo>
                  <a:pt x="299" y="249"/>
                  <a:pt x="299" y="249"/>
                  <a:pt x="299" y="249"/>
                </a:cubicBezTo>
                <a:cubicBezTo>
                  <a:pt x="301" y="250"/>
                  <a:pt x="301" y="250"/>
                  <a:pt x="301" y="250"/>
                </a:cubicBezTo>
                <a:cubicBezTo>
                  <a:pt x="301" y="249"/>
                  <a:pt x="301" y="249"/>
                  <a:pt x="301" y="249"/>
                </a:cubicBezTo>
                <a:cubicBezTo>
                  <a:pt x="302" y="247"/>
                  <a:pt x="302" y="247"/>
                  <a:pt x="302" y="247"/>
                </a:cubicBezTo>
                <a:cubicBezTo>
                  <a:pt x="302" y="249"/>
                  <a:pt x="302" y="249"/>
                  <a:pt x="302" y="249"/>
                </a:cubicBezTo>
                <a:cubicBezTo>
                  <a:pt x="302" y="250"/>
                  <a:pt x="302" y="250"/>
                  <a:pt x="302" y="250"/>
                </a:cubicBezTo>
                <a:cubicBezTo>
                  <a:pt x="303" y="252"/>
                  <a:pt x="303" y="252"/>
                  <a:pt x="303" y="252"/>
                </a:cubicBezTo>
                <a:cubicBezTo>
                  <a:pt x="304" y="253"/>
                  <a:pt x="304" y="253"/>
                  <a:pt x="304" y="253"/>
                </a:cubicBezTo>
                <a:cubicBezTo>
                  <a:pt x="306" y="250"/>
                  <a:pt x="306" y="250"/>
                  <a:pt x="306" y="250"/>
                </a:cubicBezTo>
                <a:cubicBezTo>
                  <a:pt x="306" y="247"/>
                  <a:pt x="306" y="247"/>
                  <a:pt x="306" y="247"/>
                </a:cubicBezTo>
                <a:cubicBezTo>
                  <a:pt x="307" y="246"/>
                  <a:pt x="307" y="246"/>
                  <a:pt x="307" y="246"/>
                </a:cubicBezTo>
                <a:cubicBezTo>
                  <a:pt x="307" y="241"/>
                  <a:pt x="307" y="241"/>
                  <a:pt x="307" y="241"/>
                </a:cubicBezTo>
                <a:cubicBezTo>
                  <a:pt x="308" y="237"/>
                  <a:pt x="308" y="237"/>
                  <a:pt x="308" y="237"/>
                </a:cubicBezTo>
                <a:cubicBezTo>
                  <a:pt x="308" y="232"/>
                  <a:pt x="308" y="232"/>
                  <a:pt x="308" y="232"/>
                </a:cubicBezTo>
                <a:cubicBezTo>
                  <a:pt x="308" y="229"/>
                  <a:pt x="308" y="229"/>
                  <a:pt x="308" y="229"/>
                </a:cubicBezTo>
                <a:cubicBezTo>
                  <a:pt x="307" y="228"/>
                  <a:pt x="307" y="228"/>
                  <a:pt x="307" y="228"/>
                </a:cubicBezTo>
                <a:cubicBezTo>
                  <a:pt x="307" y="228"/>
                  <a:pt x="307" y="228"/>
                  <a:pt x="307" y="228"/>
                </a:cubicBezTo>
                <a:cubicBezTo>
                  <a:pt x="308" y="228"/>
                  <a:pt x="308" y="228"/>
                  <a:pt x="308" y="228"/>
                </a:cubicBezTo>
                <a:cubicBezTo>
                  <a:pt x="309" y="230"/>
                  <a:pt x="309" y="230"/>
                  <a:pt x="309" y="230"/>
                </a:cubicBezTo>
                <a:cubicBezTo>
                  <a:pt x="310" y="231"/>
                  <a:pt x="310" y="231"/>
                  <a:pt x="310" y="231"/>
                </a:cubicBezTo>
                <a:cubicBezTo>
                  <a:pt x="311" y="228"/>
                  <a:pt x="311" y="228"/>
                  <a:pt x="311" y="228"/>
                </a:cubicBezTo>
                <a:cubicBezTo>
                  <a:pt x="313" y="227"/>
                  <a:pt x="313" y="227"/>
                  <a:pt x="313" y="227"/>
                </a:cubicBezTo>
                <a:cubicBezTo>
                  <a:pt x="312" y="230"/>
                  <a:pt x="312" y="230"/>
                  <a:pt x="312" y="230"/>
                </a:cubicBezTo>
                <a:cubicBezTo>
                  <a:pt x="311" y="233"/>
                  <a:pt x="311" y="233"/>
                  <a:pt x="311" y="233"/>
                </a:cubicBezTo>
                <a:cubicBezTo>
                  <a:pt x="312" y="236"/>
                  <a:pt x="312" y="236"/>
                  <a:pt x="312" y="236"/>
                </a:cubicBezTo>
                <a:cubicBezTo>
                  <a:pt x="310" y="240"/>
                  <a:pt x="310" y="240"/>
                  <a:pt x="310" y="240"/>
                </a:cubicBezTo>
                <a:cubicBezTo>
                  <a:pt x="309" y="242"/>
                  <a:pt x="309" y="242"/>
                  <a:pt x="309" y="242"/>
                </a:cubicBezTo>
                <a:cubicBezTo>
                  <a:pt x="310" y="243"/>
                  <a:pt x="310" y="243"/>
                  <a:pt x="310" y="243"/>
                </a:cubicBezTo>
                <a:cubicBezTo>
                  <a:pt x="309" y="245"/>
                  <a:pt x="309" y="245"/>
                  <a:pt x="309" y="245"/>
                </a:cubicBezTo>
                <a:cubicBezTo>
                  <a:pt x="309" y="248"/>
                  <a:pt x="309" y="248"/>
                  <a:pt x="309" y="248"/>
                </a:cubicBezTo>
                <a:cubicBezTo>
                  <a:pt x="309" y="249"/>
                  <a:pt x="309" y="249"/>
                  <a:pt x="309" y="249"/>
                </a:cubicBezTo>
                <a:cubicBezTo>
                  <a:pt x="309" y="251"/>
                  <a:pt x="309" y="251"/>
                  <a:pt x="309" y="251"/>
                </a:cubicBezTo>
                <a:cubicBezTo>
                  <a:pt x="311" y="253"/>
                  <a:pt x="311" y="253"/>
                  <a:pt x="311" y="253"/>
                </a:cubicBezTo>
                <a:cubicBezTo>
                  <a:pt x="311" y="255"/>
                  <a:pt x="311" y="255"/>
                  <a:pt x="311" y="255"/>
                </a:cubicBezTo>
                <a:cubicBezTo>
                  <a:pt x="312" y="255"/>
                  <a:pt x="312" y="255"/>
                  <a:pt x="312" y="255"/>
                </a:cubicBezTo>
                <a:cubicBezTo>
                  <a:pt x="313" y="257"/>
                  <a:pt x="313" y="257"/>
                  <a:pt x="313" y="257"/>
                </a:cubicBezTo>
                <a:cubicBezTo>
                  <a:pt x="314" y="259"/>
                  <a:pt x="314" y="259"/>
                  <a:pt x="314" y="259"/>
                </a:cubicBezTo>
                <a:cubicBezTo>
                  <a:pt x="315" y="258"/>
                  <a:pt x="315" y="258"/>
                  <a:pt x="315" y="258"/>
                </a:cubicBezTo>
                <a:cubicBezTo>
                  <a:pt x="316" y="259"/>
                  <a:pt x="316" y="259"/>
                  <a:pt x="316" y="259"/>
                </a:cubicBezTo>
                <a:cubicBezTo>
                  <a:pt x="318" y="258"/>
                  <a:pt x="318" y="258"/>
                  <a:pt x="318" y="258"/>
                </a:cubicBezTo>
                <a:cubicBezTo>
                  <a:pt x="320" y="258"/>
                  <a:pt x="320" y="258"/>
                  <a:pt x="320" y="258"/>
                </a:cubicBezTo>
                <a:cubicBezTo>
                  <a:pt x="320" y="258"/>
                  <a:pt x="320" y="258"/>
                  <a:pt x="320" y="258"/>
                </a:cubicBezTo>
                <a:cubicBezTo>
                  <a:pt x="318" y="260"/>
                  <a:pt x="318" y="260"/>
                  <a:pt x="318" y="260"/>
                </a:cubicBezTo>
                <a:cubicBezTo>
                  <a:pt x="317" y="260"/>
                  <a:pt x="317" y="260"/>
                  <a:pt x="317" y="260"/>
                </a:cubicBezTo>
                <a:cubicBezTo>
                  <a:pt x="317" y="261"/>
                  <a:pt x="317" y="261"/>
                  <a:pt x="317" y="261"/>
                </a:cubicBezTo>
                <a:cubicBezTo>
                  <a:pt x="318" y="262"/>
                  <a:pt x="318" y="262"/>
                  <a:pt x="318" y="262"/>
                </a:cubicBezTo>
                <a:cubicBezTo>
                  <a:pt x="317" y="263"/>
                  <a:pt x="317" y="263"/>
                  <a:pt x="317" y="263"/>
                </a:cubicBezTo>
                <a:cubicBezTo>
                  <a:pt x="315" y="263"/>
                  <a:pt x="315" y="263"/>
                  <a:pt x="315" y="263"/>
                </a:cubicBezTo>
                <a:cubicBezTo>
                  <a:pt x="316" y="264"/>
                  <a:pt x="316" y="264"/>
                  <a:pt x="316" y="264"/>
                </a:cubicBezTo>
                <a:cubicBezTo>
                  <a:pt x="317" y="267"/>
                  <a:pt x="317" y="267"/>
                  <a:pt x="317" y="267"/>
                </a:cubicBezTo>
                <a:cubicBezTo>
                  <a:pt x="317" y="269"/>
                  <a:pt x="317" y="269"/>
                  <a:pt x="317" y="269"/>
                </a:cubicBezTo>
                <a:cubicBezTo>
                  <a:pt x="316" y="269"/>
                  <a:pt x="316" y="269"/>
                  <a:pt x="316" y="269"/>
                </a:cubicBezTo>
                <a:cubicBezTo>
                  <a:pt x="315" y="268"/>
                  <a:pt x="315" y="268"/>
                  <a:pt x="315" y="268"/>
                </a:cubicBezTo>
                <a:cubicBezTo>
                  <a:pt x="314" y="266"/>
                  <a:pt x="314" y="266"/>
                  <a:pt x="314" y="266"/>
                </a:cubicBezTo>
                <a:cubicBezTo>
                  <a:pt x="313" y="267"/>
                  <a:pt x="313" y="267"/>
                  <a:pt x="313" y="267"/>
                </a:cubicBezTo>
                <a:cubicBezTo>
                  <a:pt x="314" y="268"/>
                  <a:pt x="314" y="268"/>
                  <a:pt x="314" y="268"/>
                </a:cubicBezTo>
                <a:cubicBezTo>
                  <a:pt x="313" y="270"/>
                  <a:pt x="313" y="270"/>
                  <a:pt x="313" y="270"/>
                </a:cubicBezTo>
                <a:cubicBezTo>
                  <a:pt x="313" y="272"/>
                  <a:pt x="313" y="272"/>
                  <a:pt x="313" y="272"/>
                </a:cubicBezTo>
                <a:cubicBezTo>
                  <a:pt x="314" y="273"/>
                  <a:pt x="314" y="273"/>
                  <a:pt x="314" y="273"/>
                </a:cubicBezTo>
                <a:cubicBezTo>
                  <a:pt x="313" y="274"/>
                  <a:pt x="313" y="274"/>
                  <a:pt x="313" y="274"/>
                </a:cubicBezTo>
                <a:cubicBezTo>
                  <a:pt x="312" y="274"/>
                  <a:pt x="312" y="274"/>
                  <a:pt x="312" y="274"/>
                </a:cubicBezTo>
                <a:cubicBezTo>
                  <a:pt x="311" y="275"/>
                  <a:pt x="311" y="275"/>
                  <a:pt x="311" y="275"/>
                </a:cubicBezTo>
                <a:cubicBezTo>
                  <a:pt x="311" y="276"/>
                  <a:pt x="311" y="276"/>
                  <a:pt x="311" y="276"/>
                </a:cubicBezTo>
                <a:cubicBezTo>
                  <a:pt x="312" y="276"/>
                  <a:pt x="312" y="276"/>
                  <a:pt x="312" y="276"/>
                </a:cubicBezTo>
                <a:cubicBezTo>
                  <a:pt x="313" y="276"/>
                  <a:pt x="313" y="276"/>
                  <a:pt x="313" y="276"/>
                </a:cubicBezTo>
                <a:cubicBezTo>
                  <a:pt x="314" y="278"/>
                  <a:pt x="314" y="278"/>
                  <a:pt x="314" y="278"/>
                </a:cubicBezTo>
                <a:cubicBezTo>
                  <a:pt x="315" y="279"/>
                  <a:pt x="315" y="279"/>
                  <a:pt x="315" y="279"/>
                </a:cubicBezTo>
                <a:cubicBezTo>
                  <a:pt x="316" y="279"/>
                  <a:pt x="316" y="279"/>
                  <a:pt x="316" y="279"/>
                </a:cubicBezTo>
                <a:cubicBezTo>
                  <a:pt x="317" y="280"/>
                  <a:pt x="317" y="280"/>
                  <a:pt x="317" y="280"/>
                </a:cubicBezTo>
                <a:cubicBezTo>
                  <a:pt x="317" y="280"/>
                  <a:pt x="317" y="280"/>
                  <a:pt x="317" y="280"/>
                </a:cubicBezTo>
                <a:cubicBezTo>
                  <a:pt x="316" y="280"/>
                  <a:pt x="316" y="280"/>
                  <a:pt x="316" y="280"/>
                </a:cubicBezTo>
                <a:cubicBezTo>
                  <a:pt x="315" y="281"/>
                  <a:pt x="315" y="281"/>
                  <a:pt x="315" y="281"/>
                </a:cubicBezTo>
                <a:cubicBezTo>
                  <a:pt x="315" y="282"/>
                  <a:pt x="315" y="282"/>
                  <a:pt x="315" y="282"/>
                </a:cubicBezTo>
                <a:cubicBezTo>
                  <a:pt x="317" y="283"/>
                  <a:pt x="317" y="283"/>
                  <a:pt x="317" y="283"/>
                </a:cubicBezTo>
                <a:cubicBezTo>
                  <a:pt x="318" y="285"/>
                  <a:pt x="318" y="285"/>
                  <a:pt x="318" y="285"/>
                </a:cubicBezTo>
                <a:cubicBezTo>
                  <a:pt x="319" y="286"/>
                  <a:pt x="319" y="286"/>
                  <a:pt x="319" y="286"/>
                </a:cubicBezTo>
                <a:cubicBezTo>
                  <a:pt x="320" y="286"/>
                  <a:pt x="320" y="286"/>
                  <a:pt x="320" y="286"/>
                </a:cubicBezTo>
                <a:cubicBezTo>
                  <a:pt x="319" y="287"/>
                  <a:pt x="319" y="287"/>
                  <a:pt x="319" y="287"/>
                </a:cubicBezTo>
                <a:cubicBezTo>
                  <a:pt x="318" y="287"/>
                  <a:pt x="318" y="287"/>
                  <a:pt x="318" y="287"/>
                </a:cubicBezTo>
                <a:cubicBezTo>
                  <a:pt x="317" y="288"/>
                  <a:pt x="317" y="288"/>
                  <a:pt x="317" y="288"/>
                </a:cubicBezTo>
                <a:cubicBezTo>
                  <a:pt x="317" y="291"/>
                  <a:pt x="317" y="291"/>
                  <a:pt x="317" y="291"/>
                </a:cubicBezTo>
                <a:cubicBezTo>
                  <a:pt x="319" y="294"/>
                  <a:pt x="319" y="294"/>
                  <a:pt x="319" y="294"/>
                </a:cubicBezTo>
                <a:cubicBezTo>
                  <a:pt x="320" y="295"/>
                  <a:pt x="320" y="295"/>
                  <a:pt x="320" y="295"/>
                </a:cubicBezTo>
                <a:cubicBezTo>
                  <a:pt x="322" y="295"/>
                  <a:pt x="322" y="295"/>
                  <a:pt x="322" y="295"/>
                </a:cubicBezTo>
                <a:cubicBezTo>
                  <a:pt x="323" y="295"/>
                  <a:pt x="323" y="295"/>
                  <a:pt x="323" y="295"/>
                </a:cubicBezTo>
                <a:cubicBezTo>
                  <a:pt x="321" y="296"/>
                  <a:pt x="321" y="296"/>
                  <a:pt x="321" y="296"/>
                </a:cubicBezTo>
                <a:cubicBezTo>
                  <a:pt x="319" y="296"/>
                  <a:pt x="319" y="296"/>
                  <a:pt x="319" y="296"/>
                </a:cubicBezTo>
                <a:cubicBezTo>
                  <a:pt x="318" y="296"/>
                  <a:pt x="318" y="296"/>
                  <a:pt x="318" y="296"/>
                </a:cubicBezTo>
                <a:cubicBezTo>
                  <a:pt x="317" y="299"/>
                  <a:pt x="317" y="299"/>
                  <a:pt x="317" y="299"/>
                </a:cubicBezTo>
                <a:cubicBezTo>
                  <a:pt x="313" y="302"/>
                  <a:pt x="313" y="302"/>
                  <a:pt x="313" y="302"/>
                </a:cubicBezTo>
                <a:cubicBezTo>
                  <a:pt x="311" y="304"/>
                  <a:pt x="311" y="304"/>
                  <a:pt x="311" y="304"/>
                </a:cubicBezTo>
                <a:cubicBezTo>
                  <a:pt x="311" y="306"/>
                  <a:pt x="311" y="306"/>
                  <a:pt x="311" y="306"/>
                </a:cubicBezTo>
                <a:cubicBezTo>
                  <a:pt x="312" y="308"/>
                  <a:pt x="312" y="308"/>
                  <a:pt x="312" y="308"/>
                </a:cubicBezTo>
                <a:cubicBezTo>
                  <a:pt x="314" y="306"/>
                  <a:pt x="314" y="306"/>
                  <a:pt x="314" y="306"/>
                </a:cubicBezTo>
                <a:cubicBezTo>
                  <a:pt x="315" y="303"/>
                  <a:pt x="315" y="303"/>
                  <a:pt x="315" y="303"/>
                </a:cubicBezTo>
                <a:cubicBezTo>
                  <a:pt x="315" y="302"/>
                  <a:pt x="315" y="302"/>
                  <a:pt x="315" y="302"/>
                </a:cubicBezTo>
                <a:cubicBezTo>
                  <a:pt x="317" y="302"/>
                  <a:pt x="317" y="302"/>
                  <a:pt x="317" y="302"/>
                </a:cubicBezTo>
                <a:cubicBezTo>
                  <a:pt x="319" y="299"/>
                  <a:pt x="319" y="299"/>
                  <a:pt x="319" y="299"/>
                </a:cubicBezTo>
                <a:cubicBezTo>
                  <a:pt x="320" y="300"/>
                  <a:pt x="320" y="300"/>
                  <a:pt x="320" y="300"/>
                </a:cubicBezTo>
                <a:cubicBezTo>
                  <a:pt x="321" y="300"/>
                  <a:pt x="321" y="300"/>
                  <a:pt x="321" y="300"/>
                </a:cubicBezTo>
                <a:cubicBezTo>
                  <a:pt x="324" y="300"/>
                  <a:pt x="324" y="300"/>
                  <a:pt x="324" y="300"/>
                </a:cubicBezTo>
                <a:cubicBezTo>
                  <a:pt x="322" y="302"/>
                  <a:pt x="322" y="302"/>
                  <a:pt x="322" y="302"/>
                </a:cubicBezTo>
                <a:cubicBezTo>
                  <a:pt x="323" y="302"/>
                  <a:pt x="323" y="302"/>
                  <a:pt x="323" y="302"/>
                </a:cubicBezTo>
                <a:cubicBezTo>
                  <a:pt x="325" y="302"/>
                  <a:pt x="325" y="302"/>
                  <a:pt x="325" y="302"/>
                </a:cubicBezTo>
                <a:cubicBezTo>
                  <a:pt x="325" y="303"/>
                  <a:pt x="325" y="303"/>
                  <a:pt x="325" y="303"/>
                </a:cubicBezTo>
                <a:cubicBezTo>
                  <a:pt x="323" y="305"/>
                  <a:pt x="323" y="305"/>
                  <a:pt x="323" y="305"/>
                </a:cubicBezTo>
                <a:cubicBezTo>
                  <a:pt x="323" y="307"/>
                  <a:pt x="323" y="307"/>
                  <a:pt x="323" y="307"/>
                </a:cubicBezTo>
                <a:cubicBezTo>
                  <a:pt x="323" y="308"/>
                  <a:pt x="323" y="308"/>
                  <a:pt x="323" y="308"/>
                </a:cubicBezTo>
                <a:cubicBezTo>
                  <a:pt x="322" y="310"/>
                  <a:pt x="322" y="310"/>
                  <a:pt x="322" y="310"/>
                </a:cubicBezTo>
                <a:cubicBezTo>
                  <a:pt x="321" y="312"/>
                  <a:pt x="321" y="312"/>
                  <a:pt x="321" y="312"/>
                </a:cubicBezTo>
                <a:cubicBezTo>
                  <a:pt x="322" y="313"/>
                  <a:pt x="322" y="313"/>
                  <a:pt x="322" y="313"/>
                </a:cubicBezTo>
                <a:cubicBezTo>
                  <a:pt x="322" y="314"/>
                  <a:pt x="322" y="314"/>
                  <a:pt x="322" y="314"/>
                </a:cubicBezTo>
                <a:cubicBezTo>
                  <a:pt x="321" y="314"/>
                  <a:pt x="321" y="314"/>
                  <a:pt x="321" y="314"/>
                </a:cubicBezTo>
                <a:cubicBezTo>
                  <a:pt x="319" y="314"/>
                  <a:pt x="319" y="314"/>
                  <a:pt x="319" y="314"/>
                </a:cubicBezTo>
                <a:cubicBezTo>
                  <a:pt x="318" y="315"/>
                  <a:pt x="318" y="315"/>
                  <a:pt x="318" y="315"/>
                </a:cubicBezTo>
                <a:cubicBezTo>
                  <a:pt x="318" y="316"/>
                  <a:pt x="318" y="316"/>
                  <a:pt x="318" y="316"/>
                </a:cubicBezTo>
                <a:cubicBezTo>
                  <a:pt x="319" y="316"/>
                  <a:pt x="319" y="316"/>
                  <a:pt x="319" y="316"/>
                </a:cubicBezTo>
                <a:cubicBezTo>
                  <a:pt x="320" y="316"/>
                  <a:pt x="320" y="316"/>
                  <a:pt x="320" y="316"/>
                </a:cubicBezTo>
                <a:cubicBezTo>
                  <a:pt x="322" y="316"/>
                  <a:pt x="322" y="316"/>
                  <a:pt x="322" y="316"/>
                </a:cubicBezTo>
                <a:cubicBezTo>
                  <a:pt x="322" y="317"/>
                  <a:pt x="322" y="317"/>
                  <a:pt x="322" y="317"/>
                </a:cubicBezTo>
                <a:cubicBezTo>
                  <a:pt x="321" y="318"/>
                  <a:pt x="321" y="318"/>
                  <a:pt x="321" y="318"/>
                </a:cubicBezTo>
                <a:cubicBezTo>
                  <a:pt x="319" y="318"/>
                  <a:pt x="319" y="318"/>
                  <a:pt x="319" y="318"/>
                </a:cubicBezTo>
                <a:cubicBezTo>
                  <a:pt x="318" y="318"/>
                  <a:pt x="318" y="318"/>
                  <a:pt x="318" y="318"/>
                </a:cubicBezTo>
                <a:cubicBezTo>
                  <a:pt x="317" y="319"/>
                  <a:pt x="317" y="319"/>
                  <a:pt x="317" y="319"/>
                </a:cubicBezTo>
                <a:cubicBezTo>
                  <a:pt x="317" y="321"/>
                  <a:pt x="317" y="321"/>
                  <a:pt x="317" y="321"/>
                </a:cubicBezTo>
                <a:cubicBezTo>
                  <a:pt x="318" y="323"/>
                  <a:pt x="318" y="323"/>
                  <a:pt x="318" y="323"/>
                </a:cubicBezTo>
                <a:cubicBezTo>
                  <a:pt x="319" y="322"/>
                  <a:pt x="319" y="322"/>
                  <a:pt x="319" y="322"/>
                </a:cubicBezTo>
                <a:cubicBezTo>
                  <a:pt x="319" y="321"/>
                  <a:pt x="319" y="321"/>
                  <a:pt x="319" y="321"/>
                </a:cubicBezTo>
                <a:cubicBezTo>
                  <a:pt x="321" y="321"/>
                  <a:pt x="321" y="321"/>
                  <a:pt x="321" y="321"/>
                </a:cubicBezTo>
                <a:cubicBezTo>
                  <a:pt x="322" y="320"/>
                  <a:pt x="322" y="320"/>
                  <a:pt x="322" y="320"/>
                </a:cubicBezTo>
                <a:cubicBezTo>
                  <a:pt x="325" y="318"/>
                  <a:pt x="325" y="318"/>
                  <a:pt x="325" y="318"/>
                </a:cubicBezTo>
                <a:cubicBezTo>
                  <a:pt x="327" y="314"/>
                  <a:pt x="327" y="314"/>
                  <a:pt x="327" y="314"/>
                </a:cubicBezTo>
                <a:cubicBezTo>
                  <a:pt x="328" y="310"/>
                  <a:pt x="328" y="310"/>
                  <a:pt x="328" y="310"/>
                </a:cubicBezTo>
                <a:cubicBezTo>
                  <a:pt x="330" y="306"/>
                  <a:pt x="330" y="306"/>
                  <a:pt x="330" y="306"/>
                </a:cubicBezTo>
                <a:cubicBezTo>
                  <a:pt x="331" y="305"/>
                  <a:pt x="331" y="305"/>
                  <a:pt x="331" y="305"/>
                </a:cubicBezTo>
                <a:cubicBezTo>
                  <a:pt x="331" y="305"/>
                  <a:pt x="331" y="305"/>
                  <a:pt x="331" y="305"/>
                </a:cubicBezTo>
                <a:cubicBezTo>
                  <a:pt x="331" y="305"/>
                  <a:pt x="331" y="305"/>
                  <a:pt x="331" y="305"/>
                </a:cubicBezTo>
                <a:cubicBezTo>
                  <a:pt x="331" y="307"/>
                  <a:pt x="331" y="307"/>
                  <a:pt x="331" y="307"/>
                </a:cubicBezTo>
                <a:cubicBezTo>
                  <a:pt x="328" y="312"/>
                  <a:pt x="328" y="312"/>
                  <a:pt x="328" y="312"/>
                </a:cubicBezTo>
                <a:cubicBezTo>
                  <a:pt x="328" y="316"/>
                  <a:pt x="328" y="316"/>
                  <a:pt x="328" y="316"/>
                </a:cubicBezTo>
                <a:cubicBezTo>
                  <a:pt x="325" y="318"/>
                  <a:pt x="325" y="318"/>
                  <a:pt x="325" y="318"/>
                </a:cubicBezTo>
                <a:cubicBezTo>
                  <a:pt x="325" y="320"/>
                  <a:pt x="325" y="320"/>
                  <a:pt x="325" y="320"/>
                </a:cubicBezTo>
                <a:cubicBezTo>
                  <a:pt x="326" y="320"/>
                  <a:pt x="326" y="320"/>
                  <a:pt x="326" y="320"/>
                </a:cubicBezTo>
                <a:cubicBezTo>
                  <a:pt x="329" y="316"/>
                  <a:pt x="329" y="316"/>
                  <a:pt x="329" y="316"/>
                </a:cubicBezTo>
                <a:cubicBezTo>
                  <a:pt x="330" y="314"/>
                  <a:pt x="330" y="314"/>
                  <a:pt x="330" y="314"/>
                </a:cubicBezTo>
                <a:cubicBezTo>
                  <a:pt x="332" y="312"/>
                  <a:pt x="332" y="312"/>
                  <a:pt x="332" y="312"/>
                </a:cubicBezTo>
                <a:cubicBezTo>
                  <a:pt x="332" y="313"/>
                  <a:pt x="332" y="313"/>
                  <a:pt x="332" y="313"/>
                </a:cubicBezTo>
                <a:cubicBezTo>
                  <a:pt x="334" y="313"/>
                  <a:pt x="334" y="313"/>
                  <a:pt x="334" y="313"/>
                </a:cubicBezTo>
                <a:cubicBezTo>
                  <a:pt x="333" y="314"/>
                  <a:pt x="333" y="314"/>
                  <a:pt x="333" y="314"/>
                </a:cubicBezTo>
                <a:cubicBezTo>
                  <a:pt x="331" y="316"/>
                  <a:pt x="331" y="316"/>
                  <a:pt x="331" y="316"/>
                </a:cubicBezTo>
                <a:cubicBezTo>
                  <a:pt x="330" y="317"/>
                  <a:pt x="330" y="317"/>
                  <a:pt x="330" y="317"/>
                </a:cubicBezTo>
                <a:cubicBezTo>
                  <a:pt x="327" y="321"/>
                  <a:pt x="327" y="321"/>
                  <a:pt x="327" y="321"/>
                </a:cubicBezTo>
                <a:cubicBezTo>
                  <a:pt x="327" y="321"/>
                  <a:pt x="327" y="321"/>
                  <a:pt x="327" y="321"/>
                </a:cubicBezTo>
                <a:cubicBezTo>
                  <a:pt x="328" y="321"/>
                  <a:pt x="328" y="321"/>
                  <a:pt x="328" y="321"/>
                </a:cubicBezTo>
                <a:cubicBezTo>
                  <a:pt x="327" y="322"/>
                  <a:pt x="327" y="322"/>
                  <a:pt x="327" y="322"/>
                </a:cubicBezTo>
                <a:cubicBezTo>
                  <a:pt x="325" y="322"/>
                  <a:pt x="325" y="322"/>
                  <a:pt x="325" y="322"/>
                </a:cubicBezTo>
                <a:cubicBezTo>
                  <a:pt x="324" y="322"/>
                  <a:pt x="324" y="322"/>
                  <a:pt x="324" y="322"/>
                </a:cubicBezTo>
                <a:cubicBezTo>
                  <a:pt x="322" y="325"/>
                  <a:pt x="322" y="325"/>
                  <a:pt x="322" y="325"/>
                </a:cubicBezTo>
                <a:cubicBezTo>
                  <a:pt x="321" y="327"/>
                  <a:pt x="321" y="327"/>
                  <a:pt x="321" y="327"/>
                </a:cubicBezTo>
                <a:cubicBezTo>
                  <a:pt x="321" y="329"/>
                  <a:pt x="321" y="329"/>
                  <a:pt x="321" y="329"/>
                </a:cubicBezTo>
                <a:cubicBezTo>
                  <a:pt x="320" y="328"/>
                  <a:pt x="320" y="328"/>
                  <a:pt x="320" y="328"/>
                </a:cubicBezTo>
                <a:cubicBezTo>
                  <a:pt x="319" y="327"/>
                  <a:pt x="319" y="327"/>
                  <a:pt x="319" y="327"/>
                </a:cubicBezTo>
                <a:cubicBezTo>
                  <a:pt x="317" y="328"/>
                  <a:pt x="317" y="328"/>
                  <a:pt x="317" y="328"/>
                </a:cubicBezTo>
                <a:cubicBezTo>
                  <a:pt x="318" y="331"/>
                  <a:pt x="318" y="331"/>
                  <a:pt x="318" y="331"/>
                </a:cubicBezTo>
                <a:cubicBezTo>
                  <a:pt x="319" y="331"/>
                  <a:pt x="319" y="331"/>
                  <a:pt x="319" y="331"/>
                </a:cubicBezTo>
                <a:cubicBezTo>
                  <a:pt x="320" y="333"/>
                  <a:pt x="320" y="333"/>
                  <a:pt x="320" y="333"/>
                </a:cubicBezTo>
                <a:cubicBezTo>
                  <a:pt x="319" y="336"/>
                  <a:pt x="319" y="336"/>
                  <a:pt x="319" y="336"/>
                </a:cubicBezTo>
                <a:cubicBezTo>
                  <a:pt x="318" y="341"/>
                  <a:pt x="318" y="341"/>
                  <a:pt x="318" y="341"/>
                </a:cubicBezTo>
                <a:cubicBezTo>
                  <a:pt x="319" y="344"/>
                  <a:pt x="319" y="344"/>
                  <a:pt x="319" y="344"/>
                </a:cubicBezTo>
                <a:cubicBezTo>
                  <a:pt x="321" y="347"/>
                  <a:pt x="321" y="347"/>
                  <a:pt x="321" y="347"/>
                </a:cubicBezTo>
                <a:cubicBezTo>
                  <a:pt x="322" y="347"/>
                  <a:pt x="322" y="347"/>
                  <a:pt x="322" y="347"/>
                </a:cubicBezTo>
                <a:cubicBezTo>
                  <a:pt x="322" y="346"/>
                  <a:pt x="322" y="346"/>
                  <a:pt x="322" y="346"/>
                </a:cubicBezTo>
                <a:cubicBezTo>
                  <a:pt x="324" y="344"/>
                  <a:pt x="324" y="344"/>
                  <a:pt x="324" y="344"/>
                </a:cubicBezTo>
                <a:cubicBezTo>
                  <a:pt x="327" y="343"/>
                  <a:pt x="327" y="343"/>
                  <a:pt x="327" y="343"/>
                </a:cubicBezTo>
                <a:cubicBezTo>
                  <a:pt x="329" y="342"/>
                  <a:pt x="329" y="342"/>
                  <a:pt x="329" y="342"/>
                </a:cubicBezTo>
                <a:cubicBezTo>
                  <a:pt x="330" y="340"/>
                  <a:pt x="330" y="340"/>
                  <a:pt x="330" y="340"/>
                </a:cubicBezTo>
                <a:cubicBezTo>
                  <a:pt x="331" y="340"/>
                  <a:pt x="331" y="340"/>
                  <a:pt x="331" y="340"/>
                </a:cubicBezTo>
                <a:cubicBezTo>
                  <a:pt x="331" y="342"/>
                  <a:pt x="331" y="342"/>
                  <a:pt x="331" y="342"/>
                </a:cubicBezTo>
                <a:cubicBezTo>
                  <a:pt x="330" y="344"/>
                  <a:pt x="330" y="344"/>
                  <a:pt x="330" y="344"/>
                </a:cubicBezTo>
                <a:cubicBezTo>
                  <a:pt x="329" y="344"/>
                  <a:pt x="329" y="344"/>
                  <a:pt x="329" y="344"/>
                </a:cubicBezTo>
                <a:cubicBezTo>
                  <a:pt x="328" y="346"/>
                  <a:pt x="328" y="346"/>
                  <a:pt x="328" y="346"/>
                </a:cubicBezTo>
                <a:cubicBezTo>
                  <a:pt x="328" y="347"/>
                  <a:pt x="328" y="347"/>
                  <a:pt x="328" y="347"/>
                </a:cubicBezTo>
                <a:cubicBezTo>
                  <a:pt x="330" y="348"/>
                  <a:pt x="330" y="348"/>
                  <a:pt x="330" y="348"/>
                </a:cubicBezTo>
                <a:cubicBezTo>
                  <a:pt x="331" y="350"/>
                  <a:pt x="331" y="350"/>
                  <a:pt x="331" y="350"/>
                </a:cubicBezTo>
                <a:cubicBezTo>
                  <a:pt x="333" y="350"/>
                  <a:pt x="333" y="350"/>
                  <a:pt x="333" y="350"/>
                </a:cubicBezTo>
                <a:cubicBezTo>
                  <a:pt x="335" y="350"/>
                  <a:pt x="335" y="350"/>
                  <a:pt x="335" y="350"/>
                </a:cubicBezTo>
                <a:cubicBezTo>
                  <a:pt x="335" y="351"/>
                  <a:pt x="335" y="351"/>
                  <a:pt x="335" y="351"/>
                </a:cubicBezTo>
                <a:cubicBezTo>
                  <a:pt x="333" y="350"/>
                  <a:pt x="333" y="350"/>
                  <a:pt x="333" y="350"/>
                </a:cubicBezTo>
                <a:cubicBezTo>
                  <a:pt x="331" y="350"/>
                  <a:pt x="331" y="350"/>
                  <a:pt x="331" y="350"/>
                </a:cubicBezTo>
                <a:cubicBezTo>
                  <a:pt x="329" y="350"/>
                  <a:pt x="329" y="350"/>
                  <a:pt x="329" y="350"/>
                </a:cubicBezTo>
                <a:cubicBezTo>
                  <a:pt x="326" y="349"/>
                  <a:pt x="326" y="349"/>
                  <a:pt x="326" y="349"/>
                </a:cubicBezTo>
                <a:cubicBezTo>
                  <a:pt x="326" y="351"/>
                  <a:pt x="326" y="351"/>
                  <a:pt x="326" y="351"/>
                </a:cubicBezTo>
                <a:cubicBezTo>
                  <a:pt x="326" y="352"/>
                  <a:pt x="326" y="352"/>
                  <a:pt x="326" y="352"/>
                </a:cubicBezTo>
                <a:cubicBezTo>
                  <a:pt x="327" y="354"/>
                  <a:pt x="327" y="354"/>
                  <a:pt x="327" y="354"/>
                </a:cubicBezTo>
                <a:cubicBezTo>
                  <a:pt x="327" y="358"/>
                  <a:pt x="327" y="358"/>
                  <a:pt x="327" y="358"/>
                </a:cubicBezTo>
                <a:cubicBezTo>
                  <a:pt x="328" y="360"/>
                  <a:pt x="328" y="360"/>
                  <a:pt x="328" y="360"/>
                </a:cubicBezTo>
                <a:cubicBezTo>
                  <a:pt x="329" y="360"/>
                  <a:pt x="329" y="360"/>
                  <a:pt x="329" y="360"/>
                </a:cubicBezTo>
                <a:cubicBezTo>
                  <a:pt x="330" y="359"/>
                  <a:pt x="330" y="359"/>
                  <a:pt x="330" y="359"/>
                </a:cubicBezTo>
                <a:cubicBezTo>
                  <a:pt x="331" y="360"/>
                  <a:pt x="331" y="360"/>
                  <a:pt x="331" y="360"/>
                </a:cubicBezTo>
                <a:cubicBezTo>
                  <a:pt x="330" y="360"/>
                  <a:pt x="330" y="360"/>
                  <a:pt x="330" y="360"/>
                </a:cubicBezTo>
                <a:cubicBezTo>
                  <a:pt x="330" y="361"/>
                  <a:pt x="330" y="361"/>
                  <a:pt x="330" y="361"/>
                </a:cubicBezTo>
                <a:cubicBezTo>
                  <a:pt x="331" y="362"/>
                  <a:pt x="331" y="362"/>
                  <a:pt x="331" y="362"/>
                </a:cubicBezTo>
                <a:cubicBezTo>
                  <a:pt x="331" y="363"/>
                  <a:pt x="331" y="363"/>
                  <a:pt x="331" y="363"/>
                </a:cubicBezTo>
                <a:cubicBezTo>
                  <a:pt x="330" y="364"/>
                  <a:pt x="330" y="364"/>
                  <a:pt x="330" y="364"/>
                </a:cubicBezTo>
                <a:cubicBezTo>
                  <a:pt x="329" y="364"/>
                  <a:pt x="329" y="364"/>
                  <a:pt x="329" y="364"/>
                </a:cubicBezTo>
                <a:cubicBezTo>
                  <a:pt x="327" y="364"/>
                  <a:pt x="327" y="364"/>
                  <a:pt x="327" y="364"/>
                </a:cubicBezTo>
                <a:cubicBezTo>
                  <a:pt x="324" y="366"/>
                  <a:pt x="324" y="366"/>
                  <a:pt x="324" y="366"/>
                </a:cubicBezTo>
                <a:cubicBezTo>
                  <a:pt x="324" y="367"/>
                  <a:pt x="324" y="367"/>
                  <a:pt x="324" y="367"/>
                </a:cubicBezTo>
                <a:cubicBezTo>
                  <a:pt x="325" y="368"/>
                  <a:pt x="325" y="368"/>
                  <a:pt x="325" y="368"/>
                </a:cubicBezTo>
                <a:cubicBezTo>
                  <a:pt x="328" y="367"/>
                  <a:pt x="328" y="367"/>
                  <a:pt x="328" y="367"/>
                </a:cubicBezTo>
                <a:cubicBezTo>
                  <a:pt x="329" y="367"/>
                  <a:pt x="329" y="367"/>
                  <a:pt x="329" y="367"/>
                </a:cubicBezTo>
                <a:cubicBezTo>
                  <a:pt x="328" y="368"/>
                  <a:pt x="328" y="368"/>
                  <a:pt x="328" y="368"/>
                </a:cubicBezTo>
                <a:cubicBezTo>
                  <a:pt x="327" y="369"/>
                  <a:pt x="327" y="369"/>
                  <a:pt x="327" y="369"/>
                </a:cubicBezTo>
                <a:cubicBezTo>
                  <a:pt x="329" y="370"/>
                  <a:pt x="329" y="370"/>
                  <a:pt x="329" y="370"/>
                </a:cubicBezTo>
                <a:cubicBezTo>
                  <a:pt x="332" y="369"/>
                  <a:pt x="332" y="369"/>
                  <a:pt x="332" y="369"/>
                </a:cubicBezTo>
                <a:cubicBezTo>
                  <a:pt x="334" y="367"/>
                  <a:pt x="334" y="367"/>
                  <a:pt x="334" y="367"/>
                </a:cubicBezTo>
                <a:cubicBezTo>
                  <a:pt x="336" y="365"/>
                  <a:pt x="336" y="365"/>
                  <a:pt x="336" y="365"/>
                </a:cubicBezTo>
                <a:cubicBezTo>
                  <a:pt x="338" y="365"/>
                  <a:pt x="338" y="365"/>
                  <a:pt x="338" y="365"/>
                </a:cubicBezTo>
                <a:cubicBezTo>
                  <a:pt x="340" y="363"/>
                  <a:pt x="340" y="363"/>
                  <a:pt x="340" y="363"/>
                </a:cubicBezTo>
                <a:cubicBezTo>
                  <a:pt x="340" y="361"/>
                  <a:pt x="340" y="361"/>
                  <a:pt x="340" y="361"/>
                </a:cubicBezTo>
                <a:cubicBezTo>
                  <a:pt x="341" y="361"/>
                  <a:pt x="341" y="361"/>
                  <a:pt x="341" y="361"/>
                </a:cubicBezTo>
                <a:cubicBezTo>
                  <a:pt x="342" y="362"/>
                  <a:pt x="342" y="362"/>
                  <a:pt x="342" y="362"/>
                </a:cubicBezTo>
                <a:cubicBezTo>
                  <a:pt x="340" y="365"/>
                  <a:pt x="340" y="365"/>
                  <a:pt x="340" y="365"/>
                </a:cubicBezTo>
                <a:cubicBezTo>
                  <a:pt x="338" y="366"/>
                  <a:pt x="338" y="366"/>
                  <a:pt x="338" y="366"/>
                </a:cubicBezTo>
                <a:cubicBezTo>
                  <a:pt x="336" y="367"/>
                  <a:pt x="336" y="367"/>
                  <a:pt x="336" y="367"/>
                </a:cubicBezTo>
                <a:cubicBezTo>
                  <a:pt x="336" y="369"/>
                  <a:pt x="336" y="369"/>
                  <a:pt x="336" y="369"/>
                </a:cubicBezTo>
                <a:cubicBezTo>
                  <a:pt x="336" y="370"/>
                  <a:pt x="336" y="370"/>
                  <a:pt x="336" y="370"/>
                </a:cubicBezTo>
                <a:cubicBezTo>
                  <a:pt x="338" y="369"/>
                  <a:pt x="338" y="369"/>
                  <a:pt x="338" y="369"/>
                </a:cubicBezTo>
                <a:cubicBezTo>
                  <a:pt x="340" y="369"/>
                  <a:pt x="340" y="369"/>
                  <a:pt x="340" y="369"/>
                </a:cubicBezTo>
                <a:cubicBezTo>
                  <a:pt x="342" y="370"/>
                  <a:pt x="342" y="370"/>
                  <a:pt x="342" y="370"/>
                </a:cubicBezTo>
                <a:cubicBezTo>
                  <a:pt x="340" y="370"/>
                  <a:pt x="340" y="370"/>
                  <a:pt x="340" y="370"/>
                </a:cubicBezTo>
                <a:cubicBezTo>
                  <a:pt x="338" y="371"/>
                  <a:pt x="338" y="371"/>
                  <a:pt x="338" y="371"/>
                </a:cubicBezTo>
                <a:cubicBezTo>
                  <a:pt x="338" y="374"/>
                  <a:pt x="338" y="374"/>
                  <a:pt x="338" y="374"/>
                </a:cubicBezTo>
                <a:cubicBezTo>
                  <a:pt x="339" y="376"/>
                  <a:pt x="339" y="376"/>
                  <a:pt x="339" y="376"/>
                </a:cubicBezTo>
                <a:cubicBezTo>
                  <a:pt x="338" y="377"/>
                  <a:pt x="338" y="377"/>
                  <a:pt x="338" y="377"/>
                </a:cubicBezTo>
                <a:cubicBezTo>
                  <a:pt x="337" y="375"/>
                  <a:pt x="337" y="375"/>
                  <a:pt x="337" y="375"/>
                </a:cubicBezTo>
                <a:cubicBezTo>
                  <a:pt x="337" y="372"/>
                  <a:pt x="337" y="372"/>
                  <a:pt x="337" y="372"/>
                </a:cubicBezTo>
                <a:cubicBezTo>
                  <a:pt x="336" y="371"/>
                  <a:pt x="336" y="371"/>
                  <a:pt x="336" y="371"/>
                </a:cubicBezTo>
                <a:cubicBezTo>
                  <a:pt x="334" y="372"/>
                  <a:pt x="334" y="372"/>
                  <a:pt x="334" y="372"/>
                </a:cubicBezTo>
                <a:cubicBezTo>
                  <a:pt x="330" y="375"/>
                  <a:pt x="330" y="375"/>
                  <a:pt x="330" y="375"/>
                </a:cubicBezTo>
                <a:cubicBezTo>
                  <a:pt x="329" y="376"/>
                  <a:pt x="329" y="376"/>
                  <a:pt x="329" y="376"/>
                </a:cubicBezTo>
                <a:cubicBezTo>
                  <a:pt x="326" y="378"/>
                  <a:pt x="326" y="378"/>
                  <a:pt x="326" y="378"/>
                </a:cubicBezTo>
                <a:cubicBezTo>
                  <a:pt x="325" y="379"/>
                  <a:pt x="325" y="379"/>
                  <a:pt x="325" y="379"/>
                </a:cubicBezTo>
                <a:cubicBezTo>
                  <a:pt x="326" y="381"/>
                  <a:pt x="326" y="381"/>
                  <a:pt x="326" y="381"/>
                </a:cubicBezTo>
                <a:cubicBezTo>
                  <a:pt x="326" y="382"/>
                  <a:pt x="326" y="382"/>
                  <a:pt x="326" y="382"/>
                </a:cubicBezTo>
                <a:cubicBezTo>
                  <a:pt x="326" y="383"/>
                  <a:pt x="326" y="383"/>
                  <a:pt x="326" y="383"/>
                </a:cubicBezTo>
                <a:cubicBezTo>
                  <a:pt x="328" y="382"/>
                  <a:pt x="328" y="382"/>
                  <a:pt x="328" y="382"/>
                </a:cubicBezTo>
                <a:cubicBezTo>
                  <a:pt x="329" y="381"/>
                  <a:pt x="329" y="381"/>
                  <a:pt x="329" y="381"/>
                </a:cubicBezTo>
                <a:cubicBezTo>
                  <a:pt x="330" y="379"/>
                  <a:pt x="330" y="379"/>
                  <a:pt x="330" y="379"/>
                </a:cubicBezTo>
                <a:cubicBezTo>
                  <a:pt x="331" y="380"/>
                  <a:pt x="331" y="380"/>
                  <a:pt x="331" y="380"/>
                </a:cubicBezTo>
                <a:cubicBezTo>
                  <a:pt x="332" y="381"/>
                  <a:pt x="332" y="381"/>
                  <a:pt x="332" y="381"/>
                </a:cubicBezTo>
                <a:cubicBezTo>
                  <a:pt x="335" y="381"/>
                  <a:pt x="335" y="381"/>
                  <a:pt x="335" y="381"/>
                </a:cubicBezTo>
                <a:cubicBezTo>
                  <a:pt x="335" y="382"/>
                  <a:pt x="335" y="382"/>
                  <a:pt x="335" y="382"/>
                </a:cubicBezTo>
                <a:cubicBezTo>
                  <a:pt x="333" y="381"/>
                  <a:pt x="333" y="381"/>
                  <a:pt x="333" y="381"/>
                </a:cubicBezTo>
                <a:cubicBezTo>
                  <a:pt x="331" y="381"/>
                  <a:pt x="331" y="381"/>
                  <a:pt x="331" y="381"/>
                </a:cubicBezTo>
                <a:cubicBezTo>
                  <a:pt x="329" y="382"/>
                  <a:pt x="329" y="382"/>
                  <a:pt x="329" y="382"/>
                </a:cubicBezTo>
                <a:cubicBezTo>
                  <a:pt x="329" y="383"/>
                  <a:pt x="329" y="383"/>
                  <a:pt x="329" y="383"/>
                </a:cubicBezTo>
                <a:cubicBezTo>
                  <a:pt x="330" y="384"/>
                  <a:pt x="330" y="384"/>
                  <a:pt x="330" y="384"/>
                </a:cubicBezTo>
                <a:cubicBezTo>
                  <a:pt x="328" y="385"/>
                  <a:pt x="328" y="385"/>
                  <a:pt x="328" y="385"/>
                </a:cubicBezTo>
                <a:cubicBezTo>
                  <a:pt x="327" y="384"/>
                  <a:pt x="327" y="384"/>
                  <a:pt x="327" y="384"/>
                </a:cubicBezTo>
                <a:cubicBezTo>
                  <a:pt x="325" y="385"/>
                  <a:pt x="325" y="385"/>
                  <a:pt x="325" y="385"/>
                </a:cubicBezTo>
                <a:cubicBezTo>
                  <a:pt x="324" y="386"/>
                  <a:pt x="324" y="386"/>
                  <a:pt x="324" y="386"/>
                </a:cubicBezTo>
                <a:cubicBezTo>
                  <a:pt x="327" y="386"/>
                  <a:pt x="327" y="386"/>
                  <a:pt x="327" y="386"/>
                </a:cubicBezTo>
                <a:cubicBezTo>
                  <a:pt x="328" y="387"/>
                  <a:pt x="328" y="387"/>
                  <a:pt x="328" y="387"/>
                </a:cubicBezTo>
                <a:cubicBezTo>
                  <a:pt x="330" y="387"/>
                  <a:pt x="330" y="387"/>
                  <a:pt x="330" y="387"/>
                </a:cubicBezTo>
                <a:cubicBezTo>
                  <a:pt x="329" y="388"/>
                  <a:pt x="329" y="388"/>
                  <a:pt x="329" y="388"/>
                </a:cubicBezTo>
                <a:cubicBezTo>
                  <a:pt x="327" y="388"/>
                  <a:pt x="327" y="388"/>
                  <a:pt x="327" y="388"/>
                </a:cubicBezTo>
                <a:cubicBezTo>
                  <a:pt x="326" y="387"/>
                  <a:pt x="326" y="387"/>
                  <a:pt x="326" y="387"/>
                </a:cubicBezTo>
                <a:cubicBezTo>
                  <a:pt x="324" y="387"/>
                  <a:pt x="324" y="387"/>
                  <a:pt x="324" y="387"/>
                </a:cubicBezTo>
                <a:cubicBezTo>
                  <a:pt x="324" y="389"/>
                  <a:pt x="324" y="389"/>
                  <a:pt x="324" y="389"/>
                </a:cubicBezTo>
                <a:cubicBezTo>
                  <a:pt x="324" y="390"/>
                  <a:pt x="324" y="390"/>
                  <a:pt x="324" y="390"/>
                </a:cubicBezTo>
                <a:cubicBezTo>
                  <a:pt x="326" y="390"/>
                  <a:pt x="326" y="390"/>
                  <a:pt x="326" y="390"/>
                </a:cubicBezTo>
                <a:cubicBezTo>
                  <a:pt x="328" y="389"/>
                  <a:pt x="328" y="389"/>
                  <a:pt x="328" y="389"/>
                </a:cubicBezTo>
                <a:cubicBezTo>
                  <a:pt x="329" y="390"/>
                  <a:pt x="329" y="390"/>
                  <a:pt x="329" y="390"/>
                </a:cubicBezTo>
                <a:cubicBezTo>
                  <a:pt x="332" y="390"/>
                  <a:pt x="332" y="390"/>
                  <a:pt x="332" y="390"/>
                </a:cubicBezTo>
                <a:cubicBezTo>
                  <a:pt x="332" y="391"/>
                  <a:pt x="332" y="391"/>
                  <a:pt x="332" y="391"/>
                </a:cubicBezTo>
                <a:cubicBezTo>
                  <a:pt x="330" y="391"/>
                  <a:pt x="330" y="391"/>
                  <a:pt x="330" y="391"/>
                </a:cubicBezTo>
                <a:cubicBezTo>
                  <a:pt x="328" y="391"/>
                  <a:pt x="328" y="391"/>
                  <a:pt x="328" y="391"/>
                </a:cubicBezTo>
                <a:cubicBezTo>
                  <a:pt x="328" y="391"/>
                  <a:pt x="328" y="391"/>
                  <a:pt x="328" y="391"/>
                </a:cubicBezTo>
                <a:cubicBezTo>
                  <a:pt x="328" y="392"/>
                  <a:pt x="328" y="392"/>
                  <a:pt x="328" y="392"/>
                </a:cubicBezTo>
                <a:cubicBezTo>
                  <a:pt x="331" y="392"/>
                  <a:pt x="331" y="392"/>
                  <a:pt x="331" y="392"/>
                </a:cubicBezTo>
                <a:cubicBezTo>
                  <a:pt x="332" y="392"/>
                  <a:pt x="332" y="392"/>
                  <a:pt x="332" y="392"/>
                </a:cubicBezTo>
                <a:cubicBezTo>
                  <a:pt x="332" y="393"/>
                  <a:pt x="332" y="393"/>
                  <a:pt x="332" y="393"/>
                </a:cubicBezTo>
                <a:cubicBezTo>
                  <a:pt x="329" y="393"/>
                  <a:pt x="329" y="393"/>
                  <a:pt x="329" y="393"/>
                </a:cubicBezTo>
                <a:cubicBezTo>
                  <a:pt x="327" y="393"/>
                  <a:pt x="327" y="393"/>
                  <a:pt x="327" y="393"/>
                </a:cubicBezTo>
                <a:cubicBezTo>
                  <a:pt x="326" y="392"/>
                  <a:pt x="326" y="392"/>
                  <a:pt x="326" y="392"/>
                </a:cubicBezTo>
                <a:cubicBezTo>
                  <a:pt x="325" y="392"/>
                  <a:pt x="325" y="392"/>
                  <a:pt x="325" y="392"/>
                </a:cubicBezTo>
                <a:cubicBezTo>
                  <a:pt x="326" y="394"/>
                  <a:pt x="326" y="394"/>
                  <a:pt x="326" y="394"/>
                </a:cubicBezTo>
                <a:cubicBezTo>
                  <a:pt x="328" y="396"/>
                  <a:pt x="328" y="396"/>
                  <a:pt x="328" y="396"/>
                </a:cubicBezTo>
                <a:cubicBezTo>
                  <a:pt x="329" y="394"/>
                  <a:pt x="329" y="394"/>
                  <a:pt x="329" y="394"/>
                </a:cubicBezTo>
                <a:cubicBezTo>
                  <a:pt x="330" y="394"/>
                  <a:pt x="330" y="394"/>
                  <a:pt x="330" y="394"/>
                </a:cubicBezTo>
                <a:cubicBezTo>
                  <a:pt x="332" y="395"/>
                  <a:pt x="332" y="395"/>
                  <a:pt x="332" y="395"/>
                </a:cubicBezTo>
                <a:cubicBezTo>
                  <a:pt x="334" y="395"/>
                  <a:pt x="334" y="395"/>
                  <a:pt x="334" y="395"/>
                </a:cubicBezTo>
                <a:cubicBezTo>
                  <a:pt x="335" y="395"/>
                  <a:pt x="335" y="395"/>
                  <a:pt x="335" y="395"/>
                </a:cubicBezTo>
                <a:cubicBezTo>
                  <a:pt x="334" y="396"/>
                  <a:pt x="334" y="396"/>
                  <a:pt x="334" y="396"/>
                </a:cubicBezTo>
                <a:cubicBezTo>
                  <a:pt x="334" y="397"/>
                  <a:pt x="334" y="397"/>
                  <a:pt x="334" y="397"/>
                </a:cubicBezTo>
                <a:cubicBezTo>
                  <a:pt x="335" y="397"/>
                  <a:pt x="335" y="397"/>
                  <a:pt x="335" y="397"/>
                </a:cubicBezTo>
                <a:cubicBezTo>
                  <a:pt x="336" y="398"/>
                  <a:pt x="336" y="398"/>
                  <a:pt x="336" y="398"/>
                </a:cubicBezTo>
                <a:cubicBezTo>
                  <a:pt x="339" y="399"/>
                  <a:pt x="339" y="399"/>
                  <a:pt x="339" y="399"/>
                </a:cubicBezTo>
                <a:cubicBezTo>
                  <a:pt x="340" y="398"/>
                  <a:pt x="340" y="398"/>
                  <a:pt x="340" y="398"/>
                </a:cubicBezTo>
                <a:cubicBezTo>
                  <a:pt x="341" y="396"/>
                  <a:pt x="341" y="396"/>
                  <a:pt x="341" y="396"/>
                </a:cubicBezTo>
                <a:cubicBezTo>
                  <a:pt x="343" y="395"/>
                  <a:pt x="343" y="395"/>
                  <a:pt x="343" y="395"/>
                </a:cubicBezTo>
                <a:cubicBezTo>
                  <a:pt x="343" y="393"/>
                  <a:pt x="343" y="393"/>
                  <a:pt x="343" y="393"/>
                </a:cubicBezTo>
                <a:cubicBezTo>
                  <a:pt x="343" y="395"/>
                  <a:pt x="343" y="395"/>
                  <a:pt x="343" y="395"/>
                </a:cubicBezTo>
                <a:cubicBezTo>
                  <a:pt x="342" y="397"/>
                  <a:pt x="342" y="397"/>
                  <a:pt x="342" y="397"/>
                </a:cubicBezTo>
                <a:cubicBezTo>
                  <a:pt x="340" y="399"/>
                  <a:pt x="340" y="399"/>
                  <a:pt x="340" y="399"/>
                </a:cubicBezTo>
                <a:cubicBezTo>
                  <a:pt x="337" y="400"/>
                  <a:pt x="337" y="400"/>
                  <a:pt x="337" y="400"/>
                </a:cubicBezTo>
                <a:cubicBezTo>
                  <a:pt x="336" y="400"/>
                  <a:pt x="336" y="400"/>
                  <a:pt x="336" y="400"/>
                </a:cubicBezTo>
                <a:cubicBezTo>
                  <a:pt x="334" y="402"/>
                  <a:pt x="334" y="402"/>
                  <a:pt x="334" y="402"/>
                </a:cubicBezTo>
                <a:cubicBezTo>
                  <a:pt x="334" y="402"/>
                  <a:pt x="334" y="402"/>
                  <a:pt x="334" y="402"/>
                </a:cubicBezTo>
                <a:cubicBezTo>
                  <a:pt x="336" y="403"/>
                  <a:pt x="336" y="403"/>
                  <a:pt x="336" y="403"/>
                </a:cubicBezTo>
                <a:cubicBezTo>
                  <a:pt x="337" y="402"/>
                  <a:pt x="337" y="402"/>
                  <a:pt x="337" y="402"/>
                </a:cubicBezTo>
                <a:cubicBezTo>
                  <a:pt x="338" y="402"/>
                  <a:pt x="338" y="402"/>
                  <a:pt x="338" y="402"/>
                </a:cubicBezTo>
                <a:cubicBezTo>
                  <a:pt x="338" y="403"/>
                  <a:pt x="338" y="403"/>
                  <a:pt x="338" y="403"/>
                </a:cubicBezTo>
                <a:cubicBezTo>
                  <a:pt x="339" y="403"/>
                  <a:pt x="339" y="403"/>
                  <a:pt x="339" y="403"/>
                </a:cubicBezTo>
                <a:cubicBezTo>
                  <a:pt x="340" y="402"/>
                  <a:pt x="340" y="402"/>
                  <a:pt x="340" y="402"/>
                </a:cubicBezTo>
                <a:cubicBezTo>
                  <a:pt x="341" y="401"/>
                  <a:pt x="341" y="401"/>
                  <a:pt x="341" y="401"/>
                </a:cubicBezTo>
                <a:cubicBezTo>
                  <a:pt x="341" y="402"/>
                  <a:pt x="341" y="402"/>
                  <a:pt x="341" y="402"/>
                </a:cubicBezTo>
                <a:cubicBezTo>
                  <a:pt x="341" y="403"/>
                  <a:pt x="341" y="403"/>
                  <a:pt x="341" y="403"/>
                </a:cubicBezTo>
                <a:cubicBezTo>
                  <a:pt x="341" y="404"/>
                  <a:pt x="341" y="404"/>
                  <a:pt x="341" y="404"/>
                </a:cubicBezTo>
                <a:cubicBezTo>
                  <a:pt x="342" y="404"/>
                  <a:pt x="342" y="404"/>
                  <a:pt x="342" y="404"/>
                </a:cubicBezTo>
                <a:cubicBezTo>
                  <a:pt x="343" y="405"/>
                  <a:pt x="343" y="405"/>
                  <a:pt x="343" y="405"/>
                </a:cubicBezTo>
                <a:cubicBezTo>
                  <a:pt x="344" y="405"/>
                  <a:pt x="344" y="405"/>
                  <a:pt x="344" y="405"/>
                </a:cubicBezTo>
                <a:cubicBezTo>
                  <a:pt x="347" y="402"/>
                  <a:pt x="347" y="402"/>
                  <a:pt x="347" y="402"/>
                </a:cubicBezTo>
                <a:cubicBezTo>
                  <a:pt x="347" y="398"/>
                  <a:pt x="347" y="398"/>
                  <a:pt x="347" y="398"/>
                </a:cubicBezTo>
                <a:cubicBezTo>
                  <a:pt x="348" y="396"/>
                  <a:pt x="348" y="396"/>
                  <a:pt x="348" y="396"/>
                </a:cubicBezTo>
                <a:cubicBezTo>
                  <a:pt x="349" y="396"/>
                  <a:pt x="349" y="396"/>
                  <a:pt x="349" y="396"/>
                </a:cubicBezTo>
                <a:cubicBezTo>
                  <a:pt x="349" y="397"/>
                  <a:pt x="349" y="397"/>
                  <a:pt x="349" y="397"/>
                </a:cubicBezTo>
                <a:cubicBezTo>
                  <a:pt x="348" y="398"/>
                  <a:pt x="348" y="398"/>
                  <a:pt x="348" y="398"/>
                </a:cubicBezTo>
                <a:cubicBezTo>
                  <a:pt x="348" y="401"/>
                  <a:pt x="348" y="401"/>
                  <a:pt x="348" y="401"/>
                </a:cubicBezTo>
                <a:cubicBezTo>
                  <a:pt x="346" y="404"/>
                  <a:pt x="346" y="404"/>
                  <a:pt x="346" y="404"/>
                </a:cubicBezTo>
                <a:cubicBezTo>
                  <a:pt x="345" y="405"/>
                  <a:pt x="345" y="405"/>
                  <a:pt x="345" y="405"/>
                </a:cubicBezTo>
                <a:cubicBezTo>
                  <a:pt x="345" y="406"/>
                  <a:pt x="345" y="406"/>
                  <a:pt x="345" y="406"/>
                </a:cubicBezTo>
                <a:cubicBezTo>
                  <a:pt x="347" y="406"/>
                  <a:pt x="347" y="406"/>
                  <a:pt x="347" y="406"/>
                </a:cubicBezTo>
                <a:cubicBezTo>
                  <a:pt x="349" y="405"/>
                  <a:pt x="349" y="405"/>
                  <a:pt x="349" y="405"/>
                </a:cubicBezTo>
                <a:cubicBezTo>
                  <a:pt x="350" y="406"/>
                  <a:pt x="350" y="406"/>
                  <a:pt x="350" y="406"/>
                </a:cubicBezTo>
                <a:cubicBezTo>
                  <a:pt x="349" y="407"/>
                  <a:pt x="349" y="407"/>
                  <a:pt x="349" y="407"/>
                </a:cubicBezTo>
                <a:cubicBezTo>
                  <a:pt x="348" y="410"/>
                  <a:pt x="348" y="410"/>
                  <a:pt x="348" y="410"/>
                </a:cubicBezTo>
                <a:cubicBezTo>
                  <a:pt x="345" y="412"/>
                  <a:pt x="345" y="412"/>
                  <a:pt x="345" y="412"/>
                </a:cubicBezTo>
                <a:cubicBezTo>
                  <a:pt x="345" y="412"/>
                  <a:pt x="345" y="412"/>
                  <a:pt x="345" y="412"/>
                </a:cubicBezTo>
                <a:cubicBezTo>
                  <a:pt x="346" y="415"/>
                  <a:pt x="346" y="415"/>
                  <a:pt x="346" y="415"/>
                </a:cubicBezTo>
                <a:cubicBezTo>
                  <a:pt x="349" y="416"/>
                  <a:pt x="349" y="416"/>
                  <a:pt x="349" y="416"/>
                </a:cubicBezTo>
                <a:cubicBezTo>
                  <a:pt x="350" y="415"/>
                  <a:pt x="350" y="415"/>
                  <a:pt x="350" y="415"/>
                </a:cubicBezTo>
                <a:cubicBezTo>
                  <a:pt x="351" y="415"/>
                  <a:pt x="351" y="415"/>
                  <a:pt x="351" y="415"/>
                </a:cubicBezTo>
                <a:cubicBezTo>
                  <a:pt x="352" y="417"/>
                  <a:pt x="352" y="417"/>
                  <a:pt x="352" y="417"/>
                </a:cubicBezTo>
                <a:cubicBezTo>
                  <a:pt x="353" y="419"/>
                  <a:pt x="353" y="419"/>
                  <a:pt x="353" y="419"/>
                </a:cubicBezTo>
                <a:cubicBezTo>
                  <a:pt x="353" y="420"/>
                  <a:pt x="353" y="420"/>
                  <a:pt x="353" y="420"/>
                </a:cubicBezTo>
                <a:cubicBezTo>
                  <a:pt x="352" y="420"/>
                  <a:pt x="352" y="420"/>
                  <a:pt x="352" y="420"/>
                </a:cubicBezTo>
                <a:cubicBezTo>
                  <a:pt x="351" y="418"/>
                  <a:pt x="351" y="418"/>
                  <a:pt x="351" y="418"/>
                </a:cubicBezTo>
                <a:cubicBezTo>
                  <a:pt x="350" y="418"/>
                  <a:pt x="350" y="418"/>
                  <a:pt x="350" y="418"/>
                </a:cubicBezTo>
                <a:cubicBezTo>
                  <a:pt x="350" y="420"/>
                  <a:pt x="350" y="420"/>
                  <a:pt x="350" y="420"/>
                </a:cubicBezTo>
                <a:cubicBezTo>
                  <a:pt x="352" y="422"/>
                  <a:pt x="352" y="422"/>
                  <a:pt x="352" y="422"/>
                </a:cubicBezTo>
                <a:cubicBezTo>
                  <a:pt x="354" y="421"/>
                  <a:pt x="354" y="421"/>
                  <a:pt x="354" y="421"/>
                </a:cubicBezTo>
                <a:cubicBezTo>
                  <a:pt x="356" y="420"/>
                  <a:pt x="356" y="420"/>
                  <a:pt x="356" y="420"/>
                </a:cubicBezTo>
                <a:cubicBezTo>
                  <a:pt x="358" y="419"/>
                  <a:pt x="358" y="419"/>
                  <a:pt x="358" y="419"/>
                </a:cubicBezTo>
                <a:cubicBezTo>
                  <a:pt x="357" y="422"/>
                  <a:pt x="357" y="422"/>
                  <a:pt x="357" y="422"/>
                </a:cubicBezTo>
                <a:cubicBezTo>
                  <a:pt x="355" y="426"/>
                  <a:pt x="355" y="426"/>
                  <a:pt x="355" y="426"/>
                </a:cubicBezTo>
                <a:cubicBezTo>
                  <a:pt x="356" y="429"/>
                  <a:pt x="356" y="429"/>
                  <a:pt x="356" y="429"/>
                </a:cubicBezTo>
                <a:cubicBezTo>
                  <a:pt x="357" y="429"/>
                  <a:pt x="357" y="429"/>
                  <a:pt x="357" y="429"/>
                </a:cubicBezTo>
                <a:cubicBezTo>
                  <a:pt x="357" y="429"/>
                  <a:pt x="357" y="429"/>
                  <a:pt x="357" y="429"/>
                </a:cubicBezTo>
                <a:cubicBezTo>
                  <a:pt x="358" y="433"/>
                  <a:pt x="358" y="433"/>
                  <a:pt x="358" y="433"/>
                </a:cubicBezTo>
                <a:cubicBezTo>
                  <a:pt x="360" y="435"/>
                  <a:pt x="360" y="435"/>
                  <a:pt x="360" y="435"/>
                </a:cubicBezTo>
                <a:cubicBezTo>
                  <a:pt x="360" y="436"/>
                  <a:pt x="360" y="436"/>
                  <a:pt x="360" y="436"/>
                </a:cubicBezTo>
                <a:cubicBezTo>
                  <a:pt x="358" y="437"/>
                  <a:pt x="358" y="437"/>
                  <a:pt x="358" y="437"/>
                </a:cubicBezTo>
                <a:cubicBezTo>
                  <a:pt x="359" y="439"/>
                  <a:pt x="359" y="439"/>
                  <a:pt x="359" y="439"/>
                </a:cubicBezTo>
                <a:cubicBezTo>
                  <a:pt x="360" y="440"/>
                  <a:pt x="360" y="440"/>
                  <a:pt x="360" y="440"/>
                </a:cubicBezTo>
                <a:cubicBezTo>
                  <a:pt x="359" y="441"/>
                  <a:pt x="359" y="441"/>
                  <a:pt x="359" y="441"/>
                </a:cubicBezTo>
                <a:cubicBezTo>
                  <a:pt x="358" y="442"/>
                  <a:pt x="358" y="442"/>
                  <a:pt x="358" y="442"/>
                </a:cubicBezTo>
                <a:cubicBezTo>
                  <a:pt x="359" y="443"/>
                  <a:pt x="359" y="443"/>
                  <a:pt x="359" y="443"/>
                </a:cubicBezTo>
                <a:cubicBezTo>
                  <a:pt x="359" y="444"/>
                  <a:pt x="359" y="444"/>
                  <a:pt x="359" y="444"/>
                </a:cubicBezTo>
                <a:cubicBezTo>
                  <a:pt x="360" y="446"/>
                  <a:pt x="360" y="446"/>
                  <a:pt x="360" y="446"/>
                </a:cubicBezTo>
                <a:cubicBezTo>
                  <a:pt x="358" y="448"/>
                  <a:pt x="358" y="448"/>
                  <a:pt x="358" y="448"/>
                </a:cubicBezTo>
                <a:cubicBezTo>
                  <a:pt x="357" y="449"/>
                  <a:pt x="357" y="449"/>
                  <a:pt x="357" y="449"/>
                </a:cubicBezTo>
                <a:cubicBezTo>
                  <a:pt x="356" y="451"/>
                  <a:pt x="356" y="451"/>
                  <a:pt x="356" y="451"/>
                </a:cubicBezTo>
                <a:cubicBezTo>
                  <a:pt x="355" y="452"/>
                  <a:pt x="355" y="452"/>
                  <a:pt x="355" y="452"/>
                </a:cubicBezTo>
                <a:cubicBezTo>
                  <a:pt x="355" y="454"/>
                  <a:pt x="355" y="454"/>
                  <a:pt x="355" y="454"/>
                </a:cubicBezTo>
                <a:cubicBezTo>
                  <a:pt x="354" y="456"/>
                  <a:pt x="354" y="456"/>
                  <a:pt x="354" y="456"/>
                </a:cubicBezTo>
                <a:cubicBezTo>
                  <a:pt x="353" y="457"/>
                  <a:pt x="353" y="457"/>
                  <a:pt x="353" y="457"/>
                </a:cubicBezTo>
                <a:cubicBezTo>
                  <a:pt x="351" y="459"/>
                  <a:pt x="351" y="459"/>
                  <a:pt x="351" y="459"/>
                </a:cubicBezTo>
                <a:cubicBezTo>
                  <a:pt x="349" y="458"/>
                  <a:pt x="349" y="458"/>
                  <a:pt x="349" y="458"/>
                </a:cubicBezTo>
                <a:cubicBezTo>
                  <a:pt x="349" y="457"/>
                  <a:pt x="349" y="457"/>
                  <a:pt x="349" y="457"/>
                </a:cubicBezTo>
                <a:cubicBezTo>
                  <a:pt x="350" y="455"/>
                  <a:pt x="350" y="455"/>
                  <a:pt x="350" y="455"/>
                </a:cubicBezTo>
                <a:cubicBezTo>
                  <a:pt x="351" y="456"/>
                  <a:pt x="351" y="456"/>
                  <a:pt x="351" y="456"/>
                </a:cubicBezTo>
                <a:cubicBezTo>
                  <a:pt x="352" y="455"/>
                  <a:pt x="352" y="455"/>
                  <a:pt x="352" y="455"/>
                </a:cubicBezTo>
                <a:cubicBezTo>
                  <a:pt x="352" y="456"/>
                  <a:pt x="352" y="456"/>
                  <a:pt x="352" y="456"/>
                </a:cubicBezTo>
                <a:cubicBezTo>
                  <a:pt x="353" y="456"/>
                  <a:pt x="353" y="456"/>
                  <a:pt x="353" y="456"/>
                </a:cubicBezTo>
                <a:cubicBezTo>
                  <a:pt x="353" y="453"/>
                  <a:pt x="353" y="453"/>
                  <a:pt x="353" y="453"/>
                </a:cubicBezTo>
                <a:cubicBezTo>
                  <a:pt x="354" y="451"/>
                  <a:pt x="354" y="451"/>
                  <a:pt x="354" y="451"/>
                </a:cubicBezTo>
                <a:cubicBezTo>
                  <a:pt x="356" y="450"/>
                  <a:pt x="356" y="450"/>
                  <a:pt x="356" y="450"/>
                </a:cubicBezTo>
                <a:cubicBezTo>
                  <a:pt x="355" y="448"/>
                  <a:pt x="355" y="448"/>
                  <a:pt x="355" y="448"/>
                </a:cubicBezTo>
                <a:cubicBezTo>
                  <a:pt x="354" y="448"/>
                  <a:pt x="354" y="448"/>
                  <a:pt x="354" y="448"/>
                </a:cubicBezTo>
                <a:cubicBezTo>
                  <a:pt x="352" y="450"/>
                  <a:pt x="352" y="450"/>
                  <a:pt x="352" y="450"/>
                </a:cubicBezTo>
                <a:cubicBezTo>
                  <a:pt x="352" y="451"/>
                  <a:pt x="352" y="451"/>
                  <a:pt x="352" y="451"/>
                </a:cubicBezTo>
                <a:cubicBezTo>
                  <a:pt x="350" y="451"/>
                  <a:pt x="350" y="451"/>
                  <a:pt x="350" y="451"/>
                </a:cubicBezTo>
                <a:cubicBezTo>
                  <a:pt x="350" y="450"/>
                  <a:pt x="350" y="450"/>
                  <a:pt x="350" y="450"/>
                </a:cubicBezTo>
                <a:cubicBezTo>
                  <a:pt x="352" y="448"/>
                  <a:pt x="352" y="448"/>
                  <a:pt x="352" y="448"/>
                </a:cubicBezTo>
                <a:cubicBezTo>
                  <a:pt x="354" y="447"/>
                  <a:pt x="354" y="447"/>
                  <a:pt x="354" y="447"/>
                </a:cubicBezTo>
                <a:cubicBezTo>
                  <a:pt x="355" y="446"/>
                  <a:pt x="355" y="446"/>
                  <a:pt x="355" y="446"/>
                </a:cubicBezTo>
                <a:cubicBezTo>
                  <a:pt x="354" y="445"/>
                  <a:pt x="354" y="445"/>
                  <a:pt x="354" y="445"/>
                </a:cubicBezTo>
                <a:cubicBezTo>
                  <a:pt x="353" y="445"/>
                  <a:pt x="353" y="445"/>
                  <a:pt x="353" y="445"/>
                </a:cubicBezTo>
                <a:cubicBezTo>
                  <a:pt x="352" y="445"/>
                  <a:pt x="352" y="445"/>
                  <a:pt x="352" y="445"/>
                </a:cubicBezTo>
                <a:cubicBezTo>
                  <a:pt x="351" y="444"/>
                  <a:pt x="351" y="444"/>
                  <a:pt x="351" y="444"/>
                </a:cubicBezTo>
                <a:cubicBezTo>
                  <a:pt x="349" y="443"/>
                  <a:pt x="349" y="443"/>
                  <a:pt x="349" y="443"/>
                </a:cubicBezTo>
                <a:cubicBezTo>
                  <a:pt x="345" y="442"/>
                  <a:pt x="345" y="442"/>
                  <a:pt x="345" y="442"/>
                </a:cubicBezTo>
                <a:cubicBezTo>
                  <a:pt x="342" y="441"/>
                  <a:pt x="342" y="441"/>
                  <a:pt x="342" y="441"/>
                </a:cubicBezTo>
                <a:cubicBezTo>
                  <a:pt x="338" y="437"/>
                  <a:pt x="338" y="437"/>
                  <a:pt x="338" y="437"/>
                </a:cubicBezTo>
                <a:cubicBezTo>
                  <a:pt x="337" y="437"/>
                  <a:pt x="337" y="437"/>
                  <a:pt x="337" y="437"/>
                </a:cubicBezTo>
                <a:cubicBezTo>
                  <a:pt x="337" y="439"/>
                  <a:pt x="337" y="439"/>
                  <a:pt x="337" y="439"/>
                </a:cubicBezTo>
                <a:cubicBezTo>
                  <a:pt x="335" y="443"/>
                  <a:pt x="335" y="443"/>
                  <a:pt x="335" y="443"/>
                </a:cubicBezTo>
                <a:cubicBezTo>
                  <a:pt x="335" y="445"/>
                  <a:pt x="335" y="445"/>
                  <a:pt x="335" y="445"/>
                </a:cubicBezTo>
                <a:cubicBezTo>
                  <a:pt x="336" y="448"/>
                  <a:pt x="336" y="448"/>
                  <a:pt x="336" y="448"/>
                </a:cubicBezTo>
                <a:cubicBezTo>
                  <a:pt x="335" y="453"/>
                  <a:pt x="335" y="453"/>
                  <a:pt x="335" y="453"/>
                </a:cubicBezTo>
                <a:cubicBezTo>
                  <a:pt x="336" y="456"/>
                  <a:pt x="336" y="456"/>
                  <a:pt x="336" y="456"/>
                </a:cubicBezTo>
                <a:cubicBezTo>
                  <a:pt x="335" y="459"/>
                  <a:pt x="335" y="459"/>
                  <a:pt x="335" y="459"/>
                </a:cubicBezTo>
                <a:cubicBezTo>
                  <a:pt x="336" y="460"/>
                  <a:pt x="336" y="460"/>
                  <a:pt x="336" y="460"/>
                </a:cubicBezTo>
                <a:cubicBezTo>
                  <a:pt x="337" y="460"/>
                  <a:pt x="337" y="460"/>
                  <a:pt x="337" y="460"/>
                </a:cubicBezTo>
                <a:cubicBezTo>
                  <a:pt x="337" y="461"/>
                  <a:pt x="337" y="461"/>
                  <a:pt x="337" y="461"/>
                </a:cubicBezTo>
                <a:cubicBezTo>
                  <a:pt x="336" y="462"/>
                  <a:pt x="336" y="462"/>
                  <a:pt x="336" y="462"/>
                </a:cubicBezTo>
                <a:cubicBezTo>
                  <a:pt x="335" y="462"/>
                  <a:pt x="335" y="462"/>
                  <a:pt x="335" y="462"/>
                </a:cubicBezTo>
                <a:cubicBezTo>
                  <a:pt x="335" y="464"/>
                  <a:pt x="335" y="464"/>
                  <a:pt x="335" y="464"/>
                </a:cubicBezTo>
                <a:cubicBezTo>
                  <a:pt x="335" y="465"/>
                  <a:pt x="335" y="465"/>
                  <a:pt x="335" y="465"/>
                </a:cubicBezTo>
                <a:cubicBezTo>
                  <a:pt x="337" y="465"/>
                  <a:pt x="337" y="465"/>
                  <a:pt x="337" y="465"/>
                </a:cubicBezTo>
                <a:cubicBezTo>
                  <a:pt x="336" y="467"/>
                  <a:pt x="336" y="467"/>
                  <a:pt x="336" y="467"/>
                </a:cubicBezTo>
                <a:cubicBezTo>
                  <a:pt x="336" y="469"/>
                  <a:pt x="336" y="469"/>
                  <a:pt x="336" y="469"/>
                </a:cubicBezTo>
                <a:cubicBezTo>
                  <a:pt x="335" y="470"/>
                  <a:pt x="335" y="470"/>
                  <a:pt x="335" y="470"/>
                </a:cubicBezTo>
                <a:cubicBezTo>
                  <a:pt x="335" y="470"/>
                  <a:pt x="335" y="470"/>
                  <a:pt x="335" y="470"/>
                </a:cubicBezTo>
                <a:cubicBezTo>
                  <a:pt x="334" y="471"/>
                  <a:pt x="334" y="471"/>
                  <a:pt x="334" y="471"/>
                </a:cubicBezTo>
                <a:cubicBezTo>
                  <a:pt x="334" y="472"/>
                  <a:pt x="334" y="472"/>
                  <a:pt x="334" y="472"/>
                </a:cubicBezTo>
                <a:cubicBezTo>
                  <a:pt x="337" y="473"/>
                  <a:pt x="337" y="473"/>
                  <a:pt x="337" y="473"/>
                </a:cubicBezTo>
                <a:cubicBezTo>
                  <a:pt x="340" y="473"/>
                  <a:pt x="340" y="473"/>
                  <a:pt x="340" y="473"/>
                </a:cubicBezTo>
                <a:cubicBezTo>
                  <a:pt x="341" y="474"/>
                  <a:pt x="341" y="474"/>
                  <a:pt x="341" y="474"/>
                </a:cubicBezTo>
                <a:cubicBezTo>
                  <a:pt x="343" y="475"/>
                  <a:pt x="343" y="475"/>
                  <a:pt x="343" y="475"/>
                </a:cubicBezTo>
                <a:cubicBezTo>
                  <a:pt x="344" y="476"/>
                  <a:pt x="344" y="476"/>
                  <a:pt x="344" y="476"/>
                </a:cubicBezTo>
                <a:cubicBezTo>
                  <a:pt x="345" y="478"/>
                  <a:pt x="345" y="478"/>
                  <a:pt x="345" y="478"/>
                </a:cubicBezTo>
                <a:cubicBezTo>
                  <a:pt x="344" y="476"/>
                  <a:pt x="344" y="476"/>
                  <a:pt x="344" y="476"/>
                </a:cubicBezTo>
                <a:cubicBezTo>
                  <a:pt x="342" y="475"/>
                  <a:pt x="342" y="475"/>
                  <a:pt x="342" y="475"/>
                </a:cubicBezTo>
                <a:cubicBezTo>
                  <a:pt x="341" y="475"/>
                  <a:pt x="341" y="475"/>
                  <a:pt x="341" y="475"/>
                </a:cubicBezTo>
                <a:cubicBezTo>
                  <a:pt x="339" y="474"/>
                  <a:pt x="339" y="474"/>
                  <a:pt x="339" y="474"/>
                </a:cubicBezTo>
                <a:cubicBezTo>
                  <a:pt x="336" y="474"/>
                  <a:pt x="336" y="474"/>
                  <a:pt x="336" y="474"/>
                </a:cubicBezTo>
                <a:cubicBezTo>
                  <a:pt x="335" y="473"/>
                  <a:pt x="335" y="473"/>
                  <a:pt x="335" y="473"/>
                </a:cubicBezTo>
                <a:cubicBezTo>
                  <a:pt x="334" y="474"/>
                  <a:pt x="334" y="474"/>
                  <a:pt x="334" y="474"/>
                </a:cubicBezTo>
                <a:cubicBezTo>
                  <a:pt x="334" y="475"/>
                  <a:pt x="334" y="475"/>
                  <a:pt x="334" y="475"/>
                </a:cubicBezTo>
                <a:cubicBezTo>
                  <a:pt x="332" y="478"/>
                  <a:pt x="332" y="478"/>
                  <a:pt x="332" y="478"/>
                </a:cubicBezTo>
                <a:cubicBezTo>
                  <a:pt x="332" y="479"/>
                  <a:pt x="332" y="479"/>
                  <a:pt x="332" y="479"/>
                </a:cubicBezTo>
                <a:cubicBezTo>
                  <a:pt x="332" y="481"/>
                  <a:pt x="332" y="481"/>
                  <a:pt x="332" y="481"/>
                </a:cubicBezTo>
                <a:cubicBezTo>
                  <a:pt x="331" y="484"/>
                  <a:pt x="331" y="484"/>
                  <a:pt x="331" y="484"/>
                </a:cubicBezTo>
                <a:cubicBezTo>
                  <a:pt x="330" y="486"/>
                  <a:pt x="330" y="486"/>
                  <a:pt x="330" y="486"/>
                </a:cubicBezTo>
                <a:cubicBezTo>
                  <a:pt x="327" y="492"/>
                  <a:pt x="327" y="492"/>
                  <a:pt x="327" y="492"/>
                </a:cubicBezTo>
                <a:cubicBezTo>
                  <a:pt x="326" y="496"/>
                  <a:pt x="326" y="496"/>
                  <a:pt x="326" y="496"/>
                </a:cubicBezTo>
                <a:cubicBezTo>
                  <a:pt x="324" y="501"/>
                  <a:pt x="324" y="501"/>
                  <a:pt x="324" y="501"/>
                </a:cubicBezTo>
                <a:cubicBezTo>
                  <a:pt x="323" y="507"/>
                  <a:pt x="323" y="507"/>
                  <a:pt x="323" y="507"/>
                </a:cubicBezTo>
                <a:cubicBezTo>
                  <a:pt x="322" y="509"/>
                  <a:pt x="322" y="509"/>
                  <a:pt x="322" y="509"/>
                </a:cubicBezTo>
                <a:cubicBezTo>
                  <a:pt x="320" y="512"/>
                  <a:pt x="320" y="512"/>
                  <a:pt x="320" y="512"/>
                </a:cubicBezTo>
                <a:cubicBezTo>
                  <a:pt x="319" y="515"/>
                  <a:pt x="319" y="515"/>
                  <a:pt x="319" y="515"/>
                </a:cubicBezTo>
                <a:cubicBezTo>
                  <a:pt x="318" y="516"/>
                  <a:pt x="318" y="516"/>
                  <a:pt x="318" y="516"/>
                </a:cubicBezTo>
                <a:cubicBezTo>
                  <a:pt x="317" y="518"/>
                  <a:pt x="317" y="518"/>
                  <a:pt x="317" y="518"/>
                </a:cubicBezTo>
                <a:cubicBezTo>
                  <a:pt x="315" y="521"/>
                  <a:pt x="315" y="521"/>
                  <a:pt x="315" y="521"/>
                </a:cubicBezTo>
                <a:cubicBezTo>
                  <a:pt x="314" y="523"/>
                  <a:pt x="314" y="523"/>
                  <a:pt x="314" y="523"/>
                </a:cubicBezTo>
                <a:cubicBezTo>
                  <a:pt x="314" y="527"/>
                  <a:pt x="314" y="527"/>
                  <a:pt x="314" y="527"/>
                </a:cubicBezTo>
                <a:cubicBezTo>
                  <a:pt x="313" y="531"/>
                  <a:pt x="313" y="531"/>
                  <a:pt x="313" y="531"/>
                </a:cubicBezTo>
                <a:cubicBezTo>
                  <a:pt x="313" y="533"/>
                  <a:pt x="313" y="533"/>
                  <a:pt x="313" y="533"/>
                </a:cubicBezTo>
                <a:cubicBezTo>
                  <a:pt x="314" y="536"/>
                  <a:pt x="314" y="536"/>
                  <a:pt x="314" y="536"/>
                </a:cubicBezTo>
                <a:cubicBezTo>
                  <a:pt x="314" y="537"/>
                  <a:pt x="314" y="537"/>
                  <a:pt x="314" y="537"/>
                </a:cubicBezTo>
                <a:cubicBezTo>
                  <a:pt x="313" y="538"/>
                  <a:pt x="313" y="538"/>
                  <a:pt x="313" y="538"/>
                </a:cubicBezTo>
                <a:cubicBezTo>
                  <a:pt x="314" y="541"/>
                  <a:pt x="314" y="541"/>
                  <a:pt x="314" y="541"/>
                </a:cubicBezTo>
                <a:cubicBezTo>
                  <a:pt x="314" y="545"/>
                  <a:pt x="314" y="545"/>
                  <a:pt x="314" y="545"/>
                </a:cubicBezTo>
                <a:cubicBezTo>
                  <a:pt x="313" y="547"/>
                  <a:pt x="313" y="547"/>
                  <a:pt x="313" y="547"/>
                </a:cubicBezTo>
                <a:cubicBezTo>
                  <a:pt x="312" y="548"/>
                  <a:pt x="312" y="548"/>
                  <a:pt x="312" y="548"/>
                </a:cubicBezTo>
                <a:cubicBezTo>
                  <a:pt x="312" y="550"/>
                  <a:pt x="312" y="550"/>
                  <a:pt x="312" y="550"/>
                </a:cubicBezTo>
                <a:cubicBezTo>
                  <a:pt x="312" y="550"/>
                  <a:pt x="312" y="550"/>
                  <a:pt x="312" y="550"/>
                </a:cubicBezTo>
                <a:cubicBezTo>
                  <a:pt x="311" y="553"/>
                  <a:pt x="311" y="553"/>
                  <a:pt x="311" y="553"/>
                </a:cubicBezTo>
                <a:cubicBezTo>
                  <a:pt x="308" y="555"/>
                  <a:pt x="308" y="555"/>
                  <a:pt x="308" y="555"/>
                </a:cubicBezTo>
                <a:cubicBezTo>
                  <a:pt x="307" y="557"/>
                  <a:pt x="307" y="557"/>
                  <a:pt x="307" y="557"/>
                </a:cubicBezTo>
                <a:cubicBezTo>
                  <a:pt x="307" y="559"/>
                  <a:pt x="307" y="559"/>
                  <a:pt x="307" y="559"/>
                </a:cubicBezTo>
                <a:cubicBezTo>
                  <a:pt x="309" y="562"/>
                  <a:pt x="309" y="562"/>
                  <a:pt x="309" y="562"/>
                </a:cubicBezTo>
                <a:cubicBezTo>
                  <a:pt x="311" y="566"/>
                  <a:pt x="311" y="566"/>
                  <a:pt x="311" y="566"/>
                </a:cubicBezTo>
                <a:cubicBezTo>
                  <a:pt x="311" y="570"/>
                  <a:pt x="311" y="570"/>
                  <a:pt x="311" y="570"/>
                </a:cubicBezTo>
                <a:cubicBezTo>
                  <a:pt x="311" y="572"/>
                  <a:pt x="311" y="572"/>
                  <a:pt x="311" y="572"/>
                </a:cubicBezTo>
                <a:cubicBezTo>
                  <a:pt x="309" y="574"/>
                  <a:pt x="309" y="574"/>
                  <a:pt x="309" y="574"/>
                </a:cubicBezTo>
                <a:cubicBezTo>
                  <a:pt x="309" y="575"/>
                  <a:pt x="309" y="575"/>
                  <a:pt x="309" y="575"/>
                </a:cubicBezTo>
                <a:cubicBezTo>
                  <a:pt x="310" y="576"/>
                  <a:pt x="310" y="576"/>
                  <a:pt x="310" y="576"/>
                </a:cubicBezTo>
                <a:cubicBezTo>
                  <a:pt x="310" y="579"/>
                  <a:pt x="310" y="579"/>
                  <a:pt x="310" y="579"/>
                </a:cubicBezTo>
                <a:cubicBezTo>
                  <a:pt x="310" y="580"/>
                  <a:pt x="310" y="580"/>
                  <a:pt x="310" y="580"/>
                </a:cubicBezTo>
                <a:cubicBezTo>
                  <a:pt x="309" y="581"/>
                  <a:pt x="309" y="581"/>
                  <a:pt x="309" y="581"/>
                </a:cubicBezTo>
                <a:cubicBezTo>
                  <a:pt x="310" y="583"/>
                  <a:pt x="310" y="583"/>
                  <a:pt x="310" y="583"/>
                </a:cubicBezTo>
                <a:cubicBezTo>
                  <a:pt x="314" y="589"/>
                  <a:pt x="314" y="589"/>
                  <a:pt x="314" y="589"/>
                </a:cubicBezTo>
                <a:cubicBezTo>
                  <a:pt x="314" y="591"/>
                  <a:pt x="314" y="591"/>
                  <a:pt x="314" y="591"/>
                </a:cubicBezTo>
                <a:cubicBezTo>
                  <a:pt x="314" y="592"/>
                  <a:pt x="314" y="592"/>
                  <a:pt x="314" y="592"/>
                </a:cubicBezTo>
                <a:cubicBezTo>
                  <a:pt x="314" y="594"/>
                  <a:pt x="314" y="594"/>
                  <a:pt x="314" y="594"/>
                </a:cubicBezTo>
                <a:cubicBezTo>
                  <a:pt x="316" y="596"/>
                  <a:pt x="316" y="596"/>
                  <a:pt x="316" y="596"/>
                </a:cubicBezTo>
                <a:cubicBezTo>
                  <a:pt x="317" y="597"/>
                  <a:pt x="317" y="597"/>
                  <a:pt x="317" y="597"/>
                </a:cubicBezTo>
                <a:cubicBezTo>
                  <a:pt x="318" y="597"/>
                  <a:pt x="318" y="597"/>
                  <a:pt x="318" y="597"/>
                </a:cubicBezTo>
                <a:cubicBezTo>
                  <a:pt x="318" y="597"/>
                  <a:pt x="318" y="597"/>
                  <a:pt x="318" y="597"/>
                </a:cubicBezTo>
                <a:cubicBezTo>
                  <a:pt x="318" y="595"/>
                  <a:pt x="318" y="595"/>
                  <a:pt x="318" y="595"/>
                </a:cubicBezTo>
                <a:cubicBezTo>
                  <a:pt x="318" y="593"/>
                  <a:pt x="318" y="593"/>
                  <a:pt x="318" y="593"/>
                </a:cubicBezTo>
                <a:cubicBezTo>
                  <a:pt x="319" y="593"/>
                  <a:pt x="319" y="593"/>
                  <a:pt x="319" y="593"/>
                </a:cubicBezTo>
                <a:cubicBezTo>
                  <a:pt x="320" y="593"/>
                  <a:pt x="320" y="593"/>
                  <a:pt x="320" y="593"/>
                </a:cubicBezTo>
                <a:cubicBezTo>
                  <a:pt x="320" y="594"/>
                  <a:pt x="320" y="594"/>
                  <a:pt x="320" y="594"/>
                </a:cubicBezTo>
                <a:cubicBezTo>
                  <a:pt x="322" y="594"/>
                  <a:pt x="322" y="594"/>
                  <a:pt x="322" y="594"/>
                </a:cubicBezTo>
                <a:cubicBezTo>
                  <a:pt x="322" y="595"/>
                  <a:pt x="322" y="595"/>
                  <a:pt x="322" y="595"/>
                </a:cubicBezTo>
                <a:cubicBezTo>
                  <a:pt x="325" y="595"/>
                  <a:pt x="325" y="595"/>
                  <a:pt x="325" y="595"/>
                </a:cubicBezTo>
                <a:cubicBezTo>
                  <a:pt x="323" y="595"/>
                  <a:pt x="323" y="595"/>
                  <a:pt x="323" y="595"/>
                </a:cubicBezTo>
                <a:cubicBezTo>
                  <a:pt x="321" y="596"/>
                  <a:pt x="321" y="596"/>
                  <a:pt x="321" y="596"/>
                </a:cubicBezTo>
                <a:cubicBezTo>
                  <a:pt x="321" y="595"/>
                  <a:pt x="321" y="595"/>
                  <a:pt x="321" y="595"/>
                </a:cubicBezTo>
                <a:cubicBezTo>
                  <a:pt x="320" y="595"/>
                  <a:pt x="320" y="595"/>
                  <a:pt x="320" y="595"/>
                </a:cubicBezTo>
                <a:cubicBezTo>
                  <a:pt x="320" y="597"/>
                  <a:pt x="320" y="597"/>
                  <a:pt x="320" y="597"/>
                </a:cubicBezTo>
                <a:cubicBezTo>
                  <a:pt x="320" y="597"/>
                  <a:pt x="320" y="597"/>
                  <a:pt x="320" y="597"/>
                </a:cubicBezTo>
                <a:cubicBezTo>
                  <a:pt x="321" y="600"/>
                  <a:pt x="321" y="600"/>
                  <a:pt x="321" y="600"/>
                </a:cubicBezTo>
                <a:cubicBezTo>
                  <a:pt x="321" y="601"/>
                  <a:pt x="321" y="601"/>
                  <a:pt x="321" y="601"/>
                </a:cubicBezTo>
                <a:cubicBezTo>
                  <a:pt x="322" y="602"/>
                  <a:pt x="322" y="602"/>
                  <a:pt x="322" y="602"/>
                </a:cubicBezTo>
                <a:cubicBezTo>
                  <a:pt x="320" y="601"/>
                  <a:pt x="320" y="601"/>
                  <a:pt x="320" y="601"/>
                </a:cubicBezTo>
                <a:cubicBezTo>
                  <a:pt x="319" y="599"/>
                  <a:pt x="319" y="599"/>
                  <a:pt x="319" y="599"/>
                </a:cubicBezTo>
                <a:cubicBezTo>
                  <a:pt x="319" y="599"/>
                  <a:pt x="319" y="599"/>
                  <a:pt x="319" y="599"/>
                </a:cubicBezTo>
                <a:cubicBezTo>
                  <a:pt x="318" y="600"/>
                  <a:pt x="318" y="600"/>
                  <a:pt x="318" y="600"/>
                </a:cubicBezTo>
                <a:cubicBezTo>
                  <a:pt x="318" y="601"/>
                  <a:pt x="318" y="601"/>
                  <a:pt x="318" y="601"/>
                </a:cubicBezTo>
                <a:cubicBezTo>
                  <a:pt x="317" y="602"/>
                  <a:pt x="317" y="602"/>
                  <a:pt x="317" y="602"/>
                </a:cubicBezTo>
                <a:cubicBezTo>
                  <a:pt x="317" y="603"/>
                  <a:pt x="317" y="603"/>
                  <a:pt x="317" y="603"/>
                </a:cubicBezTo>
                <a:cubicBezTo>
                  <a:pt x="317" y="605"/>
                  <a:pt x="317" y="605"/>
                  <a:pt x="317" y="605"/>
                </a:cubicBezTo>
                <a:cubicBezTo>
                  <a:pt x="317" y="607"/>
                  <a:pt x="317" y="607"/>
                  <a:pt x="317" y="607"/>
                </a:cubicBezTo>
                <a:cubicBezTo>
                  <a:pt x="318" y="607"/>
                  <a:pt x="318" y="607"/>
                  <a:pt x="318" y="607"/>
                </a:cubicBezTo>
                <a:cubicBezTo>
                  <a:pt x="318" y="609"/>
                  <a:pt x="318" y="609"/>
                  <a:pt x="318" y="609"/>
                </a:cubicBezTo>
                <a:cubicBezTo>
                  <a:pt x="320" y="610"/>
                  <a:pt x="320" y="610"/>
                  <a:pt x="320" y="610"/>
                </a:cubicBezTo>
                <a:cubicBezTo>
                  <a:pt x="321" y="611"/>
                  <a:pt x="321" y="611"/>
                  <a:pt x="321" y="611"/>
                </a:cubicBezTo>
                <a:cubicBezTo>
                  <a:pt x="321" y="613"/>
                  <a:pt x="321" y="613"/>
                  <a:pt x="321" y="613"/>
                </a:cubicBezTo>
                <a:cubicBezTo>
                  <a:pt x="320" y="614"/>
                  <a:pt x="320" y="614"/>
                  <a:pt x="320" y="614"/>
                </a:cubicBezTo>
                <a:cubicBezTo>
                  <a:pt x="319" y="614"/>
                  <a:pt x="319" y="614"/>
                  <a:pt x="319" y="614"/>
                </a:cubicBezTo>
                <a:cubicBezTo>
                  <a:pt x="319" y="615"/>
                  <a:pt x="319" y="615"/>
                  <a:pt x="319" y="615"/>
                </a:cubicBezTo>
                <a:cubicBezTo>
                  <a:pt x="319" y="617"/>
                  <a:pt x="319" y="617"/>
                  <a:pt x="319" y="617"/>
                </a:cubicBezTo>
                <a:cubicBezTo>
                  <a:pt x="319" y="619"/>
                  <a:pt x="319" y="619"/>
                  <a:pt x="319" y="619"/>
                </a:cubicBezTo>
                <a:cubicBezTo>
                  <a:pt x="319" y="620"/>
                  <a:pt x="319" y="620"/>
                  <a:pt x="319" y="620"/>
                </a:cubicBezTo>
                <a:cubicBezTo>
                  <a:pt x="321" y="621"/>
                  <a:pt x="321" y="621"/>
                  <a:pt x="321" y="621"/>
                </a:cubicBezTo>
                <a:cubicBezTo>
                  <a:pt x="322" y="625"/>
                  <a:pt x="322" y="625"/>
                  <a:pt x="322" y="625"/>
                </a:cubicBezTo>
                <a:cubicBezTo>
                  <a:pt x="324" y="629"/>
                  <a:pt x="324" y="629"/>
                  <a:pt x="324" y="629"/>
                </a:cubicBezTo>
                <a:cubicBezTo>
                  <a:pt x="325" y="631"/>
                  <a:pt x="325" y="631"/>
                  <a:pt x="325" y="631"/>
                </a:cubicBezTo>
                <a:cubicBezTo>
                  <a:pt x="326" y="632"/>
                  <a:pt x="326" y="632"/>
                  <a:pt x="326" y="632"/>
                </a:cubicBezTo>
                <a:cubicBezTo>
                  <a:pt x="326" y="633"/>
                  <a:pt x="326" y="633"/>
                  <a:pt x="326" y="633"/>
                </a:cubicBezTo>
                <a:cubicBezTo>
                  <a:pt x="326" y="633"/>
                  <a:pt x="326" y="633"/>
                  <a:pt x="326" y="633"/>
                </a:cubicBezTo>
                <a:cubicBezTo>
                  <a:pt x="327" y="635"/>
                  <a:pt x="327" y="635"/>
                  <a:pt x="327" y="635"/>
                </a:cubicBezTo>
                <a:cubicBezTo>
                  <a:pt x="328" y="637"/>
                  <a:pt x="328" y="637"/>
                  <a:pt x="328" y="637"/>
                </a:cubicBezTo>
                <a:cubicBezTo>
                  <a:pt x="327" y="640"/>
                  <a:pt x="327" y="640"/>
                  <a:pt x="327" y="640"/>
                </a:cubicBezTo>
                <a:cubicBezTo>
                  <a:pt x="327" y="642"/>
                  <a:pt x="327" y="642"/>
                  <a:pt x="327" y="642"/>
                </a:cubicBezTo>
                <a:cubicBezTo>
                  <a:pt x="326" y="642"/>
                  <a:pt x="326" y="642"/>
                  <a:pt x="326" y="642"/>
                </a:cubicBezTo>
                <a:cubicBezTo>
                  <a:pt x="327" y="644"/>
                  <a:pt x="327" y="644"/>
                  <a:pt x="327" y="644"/>
                </a:cubicBezTo>
                <a:cubicBezTo>
                  <a:pt x="328" y="645"/>
                  <a:pt x="328" y="645"/>
                  <a:pt x="328" y="645"/>
                </a:cubicBezTo>
                <a:cubicBezTo>
                  <a:pt x="331" y="645"/>
                  <a:pt x="331" y="645"/>
                  <a:pt x="331" y="645"/>
                </a:cubicBezTo>
                <a:cubicBezTo>
                  <a:pt x="333" y="645"/>
                  <a:pt x="333" y="645"/>
                  <a:pt x="333" y="645"/>
                </a:cubicBezTo>
                <a:cubicBezTo>
                  <a:pt x="335" y="646"/>
                  <a:pt x="335" y="646"/>
                  <a:pt x="335" y="646"/>
                </a:cubicBezTo>
                <a:cubicBezTo>
                  <a:pt x="337" y="646"/>
                  <a:pt x="337" y="646"/>
                  <a:pt x="337" y="646"/>
                </a:cubicBezTo>
                <a:cubicBezTo>
                  <a:pt x="339" y="646"/>
                  <a:pt x="339" y="646"/>
                  <a:pt x="339" y="646"/>
                </a:cubicBezTo>
                <a:cubicBezTo>
                  <a:pt x="340" y="648"/>
                  <a:pt x="340" y="648"/>
                  <a:pt x="340" y="648"/>
                </a:cubicBezTo>
                <a:cubicBezTo>
                  <a:pt x="340" y="650"/>
                  <a:pt x="340" y="650"/>
                  <a:pt x="340" y="650"/>
                </a:cubicBezTo>
                <a:cubicBezTo>
                  <a:pt x="343" y="651"/>
                  <a:pt x="343" y="651"/>
                  <a:pt x="343" y="651"/>
                </a:cubicBezTo>
                <a:cubicBezTo>
                  <a:pt x="345" y="651"/>
                  <a:pt x="345" y="651"/>
                  <a:pt x="345" y="651"/>
                </a:cubicBezTo>
                <a:cubicBezTo>
                  <a:pt x="347" y="652"/>
                  <a:pt x="347" y="652"/>
                  <a:pt x="347" y="652"/>
                </a:cubicBezTo>
                <a:cubicBezTo>
                  <a:pt x="348" y="653"/>
                  <a:pt x="348" y="653"/>
                  <a:pt x="348" y="653"/>
                </a:cubicBezTo>
                <a:cubicBezTo>
                  <a:pt x="348" y="655"/>
                  <a:pt x="348" y="655"/>
                  <a:pt x="348" y="655"/>
                </a:cubicBezTo>
                <a:cubicBezTo>
                  <a:pt x="348" y="655"/>
                  <a:pt x="348" y="655"/>
                  <a:pt x="348" y="655"/>
                </a:cubicBezTo>
                <a:cubicBezTo>
                  <a:pt x="349" y="655"/>
                  <a:pt x="349" y="655"/>
                  <a:pt x="349" y="655"/>
                </a:cubicBezTo>
                <a:cubicBezTo>
                  <a:pt x="351" y="655"/>
                  <a:pt x="351" y="655"/>
                  <a:pt x="351" y="655"/>
                </a:cubicBezTo>
                <a:cubicBezTo>
                  <a:pt x="353" y="657"/>
                  <a:pt x="353" y="657"/>
                  <a:pt x="353" y="657"/>
                </a:cubicBezTo>
                <a:cubicBezTo>
                  <a:pt x="356" y="662"/>
                  <a:pt x="356" y="662"/>
                  <a:pt x="356" y="662"/>
                </a:cubicBezTo>
                <a:cubicBezTo>
                  <a:pt x="357" y="665"/>
                  <a:pt x="357" y="665"/>
                  <a:pt x="357" y="665"/>
                </a:cubicBezTo>
                <a:cubicBezTo>
                  <a:pt x="356" y="668"/>
                  <a:pt x="356" y="668"/>
                  <a:pt x="356" y="668"/>
                </a:cubicBezTo>
                <a:cubicBezTo>
                  <a:pt x="357" y="670"/>
                  <a:pt x="357" y="670"/>
                  <a:pt x="357" y="670"/>
                </a:cubicBezTo>
                <a:cubicBezTo>
                  <a:pt x="357" y="672"/>
                  <a:pt x="357" y="672"/>
                  <a:pt x="357" y="672"/>
                </a:cubicBezTo>
                <a:cubicBezTo>
                  <a:pt x="358" y="677"/>
                  <a:pt x="358" y="677"/>
                  <a:pt x="358" y="677"/>
                </a:cubicBezTo>
                <a:cubicBezTo>
                  <a:pt x="359" y="679"/>
                  <a:pt x="359" y="679"/>
                  <a:pt x="359" y="679"/>
                </a:cubicBezTo>
                <a:cubicBezTo>
                  <a:pt x="361" y="681"/>
                  <a:pt x="361" y="681"/>
                  <a:pt x="361" y="681"/>
                </a:cubicBezTo>
                <a:cubicBezTo>
                  <a:pt x="360" y="681"/>
                  <a:pt x="360" y="681"/>
                  <a:pt x="360" y="681"/>
                </a:cubicBezTo>
                <a:cubicBezTo>
                  <a:pt x="359" y="683"/>
                  <a:pt x="359" y="683"/>
                  <a:pt x="359" y="683"/>
                </a:cubicBezTo>
                <a:cubicBezTo>
                  <a:pt x="360" y="685"/>
                  <a:pt x="360" y="685"/>
                  <a:pt x="360" y="685"/>
                </a:cubicBezTo>
                <a:cubicBezTo>
                  <a:pt x="363" y="688"/>
                  <a:pt x="363" y="688"/>
                  <a:pt x="363" y="688"/>
                </a:cubicBezTo>
                <a:cubicBezTo>
                  <a:pt x="363" y="689"/>
                  <a:pt x="363" y="689"/>
                  <a:pt x="363" y="689"/>
                </a:cubicBezTo>
                <a:cubicBezTo>
                  <a:pt x="362" y="690"/>
                  <a:pt x="362" y="690"/>
                  <a:pt x="362" y="690"/>
                </a:cubicBezTo>
                <a:cubicBezTo>
                  <a:pt x="363" y="691"/>
                  <a:pt x="363" y="691"/>
                  <a:pt x="363" y="691"/>
                </a:cubicBezTo>
                <a:cubicBezTo>
                  <a:pt x="365" y="693"/>
                  <a:pt x="365" y="693"/>
                  <a:pt x="365" y="693"/>
                </a:cubicBezTo>
                <a:cubicBezTo>
                  <a:pt x="365" y="695"/>
                  <a:pt x="365" y="695"/>
                  <a:pt x="365" y="695"/>
                </a:cubicBezTo>
                <a:cubicBezTo>
                  <a:pt x="364" y="696"/>
                  <a:pt x="364" y="696"/>
                  <a:pt x="364" y="696"/>
                </a:cubicBezTo>
                <a:cubicBezTo>
                  <a:pt x="364" y="698"/>
                  <a:pt x="364" y="698"/>
                  <a:pt x="364" y="698"/>
                </a:cubicBezTo>
                <a:cubicBezTo>
                  <a:pt x="365" y="699"/>
                  <a:pt x="365" y="699"/>
                  <a:pt x="365" y="699"/>
                </a:cubicBezTo>
                <a:cubicBezTo>
                  <a:pt x="366" y="700"/>
                  <a:pt x="366" y="700"/>
                  <a:pt x="366" y="700"/>
                </a:cubicBezTo>
                <a:cubicBezTo>
                  <a:pt x="366" y="704"/>
                  <a:pt x="366" y="704"/>
                  <a:pt x="366" y="704"/>
                </a:cubicBezTo>
                <a:cubicBezTo>
                  <a:pt x="367" y="706"/>
                  <a:pt x="367" y="706"/>
                  <a:pt x="367" y="706"/>
                </a:cubicBezTo>
                <a:cubicBezTo>
                  <a:pt x="369" y="708"/>
                  <a:pt x="369" y="708"/>
                  <a:pt x="369" y="708"/>
                </a:cubicBezTo>
                <a:cubicBezTo>
                  <a:pt x="370" y="708"/>
                  <a:pt x="370" y="708"/>
                  <a:pt x="370" y="708"/>
                </a:cubicBezTo>
                <a:cubicBezTo>
                  <a:pt x="373" y="711"/>
                  <a:pt x="373" y="711"/>
                  <a:pt x="373" y="711"/>
                </a:cubicBezTo>
                <a:cubicBezTo>
                  <a:pt x="374" y="713"/>
                  <a:pt x="374" y="713"/>
                  <a:pt x="374" y="713"/>
                </a:cubicBezTo>
                <a:cubicBezTo>
                  <a:pt x="375" y="715"/>
                  <a:pt x="375" y="715"/>
                  <a:pt x="375" y="715"/>
                </a:cubicBezTo>
                <a:cubicBezTo>
                  <a:pt x="377" y="717"/>
                  <a:pt x="377" y="717"/>
                  <a:pt x="377" y="717"/>
                </a:cubicBezTo>
                <a:cubicBezTo>
                  <a:pt x="378" y="720"/>
                  <a:pt x="378" y="720"/>
                  <a:pt x="378" y="720"/>
                </a:cubicBezTo>
                <a:cubicBezTo>
                  <a:pt x="379" y="720"/>
                  <a:pt x="379" y="720"/>
                  <a:pt x="379" y="720"/>
                </a:cubicBezTo>
                <a:cubicBezTo>
                  <a:pt x="380" y="723"/>
                  <a:pt x="380" y="723"/>
                  <a:pt x="380" y="723"/>
                </a:cubicBezTo>
                <a:cubicBezTo>
                  <a:pt x="379" y="724"/>
                  <a:pt x="379" y="724"/>
                  <a:pt x="379" y="724"/>
                </a:cubicBezTo>
                <a:cubicBezTo>
                  <a:pt x="379" y="725"/>
                  <a:pt x="379" y="725"/>
                  <a:pt x="379" y="725"/>
                </a:cubicBezTo>
                <a:cubicBezTo>
                  <a:pt x="380" y="726"/>
                  <a:pt x="380" y="726"/>
                  <a:pt x="380" y="726"/>
                </a:cubicBezTo>
                <a:cubicBezTo>
                  <a:pt x="379" y="728"/>
                  <a:pt x="379" y="728"/>
                  <a:pt x="379" y="728"/>
                </a:cubicBezTo>
                <a:cubicBezTo>
                  <a:pt x="378" y="728"/>
                  <a:pt x="378" y="728"/>
                  <a:pt x="378" y="728"/>
                </a:cubicBezTo>
                <a:cubicBezTo>
                  <a:pt x="377" y="729"/>
                  <a:pt x="377" y="729"/>
                  <a:pt x="377" y="729"/>
                </a:cubicBezTo>
                <a:cubicBezTo>
                  <a:pt x="377" y="729"/>
                  <a:pt x="377" y="729"/>
                  <a:pt x="377" y="729"/>
                </a:cubicBezTo>
                <a:cubicBezTo>
                  <a:pt x="379" y="729"/>
                  <a:pt x="379" y="729"/>
                  <a:pt x="379" y="729"/>
                </a:cubicBezTo>
                <a:cubicBezTo>
                  <a:pt x="379" y="731"/>
                  <a:pt x="379" y="731"/>
                  <a:pt x="379" y="731"/>
                </a:cubicBezTo>
                <a:cubicBezTo>
                  <a:pt x="378" y="732"/>
                  <a:pt x="378" y="732"/>
                  <a:pt x="378" y="732"/>
                </a:cubicBezTo>
                <a:cubicBezTo>
                  <a:pt x="377" y="731"/>
                  <a:pt x="377" y="731"/>
                  <a:pt x="377" y="731"/>
                </a:cubicBezTo>
                <a:cubicBezTo>
                  <a:pt x="374" y="730"/>
                  <a:pt x="374" y="730"/>
                  <a:pt x="374" y="730"/>
                </a:cubicBezTo>
                <a:cubicBezTo>
                  <a:pt x="373" y="730"/>
                  <a:pt x="373" y="730"/>
                  <a:pt x="373" y="730"/>
                </a:cubicBezTo>
                <a:cubicBezTo>
                  <a:pt x="370" y="730"/>
                  <a:pt x="370" y="730"/>
                  <a:pt x="370" y="730"/>
                </a:cubicBezTo>
                <a:cubicBezTo>
                  <a:pt x="369" y="731"/>
                  <a:pt x="369" y="731"/>
                  <a:pt x="369" y="731"/>
                </a:cubicBezTo>
                <a:cubicBezTo>
                  <a:pt x="371" y="733"/>
                  <a:pt x="371" y="733"/>
                  <a:pt x="371" y="733"/>
                </a:cubicBezTo>
                <a:cubicBezTo>
                  <a:pt x="373" y="734"/>
                  <a:pt x="373" y="734"/>
                  <a:pt x="373" y="734"/>
                </a:cubicBezTo>
                <a:cubicBezTo>
                  <a:pt x="373" y="736"/>
                  <a:pt x="373" y="736"/>
                  <a:pt x="373" y="736"/>
                </a:cubicBezTo>
                <a:cubicBezTo>
                  <a:pt x="374" y="738"/>
                  <a:pt x="374" y="738"/>
                  <a:pt x="374" y="738"/>
                </a:cubicBezTo>
                <a:cubicBezTo>
                  <a:pt x="376" y="738"/>
                  <a:pt x="376" y="738"/>
                  <a:pt x="376" y="738"/>
                </a:cubicBezTo>
                <a:cubicBezTo>
                  <a:pt x="379" y="740"/>
                  <a:pt x="379" y="740"/>
                  <a:pt x="379" y="740"/>
                </a:cubicBezTo>
                <a:cubicBezTo>
                  <a:pt x="379" y="741"/>
                  <a:pt x="379" y="741"/>
                  <a:pt x="379" y="741"/>
                </a:cubicBezTo>
                <a:cubicBezTo>
                  <a:pt x="380" y="741"/>
                  <a:pt x="380" y="741"/>
                  <a:pt x="380" y="741"/>
                </a:cubicBezTo>
                <a:cubicBezTo>
                  <a:pt x="381" y="741"/>
                  <a:pt x="381" y="741"/>
                  <a:pt x="381" y="741"/>
                </a:cubicBezTo>
                <a:cubicBezTo>
                  <a:pt x="381" y="742"/>
                  <a:pt x="381" y="742"/>
                  <a:pt x="381" y="742"/>
                </a:cubicBezTo>
                <a:cubicBezTo>
                  <a:pt x="382" y="743"/>
                  <a:pt x="382" y="743"/>
                  <a:pt x="382" y="743"/>
                </a:cubicBezTo>
                <a:cubicBezTo>
                  <a:pt x="383" y="743"/>
                  <a:pt x="383" y="743"/>
                  <a:pt x="383" y="743"/>
                </a:cubicBezTo>
                <a:cubicBezTo>
                  <a:pt x="384" y="743"/>
                  <a:pt x="384" y="743"/>
                  <a:pt x="384" y="743"/>
                </a:cubicBezTo>
                <a:cubicBezTo>
                  <a:pt x="386" y="741"/>
                  <a:pt x="386" y="741"/>
                  <a:pt x="386" y="741"/>
                </a:cubicBezTo>
                <a:cubicBezTo>
                  <a:pt x="387" y="741"/>
                  <a:pt x="387" y="741"/>
                  <a:pt x="387" y="741"/>
                </a:cubicBezTo>
                <a:cubicBezTo>
                  <a:pt x="386" y="742"/>
                  <a:pt x="386" y="742"/>
                  <a:pt x="386" y="742"/>
                </a:cubicBezTo>
                <a:cubicBezTo>
                  <a:pt x="387" y="746"/>
                  <a:pt x="387" y="746"/>
                  <a:pt x="387" y="746"/>
                </a:cubicBezTo>
                <a:cubicBezTo>
                  <a:pt x="390" y="749"/>
                  <a:pt x="390" y="749"/>
                  <a:pt x="390" y="749"/>
                </a:cubicBezTo>
                <a:cubicBezTo>
                  <a:pt x="392" y="750"/>
                  <a:pt x="392" y="750"/>
                  <a:pt x="392" y="750"/>
                </a:cubicBezTo>
                <a:cubicBezTo>
                  <a:pt x="393" y="749"/>
                  <a:pt x="393" y="749"/>
                  <a:pt x="393" y="749"/>
                </a:cubicBezTo>
                <a:cubicBezTo>
                  <a:pt x="394" y="751"/>
                  <a:pt x="394" y="751"/>
                  <a:pt x="394" y="751"/>
                </a:cubicBezTo>
                <a:cubicBezTo>
                  <a:pt x="395" y="755"/>
                  <a:pt x="395" y="755"/>
                  <a:pt x="395" y="755"/>
                </a:cubicBezTo>
                <a:cubicBezTo>
                  <a:pt x="395" y="759"/>
                  <a:pt x="395" y="759"/>
                  <a:pt x="395" y="759"/>
                </a:cubicBezTo>
                <a:cubicBezTo>
                  <a:pt x="395" y="762"/>
                  <a:pt x="395" y="762"/>
                  <a:pt x="395" y="762"/>
                </a:cubicBezTo>
                <a:cubicBezTo>
                  <a:pt x="393" y="765"/>
                  <a:pt x="393" y="765"/>
                  <a:pt x="393" y="765"/>
                </a:cubicBezTo>
                <a:cubicBezTo>
                  <a:pt x="393" y="767"/>
                  <a:pt x="393" y="767"/>
                  <a:pt x="393" y="767"/>
                </a:cubicBezTo>
                <a:cubicBezTo>
                  <a:pt x="395" y="768"/>
                  <a:pt x="395" y="768"/>
                  <a:pt x="395" y="768"/>
                </a:cubicBezTo>
                <a:cubicBezTo>
                  <a:pt x="396" y="768"/>
                  <a:pt x="396" y="768"/>
                  <a:pt x="396" y="768"/>
                </a:cubicBezTo>
                <a:cubicBezTo>
                  <a:pt x="396" y="769"/>
                  <a:pt x="396" y="769"/>
                  <a:pt x="396" y="769"/>
                </a:cubicBezTo>
                <a:cubicBezTo>
                  <a:pt x="398" y="770"/>
                  <a:pt x="398" y="770"/>
                  <a:pt x="398" y="770"/>
                </a:cubicBezTo>
                <a:cubicBezTo>
                  <a:pt x="399" y="772"/>
                  <a:pt x="399" y="772"/>
                  <a:pt x="399" y="772"/>
                </a:cubicBezTo>
                <a:cubicBezTo>
                  <a:pt x="404" y="776"/>
                  <a:pt x="404" y="776"/>
                  <a:pt x="404" y="776"/>
                </a:cubicBezTo>
                <a:cubicBezTo>
                  <a:pt x="405" y="777"/>
                  <a:pt x="405" y="777"/>
                  <a:pt x="405" y="777"/>
                </a:cubicBezTo>
                <a:cubicBezTo>
                  <a:pt x="406" y="778"/>
                  <a:pt x="406" y="778"/>
                  <a:pt x="406" y="778"/>
                </a:cubicBezTo>
                <a:cubicBezTo>
                  <a:pt x="407" y="780"/>
                  <a:pt x="407" y="780"/>
                  <a:pt x="407" y="780"/>
                </a:cubicBezTo>
                <a:cubicBezTo>
                  <a:pt x="410" y="781"/>
                  <a:pt x="410" y="781"/>
                  <a:pt x="410" y="781"/>
                </a:cubicBezTo>
                <a:cubicBezTo>
                  <a:pt x="411" y="782"/>
                  <a:pt x="411" y="782"/>
                  <a:pt x="411" y="782"/>
                </a:cubicBezTo>
                <a:cubicBezTo>
                  <a:pt x="411" y="785"/>
                  <a:pt x="411" y="785"/>
                  <a:pt x="411" y="785"/>
                </a:cubicBezTo>
                <a:cubicBezTo>
                  <a:pt x="412" y="786"/>
                  <a:pt x="412" y="786"/>
                  <a:pt x="412" y="786"/>
                </a:cubicBezTo>
                <a:cubicBezTo>
                  <a:pt x="412" y="787"/>
                  <a:pt x="412" y="787"/>
                  <a:pt x="412" y="787"/>
                </a:cubicBezTo>
                <a:cubicBezTo>
                  <a:pt x="413" y="789"/>
                  <a:pt x="413" y="789"/>
                  <a:pt x="413" y="789"/>
                </a:cubicBezTo>
                <a:cubicBezTo>
                  <a:pt x="414" y="790"/>
                  <a:pt x="414" y="790"/>
                  <a:pt x="414" y="790"/>
                </a:cubicBezTo>
                <a:cubicBezTo>
                  <a:pt x="417" y="788"/>
                  <a:pt x="417" y="788"/>
                  <a:pt x="417" y="788"/>
                </a:cubicBezTo>
                <a:cubicBezTo>
                  <a:pt x="419" y="785"/>
                  <a:pt x="419" y="785"/>
                  <a:pt x="419" y="785"/>
                </a:cubicBezTo>
                <a:cubicBezTo>
                  <a:pt x="419" y="783"/>
                  <a:pt x="419" y="783"/>
                  <a:pt x="419" y="783"/>
                </a:cubicBezTo>
                <a:cubicBezTo>
                  <a:pt x="418" y="782"/>
                  <a:pt x="418" y="782"/>
                  <a:pt x="418" y="782"/>
                </a:cubicBezTo>
                <a:cubicBezTo>
                  <a:pt x="417" y="780"/>
                  <a:pt x="417" y="780"/>
                  <a:pt x="417" y="780"/>
                </a:cubicBezTo>
                <a:cubicBezTo>
                  <a:pt x="416" y="779"/>
                  <a:pt x="416" y="779"/>
                  <a:pt x="416" y="779"/>
                </a:cubicBezTo>
                <a:cubicBezTo>
                  <a:pt x="416" y="777"/>
                  <a:pt x="416" y="777"/>
                  <a:pt x="416" y="777"/>
                </a:cubicBezTo>
                <a:cubicBezTo>
                  <a:pt x="414" y="776"/>
                  <a:pt x="414" y="776"/>
                  <a:pt x="414" y="776"/>
                </a:cubicBezTo>
                <a:cubicBezTo>
                  <a:pt x="414" y="775"/>
                  <a:pt x="414" y="775"/>
                  <a:pt x="414" y="775"/>
                </a:cubicBezTo>
                <a:cubicBezTo>
                  <a:pt x="413" y="774"/>
                  <a:pt x="413" y="774"/>
                  <a:pt x="413" y="774"/>
                </a:cubicBezTo>
                <a:cubicBezTo>
                  <a:pt x="412" y="773"/>
                  <a:pt x="412" y="773"/>
                  <a:pt x="412" y="773"/>
                </a:cubicBezTo>
                <a:cubicBezTo>
                  <a:pt x="411" y="774"/>
                  <a:pt x="411" y="774"/>
                  <a:pt x="411" y="774"/>
                </a:cubicBezTo>
                <a:cubicBezTo>
                  <a:pt x="411" y="775"/>
                  <a:pt x="411" y="775"/>
                  <a:pt x="411" y="775"/>
                </a:cubicBezTo>
                <a:cubicBezTo>
                  <a:pt x="410" y="776"/>
                  <a:pt x="410" y="776"/>
                  <a:pt x="410" y="776"/>
                </a:cubicBezTo>
                <a:cubicBezTo>
                  <a:pt x="410" y="774"/>
                  <a:pt x="410" y="774"/>
                  <a:pt x="410" y="774"/>
                </a:cubicBezTo>
                <a:cubicBezTo>
                  <a:pt x="409" y="773"/>
                  <a:pt x="409" y="773"/>
                  <a:pt x="409" y="773"/>
                </a:cubicBezTo>
                <a:cubicBezTo>
                  <a:pt x="407" y="771"/>
                  <a:pt x="407" y="771"/>
                  <a:pt x="407" y="771"/>
                </a:cubicBezTo>
                <a:cubicBezTo>
                  <a:pt x="407" y="770"/>
                  <a:pt x="407" y="770"/>
                  <a:pt x="407" y="770"/>
                </a:cubicBezTo>
                <a:cubicBezTo>
                  <a:pt x="408" y="768"/>
                  <a:pt x="408" y="768"/>
                  <a:pt x="408" y="768"/>
                </a:cubicBezTo>
                <a:cubicBezTo>
                  <a:pt x="407" y="766"/>
                  <a:pt x="407" y="766"/>
                  <a:pt x="407" y="766"/>
                </a:cubicBezTo>
                <a:cubicBezTo>
                  <a:pt x="406" y="763"/>
                  <a:pt x="406" y="763"/>
                  <a:pt x="406" y="763"/>
                </a:cubicBezTo>
                <a:cubicBezTo>
                  <a:pt x="406" y="762"/>
                  <a:pt x="406" y="762"/>
                  <a:pt x="406" y="762"/>
                </a:cubicBezTo>
                <a:cubicBezTo>
                  <a:pt x="406" y="761"/>
                  <a:pt x="406" y="761"/>
                  <a:pt x="406" y="761"/>
                </a:cubicBezTo>
                <a:cubicBezTo>
                  <a:pt x="405" y="760"/>
                  <a:pt x="405" y="760"/>
                  <a:pt x="405" y="760"/>
                </a:cubicBezTo>
                <a:cubicBezTo>
                  <a:pt x="405" y="758"/>
                  <a:pt x="405" y="758"/>
                  <a:pt x="405" y="758"/>
                </a:cubicBezTo>
                <a:cubicBezTo>
                  <a:pt x="404" y="757"/>
                  <a:pt x="404" y="757"/>
                  <a:pt x="404" y="757"/>
                </a:cubicBezTo>
                <a:cubicBezTo>
                  <a:pt x="404" y="755"/>
                  <a:pt x="404" y="755"/>
                  <a:pt x="404" y="755"/>
                </a:cubicBezTo>
                <a:cubicBezTo>
                  <a:pt x="404" y="754"/>
                  <a:pt x="404" y="754"/>
                  <a:pt x="404" y="754"/>
                </a:cubicBezTo>
                <a:cubicBezTo>
                  <a:pt x="403" y="751"/>
                  <a:pt x="403" y="751"/>
                  <a:pt x="403" y="751"/>
                </a:cubicBezTo>
                <a:cubicBezTo>
                  <a:pt x="404" y="750"/>
                  <a:pt x="404" y="750"/>
                  <a:pt x="404" y="750"/>
                </a:cubicBezTo>
                <a:cubicBezTo>
                  <a:pt x="403" y="746"/>
                  <a:pt x="403" y="746"/>
                  <a:pt x="403" y="746"/>
                </a:cubicBezTo>
                <a:cubicBezTo>
                  <a:pt x="402" y="744"/>
                  <a:pt x="402" y="744"/>
                  <a:pt x="402" y="744"/>
                </a:cubicBezTo>
                <a:cubicBezTo>
                  <a:pt x="402" y="743"/>
                  <a:pt x="402" y="743"/>
                  <a:pt x="402" y="743"/>
                </a:cubicBezTo>
                <a:cubicBezTo>
                  <a:pt x="401" y="743"/>
                  <a:pt x="401" y="743"/>
                  <a:pt x="401" y="743"/>
                </a:cubicBezTo>
                <a:cubicBezTo>
                  <a:pt x="401" y="743"/>
                  <a:pt x="401" y="743"/>
                  <a:pt x="401" y="743"/>
                </a:cubicBezTo>
                <a:cubicBezTo>
                  <a:pt x="401" y="745"/>
                  <a:pt x="401" y="745"/>
                  <a:pt x="401" y="745"/>
                </a:cubicBezTo>
                <a:cubicBezTo>
                  <a:pt x="400" y="745"/>
                  <a:pt x="400" y="745"/>
                  <a:pt x="400" y="745"/>
                </a:cubicBezTo>
                <a:cubicBezTo>
                  <a:pt x="398" y="742"/>
                  <a:pt x="398" y="742"/>
                  <a:pt x="398" y="742"/>
                </a:cubicBezTo>
                <a:cubicBezTo>
                  <a:pt x="398" y="741"/>
                  <a:pt x="398" y="741"/>
                  <a:pt x="398" y="741"/>
                </a:cubicBezTo>
                <a:cubicBezTo>
                  <a:pt x="399" y="740"/>
                  <a:pt x="399" y="740"/>
                  <a:pt x="399" y="740"/>
                </a:cubicBezTo>
                <a:cubicBezTo>
                  <a:pt x="398" y="739"/>
                  <a:pt x="398" y="739"/>
                  <a:pt x="398" y="739"/>
                </a:cubicBezTo>
                <a:cubicBezTo>
                  <a:pt x="397" y="739"/>
                  <a:pt x="397" y="739"/>
                  <a:pt x="397" y="739"/>
                </a:cubicBezTo>
                <a:cubicBezTo>
                  <a:pt x="397" y="735"/>
                  <a:pt x="397" y="735"/>
                  <a:pt x="397" y="735"/>
                </a:cubicBezTo>
                <a:cubicBezTo>
                  <a:pt x="395" y="732"/>
                  <a:pt x="395" y="732"/>
                  <a:pt x="395" y="732"/>
                </a:cubicBezTo>
                <a:cubicBezTo>
                  <a:pt x="394" y="732"/>
                  <a:pt x="394" y="732"/>
                  <a:pt x="394" y="732"/>
                </a:cubicBezTo>
                <a:cubicBezTo>
                  <a:pt x="392" y="730"/>
                  <a:pt x="392" y="730"/>
                  <a:pt x="392" y="730"/>
                </a:cubicBezTo>
                <a:cubicBezTo>
                  <a:pt x="392" y="727"/>
                  <a:pt x="392" y="727"/>
                  <a:pt x="392" y="727"/>
                </a:cubicBezTo>
                <a:cubicBezTo>
                  <a:pt x="392" y="725"/>
                  <a:pt x="392" y="725"/>
                  <a:pt x="392" y="725"/>
                </a:cubicBezTo>
                <a:cubicBezTo>
                  <a:pt x="391" y="723"/>
                  <a:pt x="391" y="723"/>
                  <a:pt x="391" y="723"/>
                </a:cubicBezTo>
                <a:cubicBezTo>
                  <a:pt x="389" y="722"/>
                  <a:pt x="389" y="722"/>
                  <a:pt x="389" y="722"/>
                </a:cubicBezTo>
                <a:cubicBezTo>
                  <a:pt x="389" y="721"/>
                  <a:pt x="389" y="721"/>
                  <a:pt x="389" y="721"/>
                </a:cubicBezTo>
                <a:cubicBezTo>
                  <a:pt x="388" y="719"/>
                  <a:pt x="388" y="719"/>
                  <a:pt x="388" y="719"/>
                </a:cubicBezTo>
                <a:cubicBezTo>
                  <a:pt x="387" y="718"/>
                  <a:pt x="387" y="718"/>
                  <a:pt x="387" y="718"/>
                </a:cubicBezTo>
                <a:cubicBezTo>
                  <a:pt x="385" y="717"/>
                  <a:pt x="385" y="717"/>
                  <a:pt x="385" y="717"/>
                </a:cubicBezTo>
                <a:cubicBezTo>
                  <a:pt x="385" y="715"/>
                  <a:pt x="385" y="715"/>
                  <a:pt x="385" y="715"/>
                </a:cubicBezTo>
                <a:cubicBezTo>
                  <a:pt x="385" y="714"/>
                  <a:pt x="385" y="714"/>
                  <a:pt x="385" y="714"/>
                </a:cubicBezTo>
                <a:cubicBezTo>
                  <a:pt x="385" y="711"/>
                  <a:pt x="385" y="711"/>
                  <a:pt x="385" y="711"/>
                </a:cubicBezTo>
                <a:cubicBezTo>
                  <a:pt x="382" y="709"/>
                  <a:pt x="382" y="709"/>
                  <a:pt x="382" y="709"/>
                </a:cubicBezTo>
                <a:cubicBezTo>
                  <a:pt x="381" y="708"/>
                  <a:pt x="381" y="708"/>
                  <a:pt x="381" y="708"/>
                </a:cubicBezTo>
                <a:cubicBezTo>
                  <a:pt x="380" y="708"/>
                  <a:pt x="380" y="708"/>
                  <a:pt x="380" y="708"/>
                </a:cubicBezTo>
                <a:cubicBezTo>
                  <a:pt x="380" y="706"/>
                  <a:pt x="380" y="706"/>
                  <a:pt x="380" y="706"/>
                </a:cubicBezTo>
                <a:cubicBezTo>
                  <a:pt x="379" y="703"/>
                  <a:pt x="379" y="703"/>
                  <a:pt x="379" y="703"/>
                </a:cubicBezTo>
                <a:cubicBezTo>
                  <a:pt x="378" y="702"/>
                  <a:pt x="378" y="702"/>
                  <a:pt x="378" y="702"/>
                </a:cubicBezTo>
                <a:cubicBezTo>
                  <a:pt x="378" y="700"/>
                  <a:pt x="378" y="700"/>
                  <a:pt x="378" y="700"/>
                </a:cubicBezTo>
                <a:cubicBezTo>
                  <a:pt x="378" y="693"/>
                  <a:pt x="378" y="693"/>
                  <a:pt x="378" y="693"/>
                </a:cubicBezTo>
                <a:cubicBezTo>
                  <a:pt x="378" y="689"/>
                  <a:pt x="378" y="689"/>
                  <a:pt x="378" y="689"/>
                </a:cubicBezTo>
                <a:cubicBezTo>
                  <a:pt x="378" y="686"/>
                  <a:pt x="378" y="686"/>
                  <a:pt x="378" y="686"/>
                </a:cubicBezTo>
                <a:cubicBezTo>
                  <a:pt x="379" y="683"/>
                  <a:pt x="379" y="683"/>
                  <a:pt x="379" y="683"/>
                </a:cubicBezTo>
                <a:cubicBezTo>
                  <a:pt x="379" y="681"/>
                  <a:pt x="379" y="681"/>
                  <a:pt x="379" y="681"/>
                </a:cubicBezTo>
                <a:cubicBezTo>
                  <a:pt x="378" y="679"/>
                  <a:pt x="378" y="679"/>
                  <a:pt x="378" y="679"/>
                </a:cubicBezTo>
                <a:cubicBezTo>
                  <a:pt x="380" y="681"/>
                  <a:pt x="380" y="681"/>
                  <a:pt x="380" y="681"/>
                </a:cubicBezTo>
                <a:cubicBezTo>
                  <a:pt x="382" y="682"/>
                  <a:pt x="382" y="682"/>
                  <a:pt x="382" y="682"/>
                </a:cubicBezTo>
                <a:cubicBezTo>
                  <a:pt x="384" y="685"/>
                  <a:pt x="384" y="685"/>
                  <a:pt x="384" y="685"/>
                </a:cubicBezTo>
                <a:cubicBezTo>
                  <a:pt x="385" y="686"/>
                  <a:pt x="385" y="686"/>
                  <a:pt x="385" y="686"/>
                </a:cubicBezTo>
                <a:cubicBezTo>
                  <a:pt x="387" y="686"/>
                  <a:pt x="387" y="686"/>
                  <a:pt x="387" y="686"/>
                </a:cubicBezTo>
                <a:cubicBezTo>
                  <a:pt x="388" y="685"/>
                  <a:pt x="388" y="685"/>
                  <a:pt x="388" y="685"/>
                </a:cubicBezTo>
                <a:cubicBezTo>
                  <a:pt x="390" y="687"/>
                  <a:pt x="390" y="687"/>
                  <a:pt x="390" y="687"/>
                </a:cubicBezTo>
                <a:cubicBezTo>
                  <a:pt x="390" y="688"/>
                  <a:pt x="390" y="688"/>
                  <a:pt x="390" y="688"/>
                </a:cubicBezTo>
                <a:cubicBezTo>
                  <a:pt x="392" y="688"/>
                  <a:pt x="392" y="688"/>
                  <a:pt x="392" y="688"/>
                </a:cubicBezTo>
                <a:cubicBezTo>
                  <a:pt x="394" y="689"/>
                  <a:pt x="394" y="689"/>
                  <a:pt x="394" y="689"/>
                </a:cubicBezTo>
                <a:cubicBezTo>
                  <a:pt x="394" y="690"/>
                  <a:pt x="394" y="690"/>
                  <a:pt x="394" y="690"/>
                </a:cubicBezTo>
                <a:cubicBezTo>
                  <a:pt x="393" y="692"/>
                  <a:pt x="393" y="692"/>
                  <a:pt x="393" y="692"/>
                </a:cubicBezTo>
                <a:cubicBezTo>
                  <a:pt x="393" y="694"/>
                  <a:pt x="393" y="694"/>
                  <a:pt x="393" y="694"/>
                </a:cubicBezTo>
                <a:cubicBezTo>
                  <a:pt x="394" y="696"/>
                  <a:pt x="394" y="696"/>
                  <a:pt x="394" y="696"/>
                </a:cubicBezTo>
                <a:cubicBezTo>
                  <a:pt x="395" y="699"/>
                  <a:pt x="395" y="699"/>
                  <a:pt x="395" y="699"/>
                </a:cubicBezTo>
                <a:cubicBezTo>
                  <a:pt x="395" y="701"/>
                  <a:pt x="395" y="701"/>
                  <a:pt x="395" y="701"/>
                </a:cubicBezTo>
                <a:cubicBezTo>
                  <a:pt x="396" y="703"/>
                  <a:pt x="396" y="703"/>
                  <a:pt x="396" y="703"/>
                </a:cubicBezTo>
                <a:cubicBezTo>
                  <a:pt x="395" y="705"/>
                  <a:pt x="395" y="705"/>
                  <a:pt x="395" y="705"/>
                </a:cubicBezTo>
                <a:cubicBezTo>
                  <a:pt x="396" y="707"/>
                  <a:pt x="396" y="707"/>
                  <a:pt x="396" y="707"/>
                </a:cubicBezTo>
                <a:cubicBezTo>
                  <a:pt x="399" y="710"/>
                  <a:pt x="399" y="710"/>
                  <a:pt x="399" y="710"/>
                </a:cubicBezTo>
                <a:cubicBezTo>
                  <a:pt x="398" y="711"/>
                  <a:pt x="398" y="711"/>
                  <a:pt x="398" y="711"/>
                </a:cubicBezTo>
                <a:cubicBezTo>
                  <a:pt x="398" y="712"/>
                  <a:pt x="398" y="712"/>
                  <a:pt x="398" y="712"/>
                </a:cubicBezTo>
                <a:cubicBezTo>
                  <a:pt x="398" y="713"/>
                  <a:pt x="398" y="713"/>
                  <a:pt x="398" y="713"/>
                </a:cubicBezTo>
                <a:cubicBezTo>
                  <a:pt x="399" y="713"/>
                  <a:pt x="399" y="713"/>
                  <a:pt x="399" y="713"/>
                </a:cubicBezTo>
                <a:cubicBezTo>
                  <a:pt x="400" y="714"/>
                  <a:pt x="400" y="714"/>
                  <a:pt x="400" y="714"/>
                </a:cubicBezTo>
                <a:cubicBezTo>
                  <a:pt x="401" y="718"/>
                  <a:pt x="401" y="718"/>
                  <a:pt x="401" y="718"/>
                </a:cubicBezTo>
                <a:cubicBezTo>
                  <a:pt x="402" y="718"/>
                  <a:pt x="402" y="718"/>
                  <a:pt x="402" y="718"/>
                </a:cubicBezTo>
                <a:cubicBezTo>
                  <a:pt x="403" y="720"/>
                  <a:pt x="403" y="720"/>
                  <a:pt x="403" y="720"/>
                </a:cubicBezTo>
                <a:cubicBezTo>
                  <a:pt x="403" y="722"/>
                  <a:pt x="403" y="722"/>
                  <a:pt x="403" y="722"/>
                </a:cubicBezTo>
                <a:cubicBezTo>
                  <a:pt x="404" y="723"/>
                  <a:pt x="404" y="723"/>
                  <a:pt x="404" y="723"/>
                </a:cubicBezTo>
                <a:cubicBezTo>
                  <a:pt x="405" y="724"/>
                  <a:pt x="405" y="724"/>
                  <a:pt x="405" y="724"/>
                </a:cubicBezTo>
                <a:cubicBezTo>
                  <a:pt x="406" y="726"/>
                  <a:pt x="406" y="726"/>
                  <a:pt x="406" y="726"/>
                </a:cubicBezTo>
                <a:cubicBezTo>
                  <a:pt x="407" y="728"/>
                  <a:pt x="407" y="728"/>
                  <a:pt x="407" y="728"/>
                </a:cubicBezTo>
                <a:cubicBezTo>
                  <a:pt x="408" y="729"/>
                  <a:pt x="408" y="729"/>
                  <a:pt x="408" y="729"/>
                </a:cubicBezTo>
                <a:cubicBezTo>
                  <a:pt x="409" y="730"/>
                  <a:pt x="409" y="730"/>
                  <a:pt x="409" y="730"/>
                </a:cubicBezTo>
                <a:cubicBezTo>
                  <a:pt x="410" y="730"/>
                  <a:pt x="410" y="730"/>
                  <a:pt x="410" y="730"/>
                </a:cubicBezTo>
                <a:cubicBezTo>
                  <a:pt x="411" y="730"/>
                  <a:pt x="411" y="730"/>
                  <a:pt x="411" y="730"/>
                </a:cubicBezTo>
                <a:cubicBezTo>
                  <a:pt x="412" y="730"/>
                  <a:pt x="412" y="730"/>
                  <a:pt x="412" y="730"/>
                </a:cubicBezTo>
                <a:cubicBezTo>
                  <a:pt x="413" y="731"/>
                  <a:pt x="413" y="731"/>
                  <a:pt x="413" y="731"/>
                </a:cubicBezTo>
                <a:cubicBezTo>
                  <a:pt x="413" y="733"/>
                  <a:pt x="413" y="733"/>
                  <a:pt x="413" y="733"/>
                </a:cubicBezTo>
                <a:cubicBezTo>
                  <a:pt x="412" y="734"/>
                  <a:pt x="412" y="734"/>
                  <a:pt x="412" y="734"/>
                </a:cubicBezTo>
                <a:cubicBezTo>
                  <a:pt x="413" y="737"/>
                  <a:pt x="413" y="737"/>
                  <a:pt x="413" y="737"/>
                </a:cubicBezTo>
                <a:cubicBezTo>
                  <a:pt x="416" y="740"/>
                  <a:pt x="416" y="740"/>
                  <a:pt x="416" y="740"/>
                </a:cubicBezTo>
                <a:cubicBezTo>
                  <a:pt x="418" y="740"/>
                  <a:pt x="418" y="740"/>
                  <a:pt x="418" y="740"/>
                </a:cubicBezTo>
                <a:cubicBezTo>
                  <a:pt x="419" y="740"/>
                  <a:pt x="419" y="740"/>
                  <a:pt x="419" y="740"/>
                </a:cubicBezTo>
                <a:cubicBezTo>
                  <a:pt x="418" y="742"/>
                  <a:pt x="418" y="742"/>
                  <a:pt x="418" y="742"/>
                </a:cubicBezTo>
                <a:cubicBezTo>
                  <a:pt x="419" y="744"/>
                  <a:pt x="419" y="744"/>
                  <a:pt x="419" y="744"/>
                </a:cubicBezTo>
                <a:cubicBezTo>
                  <a:pt x="421" y="744"/>
                  <a:pt x="421" y="744"/>
                  <a:pt x="421" y="744"/>
                </a:cubicBezTo>
                <a:cubicBezTo>
                  <a:pt x="423" y="744"/>
                  <a:pt x="423" y="744"/>
                  <a:pt x="423" y="744"/>
                </a:cubicBezTo>
                <a:cubicBezTo>
                  <a:pt x="424" y="746"/>
                  <a:pt x="424" y="746"/>
                  <a:pt x="424" y="746"/>
                </a:cubicBezTo>
                <a:cubicBezTo>
                  <a:pt x="425" y="748"/>
                  <a:pt x="425" y="748"/>
                  <a:pt x="425" y="748"/>
                </a:cubicBezTo>
                <a:cubicBezTo>
                  <a:pt x="426" y="749"/>
                  <a:pt x="426" y="749"/>
                  <a:pt x="426" y="749"/>
                </a:cubicBezTo>
                <a:cubicBezTo>
                  <a:pt x="427" y="748"/>
                  <a:pt x="427" y="748"/>
                  <a:pt x="427" y="748"/>
                </a:cubicBezTo>
                <a:cubicBezTo>
                  <a:pt x="427" y="749"/>
                  <a:pt x="427" y="749"/>
                  <a:pt x="427" y="749"/>
                </a:cubicBezTo>
                <a:cubicBezTo>
                  <a:pt x="427" y="750"/>
                  <a:pt x="427" y="750"/>
                  <a:pt x="427" y="750"/>
                </a:cubicBezTo>
                <a:cubicBezTo>
                  <a:pt x="427" y="751"/>
                  <a:pt x="427" y="751"/>
                  <a:pt x="427" y="751"/>
                </a:cubicBezTo>
                <a:cubicBezTo>
                  <a:pt x="426" y="750"/>
                  <a:pt x="426" y="750"/>
                  <a:pt x="426" y="750"/>
                </a:cubicBezTo>
                <a:cubicBezTo>
                  <a:pt x="424" y="750"/>
                  <a:pt x="424" y="750"/>
                  <a:pt x="424" y="750"/>
                </a:cubicBezTo>
                <a:cubicBezTo>
                  <a:pt x="423" y="752"/>
                  <a:pt x="423" y="752"/>
                  <a:pt x="423" y="752"/>
                </a:cubicBezTo>
                <a:cubicBezTo>
                  <a:pt x="422" y="755"/>
                  <a:pt x="422" y="755"/>
                  <a:pt x="422" y="755"/>
                </a:cubicBezTo>
                <a:cubicBezTo>
                  <a:pt x="422" y="757"/>
                  <a:pt x="422" y="757"/>
                  <a:pt x="422" y="757"/>
                </a:cubicBezTo>
                <a:cubicBezTo>
                  <a:pt x="424" y="758"/>
                  <a:pt x="424" y="758"/>
                  <a:pt x="424" y="758"/>
                </a:cubicBezTo>
                <a:cubicBezTo>
                  <a:pt x="425" y="758"/>
                  <a:pt x="425" y="758"/>
                  <a:pt x="425" y="758"/>
                </a:cubicBezTo>
                <a:cubicBezTo>
                  <a:pt x="427" y="759"/>
                  <a:pt x="427" y="759"/>
                  <a:pt x="427" y="759"/>
                </a:cubicBezTo>
                <a:cubicBezTo>
                  <a:pt x="431" y="762"/>
                  <a:pt x="431" y="762"/>
                  <a:pt x="431" y="762"/>
                </a:cubicBezTo>
                <a:cubicBezTo>
                  <a:pt x="433" y="763"/>
                  <a:pt x="433" y="763"/>
                  <a:pt x="433" y="763"/>
                </a:cubicBezTo>
                <a:cubicBezTo>
                  <a:pt x="434" y="763"/>
                  <a:pt x="434" y="763"/>
                  <a:pt x="434" y="763"/>
                </a:cubicBezTo>
                <a:cubicBezTo>
                  <a:pt x="435" y="764"/>
                  <a:pt x="435" y="764"/>
                  <a:pt x="435" y="764"/>
                </a:cubicBezTo>
                <a:cubicBezTo>
                  <a:pt x="435" y="766"/>
                  <a:pt x="435" y="766"/>
                  <a:pt x="435" y="766"/>
                </a:cubicBezTo>
                <a:cubicBezTo>
                  <a:pt x="436" y="767"/>
                  <a:pt x="436" y="767"/>
                  <a:pt x="436" y="767"/>
                </a:cubicBezTo>
                <a:cubicBezTo>
                  <a:pt x="435" y="769"/>
                  <a:pt x="435" y="769"/>
                  <a:pt x="435" y="769"/>
                </a:cubicBezTo>
                <a:cubicBezTo>
                  <a:pt x="434" y="770"/>
                  <a:pt x="434" y="770"/>
                  <a:pt x="434" y="770"/>
                </a:cubicBezTo>
                <a:cubicBezTo>
                  <a:pt x="434" y="770"/>
                  <a:pt x="434" y="770"/>
                  <a:pt x="434" y="770"/>
                </a:cubicBezTo>
                <a:cubicBezTo>
                  <a:pt x="436" y="771"/>
                  <a:pt x="436" y="771"/>
                  <a:pt x="436" y="771"/>
                </a:cubicBezTo>
                <a:cubicBezTo>
                  <a:pt x="439" y="773"/>
                  <a:pt x="439" y="773"/>
                  <a:pt x="439" y="773"/>
                </a:cubicBezTo>
                <a:cubicBezTo>
                  <a:pt x="439" y="774"/>
                  <a:pt x="439" y="774"/>
                  <a:pt x="439" y="774"/>
                </a:cubicBezTo>
                <a:cubicBezTo>
                  <a:pt x="440" y="774"/>
                  <a:pt x="440" y="774"/>
                  <a:pt x="440" y="774"/>
                </a:cubicBezTo>
                <a:cubicBezTo>
                  <a:pt x="443" y="777"/>
                  <a:pt x="443" y="777"/>
                  <a:pt x="443" y="777"/>
                </a:cubicBezTo>
                <a:cubicBezTo>
                  <a:pt x="446" y="781"/>
                  <a:pt x="446" y="781"/>
                  <a:pt x="446" y="781"/>
                </a:cubicBezTo>
                <a:cubicBezTo>
                  <a:pt x="448" y="785"/>
                  <a:pt x="448" y="785"/>
                  <a:pt x="448" y="785"/>
                </a:cubicBezTo>
                <a:cubicBezTo>
                  <a:pt x="451" y="788"/>
                  <a:pt x="451" y="788"/>
                  <a:pt x="451" y="788"/>
                </a:cubicBezTo>
                <a:cubicBezTo>
                  <a:pt x="451" y="790"/>
                  <a:pt x="451" y="790"/>
                  <a:pt x="451" y="790"/>
                </a:cubicBezTo>
                <a:cubicBezTo>
                  <a:pt x="455" y="795"/>
                  <a:pt x="455" y="795"/>
                  <a:pt x="455" y="795"/>
                </a:cubicBezTo>
                <a:cubicBezTo>
                  <a:pt x="455" y="797"/>
                  <a:pt x="455" y="797"/>
                  <a:pt x="455" y="797"/>
                </a:cubicBezTo>
                <a:cubicBezTo>
                  <a:pt x="455" y="799"/>
                  <a:pt x="455" y="799"/>
                  <a:pt x="455" y="799"/>
                </a:cubicBezTo>
                <a:cubicBezTo>
                  <a:pt x="455" y="800"/>
                  <a:pt x="455" y="800"/>
                  <a:pt x="455" y="800"/>
                </a:cubicBezTo>
                <a:cubicBezTo>
                  <a:pt x="457" y="803"/>
                  <a:pt x="457" y="803"/>
                  <a:pt x="457" y="803"/>
                </a:cubicBezTo>
                <a:cubicBezTo>
                  <a:pt x="459" y="809"/>
                  <a:pt x="459" y="809"/>
                  <a:pt x="459" y="809"/>
                </a:cubicBezTo>
                <a:cubicBezTo>
                  <a:pt x="459" y="811"/>
                  <a:pt x="459" y="811"/>
                  <a:pt x="459" y="811"/>
                </a:cubicBezTo>
                <a:cubicBezTo>
                  <a:pt x="458" y="813"/>
                  <a:pt x="458" y="813"/>
                  <a:pt x="458" y="813"/>
                </a:cubicBezTo>
                <a:cubicBezTo>
                  <a:pt x="455" y="815"/>
                  <a:pt x="455" y="815"/>
                  <a:pt x="455" y="815"/>
                </a:cubicBezTo>
                <a:cubicBezTo>
                  <a:pt x="455" y="816"/>
                  <a:pt x="455" y="816"/>
                  <a:pt x="455" y="816"/>
                </a:cubicBezTo>
                <a:cubicBezTo>
                  <a:pt x="456" y="816"/>
                  <a:pt x="456" y="816"/>
                  <a:pt x="456" y="816"/>
                </a:cubicBezTo>
                <a:cubicBezTo>
                  <a:pt x="457" y="817"/>
                  <a:pt x="457" y="817"/>
                  <a:pt x="457" y="817"/>
                </a:cubicBezTo>
                <a:cubicBezTo>
                  <a:pt x="456" y="818"/>
                  <a:pt x="456" y="818"/>
                  <a:pt x="456" y="818"/>
                </a:cubicBezTo>
                <a:cubicBezTo>
                  <a:pt x="454" y="818"/>
                  <a:pt x="454" y="818"/>
                  <a:pt x="454" y="818"/>
                </a:cubicBezTo>
                <a:cubicBezTo>
                  <a:pt x="453" y="819"/>
                  <a:pt x="453" y="819"/>
                  <a:pt x="453" y="819"/>
                </a:cubicBezTo>
                <a:cubicBezTo>
                  <a:pt x="453" y="820"/>
                  <a:pt x="453" y="820"/>
                  <a:pt x="453" y="820"/>
                </a:cubicBezTo>
                <a:cubicBezTo>
                  <a:pt x="454" y="823"/>
                  <a:pt x="454" y="823"/>
                  <a:pt x="454" y="823"/>
                </a:cubicBezTo>
                <a:cubicBezTo>
                  <a:pt x="456" y="825"/>
                  <a:pt x="456" y="825"/>
                  <a:pt x="456" y="825"/>
                </a:cubicBezTo>
                <a:cubicBezTo>
                  <a:pt x="456" y="826"/>
                  <a:pt x="456" y="826"/>
                  <a:pt x="456" y="826"/>
                </a:cubicBezTo>
                <a:cubicBezTo>
                  <a:pt x="458" y="829"/>
                  <a:pt x="458" y="829"/>
                  <a:pt x="458" y="829"/>
                </a:cubicBezTo>
                <a:cubicBezTo>
                  <a:pt x="458" y="831"/>
                  <a:pt x="458" y="831"/>
                  <a:pt x="458" y="831"/>
                </a:cubicBezTo>
                <a:cubicBezTo>
                  <a:pt x="459" y="832"/>
                  <a:pt x="459" y="832"/>
                  <a:pt x="459" y="832"/>
                </a:cubicBezTo>
                <a:cubicBezTo>
                  <a:pt x="461" y="832"/>
                  <a:pt x="461" y="832"/>
                  <a:pt x="461" y="832"/>
                </a:cubicBezTo>
                <a:cubicBezTo>
                  <a:pt x="461" y="833"/>
                  <a:pt x="461" y="833"/>
                  <a:pt x="461" y="833"/>
                </a:cubicBezTo>
                <a:cubicBezTo>
                  <a:pt x="465" y="834"/>
                  <a:pt x="465" y="834"/>
                  <a:pt x="465" y="834"/>
                </a:cubicBezTo>
                <a:cubicBezTo>
                  <a:pt x="467" y="833"/>
                  <a:pt x="467" y="833"/>
                  <a:pt x="467" y="833"/>
                </a:cubicBezTo>
                <a:cubicBezTo>
                  <a:pt x="468" y="834"/>
                  <a:pt x="468" y="834"/>
                  <a:pt x="468" y="834"/>
                </a:cubicBezTo>
                <a:cubicBezTo>
                  <a:pt x="467" y="835"/>
                  <a:pt x="467" y="835"/>
                  <a:pt x="467" y="835"/>
                </a:cubicBezTo>
                <a:cubicBezTo>
                  <a:pt x="467" y="836"/>
                  <a:pt x="467" y="836"/>
                  <a:pt x="467" y="836"/>
                </a:cubicBezTo>
                <a:cubicBezTo>
                  <a:pt x="469" y="837"/>
                  <a:pt x="469" y="837"/>
                  <a:pt x="469" y="837"/>
                </a:cubicBezTo>
                <a:cubicBezTo>
                  <a:pt x="472" y="839"/>
                  <a:pt x="472" y="839"/>
                  <a:pt x="472" y="839"/>
                </a:cubicBezTo>
                <a:cubicBezTo>
                  <a:pt x="474" y="842"/>
                  <a:pt x="474" y="842"/>
                  <a:pt x="474" y="842"/>
                </a:cubicBezTo>
                <a:cubicBezTo>
                  <a:pt x="475" y="844"/>
                  <a:pt x="475" y="844"/>
                  <a:pt x="475" y="844"/>
                </a:cubicBezTo>
                <a:cubicBezTo>
                  <a:pt x="477" y="845"/>
                  <a:pt x="477" y="845"/>
                  <a:pt x="477" y="845"/>
                </a:cubicBezTo>
                <a:cubicBezTo>
                  <a:pt x="478" y="845"/>
                  <a:pt x="478" y="845"/>
                  <a:pt x="478" y="845"/>
                </a:cubicBezTo>
                <a:cubicBezTo>
                  <a:pt x="480" y="845"/>
                  <a:pt x="480" y="845"/>
                  <a:pt x="480" y="845"/>
                </a:cubicBezTo>
                <a:cubicBezTo>
                  <a:pt x="481" y="846"/>
                  <a:pt x="481" y="846"/>
                  <a:pt x="481" y="846"/>
                </a:cubicBezTo>
                <a:cubicBezTo>
                  <a:pt x="485" y="847"/>
                  <a:pt x="485" y="847"/>
                  <a:pt x="485" y="847"/>
                </a:cubicBezTo>
                <a:cubicBezTo>
                  <a:pt x="487" y="847"/>
                  <a:pt x="487" y="847"/>
                  <a:pt x="487" y="847"/>
                </a:cubicBezTo>
                <a:cubicBezTo>
                  <a:pt x="487" y="846"/>
                  <a:pt x="487" y="846"/>
                  <a:pt x="487" y="846"/>
                </a:cubicBezTo>
                <a:cubicBezTo>
                  <a:pt x="488" y="846"/>
                  <a:pt x="488" y="846"/>
                  <a:pt x="488" y="846"/>
                </a:cubicBezTo>
                <a:cubicBezTo>
                  <a:pt x="489" y="847"/>
                  <a:pt x="489" y="847"/>
                  <a:pt x="489" y="847"/>
                </a:cubicBezTo>
                <a:cubicBezTo>
                  <a:pt x="494" y="852"/>
                  <a:pt x="494" y="852"/>
                  <a:pt x="494" y="852"/>
                </a:cubicBezTo>
                <a:cubicBezTo>
                  <a:pt x="496" y="853"/>
                  <a:pt x="496" y="853"/>
                  <a:pt x="496" y="853"/>
                </a:cubicBezTo>
                <a:cubicBezTo>
                  <a:pt x="499" y="855"/>
                  <a:pt x="499" y="855"/>
                  <a:pt x="499" y="855"/>
                </a:cubicBezTo>
                <a:cubicBezTo>
                  <a:pt x="503" y="857"/>
                  <a:pt x="503" y="857"/>
                  <a:pt x="503" y="857"/>
                </a:cubicBezTo>
                <a:cubicBezTo>
                  <a:pt x="508" y="858"/>
                  <a:pt x="508" y="858"/>
                  <a:pt x="508" y="858"/>
                </a:cubicBezTo>
                <a:cubicBezTo>
                  <a:pt x="510" y="859"/>
                  <a:pt x="510" y="859"/>
                  <a:pt x="510" y="859"/>
                </a:cubicBezTo>
                <a:cubicBezTo>
                  <a:pt x="512" y="861"/>
                  <a:pt x="512" y="861"/>
                  <a:pt x="512" y="861"/>
                </a:cubicBezTo>
                <a:cubicBezTo>
                  <a:pt x="514" y="861"/>
                  <a:pt x="514" y="861"/>
                  <a:pt x="514" y="861"/>
                </a:cubicBezTo>
                <a:cubicBezTo>
                  <a:pt x="517" y="863"/>
                  <a:pt x="517" y="863"/>
                  <a:pt x="517" y="863"/>
                </a:cubicBezTo>
                <a:cubicBezTo>
                  <a:pt x="519" y="862"/>
                  <a:pt x="519" y="862"/>
                  <a:pt x="519" y="862"/>
                </a:cubicBezTo>
                <a:cubicBezTo>
                  <a:pt x="519" y="863"/>
                  <a:pt x="519" y="863"/>
                  <a:pt x="519" y="863"/>
                </a:cubicBezTo>
                <a:cubicBezTo>
                  <a:pt x="521" y="865"/>
                  <a:pt x="521" y="865"/>
                  <a:pt x="521" y="865"/>
                </a:cubicBezTo>
                <a:cubicBezTo>
                  <a:pt x="523" y="866"/>
                  <a:pt x="523" y="866"/>
                  <a:pt x="523" y="866"/>
                </a:cubicBezTo>
                <a:cubicBezTo>
                  <a:pt x="525" y="866"/>
                  <a:pt x="525" y="866"/>
                  <a:pt x="525" y="866"/>
                </a:cubicBezTo>
                <a:cubicBezTo>
                  <a:pt x="526" y="866"/>
                  <a:pt x="526" y="866"/>
                  <a:pt x="526" y="866"/>
                </a:cubicBezTo>
                <a:cubicBezTo>
                  <a:pt x="527" y="867"/>
                  <a:pt x="527" y="867"/>
                  <a:pt x="527" y="867"/>
                </a:cubicBezTo>
                <a:cubicBezTo>
                  <a:pt x="531" y="869"/>
                  <a:pt x="531" y="869"/>
                  <a:pt x="531" y="869"/>
                </a:cubicBezTo>
                <a:cubicBezTo>
                  <a:pt x="535" y="869"/>
                  <a:pt x="535" y="869"/>
                  <a:pt x="535" y="869"/>
                </a:cubicBezTo>
                <a:cubicBezTo>
                  <a:pt x="537" y="870"/>
                  <a:pt x="537" y="870"/>
                  <a:pt x="537" y="870"/>
                </a:cubicBezTo>
                <a:cubicBezTo>
                  <a:pt x="542" y="872"/>
                  <a:pt x="542" y="872"/>
                  <a:pt x="542" y="872"/>
                </a:cubicBezTo>
                <a:cubicBezTo>
                  <a:pt x="544" y="872"/>
                  <a:pt x="544" y="872"/>
                  <a:pt x="544" y="872"/>
                </a:cubicBezTo>
                <a:cubicBezTo>
                  <a:pt x="550" y="869"/>
                  <a:pt x="550" y="869"/>
                  <a:pt x="550" y="869"/>
                </a:cubicBezTo>
                <a:cubicBezTo>
                  <a:pt x="552" y="869"/>
                  <a:pt x="552" y="869"/>
                  <a:pt x="552" y="869"/>
                </a:cubicBezTo>
                <a:cubicBezTo>
                  <a:pt x="555" y="868"/>
                  <a:pt x="555" y="868"/>
                  <a:pt x="555" y="868"/>
                </a:cubicBezTo>
                <a:cubicBezTo>
                  <a:pt x="557" y="867"/>
                  <a:pt x="557" y="867"/>
                  <a:pt x="557" y="867"/>
                </a:cubicBezTo>
                <a:cubicBezTo>
                  <a:pt x="559" y="867"/>
                  <a:pt x="559" y="867"/>
                  <a:pt x="559" y="867"/>
                </a:cubicBezTo>
                <a:cubicBezTo>
                  <a:pt x="560" y="867"/>
                  <a:pt x="560" y="867"/>
                  <a:pt x="560" y="867"/>
                </a:cubicBezTo>
                <a:cubicBezTo>
                  <a:pt x="560" y="866"/>
                  <a:pt x="560" y="866"/>
                  <a:pt x="560" y="866"/>
                </a:cubicBezTo>
                <a:cubicBezTo>
                  <a:pt x="558" y="866"/>
                  <a:pt x="558" y="866"/>
                  <a:pt x="558" y="866"/>
                </a:cubicBezTo>
                <a:cubicBezTo>
                  <a:pt x="557" y="866"/>
                  <a:pt x="557" y="866"/>
                  <a:pt x="557" y="866"/>
                </a:cubicBezTo>
                <a:cubicBezTo>
                  <a:pt x="557" y="865"/>
                  <a:pt x="557" y="865"/>
                  <a:pt x="557" y="865"/>
                </a:cubicBezTo>
                <a:cubicBezTo>
                  <a:pt x="559" y="864"/>
                  <a:pt x="559" y="864"/>
                  <a:pt x="559" y="864"/>
                </a:cubicBezTo>
                <a:cubicBezTo>
                  <a:pt x="560" y="864"/>
                  <a:pt x="560" y="864"/>
                  <a:pt x="560" y="864"/>
                </a:cubicBezTo>
                <a:cubicBezTo>
                  <a:pt x="560" y="865"/>
                  <a:pt x="560" y="865"/>
                  <a:pt x="560" y="865"/>
                </a:cubicBezTo>
                <a:cubicBezTo>
                  <a:pt x="561" y="865"/>
                  <a:pt x="561" y="865"/>
                  <a:pt x="561" y="865"/>
                </a:cubicBezTo>
                <a:cubicBezTo>
                  <a:pt x="562" y="865"/>
                  <a:pt x="562" y="865"/>
                  <a:pt x="562" y="865"/>
                </a:cubicBezTo>
                <a:cubicBezTo>
                  <a:pt x="562" y="866"/>
                  <a:pt x="562" y="866"/>
                  <a:pt x="562" y="866"/>
                </a:cubicBezTo>
                <a:cubicBezTo>
                  <a:pt x="561" y="866"/>
                  <a:pt x="561" y="866"/>
                  <a:pt x="561" y="866"/>
                </a:cubicBezTo>
                <a:cubicBezTo>
                  <a:pt x="561" y="866"/>
                  <a:pt x="561" y="866"/>
                  <a:pt x="561" y="866"/>
                </a:cubicBezTo>
                <a:cubicBezTo>
                  <a:pt x="561" y="866"/>
                  <a:pt x="561" y="866"/>
                  <a:pt x="561" y="866"/>
                </a:cubicBezTo>
                <a:cubicBezTo>
                  <a:pt x="563" y="866"/>
                  <a:pt x="563" y="866"/>
                  <a:pt x="563" y="866"/>
                </a:cubicBezTo>
                <a:cubicBezTo>
                  <a:pt x="565" y="867"/>
                  <a:pt x="565" y="867"/>
                  <a:pt x="565" y="867"/>
                </a:cubicBezTo>
                <a:cubicBezTo>
                  <a:pt x="568" y="869"/>
                  <a:pt x="568" y="869"/>
                  <a:pt x="568" y="869"/>
                </a:cubicBezTo>
                <a:cubicBezTo>
                  <a:pt x="569" y="870"/>
                  <a:pt x="569" y="870"/>
                  <a:pt x="569" y="870"/>
                </a:cubicBezTo>
                <a:cubicBezTo>
                  <a:pt x="569" y="870"/>
                  <a:pt x="569" y="870"/>
                  <a:pt x="569" y="870"/>
                </a:cubicBezTo>
                <a:cubicBezTo>
                  <a:pt x="567" y="867"/>
                  <a:pt x="567" y="867"/>
                  <a:pt x="567" y="867"/>
                </a:cubicBezTo>
                <a:cubicBezTo>
                  <a:pt x="564" y="866"/>
                  <a:pt x="564" y="866"/>
                  <a:pt x="564" y="866"/>
                </a:cubicBezTo>
                <a:cubicBezTo>
                  <a:pt x="563" y="865"/>
                  <a:pt x="563" y="865"/>
                  <a:pt x="563" y="865"/>
                </a:cubicBezTo>
                <a:cubicBezTo>
                  <a:pt x="564" y="865"/>
                  <a:pt x="564" y="865"/>
                  <a:pt x="564" y="865"/>
                </a:cubicBezTo>
                <a:cubicBezTo>
                  <a:pt x="564" y="866"/>
                  <a:pt x="564" y="866"/>
                  <a:pt x="564" y="866"/>
                </a:cubicBezTo>
                <a:cubicBezTo>
                  <a:pt x="566" y="866"/>
                  <a:pt x="566" y="866"/>
                  <a:pt x="566" y="866"/>
                </a:cubicBezTo>
                <a:cubicBezTo>
                  <a:pt x="568" y="868"/>
                  <a:pt x="568" y="868"/>
                  <a:pt x="568" y="868"/>
                </a:cubicBezTo>
                <a:cubicBezTo>
                  <a:pt x="570" y="870"/>
                  <a:pt x="570" y="870"/>
                  <a:pt x="570" y="870"/>
                </a:cubicBezTo>
                <a:cubicBezTo>
                  <a:pt x="570" y="871"/>
                  <a:pt x="570" y="871"/>
                  <a:pt x="570" y="871"/>
                </a:cubicBezTo>
                <a:cubicBezTo>
                  <a:pt x="571" y="872"/>
                  <a:pt x="571" y="872"/>
                  <a:pt x="571" y="872"/>
                </a:cubicBezTo>
                <a:cubicBezTo>
                  <a:pt x="578" y="878"/>
                  <a:pt x="578" y="878"/>
                  <a:pt x="578" y="878"/>
                </a:cubicBezTo>
                <a:cubicBezTo>
                  <a:pt x="580" y="878"/>
                  <a:pt x="580" y="878"/>
                  <a:pt x="580" y="878"/>
                </a:cubicBezTo>
                <a:cubicBezTo>
                  <a:pt x="580" y="879"/>
                  <a:pt x="580" y="879"/>
                  <a:pt x="580" y="879"/>
                </a:cubicBezTo>
                <a:cubicBezTo>
                  <a:pt x="583" y="882"/>
                  <a:pt x="583" y="882"/>
                  <a:pt x="583" y="882"/>
                </a:cubicBezTo>
                <a:cubicBezTo>
                  <a:pt x="585" y="884"/>
                  <a:pt x="585" y="884"/>
                  <a:pt x="585" y="884"/>
                </a:cubicBezTo>
                <a:cubicBezTo>
                  <a:pt x="586" y="886"/>
                  <a:pt x="586" y="886"/>
                  <a:pt x="586" y="886"/>
                </a:cubicBezTo>
                <a:cubicBezTo>
                  <a:pt x="588" y="888"/>
                  <a:pt x="588" y="888"/>
                  <a:pt x="588" y="888"/>
                </a:cubicBezTo>
                <a:cubicBezTo>
                  <a:pt x="589" y="888"/>
                  <a:pt x="589" y="888"/>
                  <a:pt x="589" y="888"/>
                </a:cubicBezTo>
                <a:cubicBezTo>
                  <a:pt x="591" y="889"/>
                  <a:pt x="591" y="889"/>
                  <a:pt x="591" y="889"/>
                </a:cubicBezTo>
                <a:cubicBezTo>
                  <a:pt x="596" y="891"/>
                  <a:pt x="596" y="891"/>
                  <a:pt x="596" y="891"/>
                </a:cubicBezTo>
                <a:cubicBezTo>
                  <a:pt x="599" y="892"/>
                  <a:pt x="599" y="892"/>
                  <a:pt x="599" y="892"/>
                </a:cubicBezTo>
                <a:cubicBezTo>
                  <a:pt x="601" y="891"/>
                  <a:pt x="601" y="891"/>
                  <a:pt x="601" y="891"/>
                </a:cubicBezTo>
                <a:cubicBezTo>
                  <a:pt x="605" y="893"/>
                  <a:pt x="605" y="893"/>
                  <a:pt x="605" y="893"/>
                </a:cubicBezTo>
                <a:cubicBezTo>
                  <a:pt x="606" y="893"/>
                  <a:pt x="606" y="893"/>
                  <a:pt x="606" y="893"/>
                </a:cubicBezTo>
                <a:cubicBezTo>
                  <a:pt x="608" y="893"/>
                  <a:pt x="608" y="893"/>
                  <a:pt x="608" y="893"/>
                </a:cubicBezTo>
                <a:cubicBezTo>
                  <a:pt x="610" y="894"/>
                  <a:pt x="610" y="894"/>
                  <a:pt x="610" y="894"/>
                </a:cubicBezTo>
                <a:cubicBezTo>
                  <a:pt x="612" y="895"/>
                  <a:pt x="612" y="895"/>
                  <a:pt x="612" y="895"/>
                </a:cubicBezTo>
                <a:cubicBezTo>
                  <a:pt x="613" y="895"/>
                  <a:pt x="613" y="895"/>
                  <a:pt x="613" y="895"/>
                </a:cubicBezTo>
                <a:cubicBezTo>
                  <a:pt x="617" y="896"/>
                  <a:pt x="617" y="896"/>
                  <a:pt x="617" y="896"/>
                </a:cubicBezTo>
                <a:cubicBezTo>
                  <a:pt x="620" y="898"/>
                  <a:pt x="620" y="898"/>
                  <a:pt x="620" y="898"/>
                </a:cubicBezTo>
                <a:cubicBezTo>
                  <a:pt x="620" y="897"/>
                  <a:pt x="620" y="897"/>
                  <a:pt x="620" y="897"/>
                </a:cubicBezTo>
                <a:cubicBezTo>
                  <a:pt x="619" y="896"/>
                  <a:pt x="619" y="896"/>
                  <a:pt x="619" y="896"/>
                </a:cubicBezTo>
                <a:cubicBezTo>
                  <a:pt x="620" y="896"/>
                  <a:pt x="620" y="896"/>
                  <a:pt x="620" y="896"/>
                </a:cubicBezTo>
                <a:cubicBezTo>
                  <a:pt x="621" y="896"/>
                  <a:pt x="621" y="896"/>
                  <a:pt x="621" y="896"/>
                </a:cubicBezTo>
                <a:cubicBezTo>
                  <a:pt x="623" y="898"/>
                  <a:pt x="623" y="898"/>
                  <a:pt x="623" y="898"/>
                </a:cubicBezTo>
                <a:cubicBezTo>
                  <a:pt x="624" y="899"/>
                  <a:pt x="624" y="899"/>
                  <a:pt x="624" y="899"/>
                </a:cubicBezTo>
                <a:cubicBezTo>
                  <a:pt x="629" y="899"/>
                  <a:pt x="629" y="899"/>
                  <a:pt x="629" y="899"/>
                </a:cubicBezTo>
                <a:cubicBezTo>
                  <a:pt x="630" y="897"/>
                  <a:pt x="630" y="897"/>
                  <a:pt x="630" y="897"/>
                </a:cubicBezTo>
                <a:cubicBezTo>
                  <a:pt x="629" y="896"/>
                  <a:pt x="629" y="896"/>
                  <a:pt x="629" y="896"/>
                </a:cubicBezTo>
                <a:cubicBezTo>
                  <a:pt x="630" y="896"/>
                  <a:pt x="630" y="896"/>
                  <a:pt x="630" y="896"/>
                </a:cubicBezTo>
                <a:cubicBezTo>
                  <a:pt x="630" y="896"/>
                  <a:pt x="630" y="896"/>
                  <a:pt x="630" y="896"/>
                </a:cubicBezTo>
                <a:cubicBezTo>
                  <a:pt x="631" y="896"/>
                  <a:pt x="631" y="896"/>
                  <a:pt x="631" y="896"/>
                </a:cubicBezTo>
                <a:cubicBezTo>
                  <a:pt x="632" y="897"/>
                  <a:pt x="632" y="897"/>
                  <a:pt x="632" y="897"/>
                </a:cubicBezTo>
                <a:cubicBezTo>
                  <a:pt x="633" y="897"/>
                  <a:pt x="633" y="897"/>
                  <a:pt x="633" y="897"/>
                </a:cubicBezTo>
                <a:cubicBezTo>
                  <a:pt x="633" y="896"/>
                  <a:pt x="633" y="896"/>
                  <a:pt x="633" y="896"/>
                </a:cubicBezTo>
                <a:cubicBezTo>
                  <a:pt x="634" y="897"/>
                  <a:pt x="634" y="897"/>
                  <a:pt x="634" y="897"/>
                </a:cubicBezTo>
                <a:cubicBezTo>
                  <a:pt x="634" y="898"/>
                  <a:pt x="634" y="898"/>
                  <a:pt x="634" y="898"/>
                </a:cubicBezTo>
                <a:cubicBezTo>
                  <a:pt x="634" y="899"/>
                  <a:pt x="634" y="899"/>
                  <a:pt x="634" y="899"/>
                </a:cubicBezTo>
                <a:cubicBezTo>
                  <a:pt x="634" y="899"/>
                  <a:pt x="634" y="899"/>
                  <a:pt x="634" y="899"/>
                </a:cubicBezTo>
                <a:cubicBezTo>
                  <a:pt x="634" y="900"/>
                  <a:pt x="634" y="900"/>
                  <a:pt x="634" y="900"/>
                </a:cubicBezTo>
                <a:cubicBezTo>
                  <a:pt x="633" y="900"/>
                  <a:pt x="633" y="900"/>
                  <a:pt x="633" y="900"/>
                </a:cubicBezTo>
                <a:cubicBezTo>
                  <a:pt x="632" y="900"/>
                  <a:pt x="632" y="900"/>
                  <a:pt x="632" y="900"/>
                </a:cubicBezTo>
                <a:cubicBezTo>
                  <a:pt x="631" y="900"/>
                  <a:pt x="631" y="900"/>
                  <a:pt x="631" y="900"/>
                </a:cubicBezTo>
                <a:cubicBezTo>
                  <a:pt x="635" y="905"/>
                  <a:pt x="635" y="905"/>
                  <a:pt x="635" y="905"/>
                </a:cubicBezTo>
                <a:cubicBezTo>
                  <a:pt x="637" y="906"/>
                  <a:pt x="637" y="906"/>
                  <a:pt x="637" y="906"/>
                </a:cubicBezTo>
                <a:cubicBezTo>
                  <a:pt x="637" y="907"/>
                  <a:pt x="637" y="907"/>
                  <a:pt x="637" y="907"/>
                </a:cubicBezTo>
                <a:cubicBezTo>
                  <a:pt x="640" y="910"/>
                  <a:pt x="640" y="910"/>
                  <a:pt x="640" y="910"/>
                </a:cubicBezTo>
                <a:cubicBezTo>
                  <a:pt x="642" y="913"/>
                  <a:pt x="642" y="913"/>
                  <a:pt x="642" y="913"/>
                </a:cubicBezTo>
                <a:cubicBezTo>
                  <a:pt x="647" y="918"/>
                  <a:pt x="647" y="918"/>
                  <a:pt x="647" y="918"/>
                </a:cubicBezTo>
                <a:cubicBezTo>
                  <a:pt x="648" y="919"/>
                  <a:pt x="648" y="919"/>
                  <a:pt x="648" y="919"/>
                </a:cubicBezTo>
                <a:cubicBezTo>
                  <a:pt x="649" y="919"/>
                  <a:pt x="649" y="919"/>
                  <a:pt x="649" y="919"/>
                </a:cubicBezTo>
                <a:cubicBezTo>
                  <a:pt x="649" y="919"/>
                  <a:pt x="649" y="919"/>
                  <a:pt x="649" y="919"/>
                </a:cubicBezTo>
                <a:cubicBezTo>
                  <a:pt x="648" y="922"/>
                  <a:pt x="648" y="922"/>
                  <a:pt x="648" y="922"/>
                </a:cubicBezTo>
                <a:cubicBezTo>
                  <a:pt x="648" y="922"/>
                  <a:pt x="648" y="922"/>
                  <a:pt x="648" y="922"/>
                </a:cubicBezTo>
                <a:cubicBezTo>
                  <a:pt x="648" y="923"/>
                  <a:pt x="648" y="923"/>
                  <a:pt x="648" y="923"/>
                </a:cubicBezTo>
                <a:cubicBezTo>
                  <a:pt x="650" y="923"/>
                  <a:pt x="650" y="923"/>
                  <a:pt x="650" y="923"/>
                </a:cubicBezTo>
                <a:cubicBezTo>
                  <a:pt x="650" y="925"/>
                  <a:pt x="650" y="925"/>
                  <a:pt x="650" y="925"/>
                </a:cubicBezTo>
                <a:cubicBezTo>
                  <a:pt x="648" y="926"/>
                  <a:pt x="648" y="926"/>
                  <a:pt x="648" y="926"/>
                </a:cubicBezTo>
                <a:cubicBezTo>
                  <a:pt x="648" y="928"/>
                  <a:pt x="648" y="928"/>
                  <a:pt x="648" y="928"/>
                </a:cubicBezTo>
                <a:cubicBezTo>
                  <a:pt x="648" y="930"/>
                  <a:pt x="648" y="930"/>
                  <a:pt x="648" y="930"/>
                </a:cubicBezTo>
                <a:cubicBezTo>
                  <a:pt x="651" y="933"/>
                  <a:pt x="651" y="933"/>
                  <a:pt x="651" y="933"/>
                </a:cubicBezTo>
                <a:cubicBezTo>
                  <a:pt x="653" y="933"/>
                  <a:pt x="653" y="933"/>
                  <a:pt x="653" y="933"/>
                </a:cubicBezTo>
                <a:cubicBezTo>
                  <a:pt x="655" y="934"/>
                  <a:pt x="655" y="934"/>
                  <a:pt x="655" y="934"/>
                </a:cubicBezTo>
                <a:cubicBezTo>
                  <a:pt x="656" y="935"/>
                  <a:pt x="656" y="935"/>
                  <a:pt x="656" y="935"/>
                </a:cubicBezTo>
                <a:cubicBezTo>
                  <a:pt x="657" y="935"/>
                  <a:pt x="657" y="935"/>
                  <a:pt x="657" y="935"/>
                </a:cubicBezTo>
                <a:cubicBezTo>
                  <a:pt x="658" y="933"/>
                  <a:pt x="658" y="933"/>
                  <a:pt x="658" y="933"/>
                </a:cubicBezTo>
                <a:cubicBezTo>
                  <a:pt x="658" y="932"/>
                  <a:pt x="658" y="932"/>
                  <a:pt x="658" y="932"/>
                </a:cubicBezTo>
                <a:cubicBezTo>
                  <a:pt x="655" y="930"/>
                  <a:pt x="655" y="930"/>
                  <a:pt x="655" y="930"/>
                </a:cubicBezTo>
                <a:cubicBezTo>
                  <a:pt x="654" y="929"/>
                  <a:pt x="654" y="929"/>
                  <a:pt x="654" y="929"/>
                </a:cubicBezTo>
                <a:cubicBezTo>
                  <a:pt x="655" y="928"/>
                  <a:pt x="655" y="928"/>
                  <a:pt x="655" y="928"/>
                </a:cubicBezTo>
                <a:cubicBezTo>
                  <a:pt x="657" y="929"/>
                  <a:pt x="657" y="929"/>
                  <a:pt x="657" y="929"/>
                </a:cubicBezTo>
                <a:cubicBezTo>
                  <a:pt x="659" y="930"/>
                  <a:pt x="659" y="930"/>
                  <a:pt x="659" y="930"/>
                </a:cubicBezTo>
                <a:cubicBezTo>
                  <a:pt x="659" y="932"/>
                  <a:pt x="659" y="932"/>
                  <a:pt x="659" y="932"/>
                </a:cubicBezTo>
                <a:cubicBezTo>
                  <a:pt x="661" y="933"/>
                  <a:pt x="661" y="933"/>
                  <a:pt x="661" y="933"/>
                </a:cubicBezTo>
                <a:cubicBezTo>
                  <a:pt x="661" y="935"/>
                  <a:pt x="661" y="935"/>
                  <a:pt x="661" y="935"/>
                </a:cubicBezTo>
                <a:cubicBezTo>
                  <a:pt x="664" y="937"/>
                  <a:pt x="664" y="937"/>
                  <a:pt x="664" y="937"/>
                </a:cubicBezTo>
                <a:cubicBezTo>
                  <a:pt x="666" y="938"/>
                  <a:pt x="666" y="938"/>
                  <a:pt x="666" y="938"/>
                </a:cubicBezTo>
                <a:cubicBezTo>
                  <a:pt x="667" y="939"/>
                  <a:pt x="667" y="939"/>
                  <a:pt x="667" y="939"/>
                </a:cubicBezTo>
                <a:cubicBezTo>
                  <a:pt x="669" y="942"/>
                  <a:pt x="669" y="942"/>
                  <a:pt x="669" y="942"/>
                </a:cubicBezTo>
                <a:cubicBezTo>
                  <a:pt x="669" y="943"/>
                  <a:pt x="669" y="943"/>
                  <a:pt x="669" y="943"/>
                </a:cubicBezTo>
                <a:cubicBezTo>
                  <a:pt x="668" y="944"/>
                  <a:pt x="668" y="944"/>
                  <a:pt x="668" y="944"/>
                </a:cubicBezTo>
                <a:cubicBezTo>
                  <a:pt x="668" y="946"/>
                  <a:pt x="668" y="946"/>
                  <a:pt x="668" y="946"/>
                </a:cubicBezTo>
                <a:cubicBezTo>
                  <a:pt x="669" y="947"/>
                  <a:pt x="669" y="947"/>
                  <a:pt x="669" y="947"/>
                </a:cubicBezTo>
                <a:cubicBezTo>
                  <a:pt x="671" y="948"/>
                  <a:pt x="671" y="948"/>
                  <a:pt x="671" y="948"/>
                </a:cubicBezTo>
                <a:cubicBezTo>
                  <a:pt x="673" y="949"/>
                  <a:pt x="673" y="949"/>
                  <a:pt x="673" y="949"/>
                </a:cubicBezTo>
                <a:cubicBezTo>
                  <a:pt x="674" y="948"/>
                  <a:pt x="674" y="948"/>
                  <a:pt x="674" y="948"/>
                </a:cubicBezTo>
                <a:cubicBezTo>
                  <a:pt x="674" y="947"/>
                  <a:pt x="674" y="947"/>
                  <a:pt x="674" y="947"/>
                </a:cubicBezTo>
                <a:cubicBezTo>
                  <a:pt x="673" y="946"/>
                  <a:pt x="673" y="946"/>
                  <a:pt x="673" y="946"/>
                </a:cubicBezTo>
                <a:cubicBezTo>
                  <a:pt x="671" y="945"/>
                  <a:pt x="671" y="945"/>
                  <a:pt x="671" y="945"/>
                </a:cubicBezTo>
                <a:cubicBezTo>
                  <a:pt x="671" y="944"/>
                  <a:pt x="671" y="944"/>
                  <a:pt x="671" y="944"/>
                </a:cubicBezTo>
                <a:cubicBezTo>
                  <a:pt x="672" y="944"/>
                  <a:pt x="672" y="944"/>
                  <a:pt x="672" y="944"/>
                </a:cubicBezTo>
                <a:cubicBezTo>
                  <a:pt x="673" y="945"/>
                  <a:pt x="673" y="945"/>
                  <a:pt x="673" y="945"/>
                </a:cubicBezTo>
                <a:cubicBezTo>
                  <a:pt x="675" y="947"/>
                  <a:pt x="675" y="947"/>
                  <a:pt x="675" y="947"/>
                </a:cubicBezTo>
                <a:cubicBezTo>
                  <a:pt x="675" y="949"/>
                  <a:pt x="675" y="949"/>
                  <a:pt x="675" y="949"/>
                </a:cubicBezTo>
                <a:cubicBezTo>
                  <a:pt x="675" y="949"/>
                  <a:pt x="675" y="949"/>
                  <a:pt x="675" y="949"/>
                </a:cubicBezTo>
                <a:cubicBezTo>
                  <a:pt x="676" y="949"/>
                  <a:pt x="676" y="949"/>
                  <a:pt x="676" y="949"/>
                </a:cubicBezTo>
                <a:cubicBezTo>
                  <a:pt x="677" y="950"/>
                  <a:pt x="677" y="950"/>
                  <a:pt x="677" y="950"/>
                </a:cubicBezTo>
                <a:cubicBezTo>
                  <a:pt x="678" y="950"/>
                  <a:pt x="678" y="950"/>
                  <a:pt x="678" y="950"/>
                </a:cubicBezTo>
                <a:cubicBezTo>
                  <a:pt x="678" y="949"/>
                  <a:pt x="678" y="949"/>
                  <a:pt x="678" y="949"/>
                </a:cubicBezTo>
                <a:cubicBezTo>
                  <a:pt x="678" y="948"/>
                  <a:pt x="678" y="948"/>
                  <a:pt x="678" y="948"/>
                </a:cubicBezTo>
                <a:cubicBezTo>
                  <a:pt x="679" y="948"/>
                  <a:pt x="679" y="948"/>
                  <a:pt x="679" y="948"/>
                </a:cubicBezTo>
                <a:cubicBezTo>
                  <a:pt x="680" y="948"/>
                  <a:pt x="680" y="948"/>
                  <a:pt x="680" y="948"/>
                </a:cubicBezTo>
                <a:cubicBezTo>
                  <a:pt x="682" y="948"/>
                  <a:pt x="682" y="948"/>
                  <a:pt x="682" y="948"/>
                </a:cubicBezTo>
                <a:cubicBezTo>
                  <a:pt x="684" y="948"/>
                  <a:pt x="684" y="948"/>
                  <a:pt x="684" y="948"/>
                </a:cubicBezTo>
                <a:cubicBezTo>
                  <a:pt x="684" y="947"/>
                  <a:pt x="684" y="947"/>
                  <a:pt x="684" y="947"/>
                </a:cubicBezTo>
                <a:cubicBezTo>
                  <a:pt x="685" y="948"/>
                  <a:pt x="685" y="948"/>
                  <a:pt x="685" y="948"/>
                </a:cubicBezTo>
                <a:cubicBezTo>
                  <a:pt x="685" y="949"/>
                  <a:pt x="685" y="949"/>
                  <a:pt x="685" y="949"/>
                </a:cubicBezTo>
                <a:cubicBezTo>
                  <a:pt x="686" y="949"/>
                  <a:pt x="686" y="949"/>
                  <a:pt x="686" y="949"/>
                </a:cubicBezTo>
                <a:cubicBezTo>
                  <a:pt x="690" y="950"/>
                  <a:pt x="690" y="950"/>
                  <a:pt x="690" y="950"/>
                </a:cubicBezTo>
                <a:cubicBezTo>
                  <a:pt x="691" y="952"/>
                  <a:pt x="691" y="952"/>
                  <a:pt x="691" y="952"/>
                </a:cubicBezTo>
                <a:cubicBezTo>
                  <a:pt x="692" y="955"/>
                  <a:pt x="692" y="955"/>
                  <a:pt x="692" y="955"/>
                </a:cubicBezTo>
                <a:cubicBezTo>
                  <a:pt x="693" y="956"/>
                  <a:pt x="693" y="956"/>
                  <a:pt x="693" y="956"/>
                </a:cubicBezTo>
                <a:cubicBezTo>
                  <a:pt x="695" y="956"/>
                  <a:pt x="695" y="956"/>
                  <a:pt x="695" y="956"/>
                </a:cubicBezTo>
                <a:cubicBezTo>
                  <a:pt x="696" y="954"/>
                  <a:pt x="696" y="954"/>
                  <a:pt x="696" y="954"/>
                </a:cubicBezTo>
                <a:cubicBezTo>
                  <a:pt x="695" y="954"/>
                  <a:pt x="695" y="954"/>
                  <a:pt x="695" y="954"/>
                </a:cubicBezTo>
                <a:cubicBezTo>
                  <a:pt x="696" y="953"/>
                  <a:pt x="696" y="953"/>
                  <a:pt x="696" y="953"/>
                </a:cubicBezTo>
                <a:cubicBezTo>
                  <a:pt x="697" y="953"/>
                  <a:pt x="697" y="953"/>
                  <a:pt x="697" y="953"/>
                </a:cubicBezTo>
                <a:cubicBezTo>
                  <a:pt x="698" y="954"/>
                  <a:pt x="698" y="954"/>
                  <a:pt x="698" y="954"/>
                </a:cubicBezTo>
                <a:cubicBezTo>
                  <a:pt x="697" y="955"/>
                  <a:pt x="697" y="955"/>
                  <a:pt x="697" y="955"/>
                </a:cubicBezTo>
                <a:cubicBezTo>
                  <a:pt x="698" y="957"/>
                  <a:pt x="698" y="957"/>
                  <a:pt x="698" y="957"/>
                </a:cubicBezTo>
                <a:cubicBezTo>
                  <a:pt x="697" y="958"/>
                  <a:pt x="697" y="958"/>
                  <a:pt x="697" y="958"/>
                </a:cubicBezTo>
                <a:cubicBezTo>
                  <a:pt x="698" y="959"/>
                  <a:pt x="698" y="959"/>
                  <a:pt x="698" y="959"/>
                </a:cubicBezTo>
                <a:cubicBezTo>
                  <a:pt x="701" y="960"/>
                  <a:pt x="701" y="960"/>
                  <a:pt x="701" y="960"/>
                </a:cubicBezTo>
                <a:cubicBezTo>
                  <a:pt x="702" y="958"/>
                  <a:pt x="702" y="958"/>
                  <a:pt x="702" y="958"/>
                </a:cubicBezTo>
                <a:cubicBezTo>
                  <a:pt x="704" y="957"/>
                  <a:pt x="704" y="957"/>
                  <a:pt x="704" y="957"/>
                </a:cubicBezTo>
                <a:cubicBezTo>
                  <a:pt x="705" y="957"/>
                  <a:pt x="705" y="957"/>
                  <a:pt x="705" y="957"/>
                </a:cubicBezTo>
                <a:cubicBezTo>
                  <a:pt x="706" y="957"/>
                  <a:pt x="706" y="957"/>
                  <a:pt x="706" y="957"/>
                </a:cubicBezTo>
                <a:cubicBezTo>
                  <a:pt x="707" y="954"/>
                  <a:pt x="707" y="954"/>
                  <a:pt x="707" y="954"/>
                </a:cubicBezTo>
                <a:cubicBezTo>
                  <a:pt x="705" y="953"/>
                  <a:pt x="705" y="953"/>
                  <a:pt x="705" y="953"/>
                </a:cubicBezTo>
                <a:cubicBezTo>
                  <a:pt x="703" y="952"/>
                  <a:pt x="703" y="952"/>
                  <a:pt x="703" y="952"/>
                </a:cubicBezTo>
                <a:cubicBezTo>
                  <a:pt x="703" y="950"/>
                  <a:pt x="703" y="950"/>
                  <a:pt x="703" y="950"/>
                </a:cubicBezTo>
                <a:cubicBezTo>
                  <a:pt x="703" y="949"/>
                  <a:pt x="703" y="949"/>
                  <a:pt x="703" y="949"/>
                </a:cubicBezTo>
                <a:cubicBezTo>
                  <a:pt x="705" y="948"/>
                  <a:pt x="705" y="948"/>
                  <a:pt x="705" y="948"/>
                </a:cubicBezTo>
                <a:cubicBezTo>
                  <a:pt x="708" y="947"/>
                  <a:pt x="708" y="947"/>
                  <a:pt x="708" y="947"/>
                </a:cubicBezTo>
                <a:cubicBezTo>
                  <a:pt x="711" y="945"/>
                  <a:pt x="711" y="945"/>
                  <a:pt x="711" y="945"/>
                </a:cubicBezTo>
                <a:cubicBezTo>
                  <a:pt x="710" y="944"/>
                  <a:pt x="710" y="944"/>
                  <a:pt x="710" y="944"/>
                </a:cubicBezTo>
                <a:cubicBezTo>
                  <a:pt x="710" y="943"/>
                  <a:pt x="710" y="943"/>
                  <a:pt x="710" y="943"/>
                </a:cubicBezTo>
                <a:cubicBezTo>
                  <a:pt x="710" y="942"/>
                  <a:pt x="710" y="942"/>
                  <a:pt x="710" y="942"/>
                </a:cubicBezTo>
                <a:cubicBezTo>
                  <a:pt x="713" y="940"/>
                  <a:pt x="713" y="940"/>
                  <a:pt x="713" y="940"/>
                </a:cubicBezTo>
                <a:cubicBezTo>
                  <a:pt x="716" y="940"/>
                  <a:pt x="716" y="940"/>
                  <a:pt x="716" y="940"/>
                </a:cubicBezTo>
                <a:cubicBezTo>
                  <a:pt x="717" y="940"/>
                  <a:pt x="717" y="940"/>
                  <a:pt x="717" y="940"/>
                </a:cubicBezTo>
                <a:cubicBezTo>
                  <a:pt x="719" y="942"/>
                  <a:pt x="719" y="942"/>
                  <a:pt x="719" y="942"/>
                </a:cubicBezTo>
                <a:cubicBezTo>
                  <a:pt x="720" y="942"/>
                  <a:pt x="720" y="942"/>
                  <a:pt x="720" y="942"/>
                </a:cubicBezTo>
                <a:cubicBezTo>
                  <a:pt x="722" y="945"/>
                  <a:pt x="722" y="945"/>
                  <a:pt x="722" y="945"/>
                </a:cubicBezTo>
                <a:cubicBezTo>
                  <a:pt x="722" y="947"/>
                  <a:pt x="722" y="947"/>
                  <a:pt x="722" y="947"/>
                </a:cubicBezTo>
                <a:cubicBezTo>
                  <a:pt x="724" y="947"/>
                  <a:pt x="724" y="947"/>
                  <a:pt x="724" y="947"/>
                </a:cubicBezTo>
                <a:cubicBezTo>
                  <a:pt x="724" y="947"/>
                  <a:pt x="724" y="947"/>
                  <a:pt x="724" y="947"/>
                </a:cubicBezTo>
                <a:cubicBezTo>
                  <a:pt x="725" y="945"/>
                  <a:pt x="725" y="945"/>
                  <a:pt x="725" y="945"/>
                </a:cubicBezTo>
                <a:cubicBezTo>
                  <a:pt x="727" y="945"/>
                  <a:pt x="727" y="945"/>
                  <a:pt x="727" y="945"/>
                </a:cubicBezTo>
                <a:cubicBezTo>
                  <a:pt x="727" y="947"/>
                  <a:pt x="727" y="947"/>
                  <a:pt x="727" y="947"/>
                </a:cubicBezTo>
                <a:cubicBezTo>
                  <a:pt x="726" y="948"/>
                  <a:pt x="726" y="948"/>
                  <a:pt x="726" y="948"/>
                </a:cubicBezTo>
                <a:cubicBezTo>
                  <a:pt x="725" y="948"/>
                  <a:pt x="725" y="948"/>
                  <a:pt x="725" y="948"/>
                </a:cubicBezTo>
                <a:cubicBezTo>
                  <a:pt x="723" y="950"/>
                  <a:pt x="723" y="950"/>
                  <a:pt x="723" y="950"/>
                </a:cubicBezTo>
                <a:cubicBezTo>
                  <a:pt x="723" y="951"/>
                  <a:pt x="723" y="951"/>
                  <a:pt x="723" y="951"/>
                </a:cubicBezTo>
                <a:cubicBezTo>
                  <a:pt x="724" y="954"/>
                  <a:pt x="724" y="954"/>
                  <a:pt x="724" y="954"/>
                </a:cubicBezTo>
                <a:cubicBezTo>
                  <a:pt x="726" y="957"/>
                  <a:pt x="726" y="957"/>
                  <a:pt x="726" y="957"/>
                </a:cubicBezTo>
                <a:cubicBezTo>
                  <a:pt x="728" y="959"/>
                  <a:pt x="728" y="959"/>
                  <a:pt x="728" y="959"/>
                </a:cubicBezTo>
                <a:cubicBezTo>
                  <a:pt x="728" y="959"/>
                  <a:pt x="728" y="959"/>
                  <a:pt x="728" y="959"/>
                </a:cubicBezTo>
                <a:cubicBezTo>
                  <a:pt x="729" y="962"/>
                  <a:pt x="729" y="962"/>
                  <a:pt x="729" y="962"/>
                </a:cubicBezTo>
                <a:cubicBezTo>
                  <a:pt x="729" y="964"/>
                  <a:pt x="729" y="964"/>
                  <a:pt x="729" y="964"/>
                </a:cubicBezTo>
                <a:cubicBezTo>
                  <a:pt x="731" y="966"/>
                  <a:pt x="731" y="966"/>
                  <a:pt x="731" y="966"/>
                </a:cubicBezTo>
                <a:cubicBezTo>
                  <a:pt x="732" y="966"/>
                  <a:pt x="732" y="966"/>
                  <a:pt x="732" y="966"/>
                </a:cubicBezTo>
                <a:cubicBezTo>
                  <a:pt x="733" y="966"/>
                  <a:pt x="733" y="966"/>
                  <a:pt x="733" y="966"/>
                </a:cubicBezTo>
                <a:cubicBezTo>
                  <a:pt x="733" y="967"/>
                  <a:pt x="733" y="967"/>
                  <a:pt x="733" y="967"/>
                </a:cubicBezTo>
                <a:cubicBezTo>
                  <a:pt x="734" y="969"/>
                  <a:pt x="734" y="969"/>
                  <a:pt x="734" y="969"/>
                </a:cubicBezTo>
                <a:cubicBezTo>
                  <a:pt x="732" y="970"/>
                  <a:pt x="732" y="970"/>
                  <a:pt x="732" y="970"/>
                </a:cubicBezTo>
                <a:cubicBezTo>
                  <a:pt x="732" y="971"/>
                  <a:pt x="732" y="971"/>
                  <a:pt x="732" y="971"/>
                </a:cubicBezTo>
                <a:cubicBezTo>
                  <a:pt x="733" y="972"/>
                  <a:pt x="733" y="972"/>
                  <a:pt x="733" y="972"/>
                </a:cubicBezTo>
                <a:cubicBezTo>
                  <a:pt x="733" y="975"/>
                  <a:pt x="733" y="975"/>
                  <a:pt x="733" y="975"/>
                </a:cubicBezTo>
                <a:cubicBezTo>
                  <a:pt x="732" y="976"/>
                  <a:pt x="732" y="976"/>
                  <a:pt x="732" y="976"/>
                </a:cubicBezTo>
                <a:cubicBezTo>
                  <a:pt x="731" y="978"/>
                  <a:pt x="731" y="978"/>
                  <a:pt x="731" y="978"/>
                </a:cubicBezTo>
                <a:cubicBezTo>
                  <a:pt x="732" y="978"/>
                  <a:pt x="732" y="978"/>
                  <a:pt x="732" y="978"/>
                </a:cubicBezTo>
                <a:cubicBezTo>
                  <a:pt x="733" y="980"/>
                  <a:pt x="733" y="980"/>
                  <a:pt x="733" y="980"/>
                </a:cubicBezTo>
                <a:cubicBezTo>
                  <a:pt x="733" y="983"/>
                  <a:pt x="733" y="983"/>
                  <a:pt x="733" y="983"/>
                </a:cubicBezTo>
                <a:cubicBezTo>
                  <a:pt x="733" y="988"/>
                  <a:pt x="733" y="988"/>
                  <a:pt x="733" y="988"/>
                </a:cubicBezTo>
                <a:cubicBezTo>
                  <a:pt x="731" y="990"/>
                  <a:pt x="731" y="990"/>
                  <a:pt x="731" y="990"/>
                </a:cubicBezTo>
                <a:cubicBezTo>
                  <a:pt x="731" y="991"/>
                  <a:pt x="731" y="991"/>
                  <a:pt x="731" y="991"/>
                </a:cubicBezTo>
                <a:cubicBezTo>
                  <a:pt x="732" y="993"/>
                  <a:pt x="732" y="993"/>
                  <a:pt x="732" y="993"/>
                </a:cubicBezTo>
                <a:cubicBezTo>
                  <a:pt x="734" y="992"/>
                  <a:pt x="734" y="992"/>
                  <a:pt x="734" y="992"/>
                </a:cubicBezTo>
                <a:cubicBezTo>
                  <a:pt x="734" y="993"/>
                  <a:pt x="734" y="993"/>
                  <a:pt x="734" y="993"/>
                </a:cubicBezTo>
                <a:cubicBezTo>
                  <a:pt x="735" y="995"/>
                  <a:pt x="735" y="995"/>
                  <a:pt x="735" y="995"/>
                </a:cubicBezTo>
                <a:cubicBezTo>
                  <a:pt x="736" y="994"/>
                  <a:pt x="736" y="994"/>
                  <a:pt x="736" y="994"/>
                </a:cubicBezTo>
                <a:cubicBezTo>
                  <a:pt x="736" y="995"/>
                  <a:pt x="736" y="995"/>
                  <a:pt x="736" y="995"/>
                </a:cubicBezTo>
                <a:cubicBezTo>
                  <a:pt x="735" y="997"/>
                  <a:pt x="735" y="997"/>
                  <a:pt x="735" y="997"/>
                </a:cubicBezTo>
                <a:cubicBezTo>
                  <a:pt x="734" y="999"/>
                  <a:pt x="734" y="999"/>
                  <a:pt x="734" y="999"/>
                </a:cubicBezTo>
                <a:cubicBezTo>
                  <a:pt x="730" y="1003"/>
                  <a:pt x="730" y="1003"/>
                  <a:pt x="730" y="1003"/>
                </a:cubicBezTo>
                <a:cubicBezTo>
                  <a:pt x="729" y="1005"/>
                  <a:pt x="729" y="1005"/>
                  <a:pt x="729" y="1005"/>
                </a:cubicBezTo>
                <a:cubicBezTo>
                  <a:pt x="727" y="1008"/>
                  <a:pt x="727" y="1008"/>
                  <a:pt x="727" y="1008"/>
                </a:cubicBezTo>
                <a:cubicBezTo>
                  <a:pt x="723" y="1009"/>
                  <a:pt x="723" y="1009"/>
                  <a:pt x="723" y="1009"/>
                </a:cubicBezTo>
                <a:cubicBezTo>
                  <a:pt x="720" y="1011"/>
                  <a:pt x="720" y="1011"/>
                  <a:pt x="720" y="1011"/>
                </a:cubicBezTo>
                <a:cubicBezTo>
                  <a:pt x="717" y="1015"/>
                  <a:pt x="717" y="1015"/>
                  <a:pt x="717" y="1015"/>
                </a:cubicBezTo>
                <a:cubicBezTo>
                  <a:pt x="717" y="1018"/>
                  <a:pt x="717" y="1018"/>
                  <a:pt x="717" y="1018"/>
                </a:cubicBezTo>
                <a:cubicBezTo>
                  <a:pt x="716" y="1020"/>
                  <a:pt x="716" y="1020"/>
                  <a:pt x="716" y="1020"/>
                </a:cubicBezTo>
                <a:cubicBezTo>
                  <a:pt x="716" y="1023"/>
                  <a:pt x="716" y="1023"/>
                  <a:pt x="716" y="1023"/>
                </a:cubicBezTo>
                <a:cubicBezTo>
                  <a:pt x="713" y="1023"/>
                  <a:pt x="713" y="1023"/>
                  <a:pt x="713" y="1023"/>
                </a:cubicBezTo>
                <a:cubicBezTo>
                  <a:pt x="708" y="1026"/>
                  <a:pt x="708" y="1026"/>
                  <a:pt x="708" y="1026"/>
                </a:cubicBezTo>
                <a:cubicBezTo>
                  <a:pt x="705" y="1026"/>
                  <a:pt x="705" y="1026"/>
                  <a:pt x="705" y="1026"/>
                </a:cubicBezTo>
                <a:cubicBezTo>
                  <a:pt x="703" y="1027"/>
                  <a:pt x="703" y="1027"/>
                  <a:pt x="703" y="1027"/>
                </a:cubicBezTo>
                <a:cubicBezTo>
                  <a:pt x="704" y="1030"/>
                  <a:pt x="704" y="1030"/>
                  <a:pt x="704" y="1030"/>
                </a:cubicBezTo>
                <a:cubicBezTo>
                  <a:pt x="704" y="1031"/>
                  <a:pt x="704" y="1031"/>
                  <a:pt x="704" y="1031"/>
                </a:cubicBezTo>
                <a:cubicBezTo>
                  <a:pt x="705" y="1033"/>
                  <a:pt x="705" y="1033"/>
                  <a:pt x="705" y="1033"/>
                </a:cubicBezTo>
                <a:cubicBezTo>
                  <a:pt x="705" y="1036"/>
                  <a:pt x="705" y="1036"/>
                  <a:pt x="705" y="1036"/>
                </a:cubicBezTo>
                <a:cubicBezTo>
                  <a:pt x="701" y="1040"/>
                  <a:pt x="701" y="1040"/>
                  <a:pt x="701" y="1040"/>
                </a:cubicBezTo>
                <a:cubicBezTo>
                  <a:pt x="700" y="1041"/>
                  <a:pt x="700" y="1041"/>
                  <a:pt x="700" y="1041"/>
                </a:cubicBezTo>
                <a:cubicBezTo>
                  <a:pt x="701" y="1043"/>
                  <a:pt x="701" y="1043"/>
                  <a:pt x="701" y="1043"/>
                </a:cubicBezTo>
                <a:cubicBezTo>
                  <a:pt x="699" y="1045"/>
                  <a:pt x="699" y="1045"/>
                  <a:pt x="699" y="1045"/>
                </a:cubicBezTo>
                <a:cubicBezTo>
                  <a:pt x="697" y="1046"/>
                  <a:pt x="697" y="1046"/>
                  <a:pt x="697" y="1046"/>
                </a:cubicBezTo>
                <a:cubicBezTo>
                  <a:pt x="695" y="1048"/>
                  <a:pt x="695" y="1048"/>
                  <a:pt x="695" y="1048"/>
                </a:cubicBezTo>
                <a:cubicBezTo>
                  <a:pt x="696" y="1050"/>
                  <a:pt x="696" y="1050"/>
                  <a:pt x="696" y="1050"/>
                </a:cubicBezTo>
                <a:cubicBezTo>
                  <a:pt x="697" y="1052"/>
                  <a:pt x="697" y="1052"/>
                  <a:pt x="697" y="1052"/>
                </a:cubicBezTo>
                <a:cubicBezTo>
                  <a:pt x="697" y="1053"/>
                  <a:pt x="697" y="1053"/>
                  <a:pt x="697" y="1053"/>
                </a:cubicBezTo>
                <a:cubicBezTo>
                  <a:pt x="697" y="1056"/>
                  <a:pt x="697" y="1056"/>
                  <a:pt x="697" y="1056"/>
                </a:cubicBezTo>
                <a:cubicBezTo>
                  <a:pt x="696" y="1058"/>
                  <a:pt x="696" y="1058"/>
                  <a:pt x="696" y="1058"/>
                </a:cubicBezTo>
                <a:cubicBezTo>
                  <a:pt x="695" y="1059"/>
                  <a:pt x="695" y="1059"/>
                  <a:pt x="695" y="1059"/>
                </a:cubicBezTo>
                <a:cubicBezTo>
                  <a:pt x="696" y="1061"/>
                  <a:pt x="696" y="1061"/>
                  <a:pt x="696" y="1061"/>
                </a:cubicBezTo>
                <a:cubicBezTo>
                  <a:pt x="698" y="1062"/>
                  <a:pt x="698" y="1062"/>
                  <a:pt x="698" y="1062"/>
                </a:cubicBezTo>
                <a:cubicBezTo>
                  <a:pt x="700" y="1064"/>
                  <a:pt x="700" y="1064"/>
                  <a:pt x="700" y="1064"/>
                </a:cubicBezTo>
                <a:cubicBezTo>
                  <a:pt x="702" y="1065"/>
                  <a:pt x="702" y="1065"/>
                  <a:pt x="702" y="1065"/>
                </a:cubicBezTo>
                <a:cubicBezTo>
                  <a:pt x="703" y="1064"/>
                  <a:pt x="703" y="1064"/>
                  <a:pt x="703" y="1064"/>
                </a:cubicBezTo>
                <a:cubicBezTo>
                  <a:pt x="704" y="1062"/>
                  <a:pt x="704" y="1062"/>
                  <a:pt x="704" y="1062"/>
                </a:cubicBezTo>
                <a:cubicBezTo>
                  <a:pt x="704" y="1061"/>
                  <a:pt x="704" y="1061"/>
                  <a:pt x="704" y="1061"/>
                </a:cubicBezTo>
                <a:cubicBezTo>
                  <a:pt x="706" y="1059"/>
                  <a:pt x="706" y="1059"/>
                  <a:pt x="706" y="1059"/>
                </a:cubicBezTo>
                <a:cubicBezTo>
                  <a:pt x="706" y="1061"/>
                  <a:pt x="706" y="1061"/>
                  <a:pt x="706" y="1061"/>
                </a:cubicBezTo>
                <a:cubicBezTo>
                  <a:pt x="706" y="1062"/>
                  <a:pt x="706" y="1062"/>
                  <a:pt x="706" y="1062"/>
                </a:cubicBezTo>
                <a:cubicBezTo>
                  <a:pt x="707" y="1061"/>
                  <a:pt x="707" y="1061"/>
                  <a:pt x="707" y="1061"/>
                </a:cubicBezTo>
                <a:cubicBezTo>
                  <a:pt x="706" y="1060"/>
                  <a:pt x="706" y="1060"/>
                  <a:pt x="706" y="1060"/>
                </a:cubicBezTo>
                <a:cubicBezTo>
                  <a:pt x="707" y="1060"/>
                  <a:pt x="707" y="1060"/>
                  <a:pt x="707" y="1060"/>
                </a:cubicBezTo>
                <a:cubicBezTo>
                  <a:pt x="708" y="1063"/>
                  <a:pt x="708" y="1063"/>
                  <a:pt x="708" y="1063"/>
                </a:cubicBezTo>
                <a:cubicBezTo>
                  <a:pt x="707" y="1065"/>
                  <a:pt x="707" y="1065"/>
                  <a:pt x="707" y="1065"/>
                </a:cubicBezTo>
                <a:cubicBezTo>
                  <a:pt x="707" y="1067"/>
                  <a:pt x="707" y="1067"/>
                  <a:pt x="707" y="1067"/>
                </a:cubicBezTo>
                <a:cubicBezTo>
                  <a:pt x="706" y="1070"/>
                  <a:pt x="706" y="1070"/>
                  <a:pt x="706" y="1070"/>
                </a:cubicBezTo>
                <a:cubicBezTo>
                  <a:pt x="704" y="1072"/>
                  <a:pt x="704" y="1072"/>
                  <a:pt x="704" y="1072"/>
                </a:cubicBezTo>
                <a:cubicBezTo>
                  <a:pt x="704" y="1072"/>
                  <a:pt x="704" y="1072"/>
                  <a:pt x="704" y="1072"/>
                </a:cubicBezTo>
                <a:cubicBezTo>
                  <a:pt x="699" y="1074"/>
                  <a:pt x="699" y="1074"/>
                  <a:pt x="699" y="1074"/>
                </a:cubicBezTo>
                <a:cubicBezTo>
                  <a:pt x="697" y="1076"/>
                  <a:pt x="697" y="1076"/>
                  <a:pt x="697" y="1076"/>
                </a:cubicBezTo>
                <a:cubicBezTo>
                  <a:pt x="693" y="1079"/>
                  <a:pt x="693" y="1079"/>
                  <a:pt x="693" y="1079"/>
                </a:cubicBezTo>
                <a:cubicBezTo>
                  <a:pt x="693" y="1082"/>
                  <a:pt x="693" y="1082"/>
                  <a:pt x="693" y="1082"/>
                </a:cubicBezTo>
                <a:cubicBezTo>
                  <a:pt x="692" y="1084"/>
                  <a:pt x="692" y="1084"/>
                  <a:pt x="692" y="1084"/>
                </a:cubicBezTo>
                <a:cubicBezTo>
                  <a:pt x="692" y="1085"/>
                  <a:pt x="692" y="1085"/>
                  <a:pt x="692" y="1085"/>
                </a:cubicBezTo>
                <a:cubicBezTo>
                  <a:pt x="694" y="1086"/>
                  <a:pt x="694" y="1086"/>
                  <a:pt x="694" y="1086"/>
                </a:cubicBezTo>
                <a:cubicBezTo>
                  <a:pt x="694" y="1087"/>
                  <a:pt x="694" y="1087"/>
                  <a:pt x="694" y="1087"/>
                </a:cubicBezTo>
                <a:cubicBezTo>
                  <a:pt x="693" y="1088"/>
                  <a:pt x="693" y="1088"/>
                  <a:pt x="693" y="1088"/>
                </a:cubicBezTo>
                <a:cubicBezTo>
                  <a:pt x="693" y="1089"/>
                  <a:pt x="693" y="1089"/>
                  <a:pt x="693" y="1089"/>
                </a:cubicBezTo>
                <a:cubicBezTo>
                  <a:pt x="695" y="1091"/>
                  <a:pt x="695" y="1091"/>
                  <a:pt x="695" y="1091"/>
                </a:cubicBezTo>
                <a:cubicBezTo>
                  <a:pt x="696" y="1094"/>
                  <a:pt x="696" y="1094"/>
                  <a:pt x="696" y="1094"/>
                </a:cubicBezTo>
                <a:cubicBezTo>
                  <a:pt x="696" y="1096"/>
                  <a:pt x="696" y="1096"/>
                  <a:pt x="696" y="1096"/>
                </a:cubicBezTo>
                <a:cubicBezTo>
                  <a:pt x="694" y="1096"/>
                  <a:pt x="694" y="1096"/>
                  <a:pt x="694" y="1096"/>
                </a:cubicBezTo>
                <a:cubicBezTo>
                  <a:pt x="693" y="1097"/>
                  <a:pt x="693" y="1097"/>
                  <a:pt x="693" y="1097"/>
                </a:cubicBezTo>
                <a:cubicBezTo>
                  <a:pt x="692" y="1098"/>
                  <a:pt x="692" y="1098"/>
                  <a:pt x="692" y="1098"/>
                </a:cubicBezTo>
                <a:cubicBezTo>
                  <a:pt x="694" y="1100"/>
                  <a:pt x="694" y="1100"/>
                  <a:pt x="694" y="1100"/>
                </a:cubicBezTo>
                <a:cubicBezTo>
                  <a:pt x="696" y="1101"/>
                  <a:pt x="696" y="1101"/>
                  <a:pt x="696" y="1101"/>
                </a:cubicBezTo>
                <a:cubicBezTo>
                  <a:pt x="699" y="1103"/>
                  <a:pt x="699" y="1103"/>
                  <a:pt x="699" y="1103"/>
                </a:cubicBezTo>
                <a:cubicBezTo>
                  <a:pt x="702" y="1104"/>
                  <a:pt x="702" y="1104"/>
                  <a:pt x="702" y="1104"/>
                </a:cubicBezTo>
                <a:cubicBezTo>
                  <a:pt x="706" y="1106"/>
                  <a:pt x="706" y="1106"/>
                  <a:pt x="706" y="1106"/>
                </a:cubicBezTo>
                <a:cubicBezTo>
                  <a:pt x="708" y="1107"/>
                  <a:pt x="708" y="1107"/>
                  <a:pt x="708" y="1107"/>
                </a:cubicBezTo>
                <a:cubicBezTo>
                  <a:pt x="708" y="1109"/>
                  <a:pt x="708" y="1109"/>
                  <a:pt x="708" y="1109"/>
                </a:cubicBezTo>
                <a:cubicBezTo>
                  <a:pt x="711" y="1112"/>
                  <a:pt x="711" y="1112"/>
                  <a:pt x="711" y="1112"/>
                </a:cubicBezTo>
                <a:cubicBezTo>
                  <a:pt x="711" y="1115"/>
                  <a:pt x="711" y="1115"/>
                  <a:pt x="711" y="1115"/>
                </a:cubicBezTo>
                <a:cubicBezTo>
                  <a:pt x="712" y="1117"/>
                  <a:pt x="712" y="1117"/>
                  <a:pt x="712" y="1117"/>
                </a:cubicBezTo>
                <a:cubicBezTo>
                  <a:pt x="716" y="1119"/>
                  <a:pt x="716" y="1119"/>
                  <a:pt x="716" y="1119"/>
                </a:cubicBezTo>
                <a:cubicBezTo>
                  <a:pt x="718" y="1122"/>
                  <a:pt x="718" y="1122"/>
                  <a:pt x="718" y="1122"/>
                </a:cubicBezTo>
                <a:cubicBezTo>
                  <a:pt x="719" y="1125"/>
                  <a:pt x="719" y="1125"/>
                  <a:pt x="719" y="1125"/>
                </a:cubicBezTo>
                <a:cubicBezTo>
                  <a:pt x="720" y="1127"/>
                  <a:pt x="720" y="1127"/>
                  <a:pt x="720" y="1127"/>
                </a:cubicBezTo>
                <a:cubicBezTo>
                  <a:pt x="720" y="1130"/>
                  <a:pt x="720" y="1130"/>
                  <a:pt x="720" y="1130"/>
                </a:cubicBezTo>
                <a:cubicBezTo>
                  <a:pt x="722" y="1132"/>
                  <a:pt x="722" y="1132"/>
                  <a:pt x="722" y="1132"/>
                </a:cubicBezTo>
                <a:cubicBezTo>
                  <a:pt x="723" y="1133"/>
                  <a:pt x="723" y="1133"/>
                  <a:pt x="723" y="1133"/>
                </a:cubicBezTo>
                <a:cubicBezTo>
                  <a:pt x="725" y="1136"/>
                  <a:pt x="725" y="1136"/>
                  <a:pt x="725" y="1136"/>
                </a:cubicBezTo>
                <a:cubicBezTo>
                  <a:pt x="725" y="1139"/>
                  <a:pt x="725" y="1139"/>
                  <a:pt x="725" y="1139"/>
                </a:cubicBezTo>
                <a:cubicBezTo>
                  <a:pt x="725" y="1140"/>
                  <a:pt x="725" y="1140"/>
                  <a:pt x="725" y="1140"/>
                </a:cubicBezTo>
                <a:cubicBezTo>
                  <a:pt x="726" y="1143"/>
                  <a:pt x="726" y="1143"/>
                  <a:pt x="726" y="1143"/>
                </a:cubicBezTo>
                <a:cubicBezTo>
                  <a:pt x="730" y="1147"/>
                  <a:pt x="730" y="1147"/>
                  <a:pt x="730" y="1147"/>
                </a:cubicBezTo>
                <a:cubicBezTo>
                  <a:pt x="731" y="1149"/>
                  <a:pt x="731" y="1149"/>
                  <a:pt x="731" y="1149"/>
                </a:cubicBezTo>
                <a:cubicBezTo>
                  <a:pt x="730" y="1151"/>
                  <a:pt x="730" y="1151"/>
                  <a:pt x="730" y="1151"/>
                </a:cubicBezTo>
                <a:cubicBezTo>
                  <a:pt x="731" y="1152"/>
                  <a:pt x="731" y="1152"/>
                  <a:pt x="731" y="1152"/>
                </a:cubicBezTo>
                <a:cubicBezTo>
                  <a:pt x="732" y="1153"/>
                  <a:pt x="732" y="1153"/>
                  <a:pt x="732" y="1153"/>
                </a:cubicBezTo>
                <a:cubicBezTo>
                  <a:pt x="735" y="1156"/>
                  <a:pt x="735" y="1156"/>
                  <a:pt x="735" y="1156"/>
                </a:cubicBezTo>
                <a:cubicBezTo>
                  <a:pt x="736" y="1158"/>
                  <a:pt x="736" y="1158"/>
                  <a:pt x="736" y="1158"/>
                </a:cubicBezTo>
                <a:cubicBezTo>
                  <a:pt x="737" y="1160"/>
                  <a:pt x="737" y="1160"/>
                  <a:pt x="737" y="1160"/>
                </a:cubicBezTo>
                <a:cubicBezTo>
                  <a:pt x="738" y="1162"/>
                  <a:pt x="738" y="1162"/>
                  <a:pt x="738" y="1162"/>
                </a:cubicBezTo>
                <a:cubicBezTo>
                  <a:pt x="740" y="1163"/>
                  <a:pt x="740" y="1163"/>
                  <a:pt x="740" y="1163"/>
                </a:cubicBezTo>
                <a:cubicBezTo>
                  <a:pt x="741" y="1165"/>
                  <a:pt x="741" y="1165"/>
                  <a:pt x="741" y="1165"/>
                </a:cubicBezTo>
                <a:cubicBezTo>
                  <a:pt x="744" y="1170"/>
                  <a:pt x="744" y="1170"/>
                  <a:pt x="744" y="1170"/>
                </a:cubicBezTo>
                <a:cubicBezTo>
                  <a:pt x="744" y="1172"/>
                  <a:pt x="744" y="1172"/>
                  <a:pt x="744" y="1172"/>
                </a:cubicBezTo>
                <a:cubicBezTo>
                  <a:pt x="748" y="1177"/>
                  <a:pt x="748" y="1177"/>
                  <a:pt x="748" y="1177"/>
                </a:cubicBezTo>
                <a:cubicBezTo>
                  <a:pt x="748" y="1179"/>
                  <a:pt x="748" y="1179"/>
                  <a:pt x="748" y="1179"/>
                </a:cubicBezTo>
                <a:cubicBezTo>
                  <a:pt x="747" y="1179"/>
                  <a:pt x="747" y="1179"/>
                  <a:pt x="747" y="1179"/>
                </a:cubicBezTo>
                <a:cubicBezTo>
                  <a:pt x="746" y="1178"/>
                  <a:pt x="746" y="1178"/>
                  <a:pt x="746" y="1178"/>
                </a:cubicBezTo>
                <a:cubicBezTo>
                  <a:pt x="746" y="1179"/>
                  <a:pt x="746" y="1179"/>
                  <a:pt x="746" y="1179"/>
                </a:cubicBezTo>
                <a:cubicBezTo>
                  <a:pt x="746" y="1181"/>
                  <a:pt x="746" y="1181"/>
                  <a:pt x="746" y="1181"/>
                </a:cubicBezTo>
                <a:cubicBezTo>
                  <a:pt x="746" y="1183"/>
                  <a:pt x="746" y="1183"/>
                  <a:pt x="746" y="1183"/>
                </a:cubicBezTo>
                <a:cubicBezTo>
                  <a:pt x="747" y="1182"/>
                  <a:pt x="747" y="1182"/>
                  <a:pt x="747" y="1182"/>
                </a:cubicBezTo>
                <a:cubicBezTo>
                  <a:pt x="749" y="1183"/>
                  <a:pt x="749" y="1183"/>
                  <a:pt x="749" y="1183"/>
                </a:cubicBezTo>
                <a:cubicBezTo>
                  <a:pt x="749" y="1185"/>
                  <a:pt x="749" y="1185"/>
                  <a:pt x="749" y="1185"/>
                </a:cubicBezTo>
                <a:cubicBezTo>
                  <a:pt x="749" y="1186"/>
                  <a:pt x="749" y="1186"/>
                  <a:pt x="749" y="1186"/>
                </a:cubicBezTo>
                <a:cubicBezTo>
                  <a:pt x="752" y="1188"/>
                  <a:pt x="752" y="1188"/>
                  <a:pt x="752" y="1188"/>
                </a:cubicBezTo>
                <a:cubicBezTo>
                  <a:pt x="755" y="1189"/>
                  <a:pt x="755" y="1189"/>
                  <a:pt x="755" y="1189"/>
                </a:cubicBezTo>
                <a:cubicBezTo>
                  <a:pt x="755" y="1191"/>
                  <a:pt x="755" y="1191"/>
                  <a:pt x="755" y="1191"/>
                </a:cubicBezTo>
                <a:cubicBezTo>
                  <a:pt x="757" y="1193"/>
                  <a:pt x="757" y="1193"/>
                  <a:pt x="757" y="1193"/>
                </a:cubicBezTo>
                <a:cubicBezTo>
                  <a:pt x="759" y="1193"/>
                  <a:pt x="759" y="1193"/>
                  <a:pt x="759" y="1193"/>
                </a:cubicBezTo>
                <a:cubicBezTo>
                  <a:pt x="759" y="1194"/>
                  <a:pt x="759" y="1194"/>
                  <a:pt x="759" y="1194"/>
                </a:cubicBezTo>
                <a:cubicBezTo>
                  <a:pt x="760" y="1196"/>
                  <a:pt x="760" y="1196"/>
                  <a:pt x="760" y="1196"/>
                </a:cubicBezTo>
                <a:cubicBezTo>
                  <a:pt x="761" y="1196"/>
                  <a:pt x="761" y="1196"/>
                  <a:pt x="761" y="1196"/>
                </a:cubicBezTo>
                <a:cubicBezTo>
                  <a:pt x="765" y="1196"/>
                  <a:pt x="765" y="1196"/>
                  <a:pt x="765" y="1196"/>
                </a:cubicBezTo>
                <a:cubicBezTo>
                  <a:pt x="766" y="1195"/>
                  <a:pt x="766" y="1195"/>
                  <a:pt x="766" y="1195"/>
                </a:cubicBezTo>
                <a:cubicBezTo>
                  <a:pt x="765" y="1197"/>
                  <a:pt x="765" y="1197"/>
                  <a:pt x="765" y="1197"/>
                </a:cubicBezTo>
                <a:cubicBezTo>
                  <a:pt x="767" y="1199"/>
                  <a:pt x="767" y="1199"/>
                  <a:pt x="767" y="1199"/>
                </a:cubicBezTo>
                <a:cubicBezTo>
                  <a:pt x="770" y="1201"/>
                  <a:pt x="770" y="1201"/>
                  <a:pt x="770" y="1201"/>
                </a:cubicBezTo>
                <a:cubicBezTo>
                  <a:pt x="771" y="1202"/>
                  <a:pt x="771" y="1202"/>
                  <a:pt x="771" y="1202"/>
                </a:cubicBezTo>
                <a:cubicBezTo>
                  <a:pt x="772" y="1203"/>
                  <a:pt x="772" y="1203"/>
                  <a:pt x="772" y="1203"/>
                </a:cubicBezTo>
                <a:cubicBezTo>
                  <a:pt x="773" y="1204"/>
                  <a:pt x="773" y="1204"/>
                  <a:pt x="773" y="1204"/>
                </a:cubicBezTo>
                <a:cubicBezTo>
                  <a:pt x="776" y="1205"/>
                  <a:pt x="776" y="1205"/>
                  <a:pt x="776" y="1205"/>
                </a:cubicBezTo>
                <a:cubicBezTo>
                  <a:pt x="777" y="1205"/>
                  <a:pt x="777" y="1205"/>
                  <a:pt x="777" y="1205"/>
                </a:cubicBezTo>
                <a:cubicBezTo>
                  <a:pt x="778" y="1205"/>
                  <a:pt x="778" y="1205"/>
                  <a:pt x="778" y="1205"/>
                </a:cubicBezTo>
                <a:cubicBezTo>
                  <a:pt x="782" y="1208"/>
                  <a:pt x="782" y="1208"/>
                  <a:pt x="782" y="1208"/>
                </a:cubicBezTo>
                <a:cubicBezTo>
                  <a:pt x="785" y="1209"/>
                  <a:pt x="785" y="1209"/>
                  <a:pt x="785" y="1209"/>
                </a:cubicBezTo>
                <a:cubicBezTo>
                  <a:pt x="787" y="1209"/>
                  <a:pt x="787" y="1209"/>
                  <a:pt x="787" y="1209"/>
                </a:cubicBezTo>
                <a:cubicBezTo>
                  <a:pt x="788" y="1209"/>
                  <a:pt x="788" y="1209"/>
                  <a:pt x="788" y="1209"/>
                </a:cubicBezTo>
                <a:cubicBezTo>
                  <a:pt x="788" y="1211"/>
                  <a:pt x="788" y="1211"/>
                  <a:pt x="788" y="1211"/>
                </a:cubicBezTo>
                <a:cubicBezTo>
                  <a:pt x="791" y="1213"/>
                  <a:pt x="791" y="1213"/>
                  <a:pt x="791" y="1213"/>
                </a:cubicBezTo>
                <a:cubicBezTo>
                  <a:pt x="792" y="1214"/>
                  <a:pt x="792" y="1214"/>
                  <a:pt x="792" y="1214"/>
                </a:cubicBezTo>
                <a:cubicBezTo>
                  <a:pt x="795" y="1216"/>
                  <a:pt x="795" y="1216"/>
                  <a:pt x="795" y="1216"/>
                </a:cubicBezTo>
                <a:cubicBezTo>
                  <a:pt x="796" y="1216"/>
                  <a:pt x="796" y="1216"/>
                  <a:pt x="796" y="1216"/>
                </a:cubicBezTo>
                <a:cubicBezTo>
                  <a:pt x="797" y="1218"/>
                  <a:pt x="797" y="1218"/>
                  <a:pt x="797" y="1218"/>
                </a:cubicBezTo>
                <a:cubicBezTo>
                  <a:pt x="797" y="1219"/>
                  <a:pt x="797" y="1219"/>
                  <a:pt x="797" y="1219"/>
                </a:cubicBezTo>
                <a:cubicBezTo>
                  <a:pt x="797" y="1220"/>
                  <a:pt x="797" y="1220"/>
                  <a:pt x="797" y="1220"/>
                </a:cubicBezTo>
                <a:cubicBezTo>
                  <a:pt x="799" y="1221"/>
                  <a:pt x="799" y="1221"/>
                  <a:pt x="799" y="1221"/>
                </a:cubicBezTo>
                <a:cubicBezTo>
                  <a:pt x="801" y="1222"/>
                  <a:pt x="801" y="1222"/>
                  <a:pt x="801" y="1222"/>
                </a:cubicBezTo>
                <a:cubicBezTo>
                  <a:pt x="804" y="1224"/>
                  <a:pt x="804" y="1224"/>
                  <a:pt x="804" y="1224"/>
                </a:cubicBezTo>
                <a:cubicBezTo>
                  <a:pt x="807" y="1227"/>
                  <a:pt x="807" y="1227"/>
                  <a:pt x="807" y="1227"/>
                </a:cubicBezTo>
                <a:cubicBezTo>
                  <a:pt x="808" y="1227"/>
                  <a:pt x="808" y="1227"/>
                  <a:pt x="808" y="1227"/>
                </a:cubicBezTo>
                <a:cubicBezTo>
                  <a:pt x="809" y="1228"/>
                  <a:pt x="809" y="1228"/>
                  <a:pt x="809" y="1228"/>
                </a:cubicBezTo>
                <a:cubicBezTo>
                  <a:pt x="810" y="1229"/>
                  <a:pt x="810" y="1229"/>
                  <a:pt x="810" y="1229"/>
                </a:cubicBezTo>
                <a:cubicBezTo>
                  <a:pt x="810" y="1231"/>
                  <a:pt x="810" y="1231"/>
                  <a:pt x="810" y="1231"/>
                </a:cubicBezTo>
                <a:cubicBezTo>
                  <a:pt x="809" y="1234"/>
                  <a:pt x="809" y="1234"/>
                  <a:pt x="809" y="1234"/>
                </a:cubicBezTo>
                <a:cubicBezTo>
                  <a:pt x="810" y="1236"/>
                  <a:pt x="810" y="1236"/>
                  <a:pt x="810" y="1236"/>
                </a:cubicBezTo>
                <a:cubicBezTo>
                  <a:pt x="812" y="1244"/>
                  <a:pt x="812" y="1244"/>
                  <a:pt x="812" y="1244"/>
                </a:cubicBezTo>
                <a:cubicBezTo>
                  <a:pt x="812" y="1247"/>
                  <a:pt x="812" y="1247"/>
                  <a:pt x="812" y="1247"/>
                </a:cubicBezTo>
                <a:cubicBezTo>
                  <a:pt x="811" y="1249"/>
                  <a:pt x="811" y="1249"/>
                  <a:pt x="811" y="1249"/>
                </a:cubicBezTo>
                <a:cubicBezTo>
                  <a:pt x="810" y="1250"/>
                  <a:pt x="810" y="1250"/>
                  <a:pt x="810" y="1250"/>
                </a:cubicBezTo>
                <a:cubicBezTo>
                  <a:pt x="811" y="1254"/>
                  <a:pt x="811" y="1254"/>
                  <a:pt x="811" y="1254"/>
                </a:cubicBezTo>
                <a:cubicBezTo>
                  <a:pt x="812" y="1258"/>
                  <a:pt x="812" y="1258"/>
                  <a:pt x="812" y="1258"/>
                </a:cubicBezTo>
                <a:cubicBezTo>
                  <a:pt x="813" y="1261"/>
                  <a:pt x="813" y="1261"/>
                  <a:pt x="813" y="1261"/>
                </a:cubicBezTo>
                <a:cubicBezTo>
                  <a:pt x="813" y="1266"/>
                  <a:pt x="813" y="1266"/>
                  <a:pt x="813" y="1266"/>
                </a:cubicBezTo>
                <a:cubicBezTo>
                  <a:pt x="813" y="1268"/>
                  <a:pt x="813" y="1268"/>
                  <a:pt x="813" y="1268"/>
                </a:cubicBezTo>
                <a:cubicBezTo>
                  <a:pt x="812" y="1269"/>
                  <a:pt x="812" y="1269"/>
                  <a:pt x="812" y="1269"/>
                </a:cubicBezTo>
                <a:cubicBezTo>
                  <a:pt x="813" y="1276"/>
                  <a:pt x="813" y="1276"/>
                  <a:pt x="813" y="1276"/>
                </a:cubicBezTo>
                <a:cubicBezTo>
                  <a:pt x="813" y="1277"/>
                  <a:pt x="813" y="1277"/>
                  <a:pt x="813" y="1277"/>
                </a:cubicBezTo>
                <a:cubicBezTo>
                  <a:pt x="811" y="1278"/>
                  <a:pt x="811" y="1278"/>
                  <a:pt x="811" y="1278"/>
                </a:cubicBezTo>
                <a:cubicBezTo>
                  <a:pt x="810" y="1279"/>
                  <a:pt x="810" y="1279"/>
                  <a:pt x="810" y="1279"/>
                </a:cubicBezTo>
                <a:cubicBezTo>
                  <a:pt x="810" y="1283"/>
                  <a:pt x="810" y="1283"/>
                  <a:pt x="810" y="1283"/>
                </a:cubicBezTo>
                <a:cubicBezTo>
                  <a:pt x="811" y="1284"/>
                  <a:pt x="811" y="1284"/>
                  <a:pt x="811" y="1284"/>
                </a:cubicBezTo>
                <a:cubicBezTo>
                  <a:pt x="812" y="1283"/>
                  <a:pt x="812" y="1283"/>
                  <a:pt x="812" y="1283"/>
                </a:cubicBezTo>
                <a:cubicBezTo>
                  <a:pt x="813" y="1284"/>
                  <a:pt x="813" y="1284"/>
                  <a:pt x="813" y="1284"/>
                </a:cubicBezTo>
                <a:cubicBezTo>
                  <a:pt x="812" y="1285"/>
                  <a:pt x="812" y="1285"/>
                  <a:pt x="812" y="1285"/>
                </a:cubicBezTo>
                <a:cubicBezTo>
                  <a:pt x="812" y="1296"/>
                  <a:pt x="812" y="1296"/>
                  <a:pt x="812" y="1296"/>
                </a:cubicBezTo>
                <a:cubicBezTo>
                  <a:pt x="813" y="1300"/>
                  <a:pt x="813" y="1300"/>
                  <a:pt x="813" y="1300"/>
                </a:cubicBezTo>
                <a:cubicBezTo>
                  <a:pt x="813" y="1303"/>
                  <a:pt x="813" y="1303"/>
                  <a:pt x="813" y="1303"/>
                </a:cubicBezTo>
                <a:cubicBezTo>
                  <a:pt x="813" y="1306"/>
                  <a:pt x="813" y="1306"/>
                  <a:pt x="813" y="1306"/>
                </a:cubicBezTo>
                <a:cubicBezTo>
                  <a:pt x="811" y="1308"/>
                  <a:pt x="811" y="1308"/>
                  <a:pt x="811" y="1308"/>
                </a:cubicBezTo>
                <a:cubicBezTo>
                  <a:pt x="811" y="1311"/>
                  <a:pt x="811" y="1311"/>
                  <a:pt x="811" y="1311"/>
                </a:cubicBezTo>
                <a:cubicBezTo>
                  <a:pt x="813" y="1314"/>
                  <a:pt x="813" y="1314"/>
                  <a:pt x="813" y="1314"/>
                </a:cubicBezTo>
                <a:cubicBezTo>
                  <a:pt x="813" y="1316"/>
                  <a:pt x="813" y="1316"/>
                  <a:pt x="813" y="1316"/>
                </a:cubicBezTo>
                <a:cubicBezTo>
                  <a:pt x="813" y="1322"/>
                  <a:pt x="813" y="1322"/>
                  <a:pt x="813" y="1322"/>
                </a:cubicBezTo>
                <a:cubicBezTo>
                  <a:pt x="811" y="1323"/>
                  <a:pt x="811" y="1323"/>
                  <a:pt x="811" y="1323"/>
                </a:cubicBezTo>
                <a:cubicBezTo>
                  <a:pt x="811" y="1326"/>
                  <a:pt x="811" y="1326"/>
                  <a:pt x="811" y="1326"/>
                </a:cubicBezTo>
                <a:cubicBezTo>
                  <a:pt x="812" y="1328"/>
                  <a:pt x="812" y="1328"/>
                  <a:pt x="812" y="1328"/>
                </a:cubicBezTo>
                <a:cubicBezTo>
                  <a:pt x="812" y="1329"/>
                  <a:pt x="812" y="1329"/>
                  <a:pt x="812" y="1329"/>
                </a:cubicBezTo>
                <a:cubicBezTo>
                  <a:pt x="810" y="1331"/>
                  <a:pt x="810" y="1331"/>
                  <a:pt x="810" y="1331"/>
                </a:cubicBezTo>
                <a:cubicBezTo>
                  <a:pt x="810" y="1334"/>
                  <a:pt x="810" y="1334"/>
                  <a:pt x="810" y="1334"/>
                </a:cubicBezTo>
                <a:cubicBezTo>
                  <a:pt x="809" y="1336"/>
                  <a:pt x="809" y="1336"/>
                  <a:pt x="809" y="1336"/>
                </a:cubicBezTo>
                <a:cubicBezTo>
                  <a:pt x="810" y="1339"/>
                  <a:pt x="810" y="1339"/>
                  <a:pt x="810" y="1339"/>
                </a:cubicBezTo>
                <a:cubicBezTo>
                  <a:pt x="809" y="1340"/>
                  <a:pt x="809" y="1340"/>
                  <a:pt x="809" y="1340"/>
                </a:cubicBezTo>
                <a:cubicBezTo>
                  <a:pt x="808" y="1344"/>
                  <a:pt x="808" y="1344"/>
                  <a:pt x="808" y="1344"/>
                </a:cubicBezTo>
                <a:cubicBezTo>
                  <a:pt x="808" y="1346"/>
                  <a:pt x="808" y="1346"/>
                  <a:pt x="808" y="1346"/>
                </a:cubicBezTo>
                <a:cubicBezTo>
                  <a:pt x="809" y="1349"/>
                  <a:pt x="809" y="1349"/>
                  <a:pt x="809" y="1349"/>
                </a:cubicBezTo>
                <a:cubicBezTo>
                  <a:pt x="810" y="1352"/>
                  <a:pt x="810" y="1352"/>
                  <a:pt x="810" y="1352"/>
                </a:cubicBezTo>
                <a:cubicBezTo>
                  <a:pt x="811" y="1353"/>
                  <a:pt x="811" y="1353"/>
                  <a:pt x="811" y="1353"/>
                </a:cubicBezTo>
                <a:cubicBezTo>
                  <a:pt x="810" y="1354"/>
                  <a:pt x="810" y="1354"/>
                  <a:pt x="810" y="1354"/>
                </a:cubicBezTo>
                <a:cubicBezTo>
                  <a:pt x="809" y="1357"/>
                  <a:pt x="809" y="1357"/>
                  <a:pt x="809" y="1357"/>
                </a:cubicBezTo>
                <a:cubicBezTo>
                  <a:pt x="810" y="1358"/>
                  <a:pt x="810" y="1358"/>
                  <a:pt x="810" y="1358"/>
                </a:cubicBezTo>
                <a:cubicBezTo>
                  <a:pt x="809" y="1360"/>
                  <a:pt x="809" y="1360"/>
                  <a:pt x="809" y="1360"/>
                </a:cubicBezTo>
                <a:cubicBezTo>
                  <a:pt x="807" y="1361"/>
                  <a:pt x="807" y="1361"/>
                  <a:pt x="807" y="1361"/>
                </a:cubicBezTo>
                <a:cubicBezTo>
                  <a:pt x="807" y="1363"/>
                  <a:pt x="807" y="1363"/>
                  <a:pt x="807" y="1363"/>
                </a:cubicBezTo>
                <a:cubicBezTo>
                  <a:pt x="808" y="1366"/>
                  <a:pt x="808" y="1366"/>
                  <a:pt x="808" y="1366"/>
                </a:cubicBezTo>
                <a:cubicBezTo>
                  <a:pt x="808" y="1368"/>
                  <a:pt x="808" y="1368"/>
                  <a:pt x="808" y="1368"/>
                </a:cubicBezTo>
                <a:cubicBezTo>
                  <a:pt x="810" y="1374"/>
                  <a:pt x="810" y="1374"/>
                  <a:pt x="810" y="1374"/>
                </a:cubicBezTo>
                <a:cubicBezTo>
                  <a:pt x="810" y="1377"/>
                  <a:pt x="810" y="1377"/>
                  <a:pt x="810" y="1377"/>
                </a:cubicBezTo>
                <a:cubicBezTo>
                  <a:pt x="809" y="1378"/>
                  <a:pt x="809" y="1378"/>
                  <a:pt x="809" y="1378"/>
                </a:cubicBezTo>
                <a:cubicBezTo>
                  <a:pt x="809" y="1380"/>
                  <a:pt x="809" y="1380"/>
                  <a:pt x="809" y="1380"/>
                </a:cubicBezTo>
                <a:cubicBezTo>
                  <a:pt x="812" y="1383"/>
                  <a:pt x="812" y="1383"/>
                  <a:pt x="812" y="1383"/>
                </a:cubicBezTo>
                <a:cubicBezTo>
                  <a:pt x="812" y="1387"/>
                  <a:pt x="812" y="1387"/>
                  <a:pt x="812" y="1387"/>
                </a:cubicBezTo>
                <a:cubicBezTo>
                  <a:pt x="811" y="1389"/>
                  <a:pt x="811" y="1389"/>
                  <a:pt x="811" y="1389"/>
                </a:cubicBezTo>
                <a:cubicBezTo>
                  <a:pt x="811" y="1390"/>
                  <a:pt x="811" y="1390"/>
                  <a:pt x="811" y="1390"/>
                </a:cubicBezTo>
                <a:cubicBezTo>
                  <a:pt x="812" y="1392"/>
                  <a:pt x="812" y="1392"/>
                  <a:pt x="812" y="1392"/>
                </a:cubicBezTo>
                <a:cubicBezTo>
                  <a:pt x="811" y="1393"/>
                  <a:pt x="811" y="1393"/>
                  <a:pt x="811" y="1393"/>
                </a:cubicBezTo>
                <a:cubicBezTo>
                  <a:pt x="811" y="1395"/>
                  <a:pt x="811" y="1395"/>
                  <a:pt x="811" y="1395"/>
                </a:cubicBezTo>
                <a:cubicBezTo>
                  <a:pt x="811" y="1396"/>
                  <a:pt x="811" y="1396"/>
                  <a:pt x="811" y="1396"/>
                </a:cubicBezTo>
                <a:cubicBezTo>
                  <a:pt x="814" y="1399"/>
                  <a:pt x="814" y="1399"/>
                  <a:pt x="814" y="1399"/>
                </a:cubicBezTo>
                <a:cubicBezTo>
                  <a:pt x="814" y="1401"/>
                  <a:pt x="814" y="1401"/>
                  <a:pt x="814" y="1401"/>
                </a:cubicBezTo>
                <a:cubicBezTo>
                  <a:pt x="813" y="1403"/>
                  <a:pt x="813" y="1403"/>
                  <a:pt x="813" y="1403"/>
                </a:cubicBezTo>
                <a:cubicBezTo>
                  <a:pt x="811" y="1404"/>
                  <a:pt x="811" y="1404"/>
                  <a:pt x="811" y="1404"/>
                </a:cubicBezTo>
                <a:cubicBezTo>
                  <a:pt x="810" y="1407"/>
                  <a:pt x="810" y="1407"/>
                  <a:pt x="810" y="1407"/>
                </a:cubicBezTo>
                <a:cubicBezTo>
                  <a:pt x="810" y="1408"/>
                  <a:pt x="810" y="1408"/>
                  <a:pt x="810" y="1408"/>
                </a:cubicBezTo>
                <a:cubicBezTo>
                  <a:pt x="811" y="1408"/>
                  <a:pt x="811" y="1408"/>
                  <a:pt x="811" y="1408"/>
                </a:cubicBezTo>
                <a:cubicBezTo>
                  <a:pt x="810" y="1411"/>
                  <a:pt x="810" y="1411"/>
                  <a:pt x="810" y="1411"/>
                </a:cubicBezTo>
                <a:cubicBezTo>
                  <a:pt x="809" y="1412"/>
                  <a:pt x="809" y="1412"/>
                  <a:pt x="809" y="1412"/>
                </a:cubicBezTo>
                <a:cubicBezTo>
                  <a:pt x="809" y="1414"/>
                  <a:pt x="809" y="1414"/>
                  <a:pt x="809" y="1414"/>
                </a:cubicBezTo>
                <a:cubicBezTo>
                  <a:pt x="809" y="1417"/>
                  <a:pt x="809" y="1417"/>
                  <a:pt x="809" y="1417"/>
                </a:cubicBezTo>
                <a:cubicBezTo>
                  <a:pt x="808" y="1419"/>
                  <a:pt x="808" y="1419"/>
                  <a:pt x="808" y="1419"/>
                </a:cubicBezTo>
                <a:cubicBezTo>
                  <a:pt x="808" y="1420"/>
                  <a:pt x="808" y="1420"/>
                  <a:pt x="808" y="1420"/>
                </a:cubicBezTo>
                <a:cubicBezTo>
                  <a:pt x="807" y="1421"/>
                  <a:pt x="807" y="1421"/>
                  <a:pt x="807" y="1421"/>
                </a:cubicBezTo>
                <a:cubicBezTo>
                  <a:pt x="807" y="1424"/>
                  <a:pt x="807" y="1424"/>
                  <a:pt x="807" y="1424"/>
                </a:cubicBezTo>
                <a:cubicBezTo>
                  <a:pt x="806" y="1425"/>
                  <a:pt x="806" y="1425"/>
                  <a:pt x="806" y="1425"/>
                </a:cubicBezTo>
                <a:cubicBezTo>
                  <a:pt x="806" y="1426"/>
                  <a:pt x="806" y="1426"/>
                  <a:pt x="806" y="1426"/>
                </a:cubicBezTo>
                <a:cubicBezTo>
                  <a:pt x="807" y="1427"/>
                  <a:pt x="807" y="1427"/>
                  <a:pt x="807" y="1427"/>
                </a:cubicBezTo>
                <a:cubicBezTo>
                  <a:pt x="806" y="1429"/>
                  <a:pt x="806" y="1429"/>
                  <a:pt x="806" y="1429"/>
                </a:cubicBezTo>
                <a:cubicBezTo>
                  <a:pt x="805" y="1432"/>
                  <a:pt x="805" y="1432"/>
                  <a:pt x="805" y="1432"/>
                </a:cubicBezTo>
                <a:cubicBezTo>
                  <a:pt x="805" y="1434"/>
                  <a:pt x="805" y="1434"/>
                  <a:pt x="805" y="1434"/>
                </a:cubicBezTo>
                <a:cubicBezTo>
                  <a:pt x="804" y="1434"/>
                  <a:pt x="804" y="1434"/>
                  <a:pt x="804" y="1434"/>
                </a:cubicBezTo>
                <a:cubicBezTo>
                  <a:pt x="804" y="1436"/>
                  <a:pt x="804" y="1436"/>
                  <a:pt x="804" y="1436"/>
                </a:cubicBezTo>
                <a:cubicBezTo>
                  <a:pt x="803" y="1438"/>
                  <a:pt x="803" y="1438"/>
                  <a:pt x="803" y="1438"/>
                </a:cubicBezTo>
                <a:cubicBezTo>
                  <a:pt x="803" y="1439"/>
                  <a:pt x="803" y="1439"/>
                  <a:pt x="803" y="1439"/>
                </a:cubicBezTo>
                <a:cubicBezTo>
                  <a:pt x="804" y="1441"/>
                  <a:pt x="804" y="1441"/>
                  <a:pt x="804" y="1441"/>
                </a:cubicBezTo>
                <a:cubicBezTo>
                  <a:pt x="804" y="1443"/>
                  <a:pt x="804" y="1443"/>
                  <a:pt x="804" y="1443"/>
                </a:cubicBezTo>
                <a:cubicBezTo>
                  <a:pt x="803" y="1444"/>
                  <a:pt x="803" y="1444"/>
                  <a:pt x="803" y="1444"/>
                </a:cubicBezTo>
                <a:cubicBezTo>
                  <a:pt x="801" y="1445"/>
                  <a:pt x="801" y="1445"/>
                  <a:pt x="801" y="1445"/>
                </a:cubicBezTo>
                <a:cubicBezTo>
                  <a:pt x="800" y="1444"/>
                  <a:pt x="800" y="1444"/>
                  <a:pt x="800" y="1444"/>
                </a:cubicBezTo>
                <a:cubicBezTo>
                  <a:pt x="799" y="1444"/>
                  <a:pt x="799" y="1444"/>
                  <a:pt x="799" y="1444"/>
                </a:cubicBezTo>
                <a:cubicBezTo>
                  <a:pt x="799" y="1445"/>
                  <a:pt x="799" y="1445"/>
                  <a:pt x="799" y="1445"/>
                </a:cubicBezTo>
                <a:cubicBezTo>
                  <a:pt x="799" y="1447"/>
                  <a:pt x="799" y="1447"/>
                  <a:pt x="799" y="1447"/>
                </a:cubicBezTo>
                <a:cubicBezTo>
                  <a:pt x="799" y="1451"/>
                  <a:pt x="799" y="1451"/>
                  <a:pt x="799" y="1451"/>
                </a:cubicBezTo>
                <a:cubicBezTo>
                  <a:pt x="800" y="1453"/>
                  <a:pt x="800" y="1453"/>
                  <a:pt x="800" y="1453"/>
                </a:cubicBezTo>
                <a:cubicBezTo>
                  <a:pt x="803" y="1454"/>
                  <a:pt x="803" y="1454"/>
                  <a:pt x="803" y="1454"/>
                </a:cubicBezTo>
                <a:cubicBezTo>
                  <a:pt x="803" y="1457"/>
                  <a:pt x="803" y="1457"/>
                  <a:pt x="803" y="1457"/>
                </a:cubicBezTo>
                <a:cubicBezTo>
                  <a:pt x="802" y="1459"/>
                  <a:pt x="802" y="1459"/>
                  <a:pt x="802" y="1459"/>
                </a:cubicBezTo>
                <a:cubicBezTo>
                  <a:pt x="806" y="1465"/>
                  <a:pt x="806" y="1465"/>
                  <a:pt x="806" y="1465"/>
                </a:cubicBezTo>
                <a:cubicBezTo>
                  <a:pt x="806" y="1466"/>
                  <a:pt x="806" y="1466"/>
                  <a:pt x="806" y="1466"/>
                </a:cubicBezTo>
                <a:cubicBezTo>
                  <a:pt x="807" y="1467"/>
                  <a:pt x="807" y="1467"/>
                  <a:pt x="807" y="1467"/>
                </a:cubicBezTo>
                <a:cubicBezTo>
                  <a:pt x="807" y="1471"/>
                  <a:pt x="807" y="1471"/>
                  <a:pt x="807" y="1471"/>
                </a:cubicBezTo>
                <a:cubicBezTo>
                  <a:pt x="806" y="1475"/>
                  <a:pt x="806" y="1475"/>
                  <a:pt x="806" y="1475"/>
                </a:cubicBezTo>
                <a:cubicBezTo>
                  <a:pt x="806" y="1476"/>
                  <a:pt x="806" y="1476"/>
                  <a:pt x="806" y="1476"/>
                </a:cubicBezTo>
                <a:cubicBezTo>
                  <a:pt x="806" y="1477"/>
                  <a:pt x="806" y="1477"/>
                  <a:pt x="806" y="1477"/>
                </a:cubicBezTo>
                <a:cubicBezTo>
                  <a:pt x="806" y="1478"/>
                  <a:pt x="806" y="1478"/>
                  <a:pt x="806" y="1478"/>
                </a:cubicBezTo>
                <a:cubicBezTo>
                  <a:pt x="805" y="1478"/>
                  <a:pt x="805" y="1478"/>
                  <a:pt x="805" y="1478"/>
                </a:cubicBezTo>
                <a:cubicBezTo>
                  <a:pt x="804" y="1478"/>
                  <a:pt x="804" y="1478"/>
                  <a:pt x="804" y="1478"/>
                </a:cubicBezTo>
                <a:cubicBezTo>
                  <a:pt x="803" y="1480"/>
                  <a:pt x="803" y="1480"/>
                  <a:pt x="803" y="1480"/>
                </a:cubicBezTo>
                <a:cubicBezTo>
                  <a:pt x="804" y="1482"/>
                  <a:pt x="804" y="1482"/>
                  <a:pt x="804" y="1482"/>
                </a:cubicBezTo>
                <a:cubicBezTo>
                  <a:pt x="805" y="1483"/>
                  <a:pt x="805" y="1483"/>
                  <a:pt x="805" y="1483"/>
                </a:cubicBezTo>
                <a:cubicBezTo>
                  <a:pt x="804" y="1487"/>
                  <a:pt x="804" y="1487"/>
                  <a:pt x="804" y="1487"/>
                </a:cubicBezTo>
                <a:cubicBezTo>
                  <a:pt x="804" y="1489"/>
                  <a:pt x="804" y="1489"/>
                  <a:pt x="804" y="1489"/>
                </a:cubicBezTo>
                <a:cubicBezTo>
                  <a:pt x="803" y="1490"/>
                  <a:pt x="803" y="1490"/>
                  <a:pt x="803" y="1490"/>
                </a:cubicBezTo>
                <a:cubicBezTo>
                  <a:pt x="804" y="1491"/>
                  <a:pt x="804" y="1491"/>
                  <a:pt x="804" y="1491"/>
                </a:cubicBezTo>
                <a:cubicBezTo>
                  <a:pt x="804" y="1492"/>
                  <a:pt x="804" y="1492"/>
                  <a:pt x="804" y="1492"/>
                </a:cubicBezTo>
                <a:cubicBezTo>
                  <a:pt x="804" y="1493"/>
                  <a:pt x="804" y="1493"/>
                  <a:pt x="804" y="1493"/>
                </a:cubicBezTo>
                <a:cubicBezTo>
                  <a:pt x="804" y="1494"/>
                  <a:pt x="804" y="1494"/>
                  <a:pt x="804" y="1494"/>
                </a:cubicBezTo>
                <a:cubicBezTo>
                  <a:pt x="807" y="1499"/>
                  <a:pt x="807" y="1499"/>
                  <a:pt x="807" y="1499"/>
                </a:cubicBezTo>
                <a:cubicBezTo>
                  <a:pt x="808" y="1500"/>
                  <a:pt x="808" y="1500"/>
                  <a:pt x="808" y="1500"/>
                </a:cubicBezTo>
                <a:cubicBezTo>
                  <a:pt x="809" y="1501"/>
                  <a:pt x="809" y="1501"/>
                  <a:pt x="809" y="1501"/>
                </a:cubicBezTo>
                <a:cubicBezTo>
                  <a:pt x="812" y="1503"/>
                  <a:pt x="812" y="1503"/>
                  <a:pt x="812" y="1503"/>
                </a:cubicBezTo>
                <a:cubicBezTo>
                  <a:pt x="815" y="1502"/>
                  <a:pt x="815" y="1502"/>
                  <a:pt x="815" y="1502"/>
                </a:cubicBezTo>
                <a:cubicBezTo>
                  <a:pt x="815" y="1499"/>
                  <a:pt x="815" y="1499"/>
                  <a:pt x="815" y="1499"/>
                </a:cubicBezTo>
                <a:cubicBezTo>
                  <a:pt x="815" y="1498"/>
                  <a:pt x="815" y="1498"/>
                  <a:pt x="815" y="1498"/>
                </a:cubicBezTo>
                <a:cubicBezTo>
                  <a:pt x="817" y="1499"/>
                  <a:pt x="817" y="1499"/>
                  <a:pt x="817" y="1499"/>
                </a:cubicBezTo>
                <a:cubicBezTo>
                  <a:pt x="819" y="1500"/>
                  <a:pt x="819" y="1500"/>
                  <a:pt x="819" y="1500"/>
                </a:cubicBezTo>
                <a:cubicBezTo>
                  <a:pt x="819" y="1500"/>
                  <a:pt x="819" y="1500"/>
                  <a:pt x="819" y="1500"/>
                </a:cubicBezTo>
                <a:cubicBezTo>
                  <a:pt x="821" y="1500"/>
                  <a:pt x="821" y="1500"/>
                  <a:pt x="821" y="1500"/>
                </a:cubicBezTo>
                <a:cubicBezTo>
                  <a:pt x="820" y="1501"/>
                  <a:pt x="820" y="1501"/>
                  <a:pt x="820" y="1501"/>
                </a:cubicBezTo>
                <a:cubicBezTo>
                  <a:pt x="817" y="1503"/>
                  <a:pt x="817" y="1503"/>
                  <a:pt x="817" y="1503"/>
                </a:cubicBezTo>
                <a:cubicBezTo>
                  <a:pt x="817" y="1505"/>
                  <a:pt x="817" y="1505"/>
                  <a:pt x="817" y="1505"/>
                </a:cubicBezTo>
                <a:cubicBezTo>
                  <a:pt x="819" y="1505"/>
                  <a:pt x="819" y="1505"/>
                  <a:pt x="819" y="1505"/>
                </a:cubicBezTo>
                <a:cubicBezTo>
                  <a:pt x="820" y="1505"/>
                  <a:pt x="820" y="1505"/>
                  <a:pt x="820" y="1505"/>
                </a:cubicBezTo>
                <a:cubicBezTo>
                  <a:pt x="821" y="1506"/>
                  <a:pt x="821" y="1506"/>
                  <a:pt x="821" y="1506"/>
                </a:cubicBezTo>
                <a:cubicBezTo>
                  <a:pt x="821" y="1510"/>
                  <a:pt x="821" y="1510"/>
                  <a:pt x="821" y="1510"/>
                </a:cubicBezTo>
                <a:cubicBezTo>
                  <a:pt x="822" y="1511"/>
                  <a:pt x="822" y="1511"/>
                  <a:pt x="822" y="1511"/>
                </a:cubicBezTo>
                <a:cubicBezTo>
                  <a:pt x="821" y="1511"/>
                  <a:pt x="821" y="1511"/>
                  <a:pt x="821" y="1511"/>
                </a:cubicBezTo>
                <a:cubicBezTo>
                  <a:pt x="820" y="1510"/>
                  <a:pt x="820" y="1510"/>
                  <a:pt x="820" y="1510"/>
                </a:cubicBezTo>
                <a:cubicBezTo>
                  <a:pt x="820" y="1509"/>
                  <a:pt x="820" y="1509"/>
                  <a:pt x="820" y="1509"/>
                </a:cubicBezTo>
                <a:cubicBezTo>
                  <a:pt x="818" y="1508"/>
                  <a:pt x="818" y="1508"/>
                  <a:pt x="818" y="1508"/>
                </a:cubicBezTo>
                <a:cubicBezTo>
                  <a:pt x="818" y="1509"/>
                  <a:pt x="818" y="1509"/>
                  <a:pt x="818" y="1509"/>
                </a:cubicBezTo>
                <a:cubicBezTo>
                  <a:pt x="818" y="1510"/>
                  <a:pt x="818" y="1510"/>
                  <a:pt x="818" y="1510"/>
                </a:cubicBezTo>
                <a:cubicBezTo>
                  <a:pt x="820" y="1511"/>
                  <a:pt x="820" y="1511"/>
                  <a:pt x="820" y="1511"/>
                </a:cubicBezTo>
                <a:cubicBezTo>
                  <a:pt x="820" y="1512"/>
                  <a:pt x="820" y="1512"/>
                  <a:pt x="820" y="1512"/>
                </a:cubicBezTo>
                <a:cubicBezTo>
                  <a:pt x="819" y="1513"/>
                  <a:pt x="819" y="1513"/>
                  <a:pt x="819" y="1513"/>
                </a:cubicBezTo>
                <a:cubicBezTo>
                  <a:pt x="818" y="1514"/>
                  <a:pt x="818" y="1514"/>
                  <a:pt x="818" y="1514"/>
                </a:cubicBezTo>
                <a:cubicBezTo>
                  <a:pt x="818" y="1516"/>
                  <a:pt x="818" y="1516"/>
                  <a:pt x="818" y="1516"/>
                </a:cubicBezTo>
                <a:cubicBezTo>
                  <a:pt x="820" y="1518"/>
                  <a:pt x="820" y="1518"/>
                  <a:pt x="820" y="1518"/>
                </a:cubicBezTo>
                <a:cubicBezTo>
                  <a:pt x="818" y="1519"/>
                  <a:pt x="818" y="1519"/>
                  <a:pt x="818" y="1519"/>
                </a:cubicBezTo>
                <a:cubicBezTo>
                  <a:pt x="818" y="1521"/>
                  <a:pt x="818" y="1521"/>
                  <a:pt x="818" y="1521"/>
                </a:cubicBezTo>
                <a:cubicBezTo>
                  <a:pt x="819" y="1521"/>
                  <a:pt x="819" y="1521"/>
                  <a:pt x="819" y="1521"/>
                </a:cubicBezTo>
                <a:cubicBezTo>
                  <a:pt x="817" y="1523"/>
                  <a:pt x="817" y="1523"/>
                  <a:pt x="817" y="1523"/>
                </a:cubicBezTo>
                <a:cubicBezTo>
                  <a:pt x="817" y="1524"/>
                  <a:pt x="817" y="1524"/>
                  <a:pt x="817" y="1524"/>
                </a:cubicBezTo>
                <a:cubicBezTo>
                  <a:pt x="820" y="1526"/>
                  <a:pt x="820" y="1526"/>
                  <a:pt x="820" y="1526"/>
                </a:cubicBezTo>
                <a:cubicBezTo>
                  <a:pt x="819" y="1527"/>
                  <a:pt x="819" y="1527"/>
                  <a:pt x="819" y="1527"/>
                </a:cubicBezTo>
                <a:cubicBezTo>
                  <a:pt x="819" y="1530"/>
                  <a:pt x="819" y="1530"/>
                  <a:pt x="819" y="1530"/>
                </a:cubicBezTo>
                <a:cubicBezTo>
                  <a:pt x="817" y="1531"/>
                  <a:pt x="817" y="1531"/>
                  <a:pt x="817" y="1531"/>
                </a:cubicBezTo>
                <a:cubicBezTo>
                  <a:pt x="817" y="1533"/>
                  <a:pt x="817" y="1533"/>
                  <a:pt x="817" y="1533"/>
                </a:cubicBezTo>
                <a:cubicBezTo>
                  <a:pt x="818" y="1534"/>
                  <a:pt x="818" y="1534"/>
                  <a:pt x="818" y="1534"/>
                </a:cubicBezTo>
                <a:cubicBezTo>
                  <a:pt x="820" y="1534"/>
                  <a:pt x="820" y="1534"/>
                  <a:pt x="820" y="1534"/>
                </a:cubicBezTo>
                <a:cubicBezTo>
                  <a:pt x="822" y="1535"/>
                  <a:pt x="822" y="1535"/>
                  <a:pt x="822" y="1535"/>
                </a:cubicBezTo>
                <a:cubicBezTo>
                  <a:pt x="822" y="1537"/>
                  <a:pt x="822" y="1537"/>
                  <a:pt x="822" y="1537"/>
                </a:cubicBezTo>
                <a:cubicBezTo>
                  <a:pt x="824" y="1537"/>
                  <a:pt x="824" y="1537"/>
                  <a:pt x="824" y="1537"/>
                </a:cubicBezTo>
                <a:cubicBezTo>
                  <a:pt x="824" y="1538"/>
                  <a:pt x="824" y="1538"/>
                  <a:pt x="824" y="1538"/>
                </a:cubicBezTo>
                <a:cubicBezTo>
                  <a:pt x="824" y="1541"/>
                  <a:pt x="824" y="1541"/>
                  <a:pt x="824" y="1541"/>
                </a:cubicBezTo>
                <a:cubicBezTo>
                  <a:pt x="823" y="1543"/>
                  <a:pt x="823" y="1543"/>
                  <a:pt x="823" y="1543"/>
                </a:cubicBezTo>
                <a:cubicBezTo>
                  <a:pt x="820" y="1545"/>
                  <a:pt x="820" y="1545"/>
                  <a:pt x="820" y="1545"/>
                </a:cubicBezTo>
                <a:cubicBezTo>
                  <a:pt x="819" y="1545"/>
                  <a:pt x="819" y="1545"/>
                  <a:pt x="819" y="1545"/>
                </a:cubicBezTo>
                <a:cubicBezTo>
                  <a:pt x="819" y="1547"/>
                  <a:pt x="819" y="1547"/>
                  <a:pt x="819" y="1547"/>
                </a:cubicBezTo>
                <a:cubicBezTo>
                  <a:pt x="819" y="1549"/>
                  <a:pt x="819" y="1549"/>
                  <a:pt x="819" y="1549"/>
                </a:cubicBezTo>
                <a:cubicBezTo>
                  <a:pt x="819" y="1550"/>
                  <a:pt x="819" y="1550"/>
                  <a:pt x="819" y="1550"/>
                </a:cubicBezTo>
                <a:cubicBezTo>
                  <a:pt x="819" y="1551"/>
                  <a:pt x="819" y="1551"/>
                  <a:pt x="819" y="1551"/>
                </a:cubicBezTo>
                <a:cubicBezTo>
                  <a:pt x="820" y="1552"/>
                  <a:pt x="820" y="1552"/>
                  <a:pt x="820" y="1552"/>
                </a:cubicBezTo>
                <a:cubicBezTo>
                  <a:pt x="818" y="1554"/>
                  <a:pt x="818" y="1554"/>
                  <a:pt x="818" y="1554"/>
                </a:cubicBezTo>
                <a:cubicBezTo>
                  <a:pt x="817" y="1557"/>
                  <a:pt x="817" y="1557"/>
                  <a:pt x="817" y="1557"/>
                </a:cubicBezTo>
                <a:cubicBezTo>
                  <a:pt x="817" y="1559"/>
                  <a:pt x="817" y="1559"/>
                  <a:pt x="817" y="1559"/>
                </a:cubicBezTo>
                <a:cubicBezTo>
                  <a:pt x="818" y="1560"/>
                  <a:pt x="818" y="1560"/>
                  <a:pt x="818" y="1560"/>
                </a:cubicBezTo>
                <a:cubicBezTo>
                  <a:pt x="818" y="1561"/>
                  <a:pt x="818" y="1561"/>
                  <a:pt x="818" y="1561"/>
                </a:cubicBezTo>
                <a:cubicBezTo>
                  <a:pt x="817" y="1565"/>
                  <a:pt x="817" y="1565"/>
                  <a:pt x="817" y="1565"/>
                </a:cubicBezTo>
                <a:cubicBezTo>
                  <a:pt x="816" y="1565"/>
                  <a:pt x="816" y="1565"/>
                  <a:pt x="816" y="1565"/>
                </a:cubicBezTo>
                <a:cubicBezTo>
                  <a:pt x="816" y="1567"/>
                  <a:pt x="816" y="1567"/>
                  <a:pt x="816" y="1567"/>
                </a:cubicBezTo>
                <a:cubicBezTo>
                  <a:pt x="815" y="1566"/>
                  <a:pt x="815" y="1566"/>
                  <a:pt x="815" y="1566"/>
                </a:cubicBezTo>
                <a:cubicBezTo>
                  <a:pt x="816" y="1565"/>
                  <a:pt x="816" y="1565"/>
                  <a:pt x="816" y="1565"/>
                </a:cubicBezTo>
                <a:cubicBezTo>
                  <a:pt x="816" y="1562"/>
                  <a:pt x="816" y="1562"/>
                  <a:pt x="816" y="1562"/>
                </a:cubicBezTo>
                <a:cubicBezTo>
                  <a:pt x="816" y="1560"/>
                  <a:pt x="816" y="1560"/>
                  <a:pt x="816" y="1560"/>
                </a:cubicBezTo>
                <a:cubicBezTo>
                  <a:pt x="816" y="1559"/>
                  <a:pt x="816" y="1559"/>
                  <a:pt x="816" y="1559"/>
                </a:cubicBezTo>
                <a:cubicBezTo>
                  <a:pt x="815" y="1559"/>
                  <a:pt x="815" y="1559"/>
                  <a:pt x="815" y="1559"/>
                </a:cubicBezTo>
                <a:cubicBezTo>
                  <a:pt x="813" y="1560"/>
                  <a:pt x="813" y="1560"/>
                  <a:pt x="813" y="1560"/>
                </a:cubicBezTo>
                <a:cubicBezTo>
                  <a:pt x="811" y="1561"/>
                  <a:pt x="811" y="1561"/>
                  <a:pt x="811" y="1561"/>
                </a:cubicBezTo>
                <a:cubicBezTo>
                  <a:pt x="810" y="1561"/>
                  <a:pt x="810" y="1561"/>
                  <a:pt x="810" y="1561"/>
                </a:cubicBezTo>
                <a:cubicBezTo>
                  <a:pt x="810" y="1560"/>
                  <a:pt x="810" y="1560"/>
                  <a:pt x="810" y="1560"/>
                </a:cubicBezTo>
                <a:cubicBezTo>
                  <a:pt x="812" y="1559"/>
                  <a:pt x="812" y="1559"/>
                  <a:pt x="812" y="1559"/>
                </a:cubicBezTo>
                <a:cubicBezTo>
                  <a:pt x="813" y="1559"/>
                  <a:pt x="813" y="1559"/>
                  <a:pt x="813" y="1559"/>
                </a:cubicBezTo>
                <a:cubicBezTo>
                  <a:pt x="813" y="1556"/>
                  <a:pt x="813" y="1556"/>
                  <a:pt x="813" y="1556"/>
                </a:cubicBezTo>
                <a:cubicBezTo>
                  <a:pt x="812" y="1555"/>
                  <a:pt x="812" y="1555"/>
                  <a:pt x="812" y="1555"/>
                </a:cubicBezTo>
                <a:cubicBezTo>
                  <a:pt x="810" y="1556"/>
                  <a:pt x="810" y="1556"/>
                  <a:pt x="810" y="1556"/>
                </a:cubicBezTo>
                <a:cubicBezTo>
                  <a:pt x="807" y="1556"/>
                  <a:pt x="807" y="1556"/>
                  <a:pt x="807" y="1556"/>
                </a:cubicBezTo>
                <a:cubicBezTo>
                  <a:pt x="805" y="1556"/>
                  <a:pt x="805" y="1556"/>
                  <a:pt x="805" y="1556"/>
                </a:cubicBezTo>
                <a:cubicBezTo>
                  <a:pt x="804" y="1556"/>
                  <a:pt x="804" y="1556"/>
                  <a:pt x="804" y="1556"/>
                </a:cubicBezTo>
                <a:cubicBezTo>
                  <a:pt x="804" y="1557"/>
                  <a:pt x="804" y="1557"/>
                  <a:pt x="804" y="1557"/>
                </a:cubicBezTo>
                <a:cubicBezTo>
                  <a:pt x="805" y="1559"/>
                  <a:pt x="805" y="1559"/>
                  <a:pt x="805" y="1559"/>
                </a:cubicBezTo>
                <a:cubicBezTo>
                  <a:pt x="806" y="1560"/>
                  <a:pt x="806" y="1560"/>
                  <a:pt x="806" y="1560"/>
                </a:cubicBezTo>
                <a:cubicBezTo>
                  <a:pt x="806" y="1561"/>
                  <a:pt x="806" y="1561"/>
                  <a:pt x="806" y="1561"/>
                </a:cubicBezTo>
                <a:cubicBezTo>
                  <a:pt x="805" y="1561"/>
                  <a:pt x="805" y="1561"/>
                  <a:pt x="805" y="1561"/>
                </a:cubicBezTo>
                <a:cubicBezTo>
                  <a:pt x="804" y="1563"/>
                  <a:pt x="804" y="1563"/>
                  <a:pt x="804" y="1563"/>
                </a:cubicBezTo>
                <a:cubicBezTo>
                  <a:pt x="803" y="1564"/>
                  <a:pt x="803" y="1564"/>
                  <a:pt x="803" y="1564"/>
                </a:cubicBezTo>
                <a:cubicBezTo>
                  <a:pt x="802" y="1566"/>
                  <a:pt x="802" y="1566"/>
                  <a:pt x="802" y="1566"/>
                </a:cubicBezTo>
                <a:cubicBezTo>
                  <a:pt x="799" y="1567"/>
                  <a:pt x="799" y="1567"/>
                  <a:pt x="799" y="1567"/>
                </a:cubicBezTo>
                <a:cubicBezTo>
                  <a:pt x="799" y="1569"/>
                  <a:pt x="799" y="1569"/>
                  <a:pt x="799" y="1569"/>
                </a:cubicBezTo>
                <a:cubicBezTo>
                  <a:pt x="802" y="1572"/>
                  <a:pt x="802" y="1572"/>
                  <a:pt x="802" y="1572"/>
                </a:cubicBezTo>
                <a:cubicBezTo>
                  <a:pt x="804" y="1572"/>
                  <a:pt x="804" y="1572"/>
                  <a:pt x="804" y="1572"/>
                </a:cubicBezTo>
                <a:cubicBezTo>
                  <a:pt x="805" y="1571"/>
                  <a:pt x="805" y="1571"/>
                  <a:pt x="805" y="1571"/>
                </a:cubicBezTo>
                <a:cubicBezTo>
                  <a:pt x="804" y="1570"/>
                  <a:pt x="804" y="1570"/>
                  <a:pt x="804" y="1570"/>
                </a:cubicBezTo>
                <a:cubicBezTo>
                  <a:pt x="803" y="1569"/>
                  <a:pt x="803" y="1569"/>
                  <a:pt x="803" y="1569"/>
                </a:cubicBezTo>
                <a:cubicBezTo>
                  <a:pt x="802" y="1568"/>
                  <a:pt x="802" y="1568"/>
                  <a:pt x="802" y="1568"/>
                </a:cubicBezTo>
                <a:cubicBezTo>
                  <a:pt x="803" y="1567"/>
                  <a:pt x="803" y="1567"/>
                  <a:pt x="803" y="1567"/>
                </a:cubicBezTo>
                <a:cubicBezTo>
                  <a:pt x="806" y="1566"/>
                  <a:pt x="806" y="1566"/>
                  <a:pt x="806" y="1566"/>
                </a:cubicBezTo>
                <a:cubicBezTo>
                  <a:pt x="806" y="1566"/>
                  <a:pt x="806" y="1566"/>
                  <a:pt x="806" y="1566"/>
                </a:cubicBezTo>
                <a:cubicBezTo>
                  <a:pt x="807" y="1568"/>
                  <a:pt x="807" y="1568"/>
                  <a:pt x="807" y="1568"/>
                </a:cubicBezTo>
                <a:cubicBezTo>
                  <a:pt x="809" y="1569"/>
                  <a:pt x="809" y="1569"/>
                  <a:pt x="809" y="1569"/>
                </a:cubicBezTo>
                <a:cubicBezTo>
                  <a:pt x="811" y="1569"/>
                  <a:pt x="811" y="1569"/>
                  <a:pt x="811" y="1569"/>
                </a:cubicBezTo>
                <a:cubicBezTo>
                  <a:pt x="812" y="1568"/>
                  <a:pt x="812" y="1568"/>
                  <a:pt x="812" y="1568"/>
                </a:cubicBezTo>
                <a:cubicBezTo>
                  <a:pt x="813" y="1569"/>
                  <a:pt x="813" y="1569"/>
                  <a:pt x="813" y="1569"/>
                </a:cubicBezTo>
                <a:cubicBezTo>
                  <a:pt x="814" y="1570"/>
                  <a:pt x="814" y="1570"/>
                  <a:pt x="814" y="1570"/>
                </a:cubicBezTo>
                <a:cubicBezTo>
                  <a:pt x="817" y="1571"/>
                  <a:pt x="817" y="1571"/>
                  <a:pt x="817" y="1571"/>
                </a:cubicBezTo>
                <a:cubicBezTo>
                  <a:pt x="818" y="1572"/>
                  <a:pt x="818" y="1572"/>
                  <a:pt x="818" y="1572"/>
                </a:cubicBezTo>
                <a:cubicBezTo>
                  <a:pt x="816" y="1572"/>
                  <a:pt x="816" y="1572"/>
                  <a:pt x="816" y="1572"/>
                </a:cubicBezTo>
                <a:cubicBezTo>
                  <a:pt x="816" y="1574"/>
                  <a:pt x="816" y="1574"/>
                  <a:pt x="816" y="1574"/>
                </a:cubicBezTo>
                <a:cubicBezTo>
                  <a:pt x="817" y="1575"/>
                  <a:pt x="817" y="1575"/>
                  <a:pt x="817" y="1575"/>
                </a:cubicBezTo>
                <a:cubicBezTo>
                  <a:pt x="816" y="1576"/>
                  <a:pt x="816" y="1576"/>
                  <a:pt x="816" y="1576"/>
                </a:cubicBezTo>
                <a:cubicBezTo>
                  <a:pt x="815" y="1577"/>
                  <a:pt x="815" y="1577"/>
                  <a:pt x="815" y="1577"/>
                </a:cubicBezTo>
                <a:cubicBezTo>
                  <a:pt x="816" y="1578"/>
                  <a:pt x="816" y="1578"/>
                  <a:pt x="816" y="1578"/>
                </a:cubicBezTo>
                <a:cubicBezTo>
                  <a:pt x="817" y="1579"/>
                  <a:pt x="817" y="1579"/>
                  <a:pt x="817" y="1579"/>
                </a:cubicBezTo>
                <a:cubicBezTo>
                  <a:pt x="817" y="1580"/>
                  <a:pt x="817" y="1580"/>
                  <a:pt x="817" y="1580"/>
                </a:cubicBezTo>
                <a:cubicBezTo>
                  <a:pt x="815" y="1579"/>
                  <a:pt x="815" y="1579"/>
                  <a:pt x="815" y="1579"/>
                </a:cubicBezTo>
                <a:cubicBezTo>
                  <a:pt x="815" y="1578"/>
                  <a:pt x="815" y="1578"/>
                  <a:pt x="815" y="1578"/>
                </a:cubicBezTo>
                <a:cubicBezTo>
                  <a:pt x="814" y="1578"/>
                  <a:pt x="814" y="1578"/>
                  <a:pt x="814" y="1578"/>
                </a:cubicBezTo>
                <a:cubicBezTo>
                  <a:pt x="813" y="1580"/>
                  <a:pt x="813" y="1580"/>
                  <a:pt x="813" y="1580"/>
                </a:cubicBezTo>
                <a:cubicBezTo>
                  <a:pt x="815" y="1581"/>
                  <a:pt x="815" y="1581"/>
                  <a:pt x="815" y="1581"/>
                </a:cubicBezTo>
                <a:cubicBezTo>
                  <a:pt x="816" y="1583"/>
                  <a:pt x="816" y="1583"/>
                  <a:pt x="816" y="1583"/>
                </a:cubicBezTo>
                <a:cubicBezTo>
                  <a:pt x="818" y="1583"/>
                  <a:pt x="818" y="1583"/>
                  <a:pt x="818" y="1583"/>
                </a:cubicBezTo>
                <a:cubicBezTo>
                  <a:pt x="821" y="1582"/>
                  <a:pt x="821" y="1582"/>
                  <a:pt x="821" y="1582"/>
                </a:cubicBezTo>
                <a:cubicBezTo>
                  <a:pt x="822" y="1583"/>
                  <a:pt x="822" y="1583"/>
                  <a:pt x="822" y="1583"/>
                </a:cubicBezTo>
                <a:cubicBezTo>
                  <a:pt x="823" y="1583"/>
                  <a:pt x="823" y="1583"/>
                  <a:pt x="823" y="1583"/>
                </a:cubicBezTo>
                <a:cubicBezTo>
                  <a:pt x="825" y="1582"/>
                  <a:pt x="825" y="1582"/>
                  <a:pt x="825" y="1582"/>
                </a:cubicBezTo>
                <a:cubicBezTo>
                  <a:pt x="824" y="1583"/>
                  <a:pt x="824" y="1583"/>
                  <a:pt x="824" y="1583"/>
                </a:cubicBezTo>
                <a:cubicBezTo>
                  <a:pt x="824" y="1584"/>
                  <a:pt x="824" y="1584"/>
                  <a:pt x="824" y="1584"/>
                </a:cubicBezTo>
                <a:cubicBezTo>
                  <a:pt x="824" y="1584"/>
                  <a:pt x="824" y="1584"/>
                  <a:pt x="824" y="1584"/>
                </a:cubicBezTo>
                <a:cubicBezTo>
                  <a:pt x="822" y="1585"/>
                  <a:pt x="822" y="1585"/>
                  <a:pt x="822" y="1585"/>
                </a:cubicBezTo>
                <a:cubicBezTo>
                  <a:pt x="821" y="1585"/>
                  <a:pt x="821" y="1585"/>
                  <a:pt x="821" y="1585"/>
                </a:cubicBezTo>
                <a:cubicBezTo>
                  <a:pt x="820" y="1584"/>
                  <a:pt x="820" y="1584"/>
                  <a:pt x="820" y="1584"/>
                </a:cubicBezTo>
                <a:cubicBezTo>
                  <a:pt x="817" y="1585"/>
                  <a:pt x="817" y="1585"/>
                  <a:pt x="817" y="1585"/>
                </a:cubicBezTo>
                <a:cubicBezTo>
                  <a:pt x="816" y="1586"/>
                  <a:pt x="816" y="1586"/>
                  <a:pt x="816" y="1586"/>
                </a:cubicBezTo>
                <a:cubicBezTo>
                  <a:pt x="817" y="1587"/>
                  <a:pt x="817" y="1587"/>
                  <a:pt x="817" y="1587"/>
                </a:cubicBezTo>
                <a:cubicBezTo>
                  <a:pt x="819" y="1589"/>
                  <a:pt x="819" y="1589"/>
                  <a:pt x="819" y="1589"/>
                </a:cubicBezTo>
                <a:cubicBezTo>
                  <a:pt x="819" y="1590"/>
                  <a:pt x="819" y="1590"/>
                  <a:pt x="819" y="1590"/>
                </a:cubicBezTo>
                <a:cubicBezTo>
                  <a:pt x="821" y="1591"/>
                  <a:pt x="821" y="1591"/>
                  <a:pt x="821" y="1591"/>
                </a:cubicBezTo>
                <a:cubicBezTo>
                  <a:pt x="822" y="1590"/>
                  <a:pt x="822" y="1590"/>
                  <a:pt x="822" y="1590"/>
                </a:cubicBezTo>
                <a:cubicBezTo>
                  <a:pt x="822" y="1591"/>
                  <a:pt x="822" y="1591"/>
                  <a:pt x="822" y="1591"/>
                </a:cubicBezTo>
                <a:cubicBezTo>
                  <a:pt x="820" y="1593"/>
                  <a:pt x="820" y="1593"/>
                  <a:pt x="820" y="1593"/>
                </a:cubicBezTo>
                <a:cubicBezTo>
                  <a:pt x="820" y="1594"/>
                  <a:pt x="820" y="1594"/>
                  <a:pt x="820" y="1594"/>
                </a:cubicBezTo>
                <a:cubicBezTo>
                  <a:pt x="821" y="1594"/>
                  <a:pt x="821" y="1594"/>
                  <a:pt x="821" y="1594"/>
                </a:cubicBezTo>
                <a:cubicBezTo>
                  <a:pt x="820" y="1596"/>
                  <a:pt x="820" y="1596"/>
                  <a:pt x="820" y="1596"/>
                </a:cubicBezTo>
                <a:cubicBezTo>
                  <a:pt x="819" y="1596"/>
                  <a:pt x="819" y="1596"/>
                  <a:pt x="819" y="1596"/>
                </a:cubicBezTo>
                <a:cubicBezTo>
                  <a:pt x="819" y="1597"/>
                  <a:pt x="819" y="1597"/>
                  <a:pt x="819" y="1597"/>
                </a:cubicBezTo>
                <a:cubicBezTo>
                  <a:pt x="820" y="1602"/>
                  <a:pt x="820" y="1602"/>
                  <a:pt x="820" y="1602"/>
                </a:cubicBezTo>
                <a:cubicBezTo>
                  <a:pt x="821" y="1603"/>
                  <a:pt x="821" y="1603"/>
                  <a:pt x="821" y="1603"/>
                </a:cubicBezTo>
                <a:cubicBezTo>
                  <a:pt x="821" y="1606"/>
                  <a:pt x="821" y="1606"/>
                  <a:pt x="821" y="1606"/>
                </a:cubicBezTo>
                <a:cubicBezTo>
                  <a:pt x="822" y="1608"/>
                  <a:pt x="822" y="1608"/>
                  <a:pt x="822" y="1608"/>
                </a:cubicBezTo>
                <a:cubicBezTo>
                  <a:pt x="824" y="1608"/>
                  <a:pt x="824" y="1608"/>
                  <a:pt x="824" y="1608"/>
                </a:cubicBezTo>
                <a:cubicBezTo>
                  <a:pt x="824" y="1605"/>
                  <a:pt x="824" y="1605"/>
                  <a:pt x="824" y="1605"/>
                </a:cubicBezTo>
                <a:cubicBezTo>
                  <a:pt x="825" y="1601"/>
                  <a:pt x="825" y="1601"/>
                  <a:pt x="825" y="1601"/>
                </a:cubicBezTo>
                <a:cubicBezTo>
                  <a:pt x="826" y="1600"/>
                  <a:pt x="826" y="1600"/>
                  <a:pt x="826" y="1600"/>
                </a:cubicBezTo>
                <a:cubicBezTo>
                  <a:pt x="827" y="1601"/>
                  <a:pt x="827" y="1601"/>
                  <a:pt x="827" y="1601"/>
                </a:cubicBezTo>
                <a:cubicBezTo>
                  <a:pt x="826" y="1601"/>
                  <a:pt x="826" y="1601"/>
                  <a:pt x="826" y="1601"/>
                </a:cubicBezTo>
                <a:cubicBezTo>
                  <a:pt x="825" y="1605"/>
                  <a:pt x="825" y="1605"/>
                  <a:pt x="825" y="1605"/>
                </a:cubicBezTo>
                <a:cubicBezTo>
                  <a:pt x="825" y="1606"/>
                  <a:pt x="825" y="1606"/>
                  <a:pt x="825" y="1606"/>
                </a:cubicBezTo>
                <a:cubicBezTo>
                  <a:pt x="826" y="1607"/>
                  <a:pt x="826" y="1607"/>
                  <a:pt x="826" y="1607"/>
                </a:cubicBezTo>
                <a:cubicBezTo>
                  <a:pt x="828" y="1607"/>
                  <a:pt x="828" y="1607"/>
                  <a:pt x="828" y="1607"/>
                </a:cubicBezTo>
                <a:cubicBezTo>
                  <a:pt x="827" y="1608"/>
                  <a:pt x="827" y="1608"/>
                  <a:pt x="827" y="1608"/>
                </a:cubicBezTo>
                <a:cubicBezTo>
                  <a:pt x="825" y="1608"/>
                  <a:pt x="825" y="1608"/>
                  <a:pt x="825" y="1608"/>
                </a:cubicBezTo>
                <a:cubicBezTo>
                  <a:pt x="823" y="1610"/>
                  <a:pt x="823" y="1610"/>
                  <a:pt x="823" y="1610"/>
                </a:cubicBezTo>
                <a:cubicBezTo>
                  <a:pt x="823" y="1611"/>
                  <a:pt x="823" y="1611"/>
                  <a:pt x="823" y="1611"/>
                </a:cubicBezTo>
                <a:cubicBezTo>
                  <a:pt x="823" y="1613"/>
                  <a:pt x="823" y="1613"/>
                  <a:pt x="823" y="1613"/>
                </a:cubicBezTo>
                <a:cubicBezTo>
                  <a:pt x="823" y="1615"/>
                  <a:pt x="823" y="1615"/>
                  <a:pt x="823" y="1615"/>
                </a:cubicBezTo>
                <a:cubicBezTo>
                  <a:pt x="822" y="1615"/>
                  <a:pt x="822" y="1615"/>
                  <a:pt x="822" y="1615"/>
                </a:cubicBezTo>
                <a:cubicBezTo>
                  <a:pt x="821" y="1617"/>
                  <a:pt x="821" y="1617"/>
                  <a:pt x="821" y="1617"/>
                </a:cubicBezTo>
                <a:cubicBezTo>
                  <a:pt x="821" y="1618"/>
                  <a:pt x="821" y="1618"/>
                  <a:pt x="821" y="1618"/>
                </a:cubicBezTo>
                <a:cubicBezTo>
                  <a:pt x="824" y="1620"/>
                  <a:pt x="824" y="1620"/>
                  <a:pt x="824" y="1620"/>
                </a:cubicBezTo>
                <a:cubicBezTo>
                  <a:pt x="828" y="1621"/>
                  <a:pt x="828" y="1621"/>
                  <a:pt x="828" y="1621"/>
                </a:cubicBezTo>
                <a:cubicBezTo>
                  <a:pt x="829" y="1622"/>
                  <a:pt x="829" y="1622"/>
                  <a:pt x="829" y="1622"/>
                </a:cubicBezTo>
                <a:cubicBezTo>
                  <a:pt x="829" y="1623"/>
                  <a:pt x="829" y="1623"/>
                  <a:pt x="829" y="1623"/>
                </a:cubicBezTo>
                <a:cubicBezTo>
                  <a:pt x="828" y="1623"/>
                  <a:pt x="828" y="1623"/>
                  <a:pt x="828" y="1623"/>
                </a:cubicBezTo>
                <a:cubicBezTo>
                  <a:pt x="829" y="1625"/>
                  <a:pt x="829" y="1625"/>
                  <a:pt x="829" y="1625"/>
                </a:cubicBezTo>
                <a:cubicBezTo>
                  <a:pt x="830" y="1626"/>
                  <a:pt x="830" y="1626"/>
                  <a:pt x="830" y="1626"/>
                </a:cubicBezTo>
                <a:cubicBezTo>
                  <a:pt x="831" y="1624"/>
                  <a:pt x="831" y="1624"/>
                  <a:pt x="831" y="1624"/>
                </a:cubicBezTo>
                <a:cubicBezTo>
                  <a:pt x="831" y="1626"/>
                  <a:pt x="831" y="1626"/>
                  <a:pt x="831" y="1626"/>
                </a:cubicBezTo>
                <a:cubicBezTo>
                  <a:pt x="831" y="1627"/>
                  <a:pt x="831" y="1627"/>
                  <a:pt x="831" y="1627"/>
                </a:cubicBezTo>
                <a:cubicBezTo>
                  <a:pt x="829" y="1628"/>
                  <a:pt x="829" y="1628"/>
                  <a:pt x="829" y="1628"/>
                </a:cubicBezTo>
                <a:cubicBezTo>
                  <a:pt x="828" y="1629"/>
                  <a:pt x="828" y="1629"/>
                  <a:pt x="828" y="1629"/>
                </a:cubicBezTo>
                <a:cubicBezTo>
                  <a:pt x="829" y="1630"/>
                  <a:pt x="829" y="1630"/>
                  <a:pt x="829" y="1630"/>
                </a:cubicBezTo>
                <a:cubicBezTo>
                  <a:pt x="830" y="1630"/>
                  <a:pt x="830" y="1630"/>
                  <a:pt x="830" y="1630"/>
                </a:cubicBezTo>
                <a:cubicBezTo>
                  <a:pt x="830" y="1631"/>
                  <a:pt x="830" y="1631"/>
                  <a:pt x="830" y="1631"/>
                </a:cubicBezTo>
                <a:cubicBezTo>
                  <a:pt x="832" y="1633"/>
                  <a:pt x="832" y="1633"/>
                  <a:pt x="832" y="1633"/>
                </a:cubicBezTo>
                <a:cubicBezTo>
                  <a:pt x="833" y="1633"/>
                  <a:pt x="833" y="1633"/>
                  <a:pt x="833" y="1633"/>
                </a:cubicBezTo>
                <a:cubicBezTo>
                  <a:pt x="834" y="1632"/>
                  <a:pt x="834" y="1632"/>
                  <a:pt x="834" y="1632"/>
                </a:cubicBezTo>
                <a:cubicBezTo>
                  <a:pt x="834" y="1634"/>
                  <a:pt x="834" y="1634"/>
                  <a:pt x="834" y="1634"/>
                </a:cubicBezTo>
                <a:cubicBezTo>
                  <a:pt x="834" y="1636"/>
                  <a:pt x="834" y="1636"/>
                  <a:pt x="834" y="1636"/>
                </a:cubicBezTo>
                <a:cubicBezTo>
                  <a:pt x="833" y="1636"/>
                  <a:pt x="833" y="1636"/>
                  <a:pt x="833" y="1636"/>
                </a:cubicBezTo>
                <a:cubicBezTo>
                  <a:pt x="833" y="1635"/>
                  <a:pt x="833" y="1635"/>
                  <a:pt x="833" y="1635"/>
                </a:cubicBezTo>
                <a:cubicBezTo>
                  <a:pt x="832" y="1635"/>
                  <a:pt x="832" y="1635"/>
                  <a:pt x="832" y="1635"/>
                </a:cubicBezTo>
                <a:cubicBezTo>
                  <a:pt x="831" y="1636"/>
                  <a:pt x="831" y="1636"/>
                  <a:pt x="831" y="1636"/>
                </a:cubicBezTo>
                <a:cubicBezTo>
                  <a:pt x="833" y="1639"/>
                  <a:pt x="833" y="1639"/>
                  <a:pt x="833" y="1639"/>
                </a:cubicBezTo>
                <a:cubicBezTo>
                  <a:pt x="834" y="1639"/>
                  <a:pt x="834" y="1639"/>
                  <a:pt x="834" y="1639"/>
                </a:cubicBezTo>
                <a:cubicBezTo>
                  <a:pt x="834" y="1641"/>
                  <a:pt x="834" y="1641"/>
                  <a:pt x="834" y="1641"/>
                </a:cubicBezTo>
                <a:cubicBezTo>
                  <a:pt x="835" y="1642"/>
                  <a:pt x="835" y="1642"/>
                  <a:pt x="835" y="1642"/>
                </a:cubicBezTo>
                <a:cubicBezTo>
                  <a:pt x="837" y="1644"/>
                  <a:pt x="837" y="1644"/>
                  <a:pt x="837" y="1644"/>
                </a:cubicBezTo>
                <a:cubicBezTo>
                  <a:pt x="838" y="1643"/>
                  <a:pt x="838" y="1643"/>
                  <a:pt x="838" y="1643"/>
                </a:cubicBezTo>
                <a:cubicBezTo>
                  <a:pt x="837" y="1641"/>
                  <a:pt x="837" y="1641"/>
                  <a:pt x="837" y="1641"/>
                </a:cubicBezTo>
                <a:cubicBezTo>
                  <a:pt x="838" y="1640"/>
                  <a:pt x="838" y="1640"/>
                  <a:pt x="838" y="1640"/>
                </a:cubicBezTo>
                <a:cubicBezTo>
                  <a:pt x="837" y="1638"/>
                  <a:pt x="837" y="1638"/>
                  <a:pt x="837" y="1638"/>
                </a:cubicBezTo>
                <a:cubicBezTo>
                  <a:pt x="839" y="1639"/>
                  <a:pt x="839" y="1639"/>
                  <a:pt x="839" y="1639"/>
                </a:cubicBezTo>
                <a:cubicBezTo>
                  <a:pt x="839" y="1641"/>
                  <a:pt x="839" y="1641"/>
                  <a:pt x="839" y="1641"/>
                </a:cubicBezTo>
                <a:cubicBezTo>
                  <a:pt x="840" y="1642"/>
                  <a:pt x="840" y="1642"/>
                  <a:pt x="840" y="1642"/>
                </a:cubicBezTo>
                <a:cubicBezTo>
                  <a:pt x="841" y="1640"/>
                  <a:pt x="841" y="1640"/>
                  <a:pt x="841" y="1640"/>
                </a:cubicBezTo>
                <a:cubicBezTo>
                  <a:pt x="842" y="1639"/>
                  <a:pt x="842" y="1639"/>
                  <a:pt x="842" y="1639"/>
                </a:cubicBezTo>
                <a:cubicBezTo>
                  <a:pt x="842" y="1638"/>
                  <a:pt x="842" y="1638"/>
                  <a:pt x="842" y="1638"/>
                </a:cubicBezTo>
                <a:cubicBezTo>
                  <a:pt x="841" y="1637"/>
                  <a:pt x="841" y="1637"/>
                  <a:pt x="841" y="1637"/>
                </a:cubicBezTo>
                <a:cubicBezTo>
                  <a:pt x="839" y="1637"/>
                  <a:pt x="839" y="1637"/>
                  <a:pt x="839" y="1637"/>
                </a:cubicBezTo>
                <a:cubicBezTo>
                  <a:pt x="839" y="1636"/>
                  <a:pt x="839" y="1636"/>
                  <a:pt x="839" y="1636"/>
                </a:cubicBezTo>
                <a:cubicBezTo>
                  <a:pt x="840" y="1636"/>
                  <a:pt x="840" y="1636"/>
                  <a:pt x="840" y="1636"/>
                </a:cubicBezTo>
                <a:cubicBezTo>
                  <a:pt x="843" y="1637"/>
                  <a:pt x="843" y="1637"/>
                  <a:pt x="843" y="1637"/>
                </a:cubicBezTo>
                <a:cubicBezTo>
                  <a:pt x="844" y="1638"/>
                  <a:pt x="844" y="1638"/>
                  <a:pt x="844" y="1638"/>
                </a:cubicBezTo>
                <a:cubicBezTo>
                  <a:pt x="846" y="1638"/>
                  <a:pt x="846" y="1638"/>
                  <a:pt x="846" y="1638"/>
                </a:cubicBezTo>
                <a:cubicBezTo>
                  <a:pt x="845" y="1636"/>
                  <a:pt x="845" y="1636"/>
                  <a:pt x="845" y="1636"/>
                </a:cubicBezTo>
                <a:cubicBezTo>
                  <a:pt x="843" y="1635"/>
                  <a:pt x="843" y="1635"/>
                  <a:pt x="843" y="1635"/>
                </a:cubicBezTo>
                <a:cubicBezTo>
                  <a:pt x="840" y="1635"/>
                  <a:pt x="840" y="1635"/>
                  <a:pt x="840" y="1635"/>
                </a:cubicBezTo>
                <a:cubicBezTo>
                  <a:pt x="840" y="1634"/>
                  <a:pt x="840" y="1634"/>
                  <a:pt x="840" y="1634"/>
                </a:cubicBezTo>
                <a:cubicBezTo>
                  <a:pt x="841" y="1634"/>
                  <a:pt x="841" y="1634"/>
                  <a:pt x="841" y="1634"/>
                </a:cubicBezTo>
                <a:cubicBezTo>
                  <a:pt x="844" y="1635"/>
                  <a:pt x="844" y="1635"/>
                  <a:pt x="844" y="1635"/>
                </a:cubicBezTo>
                <a:cubicBezTo>
                  <a:pt x="847" y="1637"/>
                  <a:pt x="847" y="1637"/>
                  <a:pt x="847" y="1637"/>
                </a:cubicBezTo>
                <a:cubicBezTo>
                  <a:pt x="848" y="1639"/>
                  <a:pt x="848" y="1639"/>
                  <a:pt x="848" y="1639"/>
                </a:cubicBezTo>
                <a:cubicBezTo>
                  <a:pt x="846" y="1641"/>
                  <a:pt x="846" y="1641"/>
                  <a:pt x="846" y="1641"/>
                </a:cubicBezTo>
                <a:cubicBezTo>
                  <a:pt x="846" y="1642"/>
                  <a:pt x="846" y="1642"/>
                  <a:pt x="846" y="1642"/>
                </a:cubicBezTo>
                <a:cubicBezTo>
                  <a:pt x="848" y="1645"/>
                  <a:pt x="848" y="1645"/>
                  <a:pt x="848" y="1645"/>
                </a:cubicBezTo>
                <a:cubicBezTo>
                  <a:pt x="847" y="1646"/>
                  <a:pt x="847" y="1646"/>
                  <a:pt x="847" y="1646"/>
                </a:cubicBezTo>
                <a:cubicBezTo>
                  <a:pt x="846" y="1647"/>
                  <a:pt x="846" y="1647"/>
                  <a:pt x="846" y="1647"/>
                </a:cubicBezTo>
                <a:cubicBezTo>
                  <a:pt x="847" y="1645"/>
                  <a:pt x="847" y="1645"/>
                  <a:pt x="847" y="1645"/>
                </a:cubicBezTo>
                <a:cubicBezTo>
                  <a:pt x="845" y="1642"/>
                  <a:pt x="845" y="1642"/>
                  <a:pt x="845" y="1642"/>
                </a:cubicBezTo>
                <a:cubicBezTo>
                  <a:pt x="844" y="1641"/>
                  <a:pt x="844" y="1641"/>
                  <a:pt x="844" y="1641"/>
                </a:cubicBezTo>
                <a:cubicBezTo>
                  <a:pt x="843" y="1642"/>
                  <a:pt x="843" y="1642"/>
                  <a:pt x="843" y="1642"/>
                </a:cubicBezTo>
                <a:cubicBezTo>
                  <a:pt x="843" y="1644"/>
                  <a:pt x="843" y="1644"/>
                  <a:pt x="843" y="1644"/>
                </a:cubicBezTo>
                <a:cubicBezTo>
                  <a:pt x="844" y="1645"/>
                  <a:pt x="844" y="1645"/>
                  <a:pt x="844" y="1645"/>
                </a:cubicBezTo>
                <a:cubicBezTo>
                  <a:pt x="843" y="1646"/>
                  <a:pt x="843" y="1646"/>
                  <a:pt x="843" y="1646"/>
                </a:cubicBezTo>
                <a:cubicBezTo>
                  <a:pt x="842" y="1645"/>
                  <a:pt x="842" y="1645"/>
                  <a:pt x="842" y="1645"/>
                </a:cubicBezTo>
                <a:cubicBezTo>
                  <a:pt x="842" y="1644"/>
                  <a:pt x="842" y="1644"/>
                  <a:pt x="842" y="1644"/>
                </a:cubicBezTo>
                <a:cubicBezTo>
                  <a:pt x="841" y="1644"/>
                  <a:pt x="841" y="1644"/>
                  <a:pt x="841" y="1644"/>
                </a:cubicBezTo>
                <a:cubicBezTo>
                  <a:pt x="839" y="1645"/>
                  <a:pt x="839" y="1645"/>
                  <a:pt x="839" y="1645"/>
                </a:cubicBezTo>
                <a:cubicBezTo>
                  <a:pt x="837" y="1645"/>
                  <a:pt x="837" y="1645"/>
                  <a:pt x="837" y="1645"/>
                </a:cubicBezTo>
                <a:cubicBezTo>
                  <a:pt x="835" y="1646"/>
                  <a:pt x="835" y="1646"/>
                  <a:pt x="835" y="1646"/>
                </a:cubicBezTo>
                <a:cubicBezTo>
                  <a:pt x="837" y="1647"/>
                  <a:pt x="837" y="1647"/>
                  <a:pt x="837" y="1647"/>
                </a:cubicBezTo>
                <a:cubicBezTo>
                  <a:pt x="837" y="1649"/>
                  <a:pt x="837" y="1649"/>
                  <a:pt x="837" y="1649"/>
                </a:cubicBezTo>
                <a:cubicBezTo>
                  <a:pt x="838" y="1651"/>
                  <a:pt x="838" y="1651"/>
                  <a:pt x="838" y="1651"/>
                </a:cubicBezTo>
                <a:cubicBezTo>
                  <a:pt x="838" y="1652"/>
                  <a:pt x="838" y="1652"/>
                  <a:pt x="838" y="1652"/>
                </a:cubicBezTo>
                <a:cubicBezTo>
                  <a:pt x="838" y="1653"/>
                  <a:pt x="838" y="1653"/>
                  <a:pt x="838" y="1653"/>
                </a:cubicBezTo>
                <a:cubicBezTo>
                  <a:pt x="838" y="1654"/>
                  <a:pt x="838" y="1654"/>
                  <a:pt x="838" y="1654"/>
                </a:cubicBezTo>
                <a:cubicBezTo>
                  <a:pt x="839" y="1654"/>
                  <a:pt x="839" y="1654"/>
                  <a:pt x="839" y="1654"/>
                </a:cubicBezTo>
                <a:cubicBezTo>
                  <a:pt x="840" y="1653"/>
                  <a:pt x="840" y="1653"/>
                  <a:pt x="840" y="1653"/>
                </a:cubicBezTo>
                <a:cubicBezTo>
                  <a:pt x="841" y="1653"/>
                  <a:pt x="841" y="1653"/>
                  <a:pt x="841" y="1653"/>
                </a:cubicBezTo>
                <a:cubicBezTo>
                  <a:pt x="843" y="1654"/>
                  <a:pt x="843" y="1654"/>
                  <a:pt x="843" y="1654"/>
                </a:cubicBezTo>
                <a:cubicBezTo>
                  <a:pt x="843" y="1654"/>
                  <a:pt x="843" y="1654"/>
                  <a:pt x="843" y="1654"/>
                </a:cubicBezTo>
                <a:cubicBezTo>
                  <a:pt x="841" y="1655"/>
                  <a:pt x="841" y="1655"/>
                  <a:pt x="841" y="1655"/>
                </a:cubicBezTo>
                <a:cubicBezTo>
                  <a:pt x="840" y="1656"/>
                  <a:pt x="840" y="1656"/>
                  <a:pt x="840" y="1656"/>
                </a:cubicBezTo>
                <a:cubicBezTo>
                  <a:pt x="840" y="1657"/>
                  <a:pt x="840" y="1657"/>
                  <a:pt x="840" y="1657"/>
                </a:cubicBezTo>
                <a:cubicBezTo>
                  <a:pt x="843" y="1657"/>
                  <a:pt x="843" y="1657"/>
                  <a:pt x="843" y="1657"/>
                </a:cubicBezTo>
                <a:cubicBezTo>
                  <a:pt x="845" y="1659"/>
                  <a:pt x="845" y="1659"/>
                  <a:pt x="845" y="1659"/>
                </a:cubicBezTo>
                <a:cubicBezTo>
                  <a:pt x="846" y="1658"/>
                  <a:pt x="846" y="1658"/>
                  <a:pt x="846" y="1658"/>
                </a:cubicBezTo>
                <a:cubicBezTo>
                  <a:pt x="847" y="1657"/>
                  <a:pt x="847" y="1657"/>
                  <a:pt x="847" y="1657"/>
                </a:cubicBezTo>
                <a:cubicBezTo>
                  <a:pt x="846" y="1655"/>
                  <a:pt x="846" y="1655"/>
                  <a:pt x="846" y="1655"/>
                </a:cubicBezTo>
                <a:cubicBezTo>
                  <a:pt x="847" y="1654"/>
                  <a:pt x="847" y="1654"/>
                  <a:pt x="847" y="1654"/>
                </a:cubicBezTo>
                <a:cubicBezTo>
                  <a:pt x="846" y="1652"/>
                  <a:pt x="846" y="1652"/>
                  <a:pt x="846" y="1652"/>
                </a:cubicBezTo>
                <a:cubicBezTo>
                  <a:pt x="845" y="1652"/>
                  <a:pt x="845" y="1652"/>
                  <a:pt x="845" y="1652"/>
                </a:cubicBezTo>
                <a:cubicBezTo>
                  <a:pt x="844" y="1652"/>
                  <a:pt x="844" y="1652"/>
                  <a:pt x="844" y="1652"/>
                </a:cubicBezTo>
                <a:cubicBezTo>
                  <a:pt x="845" y="1652"/>
                  <a:pt x="845" y="1652"/>
                  <a:pt x="845" y="1652"/>
                </a:cubicBezTo>
                <a:cubicBezTo>
                  <a:pt x="846" y="1651"/>
                  <a:pt x="846" y="1651"/>
                  <a:pt x="846" y="1651"/>
                </a:cubicBezTo>
                <a:cubicBezTo>
                  <a:pt x="846" y="1650"/>
                  <a:pt x="846" y="1650"/>
                  <a:pt x="846" y="1650"/>
                </a:cubicBezTo>
                <a:cubicBezTo>
                  <a:pt x="846" y="1649"/>
                  <a:pt x="846" y="1649"/>
                  <a:pt x="846" y="1649"/>
                </a:cubicBezTo>
                <a:cubicBezTo>
                  <a:pt x="849" y="1650"/>
                  <a:pt x="849" y="1650"/>
                  <a:pt x="849" y="1650"/>
                </a:cubicBezTo>
                <a:cubicBezTo>
                  <a:pt x="850" y="1649"/>
                  <a:pt x="850" y="1649"/>
                  <a:pt x="850" y="1649"/>
                </a:cubicBezTo>
                <a:cubicBezTo>
                  <a:pt x="850" y="1650"/>
                  <a:pt x="850" y="1650"/>
                  <a:pt x="850" y="1650"/>
                </a:cubicBezTo>
                <a:cubicBezTo>
                  <a:pt x="851" y="1651"/>
                  <a:pt x="851" y="1651"/>
                  <a:pt x="851" y="1651"/>
                </a:cubicBezTo>
                <a:cubicBezTo>
                  <a:pt x="852" y="1650"/>
                  <a:pt x="852" y="1650"/>
                  <a:pt x="852" y="1650"/>
                </a:cubicBezTo>
                <a:cubicBezTo>
                  <a:pt x="854" y="1649"/>
                  <a:pt x="854" y="1649"/>
                  <a:pt x="854" y="1649"/>
                </a:cubicBezTo>
                <a:cubicBezTo>
                  <a:pt x="855" y="1650"/>
                  <a:pt x="855" y="1650"/>
                  <a:pt x="855" y="1650"/>
                </a:cubicBezTo>
                <a:cubicBezTo>
                  <a:pt x="857" y="1650"/>
                  <a:pt x="857" y="1650"/>
                  <a:pt x="857" y="1650"/>
                </a:cubicBezTo>
                <a:cubicBezTo>
                  <a:pt x="859" y="1650"/>
                  <a:pt x="859" y="1650"/>
                  <a:pt x="859" y="1650"/>
                </a:cubicBezTo>
                <a:cubicBezTo>
                  <a:pt x="859" y="1651"/>
                  <a:pt x="859" y="1651"/>
                  <a:pt x="859" y="1651"/>
                </a:cubicBezTo>
                <a:cubicBezTo>
                  <a:pt x="858" y="1651"/>
                  <a:pt x="858" y="1651"/>
                  <a:pt x="858" y="1651"/>
                </a:cubicBezTo>
                <a:cubicBezTo>
                  <a:pt x="857" y="1652"/>
                  <a:pt x="857" y="1652"/>
                  <a:pt x="857" y="1652"/>
                </a:cubicBezTo>
                <a:cubicBezTo>
                  <a:pt x="856" y="1652"/>
                  <a:pt x="856" y="1652"/>
                  <a:pt x="856" y="1652"/>
                </a:cubicBezTo>
                <a:cubicBezTo>
                  <a:pt x="855" y="1651"/>
                  <a:pt x="855" y="1651"/>
                  <a:pt x="855" y="1651"/>
                </a:cubicBezTo>
                <a:cubicBezTo>
                  <a:pt x="853" y="1652"/>
                  <a:pt x="853" y="1652"/>
                  <a:pt x="853" y="1652"/>
                </a:cubicBezTo>
                <a:cubicBezTo>
                  <a:pt x="850" y="1654"/>
                  <a:pt x="850" y="1654"/>
                  <a:pt x="850" y="1654"/>
                </a:cubicBezTo>
                <a:cubicBezTo>
                  <a:pt x="850" y="1654"/>
                  <a:pt x="850" y="1654"/>
                  <a:pt x="850" y="1654"/>
                </a:cubicBezTo>
                <a:cubicBezTo>
                  <a:pt x="849" y="1654"/>
                  <a:pt x="849" y="1654"/>
                  <a:pt x="849" y="1654"/>
                </a:cubicBezTo>
                <a:cubicBezTo>
                  <a:pt x="847" y="1656"/>
                  <a:pt x="847" y="1656"/>
                  <a:pt x="847" y="1656"/>
                </a:cubicBezTo>
                <a:cubicBezTo>
                  <a:pt x="848" y="1657"/>
                  <a:pt x="848" y="1657"/>
                  <a:pt x="848" y="1657"/>
                </a:cubicBezTo>
                <a:cubicBezTo>
                  <a:pt x="847" y="1658"/>
                  <a:pt x="847" y="1658"/>
                  <a:pt x="847" y="1658"/>
                </a:cubicBezTo>
                <a:cubicBezTo>
                  <a:pt x="847" y="1659"/>
                  <a:pt x="847" y="1659"/>
                  <a:pt x="847" y="1659"/>
                </a:cubicBezTo>
                <a:cubicBezTo>
                  <a:pt x="847" y="1660"/>
                  <a:pt x="847" y="1660"/>
                  <a:pt x="847" y="1660"/>
                </a:cubicBezTo>
                <a:cubicBezTo>
                  <a:pt x="847" y="1660"/>
                  <a:pt x="847" y="1660"/>
                  <a:pt x="847" y="1660"/>
                </a:cubicBezTo>
                <a:cubicBezTo>
                  <a:pt x="847" y="1661"/>
                  <a:pt x="847" y="1661"/>
                  <a:pt x="847" y="1661"/>
                </a:cubicBezTo>
                <a:cubicBezTo>
                  <a:pt x="847" y="1662"/>
                  <a:pt x="847" y="1662"/>
                  <a:pt x="847" y="1662"/>
                </a:cubicBezTo>
                <a:cubicBezTo>
                  <a:pt x="850" y="1663"/>
                  <a:pt x="850" y="1663"/>
                  <a:pt x="850" y="1663"/>
                </a:cubicBezTo>
                <a:cubicBezTo>
                  <a:pt x="852" y="1665"/>
                  <a:pt x="852" y="1665"/>
                  <a:pt x="852" y="1665"/>
                </a:cubicBezTo>
                <a:cubicBezTo>
                  <a:pt x="852" y="1665"/>
                  <a:pt x="852" y="1665"/>
                  <a:pt x="852" y="1665"/>
                </a:cubicBezTo>
                <a:cubicBezTo>
                  <a:pt x="853" y="1664"/>
                  <a:pt x="853" y="1664"/>
                  <a:pt x="853" y="1664"/>
                </a:cubicBezTo>
                <a:cubicBezTo>
                  <a:pt x="852" y="1662"/>
                  <a:pt x="852" y="1662"/>
                  <a:pt x="852" y="1662"/>
                </a:cubicBezTo>
                <a:cubicBezTo>
                  <a:pt x="854" y="1661"/>
                  <a:pt x="854" y="1661"/>
                  <a:pt x="854" y="1661"/>
                </a:cubicBezTo>
                <a:cubicBezTo>
                  <a:pt x="855" y="1661"/>
                  <a:pt x="855" y="1661"/>
                  <a:pt x="855" y="1661"/>
                </a:cubicBezTo>
                <a:cubicBezTo>
                  <a:pt x="855" y="1660"/>
                  <a:pt x="855" y="1660"/>
                  <a:pt x="855" y="1660"/>
                </a:cubicBezTo>
                <a:cubicBezTo>
                  <a:pt x="854" y="1658"/>
                  <a:pt x="854" y="1658"/>
                  <a:pt x="854" y="1658"/>
                </a:cubicBezTo>
                <a:cubicBezTo>
                  <a:pt x="856" y="1657"/>
                  <a:pt x="856" y="1657"/>
                  <a:pt x="856" y="1657"/>
                </a:cubicBezTo>
                <a:cubicBezTo>
                  <a:pt x="858" y="1656"/>
                  <a:pt x="858" y="1656"/>
                  <a:pt x="858" y="1656"/>
                </a:cubicBezTo>
                <a:cubicBezTo>
                  <a:pt x="860" y="1654"/>
                  <a:pt x="860" y="1654"/>
                  <a:pt x="860" y="1654"/>
                </a:cubicBezTo>
                <a:cubicBezTo>
                  <a:pt x="861" y="1653"/>
                  <a:pt x="861" y="1653"/>
                  <a:pt x="861" y="1653"/>
                </a:cubicBezTo>
                <a:cubicBezTo>
                  <a:pt x="861" y="1653"/>
                  <a:pt x="861" y="1653"/>
                  <a:pt x="861" y="1653"/>
                </a:cubicBezTo>
                <a:cubicBezTo>
                  <a:pt x="863" y="1654"/>
                  <a:pt x="863" y="1654"/>
                  <a:pt x="863" y="1654"/>
                </a:cubicBezTo>
                <a:cubicBezTo>
                  <a:pt x="864" y="1654"/>
                  <a:pt x="864" y="1654"/>
                  <a:pt x="864" y="1654"/>
                </a:cubicBezTo>
                <a:cubicBezTo>
                  <a:pt x="864" y="1655"/>
                  <a:pt x="864" y="1655"/>
                  <a:pt x="864" y="1655"/>
                </a:cubicBezTo>
                <a:cubicBezTo>
                  <a:pt x="863" y="1655"/>
                  <a:pt x="863" y="1655"/>
                  <a:pt x="863" y="1655"/>
                </a:cubicBezTo>
                <a:cubicBezTo>
                  <a:pt x="862" y="1657"/>
                  <a:pt x="862" y="1657"/>
                  <a:pt x="862" y="1657"/>
                </a:cubicBezTo>
                <a:cubicBezTo>
                  <a:pt x="861" y="1658"/>
                  <a:pt x="861" y="1658"/>
                  <a:pt x="861" y="1658"/>
                </a:cubicBezTo>
                <a:cubicBezTo>
                  <a:pt x="859" y="1660"/>
                  <a:pt x="859" y="1660"/>
                  <a:pt x="859" y="1660"/>
                </a:cubicBezTo>
                <a:cubicBezTo>
                  <a:pt x="859" y="1662"/>
                  <a:pt x="859" y="1662"/>
                  <a:pt x="859" y="1662"/>
                </a:cubicBezTo>
                <a:cubicBezTo>
                  <a:pt x="860" y="1663"/>
                  <a:pt x="860" y="1663"/>
                  <a:pt x="860" y="1663"/>
                </a:cubicBezTo>
                <a:cubicBezTo>
                  <a:pt x="859" y="1664"/>
                  <a:pt x="859" y="1664"/>
                  <a:pt x="859" y="1664"/>
                </a:cubicBezTo>
                <a:cubicBezTo>
                  <a:pt x="857" y="1665"/>
                  <a:pt x="857" y="1665"/>
                  <a:pt x="857" y="1665"/>
                </a:cubicBezTo>
                <a:cubicBezTo>
                  <a:pt x="857" y="1664"/>
                  <a:pt x="857" y="1664"/>
                  <a:pt x="857" y="1664"/>
                </a:cubicBezTo>
                <a:cubicBezTo>
                  <a:pt x="858" y="1664"/>
                  <a:pt x="858" y="1664"/>
                  <a:pt x="858" y="1664"/>
                </a:cubicBezTo>
                <a:cubicBezTo>
                  <a:pt x="858" y="1661"/>
                  <a:pt x="858" y="1661"/>
                  <a:pt x="858" y="1661"/>
                </a:cubicBezTo>
                <a:cubicBezTo>
                  <a:pt x="858" y="1661"/>
                  <a:pt x="858" y="1661"/>
                  <a:pt x="858" y="1661"/>
                </a:cubicBezTo>
                <a:cubicBezTo>
                  <a:pt x="857" y="1661"/>
                  <a:pt x="857" y="1661"/>
                  <a:pt x="857" y="1661"/>
                </a:cubicBezTo>
                <a:cubicBezTo>
                  <a:pt x="856" y="1663"/>
                  <a:pt x="856" y="1663"/>
                  <a:pt x="856" y="1663"/>
                </a:cubicBezTo>
                <a:cubicBezTo>
                  <a:pt x="856" y="1662"/>
                  <a:pt x="856" y="1662"/>
                  <a:pt x="856" y="1662"/>
                </a:cubicBezTo>
                <a:cubicBezTo>
                  <a:pt x="855" y="1662"/>
                  <a:pt x="855" y="1662"/>
                  <a:pt x="855" y="1662"/>
                </a:cubicBezTo>
                <a:cubicBezTo>
                  <a:pt x="854" y="1663"/>
                  <a:pt x="854" y="1663"/>
                  <a:pt x="854" y="1663"/>
                </a:cubicBezTo>
                <a:cubicBezTo>
                  <a:pt x="855" y="1665"/>
                  <a:pt x="855" y="1665"/>
                  <a:pt x="855" y="1665"/>
                </a:cubicBezTo>
                <a:cubicBezTo>
                  <a:pt x="858" y="1668"/>
                  <a:pt x="858" y="1668"/>
                  <a:pt x="858" y="1668"/>
                </a:cubicBezTo>
                <a:cubicBezTo>
                  <a:pt x="861" y="1669"/>
                  <a:pt x="861" y="1669"/>
                  <a:pt x="861" y="1669"/>
                </a:cubicBezTo>
                <a:cubicBezTo>
                  <a:pt x="863" y="1670"/>
                  <a:pt x="863" y="1670"/>
                  <a:pt x="863" y="1670"/>
                </a:cubicBezTo>
                <a:cubicBezTo>
                  <a:pt x="864" y="1670"/>
                  <a:pt x="864" y="1670"/>
                  <a:pt x="864" y="1670"/>
                </a:cubicBezTo>
                <a:cubicBezTo>
                  <a:pt x="865" y="1670"/>
                  <a:pt x="865" y="1670"/>
                  <a:pt x="865" y="1670"/>
                </a:cubicBezTo>
                <a:cubicBezTo>
                  <a:pt x="866" y="1669"/>
                  <a:pt x="866" y="1669"/>
                  <a:pt x="866" y="1669"/>
                </a:cubicBezTo>
                <a:cubicBezTo>
                  <a:pt x="868" y="1667"/>
                  <a:pt x="868" y="1667"/>
                  <a:pt x="868" y="1667"/>
                </a:cubicBezTo>
                <a:cubicBezTo>
                  <a:pt x="867" y="1664"/>
                  <a:pt x="867" y="1664"/>
                  <a:pt x="867" y="1664"/>
                </a:cubicBezTo>
                <a:cubicBezTo>
                  <a:pt x="867" y="1663"/>
                  <a:pt x="867" y="1663"/>
                  <a:pt x="867" y="1663"/>
                </a:cubicBezTo>
                <a:cubicBezTo>
                  <a:pt x="867" y="1661"/>
                  <a:pt x="867" y="1661"/>
                  <a:pt x="867" y="1661"/>
                </a:cubicBezTo>
                <a:cubicBezTo>
                  <a:pt x="867" y="1659"/>
                  <a:pt x="867" y="1659"/>
                  <a:pt x="867" y="1659"/>
                </a:cubicBezTo>
                <a:cubicBezTo>
                  <a:pt x="867" y="1656"/>
                  <a:pt x="867" y="1656"/>
                  <a:pt x="867" y="1656"/>
                </a:cubicBezTo>
                <a:cubicBezTo>
                  <a:pt x="867" y="1654"/>
                  <a:pt x="867" y="1654"/>
                  <a:pt x="867" y="1654"/>
                </a:cubicBezTo>
                <a:cubicBezTo>
                  <a:pt x="867" y="1652"/>
                  <a:pt x="867" y="1652"/>
                  <a:pt x="867" y="1652"/>
                </a:cubicBezTo>
                <a:cubicBezTo>
                  <a:pt x="869" y="1651"/>
                  <a:pt x="869" y="1651"/>
                  <a:pt x="869" y="1651"/>
                </a:cubicBezTo>
                <a:cubicBezTo>
                  <a:pt x="872" y="1648"/>
                  <a:pt x="872" y="1648"/>
                  <a:pt x="872" y="1648"/>
                </a:cubicBezTo>
                <a:cubicBezTo>
                  <a:pt x="873" y="1647"/>
                  <a:pt x="873" y="1647"/>
                  <a:pt x="873" y="1647"/>
                </a:cubicBezTo>
                <a:cubicBezTo>
                  <a:pt x="875" y="1647"/>
                  <a:pt x="875" y="1647"/>
                  <a:pt x="875" y="1647"/>
                </a:cubicBezTo>
                <a:cubicBezTo>
                  <a:pt x="876" y="1647"/>
                  <a:pt x="876" y="1647"/>
                  <a:pt x="876" y="1647"/>
                </a:cubicBezTo>
                <a:cubicBezTo>
                  <a:pt x="876" y="1644"/>
                  <a:pt x="876" y="1644"/>
                  <a:pt x="876" y="1644"/>
                </a:cubicBezTo>
                <a:cubicBezTo>
                  <a:pt x="877" y="1643"/>
                  <a:pt x="877" y="1643"/>
                  <a:pt x="877" y="1643"/>
                </a:cubicBezTo>
                <a:cubicBezTo>
                  <a:pt x="879" y="1642"/>
                  <a:pt x="879" y="1642"/>
                  <a:pt x="879" y="1642"/>
                </a:cubicBezTo>
                <a:cubicBezTo>
                  <a:pt x="882" y="1644"/>
                  <a:pt x="882" y="1644"/>
                  <a:pt x="882" y="1644"/>
                </a:cubicBezTo>
                <a:cubicBezTo>
                  <a:pt x="883" y="1643"/>
                  <a:pt x="883" y="1643"/>
                  <a:pt x="883" y="1643"/>
                </a:cubicBezTo>
                <a:cubicBezTo>
                  <a:pt x="883" y="1643"/>
                  <a:pt x="883" y="1643"/>
                  <a:pt x="883" y="1643"/>
                </a:cubicBezTo>
                <a:cubicBezTo>
                  <a:pt x="886" y="1644"/>
                  <a:pt x="886" y="1644"/>
                  <a:pt x="886" y="1644"/>
                </a:cubicBezTo>
                <a:cubicBezTo>
                  <a:pt x="887" y="1644"/>
                  <a:pt x="887" y="1644"/>
                  <a:pt x="887" y="1644"/>
                </a:cubicBezTo>
                <a:cubicBezTo>
                  <a:pt x="886" y="1643"/>
                  <a:pt x="886" y="1643"/>
                  <a:pt x="886" y="1643"/>
                </a:cubicBezTo>
                <a:cubicBezTo>
                  <a:pt x="884" y="1641"/>
                  <a:pt x="884" y="1641"/>
                  <a:pt x="884" y="1641"/>
                </a:cubicBezTo>
                <a:cubicBezTo>
                  <a:pt x="881" y="1639"/>
                  <a:pt x="881" y="1639"/>
                  <a:pt x="881" y="1639"/>
                </a:cubicBezTo>
                <a:cubicBezTo>
                  <a:pt x="881" y="1637"/>
                  <a:pt x="881" y="1637"/>
                  <a:pt x="881" y="1637"/>
                </a:cubicBezTo>
                <a:cubicBezTo>
                  <a:pt x="879" y="1635"/>
                  <a:pt x="879" y="1635"/>
                  <a:pt x="879" y="1635"/>
                </a:cubicBezTo>
                <a:cubicBezTo>
                  <a:pt x="878" y="1636"/>
                  <a:pt x="878" y="1636"/>
                  <a:pt x="878" y="1636"/>
                </a:cubicBezTo>
                <a:cubicBezTo>
                  <a:pt x="877" y="1634"/>
                  <a:pt x="877" y="1634"/>
                  <a:pt x="877" y="1634"/>
                </a:cubicBezTo>
                <a:cubicBezTo>
                  <a:pt x="878" y="1634"/>
                  <a:pt x="878" y="1634"/>
                  <a:pt x="878" y="1634"/>
                </a:cubicBezTo>
                <a:cubicBezTo>
                  <a:pt x="879" y="1632"/>
                  <a:pt x="879" y="1632"/>
                  <a:pt x="879" y="1632"/>
                </a:cubicBezTo>
                <a:cubicBezTo>
                  <a:pt x="878" y="1632"/>
                  <a:pt x="878" y="1632"/>
                  <a:pt x="878" y="1632"/>
                </a:cubicBezTo>
                <a:cubicBezTo>
                  <a:pt x="878" y="1631"/>
                  <a:pt x="878" y="1631"/>
                  <a:pt x="878" y="1631"/>
                </a:cubicBezTo>
                <a:cubicBezTo>
                  <a:pt x="876" y="1626"/>
                  <a:pt x="876" y="1626"/>
                  <a:pt x="876" y="1626"/>
                </a:cubicBezTo>
                <a:cubicBezTo>
                  <a:pt x="874" y="1623"/>
                  <a:pt x="874" y="1623"/>
                  <a:pt x="874" y="1623"/>
                </a:cubicBezTo>
                <a:cubicBezTo>
                  <a:pt x="874" y="1620"/>
                  <a:pt x="874" y="1620"/>
                  <a:pt x="874" y="1620"/>
                </a:cubicBezTo>
                <a:cubicBezTo>
                  <a:pt x="875" y="1616"/>
                  <a:pt x="875" y="1616"/>
                  <a:pt x="875" y="1616"/>
                </a:cubicBezTo>
                <a:cubicBezTo>
                  <a:pt x="878" y="1614"/>
                  <a:pt x="878" y="1614"/>
                  <a:pt x="878" y="1614"/>
                </a:cubicBezTo>
                <a:cubicBezTo>
                  <a:pt x="878" y="1613"/>
                  <a:pt x="878" y="1613"/>
                  <a:pt x="878" y="1613"/>
                </a:cubicBezTo>
                <a:cubicBezTo>
                  <a:pt x="878" y="1612"/>
                  <a:pt x="878" y="1612"/>
                  <a:pt x="878" y="1612"/>
                </a:cubicBezTo>
                <a:cubicBezTo>
                  <a:pt x="878" y="1610"/>
                  <a:pt x="878" y="1610"/>
                  <a:pt x="878" y="1610"/>
                </a:cubicBezTo>
                <a:cubicBezTo>
                  <a:pt x="877" y="1609"/>
                  <a:pt x="877" y="1609"/>
                  <a:pt x="877" y="1609"/>
                </a:cubicBezTo>
                <a:cubicBezTo>
                  <a:pt x="878" y="1610"/>
                  <a:pt x="878" y="1610"/>
                  <a:pt x="878" y="1610"/>
                </a:cubicBezTo>
                <a:cubicBezTo>
                  <a:pt x="879" y="1611"/>
                  <a:pt x="879" y="1611"/>
                  <a:pt x="879" y="1611"/>
                </a:cubicBezTo>
                <a:cubicBezTo>
                  <a:pt x="881" y="1612"/>
                  <a:pt x="881" y="1612"/>
                  <a:pt x="881" y="1612"/>
                </a:cubicBezTo>
                <a:cubicBezTo>
                  <a:pt x="883" y="1610"/>
                  <a:pt x="883" y="1610"/>
                  <a:pt x="883" y="1610"/>
                </a:cubicBezTo>
                <a:cubicBezTo>
                  <a:pt x="883" y="1608"/>
                  <a:pt x="883" y="1608"/>
                  <a:pt x="883" y="1608"/>
                </a:cubicBezTo>
                <a:cubicBezTo>
                  <a:pt x="885" y="1606"/>
                  <a:pt x="885" y="1606"/>
                  <a:pt x="885" y="1606"/>
                </a:cubicBezTo>
                <a:cubicBezTo>
                  <a:pt x="886" y="1605"/>
                  <a:pt x="886" y="1605"/>
                  <a:pt x="886" y="1605"/>
                </a:cubicBezTo>
                <a:cubicBezTo>
                  <a:pt x="885" y="1602"/>
                  <a:pt x="885" y="1602"/>
                  <a:pt x="885" y="1602"/>
                </a:cubicBezTo>
                <a:cubicBezTo>
                  <a:pt x="884" y="1601"/>
                  <a:pt x="884" y="1601"/>
                  <a:pt x="884" y="1601"/>
                </a:cubicBezTo>
                <a:cubicBezTo>
                  <a:pt x="883" y="1602"/>
                  <a:pt x="883" y="1602"/>
                  <a:pt x="883" y="1602"/>
                </a:cubicBezTo>
                <a:cubicBezTo>
                  <a:pt x="883" y="1601"/>
                  <a:pt x="883" y="1601"/>
                  <a:pt x="883" y="1601"/>
                </a:cubicBezTo>
                <a:cubicBezTo>
                  <a:pt x="885" y="1599"/>
                  <a:pt x="885" y="1599"/>
                  <a:pt x="885" y="1599"/>
                </a:cubicBezTo>
                <a:cubicBezTo>
                  <a:pt x="886" y="1597"/>
                  <a:pt x="886" y="1597"/>
                  <a:pt x="886" y="1597"/>
                </a:cubicBezTo>
                <a:cubicBezTo>
                  <a:pt x="886" y="1594"/>
                  <a:pt x="886" y="1594"/>
                  <a:pt x="886" y="1594"/>
                </a:cubicBezTo>
                <a:cubicBezTo>
                  <a:pt x="888" y="1592"/>
                  <a:pt x="888" y="1592"/>
                  <a:pt x="888" y="1592"/>
                </a:cubicBezTo>
                <a:cubicBezTo>
                  <a:pt x="890" y="1592"/>
                  <a:pt x="890" y="1592"/>
                  <a:pt x="890" y="1592"/>
                </a:cubicBezTo>
                <a:cubicBezTo>
                  <a:pt x="891" y="1590"/>
                  <a:pt x="891" y="1590"/>
                  <a:pt x="891" y="1590"/>
                </a:cubicBezTo>
                <a:cubicBezTo>
                  <a:pt x="892" y="1588"/>
                  <a:pt x="892" y="1588"/>
                  <a:pt x="892" y="1588"/>
                </a:cubicBezTo>
                <a:cubicBezTo>
                  <a:pt x="893" y="1587"/>
                  <a:pt x="893" y="1587"/>
                  <a:pt x="893" y="1587"/>
                </a:cubicBezTo>
                <a:cubicBezTo>
                  <a:pt x="894" y="1586"/>
                  <a:pt x="894" y="1586"/>
                  <a:pt x="894" y="1586"/>
                </a:cubicBezTo>
                <a:cubicBezTo>
                  <a:pt x="895" y="1585"/>
                  <a:pt x="895" y="1585"/>
                  <a:pt x="895" y="1585"/>
                </a:cubicBezTo>
                <a:cubicBezTo>
                  <a:pt x="897" y="1583"/>
                  <a:pt x="897" y="1583"/>
                  <a:pt x="897" y="1583"/>
                </a:cubicBezTo>
                <a:cubicBezTo>
                  <a:pt x="897" y="1582"/>
                  <a:pt x="897" y="1582"/>
                  <a:pt x="897" y="1582"/>
                </a:cubicBezTo>
                <a:cubicBezTo>
                  <a:pt x="897" y="1581"/>
                  <a:pt x="897" y="1581"/>
                  <a:pt x="897" y="1581"/>
                </a:cubicBezTo>
                <a:cubicBezTo>
                  <a:pt x="898" y="1580"/>
                  <a:pt x="898" y="1580"/>
                  <a:pt x="898" y="1580"/>
                </a:cubicBezTo>
                <a:cubicBezTo>
                  <a:pt x="896" y="1579"/>
                  <a:pt x="896" y="1579"/>
                  <a:pt x="896" y="1579"/>
                </a:cubicBezTo>
                <a:cubicBezTo>
                  <a:pt x="895" y="1579"/>
                  <a:pt x="895" y="1579"/>
                  <a:pt x="895" y="1579"/>
                </a:cubicBezTo>
                <a:cubicBezTo>
                  <a:pt x="897" y="1577"/>
                  <a:pt x="897" y="1577"/>
                  <a:pt x="897" y="1577"/>
                </a:cubicBezTo>
                <a:cubicBezTo>
                  <a:pt x="897" y="1575"/>
                  <a:pt x="897" y="1575"/>
                  <a:pt x="897" y="1575"/>
                </a:cubicBezTo>
                <a:cubicBezTo>
                  <a:pt x="896" y="1573"/>
                  <a:pt x="896" y="1573"/>
                  <a:pt x="896" y="1573"/>
                </a:cubicBezTo>
                <a:cubicBezTo>
                  <a:pt x="896" y="1572"/>
                  <a:pt x="896" y="1572"/>
                  <a:pt x="896" y="1572"/>
                </a:cubicBezTo>
                <a:cubicBezTo>
                  <a:pt x="896" y="1571"/>
                  <a:pt x="896" y="1571"/>
                  <a:pt x="896" y="1571"/>
                </a:cubicBezTo>
                <a:cubicBezTo>
                  <a:pt x="896" y="1570"/>
                  <a:pt x="896" y="1570"/>
                  <a:pt x="896" y="1570"/>
                </a:cubicBezTo>
                <a:cubicBezTo>
                  <a:pt x="894" y="1569"/>
                  <a:pt x="894" y="1569"/>
                  <a:pt x="894" y="1569"/>
                </a:cubicBezTo>
                <a:cubicBezTo>
                  <a:pt x="893" y="1570"/>
                  <a:pt x="893" y="1570"/>
                  <a:pt x="893" y="1570"/>
                </a:cubicBezTo>
                <a:cubicBezTo>
                  <a:pt x="891" y="1570"/>
                  <a:pt x="891" y="1570"/>
                  <a:pt x="891" y="1570"/>
                </a:cubicBezTo>
                <a:cubicBezTo>
                  <a:pt x="888" y="1570"/>
                  <a:pt x="888" y="1570"/>
                  <a:pt x="888" y="1570"/>
                </a:cubicBezTo>
                <a:cubicBezTo>
                  <a:pt x="884" y="1566"/>
                  <a:pt x="884" y="1566"/>
                  <a:pt x="884" y="1566"/>
                </a:cubicBezTo>
                <a:cubicBezTo>
                  <a:pt x="881" y="1564"/>
                  <a:pt x="881" y="1564"/>
                  <a:pt x="881" y="1564"/>
                </a:cubicBezTo>
                <a:cubicBezTo>
                  <a:pt x="880" y="1564"/>
                  <a:pt x="880" y="1564"/>
                  <a:pt x="880" y="1564"/>
                </a:cubicBezTo>
                <a:cubicBezTo>
                  <a:pt x="878" y="1562"/>
                  <a:pt x="878" y="1562"/>
                  <a:pt x="878" y="1562"/>
                </a:cubicBezTo>
                <a:cubicBezTo>
                  <a:pt x="876" y="1558"/>
                  <a:pt x="876" y="1558"/>
                  <a:pt x="876" y="1558"/>
                </a:cubicBezTo>
                <a:cubicBezTo>
                  <a:pt x="876" y="1556"/>
                  <a:pt x="876" y="1556"/>
                  <a:pt x="876" y="1556"/>
                </a:cubicBezTo>
                <a:cubicBezTo>
                  <a:pt x="875" y="1554"/>
                  <a:pt x="875" y="1554"/>
                  <a:pt x="875" y="1554"/>
                </a:cubicBezTo>
                <a:cubicBezTo>
                  <a:pt x="875" y="1553"/>
                  <a:pt x="875" y="1553"/>
                  <a:pt x="875" y="1553"/>
                </a:cubicBezTo>
                <a:cubicBezTo>
                  <a:pt x="877" y="1552"/>
                  <a:pt x="877" y="1552"/>
                  <a:pt x="877" y="1552"/>
                </a:cubicBezTo>
                <a:cubicBezTo>
                  <a:pt x="878" y="1550"/>
                  <a:pt x="878" y="1550"/>
                  <a:pt x="878" y="1550"/>
                </a:cubicBezTo>
                <a:cubicBezTo>
                  <a:pt x="879" y="1547"/>
                  <a:pt x="879" y="1547"/>
                  <a:pt x="879" y="1547"/>
                </a:cubicBezTo>
                <a:cubicBezTo>
                  <a:pt x="880" y="1547"/>
                  <a:pt x="880" y="1547"/>
                  <a:pt x="880" y="1547"/>
                </a:cubicBezTo>
                <a:cubicBezTo>
                  <a:pt x="881" y="1545"/>
                  <a:pt x="881" y="1545"/>
                  <a:pt x="881" y="1545"/>
                </a:cubicBezTo>
                <a:cubicBezTo>
                  <a:pt x="884" y="1545"/>
                  <a:pt x="884" y="1545"/>
                  <a:pt x="884" y="1545"/>
                </a:cubicBezTo>
                <a:cubicBezTo>
                  <a:pt x="886" y="1543"/>
                  <a:pt x="886" y="1543"/>
                  <a:pt x="886" y="1543"/>
                </a:cubicBezTo>
                <a:cubicBezTo>
                  <a:pt x="889" y="1542"/>
                  <a:pt x="889" y="1542"/>
                  <a:pt x="889" y="1542"/>
                </a:cubicBezTo>
                <a:cubicBezTo>
                  <a:pt x="890" y="1543"/>
                  <a:pt x="890" y="1543"/>
                  <a:pt x="890" y="1543"/>
                </a:cubicBezTo>
                <a:cubicBezTo>
                  <a:pt x="894" y="1542"/>
                  <a:pt x="894" y="1542"/>
                  <a:pt x="894" y="1542"/>
                </a:cubicBezTo>
                <a:cubicBezTo>
                  <a:pt x="894" y="1541"/>
                  <a:pt x="894" y="1541"/>
                  <a:pt x="894" y="1541"/>
                </a:cubicBezTo>
                <a:cubicBezTo>
                  <a:pt x="893" y="1540"/>
                  <a:pt x="893" y="1540"/>
                  <a:pt x="893" y="1540"/>
                </a:cubicBezTo>
                <a:cubicBezTo>
                  <a:pt x="891" y="1539"/>
                  <a:pt x="891" y="1539"/>
                  <a:pt x="891" y="1539"/>
                </a:cubicBezTo>
                <a:cubicBezTo>
                  <a:pt x="891" y="1539"/>
                  <a:pt x="891" y="1539"/>
                  <a:pt x="891" y="1539"/>
                </a:cubicBezTo>
                <a:cubicBezTo>
                  <a:pt x="891" y="1537"/>
                  <a:pt x="891" y="1537"/>
                  <a:pt x="891" y="1537"/>
                </a:cubicBezTo>
                <a:cubicBezTo>
                  <a:pt x="894" y="1535"/>
                  <a:pt x="894" y="1535"/>
                  <a:pt x="894" y="1535"/>
                </a:cubicBezTo>
                <a:cubicBezTo>
                  <a:pt x="894" y="1535"/>
                  <a:pt x="894" y="1535"/>
                  <a:pt x="894" y="1535"/>
                </a:cubicBezTo>
                <a:cubicBezTo>
                  <a:pt x="895" y="1533"/>
                  <a:pt x="895" y="1533"/>
                  <a:pt x="895" y="1533"/>
                </a:cubicBezTo>
                <a:cubicBezTo>
                  <a:pt x="895" y="1532"/>
                  <a:pt x="895" y="1532"/>
                  <a:pt x="895" y="1532"/>
                </a:cubicBezTo>
                <a:cubicBezTo>
                  <a:pt x="892" y="1530"/>
                  <a:pt x="892" y="1530"/>
                  <a:pt x="892" y="1530"/>
                </a:cubicBezTo>
                <a:cubicBezTo>
                  <a:pt x="893" y="1528"/>
                  <a:pt x="893" y="1528"/>
                  <a:pt x="893" y="1528"/>
                </a:cubicBezTo>
                <a:cubicBezTo>
                  <a:pt x="893" y="1527"/>
                  <a:pt x="893" y="1527"/>
                  <a:pt x="893" y="1527"/>
                </a:cubicBezTo>
                <a:cubicBezTo>
                  <a:pt x="892" y="1526"/>
                  <a:pt x="892" y="1526"/>
                  <a:pt x="892" y="1526"/>
                </a:cubicBezTo>
                <a:cubicBezTo>
                  <a:pt x="891" y="1523"/>
                  <a:pt x="891" y="1523"/>
                  <a:pt x="891" y="1523"/>
                </a:cubicBezTo>
                <a:cubicBezTo>
                  <a:pt x="893" y="1522"/>
                  <a:pt x="893" y="1522"/>
                  <a:pt x="893" y="1522"/>
                </a:cubicBezTo>
                <a:cubicBezTo>
                  <a:pt x="894" y="1520"/>
                  <a:pt x="894" y="1520"/>
                  <a:pt x="894" y="1520"/>
                </a:cubicBezTo>
                <a:cubicBezTo>
                  <a:pt x="893" y="1519"/>
                  <a:pt x="893" y="1519"/>
                  <a:pt x="893" y="1519"/>
                </a:cubicBezTo>
                <a:cubicBezTo>
                  <a:pt x="894" y="1518"/>
                  <a:pt x="894" y="1518"/>
                  <a:pt x="894" y="1518"/>
                </a:cubicBezTo>
                <a:cubicBezTo>
                  <a:pt x="897" y="1517"/>
                  <a:pt x="897" y="1517"/>
                  <a:pt x="897" y="1517"/>
                </a:cubicBezTo>
                <a:cubicBezTo>
                  <a:pt x="900" y="1514"/>
                  <a:pt x="900" y="1514"/>
                  <a:pt x="900" y="1514"/>
                </a:cubicBezTo>
                <a:cubicBezTo>
                  <a:pt x="899" y="1513"/>
                  <a:pt x="899" y="1513"/>
                  <a:pt x="899" y="1513"/>
                </a:cubicBezTo>
                <a:cubicBezTo>
                  <a:pt x="896" y="1513"/>
                  <a:pt x="896" y="1513"/>
                  <a:pt x="896" y="1513"/>
                </a:cubicBezTo>
                <a:cubicBezTo>
                  <a:pt x="894" y="1512"/>
                  <a:pt x="894" y="1512"/>
                  <a:pt x="894" y="1512"/>
                </a:cubicBezTo>
                <a:cubicBezTo>
                  <a:pt x="894" y="1511"/>
                  <a:pt x="894" y="1511"/>
                  <a:pt x="894" y="1511"/>
                </a:cubicBezTo>
                <a:cubicBezTo>
                  <a:pt x="894" y="1510"/>
                  <a:pt x="894" y="1510"/>
                  <a:pt x="894" y="1510"/>
                </a:cubicBezTo>
                <a:cubicBezTo>
                  <a:pt x="896" y="1509"/>
                  <a:pt x="896" y="1509"/>
                  <a:pt x="896" y="1509"/>
                </a:cubicBezTo>
                <a:cubicBezTo>
                  <a:pt x="898" y="1508"/>
                  <a:pt x="898" y="1508"/>
                  <a:pt x="898" y="1508"/>
                </a:cubicBezTo>
                <a:cubicBezTo>
                  <a:pt x="901" y="1509"/>
                  <a:pt x="901" y="1509"/>
                  <a:pt x="901" y="1509"/>
                </a:cubicBezTo>
                <a:cubicBezTo>
                  <a:pt x="901" y="1510"/>
                  <a:pt x="901" y="1510"/>
                  <a:pt x="901" y="1510"/>
                </a:cubicBezTo>
                <a:cubicBezTo>
                  <a:pt x="901" y="1511"/>
                  <a:pt x="901" y="1511"/>
                  <a:pt x="901" y="1511"/>
                </a:cubicBezTo>
                <a:cubicBezTo>
                  <a:pt x="901" y="1513"/>
                  <a:pt x="901" y="1513"/>
                  <a:pt x="901" y="1513"/>
                </a:cubicBezTo>
                <a:cubicBezTo>
                  <a:pt x="903" y="1513"/>
                  <a:pt x="903" y="1513"/>
                  <a:pt x="903" y="1513"/>
                </a:cubicBezTo>
                <a:cubicBezTo>
                  <a:pt x="907" y="1511"/>
                  <a:pt x="907" y="1511"/>
                  <a:pt x="907" y="1511"/>
                </a:cubicBezTo>
                <a:cubicBezTo>
                  <a:pt x="907" y="1509"/>
                  <a:pt x="907" y="1509"/>
                  <a:pt x="907" y="1509"/>
                </a:cubicBezTo>
                <a:cubicBezTo>
                  <a:pt x="906" y="1507"/>
                  <a:pt x="906" y="1507"/>
                  <a:pt x="906" y="1507"/>
                </a:cubicBezTo>
                <a:cubicBezTo>
                  <a:pt x="905" y="1505"/>
                  <a:pt x="905" y="1505"/>
                  <a:pt x="905" y="1505"/>
                </a:cubicBezTo>
                <a:cubicBezTo>
                  <a:pt x="906" y="1505"/>
                  <a:pt x="906" y="1505"/>
                  <a:pt x="906" y="1505"/>
                </a:cubicBezTo>
                <a:cubicBezTo>
                  <a:pt x="906" y="1503"/>
                  <a:pt x="906" y="1503"/>
                  <a:pt x="906" y="1503"/>
                </a:cubicBezTo>
                <a:cubicBezTo>
                  <a:pt x="905" y="1501"/>
                  <a:pt x="905" y="1501"/>
                  <a:pt x="905" y="1501"/>
                </a:cubicBezTo>
                <a:cubicBezTo>
                  <a:pt x="903" y="1501"/>
                  <a:pt x="903" y="1501"/>
                  <a:pt x="903" y="1501"/>
                </a:cubicBezTo>
                <a:cubicBezTo>
                  <a:pt x="901" y="1502"/>
                  <a:pt x="901" y="1502"/>
                  <a:pt x="901" y="1502"/>
                </a:cubicBezTo>
                <a:cubicBezTo>
                  <a:pt x="900" y="1502"/>
                  <a:pt x="900" y="1502"/>
                  <a:pt x="900" y="1502"/>
                </a:cubicBezTo>
                <a:cubicBezTo>
                  <a:pt x="899" y="1503"/>
                  <a:pt x="899" y="1503"/>
                  <a:pt x="899" y="1503"/>
                </a:cubicBezTo>
                <a:cubicBezTo>
                  <a:pt x="900" y="1503"/>
                  <a:pt x="900" y="1503"/>
                  <a:pt x="900" y="1503"/>
                </a:cubicBezTo>
                <a:cubicBezTo>
                  <a:pt x="901" y="1504"/>
                  <a:pt x="901" y="1504"/>
                  <a:pt x="901" y="1504"/>
                </a:cubicBezTo>
                <a:cubicBezTo>
                  <a:pt x="901" y="1505"/>
                  <a:pt x="901" y="1505"/>
                  <a:pt x="901" y="1505"/>
                </a:cubicBezTo>
                <a:cubicBezTo>
                  <a:pt x="898" y="1506"/>
                  <a:pt x="898" y="1506"/>
                  <a:pt x="898" y="1506"/>
                </a:cubicBezTo>
                <a:cubicBezTo>
                  <a:pt x="896" y="1505"/>
                  <a:pt x="896" y="1505"/>
                  <a:pt x="896" y="1505"/>
                </a:cubicBezTo>
                <a:cubicBezTo>
                  <a:pt x="897" y="1504"/>
                  <a:pt x="897" y="1504"/>
                  <a:pt x="897" y="1504"/>
                </a:cubicBezTo>
                <a:cubicBezTo>
                  <a:pt x="898" y="1504"/>
                  <a:pt x="898" y="1504"/>
                  <a:pt x="898" y="1504"/>
                </a:cubicBezTo>
                <a:cubicBezTo>
                  <a:pt x="897" y="1503"/>
                  <a:pt x="897" y="1503"/>
                  <a:pt x="897" y="1503"/>
                </a:cubicBezTo>
                <a:cubicBezTo>
                  <a:pt x="894" y="1503"/>
                  <a:pt x="894" y="1503"/>
                  <a:pt x="894" y="1503"/>
                </a:cubicBezTo>
                <a:cubicBezTo>
                  <a:pt x="892" y="1502"/>
                  <a:pt x="892" y="1502"/>
                  <a:pt x="892" y="1502"/>
                </a:cubicBezTo>
                <a:cubicBezTo>
                  <a:pt x="891" y="1500"/>
                  <a:pt x="891" y="1500"/>
                  <a:pt x="891" y="1500"/>
                </a:cubicBezTo>
                <a:cubicBezTo>
                  <a:pt x="891" y="1495"/>
                  <a:pt x="891" y="1495"/>
                  <a:pt x="891" y="1495"/>
                </a:cubicBezTo>
                <a:cubicBezTo>
                  <a:pt x="890" y="1492"/>
                  <a:pt x="890" y="1492"/>
                  <a:pt x="890" y="1492"/>
                </a:cubicBezTo>
                <a:cubicBezTo>
                  <a:pt x="888" y="1490"/>
                  <a:pt x="888" y="1490"/>
                  <a:pt x="888" y="1490"/>
                </a:cubicBezTo>
                <a:cubicBezTo>
                  <a:pt x="888" y="1486"/>
                  <a:pt x="888" y="1486"/>
                  <a:pt x="888" y="1486"/>
                </a:cubicBezTo>
                <a:cubicBezTo>
                  <a:pt x="890" y="1484"/>
                  <a:pt x="890" y="1484"/>
                  <a:pt x="890" y="1484"/>
                </a:cubicBezTo>
                <a:cubicBezTo>
                  <a:pt x="892" y="1484"/>
                  <a:pt x="892" y="1484"/>
                  <a:pt x="892" y="1484"/>
                </a:cubicBezTo>
                <a:cubicBezTo>
                  <a:pt x="891" y="1485"/>
                  <a:pt x="891" y="1485"/>
                  <a:pt x="891" y="1485"/>
                </a:cubicBezTo>
                <a:cubicBezTo>
                  <a:pt x="892" y="1486"/>
                  <a:pt x="892" y="1486"/>
                  <a:pt x="892" y="1486"/>
                </a:cubicBezTo>
                <a:cubicBezTo>
                  <a:pt x="894" y="1485"/>
                  <a:pt x="894" y="1485"/>
                  <a:pt x="894" y="1485"/>
                </a:cubicBezTo>
                <a:cubicBezTo>
                  <a:pt x="898" y="1487"/>
                  <a:pt x="898" y="1487"/>
                  <a:pt x="898" y="1487"/>
                </a:cubicBezTo>
                <a:cubicBezTo>
                  <a:pt x="901" y="1490"/>
                  <a:pt x="901" y="1490"/>
                  <a:pt x="901" y="1490"/>
                </a:cubicBezTo>
                <a:cubicBezTo>
                  <a:pt x="904" y="1490"/>
                  <a:pt x="904" y="1490"/>
                  <a:pt x="904" y="1490"/>
                </a:cubicBezTo>
                <a:cubicBezTo>
                  <a:pt x="910" y="1490"/>
                  <a:pt x="910" y="1490"/>
                  <a:pt x="910" y="1490"/>
                </a:cubicBezTo>
                <a:cubicBezTo>
                  <a:pt x="914" y="1488"/>
                  <a:pt x="914" y="1488"/>
                  <a:pt x="914" y="1488"/>
                </a:cubicBezTo>
                <a:cubicBezTo>
                  <a:pt x="913" y="1487"/>
                  <a:pt x="913" y="1487"/>
                  <a:pt x="913" y="1487"/>
                </a:cubicBezTo>
                <a:cubicBezTo>
                  <a:pt x="916" y="1486"/>
                  <a:pt x="916" y="1486"/>
                  <a:pt x="916" y="1486"/>
                </a:cubicBezTo>
                <a:cubicBezTo>
                  <a:pt x="916" y="1484"/>
                  <a:pt x="916" y="1484"/>
                  <a:pt x="916" y="1484"/>
                </a:cubicBezTo>
                <a:cubicBezTo>
                  <a:pt x="916" y="1482"/>
                  <a:pt x="916" y="1482"/>
                  <a:pt x="916" y="1482"/>
                </a:cubicBezTo>
                <a:cubicBezTo>
                  <a:pt x="916" y="1481"/>
                  <a:pt x="916" y="1481"/>
                  <a:pt x="916" y="1481"/>
                </a:cubicBezTo>
                <a:cubicBezTo>
                  <a:pt x="917" y="1480"/>
                  <a:pt x="917" y="1480"/>
                  <a:pt x="917" y="1480"/>
                </a:cubicBezTo>
                <a:cubicBezTo>
                  <a:pt x="915" y="1479"/>
                  <a:pt x="915" y="1479"/>
                  <a:pt x="915" y="1479"/>
                </a:cubicBezTo>
                <a:cubicBezTo>
                  <a:pt x="914" y="1477"/>
                  <a:pt x="914" y="1477"/>
                  <a:pt x="914" y="1477"/>
                </a:cubicBezTo>
                <a:cubicBezTo>
                  <a:pt x="914" y="1475"/>
                  <a:pt x="914" y="1475"/>
                  <a:pt x="914" y="1475"/>
                </a:cubicBezTo>
                <a:cubicBezTo>
                  <a:pt x="914" y="1474"/>
                  <a:pt x="914" y="1474"/>
                  <a:pt x="914" y="1474"/>
                </a:cubicBezTo>
                <a:cubicBezTo>
                  <a:pt x="914" y="1473"/>
                  <a:pt x="914" y="1473"/>
                  <a:pt x="914" y="1473"/>
                </a:cubicBezTo>
                <a:cubicBezTo>
                  <a:pt x="916" y="1471"/>
                  <a:pt x="916" y="1471"/>
                  <a:pt x="916" y="1471"/>
                </a:cubicBezTo>
                <a:cubicBezTo>
                  <a:pt x="916" y="1470"/>
                  <a:pt x="916" y="1470"/>
                  <a:pt x="916" y="1470"/>
                </a:cubicBezTo>
                <a:cubicBezTo>
                  <a:pt x="916" y="1470"/>
                  <a:pt x="916" y="1470"/>
                  <a:pt x="916" y="1470"/>
                </a:cubicBezTo>
                <a:cubicBezTo>
                  <a:pt x="917" y="1469"/>
                  <a:pt x="917" y="1469"/>
                  <a:pt x="917" y="1469"/>
                </a:cubicBezTo>
                <a:cubicBezTo>
                  <a:pt x="916" y="1467"/>
                  <a:pt x="916" y="1467"/>
                  <a:pt x="916" y="1467"/>
                </a:cubicBezTo>
                <a:cubicBezTo>
                  <a:pt x="915" y="1467"/>
                  <a:pt x="915" y="1467"/>
                  <a:pt x="915" y="1467"/>
                </a:cubicBezTo>
                <a:cubicBezTo>
                  <a:pt x="915" y="1466"/>
                  <a:pt x="915" y="1466"/>
                  <a:pt x="915" y="1466"/>
                </a:cubicBezTo>
                <a:cubicBezTo>
                  <a:pt x="914" y="1464"/>
                  <a:pt x="914" y="1464"/>
                  <a:pt x="914" y="1464"/>
                </a:cubicBezTo>
                <a:cubicBezTo>
                  <a:pt x="914" y="1461"/>
                  <a:pt x="914" y="1461"/>
                  <a:pt x="914" y="1461"/>
                </a:cubicBezTo>
                <a:cubicBezTo>
                  <a:pt x="914" y="1460"/>
                  <a:pt x="914" y="1460"/>
                  <a:pt x="914" y="1460"/>
                </a:cubicBezTo>
                <a:cubicBezTo>
                  <a:pt x="914" y="1458"/>
                  <a:pt x="914" y="1458"/>
                  <a:pt x="914" y="1458"/>
                </a:cubicBezTo>
                <a:cubicBezTo>
                  <a:pt x="914" y="1457"/>
                  <a:pt x="914" y="1457"/>
                  <a:pt x="914" y="1457"/>
                </a:cubicBezTo>
                <a:cubicBezTo>
                  <a:pt x="915" y="1458"/>
                  <a:pt x="915" y="1458"/>
                  <a:pt x="915" y="1458"/>
                </a:cubicBezTo>
                <a:cubicBezTo>
                  <a:pt x="916" y="1458"/>
                  <a:pt x="916" y="1458"/>
                  <a:pt x="916" y="1458"/>
                </a:cubicBezTo>
                <a:cubicBezTo>
                  <a:pt x="919" y="1459"/>
                  <a:pt x="919" y="1459"/>
                  <a:pt x="919" y="1459"/>
                </a:cubicBezTo>
                <a:cubicBezTo>
                  <a:pt x="922" y="1461"/>
                  <a:pt x="922" y="1461"/>
                  <a:pt x="922" y="1461"/>
                </a:cubicBezTo>
                <a:cubicBezTo>
                  <a:pt x="923" y="1461"/>
                  <a:pt x="923" y="1461"/>
                  <a:pt x="923" y="1461"/>
                </a:cubicBezTo>
                <a:cubicBezTo>
                  <a:pt x="927" y="1460"/>
                  <a:pt x="927" y="1460"/>
                  <a:pt x="927" y="1460"/>
                </a:cubicBezTo>
                <a:cubicBezTo>
                  <a:pt x="930" y="1461"/>
                  <a:pt x="930" y="1461"/>
                  <a:pt x="930" y="1461"/>
                </a:cubicBezTo>
                <a:cubicBezTo>
                  <a:pt x="934" y="1461"/>
                  <a:pt x="934" y="1461"/>
                  <a:pt x="934" y="1461"/>
                </a:cubicBezTo>
                <a:cubicBezTo>
                  <a:pt x="941" y="1459"/>
                  <a:pt x="941" y="1459"/>
                  <a:pt x="941" y="1459"/>
                </a:cubicBezTo>
                <a:cubicBezTo>
                  <a:pt x="947" y="1456"/>
                  <a:pt x="947" y="1456"/>
                  <a:pt x="947" y="1456"/>
                </a:cubicBezTo>
                <a:cubicBezTo>
                  <a:pt x="948" y="1455"/>
                  <a:pt x="948" y="1455"/>
                  <a:pt x="948" y="1455"/>
                </a:cubicBezTo>
                <a:cubicBezTo>
                  <a:pt x="949" y="1456"/>
                  <a:pt x="949" y="1456"/>
                  <a:pt x="949" y="1456"/>
                </a:cubicBezTo>
                <a:cubicBezTo>
                  <a:pt x="953" y="1455"/>
                  <a:pt x="953" y="1455"/>
                  <a:pt x="953" y="1455"/>
                </a:cubicBezTo>
                <a:cubicBezTo>
                  <a:pt x="958" y="1451"/>
                  <a:pt x="958" y="1451"/>
                  <a:pt x="958" y="1451"/>
                </a:cubicBezTo>
                <a:cubicBezTo>
                  <a:pt x="959" y="1449"/>
                  <a:pt x="959" y="1449"/>
                  <a:pt x="959" y="1449"/>
                </a:cubicBezTo>
                <a:cubicBezTo>
                  <a:pt x="959" y="1447"/>
                  <a:pt x="959" y="1447"/>
                  <a:pt x="959" y="1447"/>
                </a:cubicBezTo>
                <a:cubicBezTo>
                  <a:pt x="960" y="1444"/>
                  <a:pt x="960" y="1444"/>
                  <a:pt x="960" y="1444"/>
                </a:cubicBezTo>
                <a:cubicBezTo>
                  <a:pt x="960" y="1443"/>
                  <a:pt x="960" y="1443"/>
                  <a:pt x="960" y="1443"/>
                </a:cubicBezTo>
                <a:cubicBezTo>
                  <a:pt x="961" y="1444"/>
                  <a:pt x="961" y="1444"/>
                  <a:pt x="961" y="1444"/>
                </a:cubicBezTo>
                <a:cubicBezTo>
                  <a:pt x="961" y="1443"/>
                  <a:pt x="961" y="1443"/>
                  <a:pt x="961" y="1443"/>
                </a:cubicBezTo>
                <a:cubicBezTo>
                  <a:pt x="962" y="1440"/>
                  <a:pt x="962" y="1440"/>
                  <a:pt x="962" y="1440"/>
                </a:cubicBezTo>
                <a:cubicBezTo>
                  <a:pt x="964" y="1437"/>
                  <a:pt x="964" y="1437"/>
                  <a:pt x="964" y="1437"/>
                </a:cubicBezTo>
                <a:cubicBezTo>
                  <a:pt x="965" y="1435"/>
                  <a:pt x="965" y="1435"/>
                  <a:pt x="965" y="1435"/>
                </a:cubicBezTo>
                <a:cubicBezTo>
                  <a:pt x="965" y="1430"/>
                  <a:pt x="965" y="1430"/>
                  <a:pt x="965" y="1430"/>
                </a:cubicBezTo>
                <a:cubicBezTo>
                  <a:pt x="964" y="1429"/>
                  <a:pt x="964" y="1429"/>
                  <a:pt x="964" y="1429"/>
                </a:cubicBezTo>
                <a:cubicBezTo>
                  <a:pt x="964" y="1429"/>
                  <a:pt x="964" y="1429"/>
                  <a:pt x="964" y="1429"/>
                </a:cubicBezTo>
                <a:cubicBezTo>
                  <a:pt x="962" y="1430"/>
                  <a:pt x="962" y="1430"/>
                  <a:pt x="962" y="1430"/>
                </a:cubicBezTo>
                <a:cubicBezTo>
                  <a:pt x="960" y="1430"/>
                  <a:pt x="960" y="1430"/>
                  <a:pt x="960" y="1430"/>
                </a:cubicBezTo>
                <a:cubicBezTo>
                  <a:pt x="957" y="1428"/>
                  <a:pt x="957" y="1428"/>
                  <a:pt x="957" y="1428"/>
                </a:cubicBezTo>
                <a:cubicBezTo>
                  <a:pt x="956" y="1425"/>
                  <a:pt x="956" y="1425"/>
                  <a:pt x="956" y="1425"/>
                </a:cubicBezTo>
                <a:cubicBezTo>
                  <a:pt x="956" y="1424"/>
                  <a:pt x="956" y="1424"/>
                  <a:pt x="956" y="1424"/>
                </a:cubicBezTo>
                <a:cubicBezTo>
                  <a:pt x="959" y="1419"/>
                  <a:pt x="959" y="1419"/>
                  <a:pt x="959" y="1419"/>
                </a:cubicBezTo>
                <a:cubicBezTo>
                  <a:pt x="959" y="1417"/>
                  <a:pt x="959" y="1417"/>
                  <a:pt x="959" y="1417"/>
                </a:cubicBezTo>
                <a:cubicBezTo>
                  <a:pt x="958" y="1415"/>
                  <a:pt x="958" y="1415"/>
                  <a:pt x="958" y="1415"/>
                </a:cubicBezTo>
                <a:cubicBezTo>
                  <a:pt x="952" y="1411"/>
                  <a:pt x="952" y="1411"/>
                  <a:pt x="952" y="1411"/>
                </a:cubicBezTo>
                <a:cubicBezTo>
                  <a:pt x="948" y="1410"/>
                  <a:pt x="948" y="1410"/>
                  <a:pt x="948" y="1410"/>
                </a:cubicBezTo>
                <a:cubicBezTo>
                  <a:pt x="944" y="1406"/>
                  <a:pt x="944" y="1406"/>
                  <a:pt x="944" y="1406"/>
                </a:cubicBezTo>
                <a:cubicBezTo>
                  <a:pt x="943" y="1405"/>
                  <a:pt x="943" y="1405"/>
                  <a:pt x="943" y="1405"/>
                </a:cubicBezTo>
                <a:cubicBezTo>
                  <a:pt x="943" y="1404"/>
                  <a:pt x="943" y="1404"/>
                  <a:pt x="943" y="1404"/>
                </a:cubicBezTo>
                <a:cubicBezTo>
                  <a:pt x="943" y="1402"/>
                  <a:pt x="943" y="1402"/>
                  <a:pt x="943" y="1402"/>
                </a:cubicBezTo>
                <a:cubicBezTo>
                  <a:pt x="942" y="1401"/>
                  <a:pt x="942" y="1401"/>
                  <a:pt x="942" y="1401"/>
                </a:cubicBezTo>
                <a:cubicBezTo>
                  <a:pt x="943" y="1400"/>
                  <a:pt x="943" y="1400"/>
                  <a:pt x="943" y="1400"/>
                </a:cubicBezTo>
                <a:cubicBezTo>
                  <a:pt x="942" y="1396"/>
                  <a:pt x="942" y="1396"/>
                  <a:pt x="942" y="1396"/>
                </a:cubicBezTo>
                <a:cubicBezTo>
                  <a:pt x="942" y="1392"/>
                  <a:pt x="942" y="1392"/>
                  <a:pt x="942" y="1392"/>
                </a:cubicBezTo>
                <a:cubicBezTo>
                  <a:pt x="942" y="1392"/>
                  <a:pt x="942" y="1392"/>
                  <a:pt x="942" y="1392"/>
                </a:cubicBezTo>
                <a:cubicBezTo>
                  <a:pt x="942" y="1396"/>
                  <a:pt x="942" y="1396"/>
                  <a:pt x="942" y="1396"/>
                </a:cubicBezTo>
                <a:cubicBezTo>
                  <a:pt x="944" y="1400"/>
                  <a:pt x="944" y="1400"/>
                  <a:pt x="944" y="1400"/>
                </a:cubicBezTo>
                <a:cubicBezTo>
                  <a:pt x="947" y="1404"/>
                  <a:pt x="947" y="1404"/>
                  <a:pt x="947" y="1404"/>
                </a:cubicBezTo>
                <a:cubicBezTo>
                  <a:pt x="948" y="1404"/>
                  <a:pt x="948" y="1404"/>
                  <a:pt x="948" y="1404"/>
                </a:cubicBezTo>
                <a:cubicBezTo>
                  <a:pt x="951" y="1407"/>
                  <a:pt x="951" y="1407"/>
                  <a:pt x="951" y="1407"/>
                </a:cubicBezTo>
                <a:cubicBezTo>
                  <a:pt x="952" y="1408"/>
                  <a:pt x="952" y="1408"/>
                  <a:pt x="952" y="1408"/>
                </a:cubicBezTo>
                <a:cubicBezTo>
                  <a:pt x="957" y="1407"/>
                  <a:pt x="957" y="1407"/>
                  <a:pt x="957" y="1407"/>
                </a:cubicBezTo>
                <a:cubicBezTo>
                  <a:pt x="959" y="1407"/>
                  <a:pt x="959" y="1407"/>
                  <a:pt x="959" y="1407"/>
                </a:cubicBezTo>
                <a:cubicBezTo>
                  <a:pt x="962" y="1409"/>
                  <a:pt x="962" y="1409"/>
                  <a:pt x="962" y="1409"/>
                </a:cubicBezTo>
                <a:cubicBezTo>
                  <a:pt x="963" y="1409"/>
                  <a:pt x="963" y="1409"/>
                  <a:pt x="963" y="1409"/>
                </a:cubicBezTo>
                <a:cubicBezTo>
                  <a:pt x="965" y="1409"/>
                  <a:pt x="965" y="1409"/>
                  <a:pt x="965" y="1409"/>
                </a:cubicBezTo>
                <a:cubicBezTo>
                  <a:pt x="965" y="1410"/>
                  <a:pt x="965" y="1410"/>
                  <a:pt x="965" y="1410"/>
                </a:cubicBezTo>
                <a:cubicBezTo>
                  <a:pt x="965" y="1411"/>
                  <a:pt x="965" y="1411"/>
                  <a:pt x="965" y="1411"/>
                </a:cubicBezTo>
                <a:cubicBezTo>
                  <a:pt x="965" y="1412"/>
                  <a:pt x="965" y="1412"/>
                  <a:pt x="965" y="1412"/>
                </a:cubicBezTo>
                <a:cubicBezTo>
                  <a:pt x="967" y="1412"/>
                  <a:pt x="967" y="1412"/>
                  <a:pt x="967" y="1412"/>
                </a:cubicBezTo>
                <a:cubicBezTo>
                  <a:pt x="969" y="1410"/>
                  <a:pt x="969" y="1410"/>
                  <a:pt x="969" y="1410"/>
                </a:cubicBezTo>
                <a:cubicBezTo>
                  <a:pt x="972" y="1410"/>
                  <a:pt x="972" y="1410"/>
                  <a:pt x="972" y="1410"/>
                </a:cubicBezTo>
                <a:cubicBezTo>
                  <a:pt x="974" y="1411"/>
                  <a:pt x="974" y="1411"/>
                  <a:pt x="974" y="1411"/>
                </a:cubicBezTo>
                <a:cubicBezTo>
                  <a:pt x="975" y="1411"/>
                  <a:pt x="975" y="1411"/>
                  <a:pt x="975" y="1411"/>
                </a:cubicBezTo>
                <a:cubicBezTo>
                  <a:pt x="976" y="1411"/>
                  <a:pt x="976" y="1411"/>
                  <a:pt x="976" y="1411"/>
                </a:cubicBezTo>
                <a:cubicBezTo>
                  <a:pt x="978" y="1412"/>
                  <a:pt x="978" y="1412"/>
                  <a:pt x="978" y="1412"/>
                </a:cubicBezTo>
                <a:cubicBezTo>
                  <a:pt x="979" y="1412"/>
                  <a:pt x="979" y="1412"/>
                  <a:pt x="979" y="1412"/>
                </a:cubicBezTo>
                <a:cubicBezTo>
                  <a:pt x="980" y="1411"/>
                  <a:pt x="980" y="1411"/>
                  <a:pt x="980" y="1411"/>
                </a:cubicBezTo>
                <a:cubicBezTo>
                  <a:pt x="981" y="1410"/>
                  <a:pt x="981" y="1410"/>
                  <a:pt x="981" y="1410"/>
                </a:cubicBezTo>
                <a:cubicBezTo>
                  <a:pt x="981" y="1410"/>
                  <a:pt x="981" y="1410"/>
                  <a:pt x="981" y="1410"/>
                </a:cubicBezTo>
                <a:cubicBezTo>
                  <a:pt x="982" y="1410"/>
                  <a:pt x="982" y="1410"/>
                  <a:pt x="982" y="1410"/>
                </a:cubicBezTo>
                <a:cubicBezTo>
                  <a:pt x="986" y="1409"/>
                  <a:pt x="986" y="1409"/>
                  <a:pt x="986" y="1409"/>
                </a:cubicBezTo>
                <a:cubicBezTo>
                  <a:pt x="988" y="1406"/>
                  <a:pt x="988" y="1406"/>
                  <a:pt x="988" y="1406"/>
                </a:cubicBezTo>
                <a:cubicBezTo>
                  <a:pt x="989" y="1405"/>
                  <a:pt x="989" y="1405"/>
                  <a:pt x="989" y="1405"/>
                </a:cubicBezTo>
                <a:cubicBezTo>
                  <a:pt x="988" y="1405"/>
                  <a:pt x="988" y="1405"/>
                  <a:pt x="988" y="1405"/>
                </a:cubicBezTo>
                <a:cubicBezTo>
                  <a:pt x="989" y="1403"/>
                  <a:pt x="989" y="1403"/>
                  <a:pt x="989" y="1403"/>
                </a:cubicBezTo>
                <a:cubicBezTo>
                  <a:pt x="991" y="1401"/>
                  <a:pt x="991" y="1401"/>
                  <a:pt x="991" y="1401"/>
                </a:cubicBezTo>
                <a:cubicBezTo>
                  <a:pt x="991" y="1398"/>
                  <a:pt x="991" y="1398"/>
                  <a:pt x="991" y="1398"/>
                </a:cubicBezTo>
                <a:cubicBezTo>
                  <a:pt x="993" y="1397"/>
                  <a:pt x="993" y="1397"/>
                  <a:pt x="993" y="1397"/>
                </a:cubicBezTo>
                <a:cubicBezTo>
                  <a:pt x="994" y="1396"/>
                  <a:pt x="994" y="1396"/>
                  <a:pt x="994" y="1396"/>
                </a:cubicBezTo>
                <a:cubicBezTo>
                  <a:pt x="998" y="1393"/>
                  <a:pt x="998" y="1393"/>
                  <a:pt x="998" y="1393"/>
                </a:cubicBezTo>
                <a:cubicBezTo>
                  <a:pt x="999" y="1390"/>
                  <a:pt x="999" y="1390"/>
                  <a:pt x="999" y="1390"/>
                </a:cubicBezTo>
                <a:cubicBezTo>
                  <a:pt x="1001" y="1383"/>
                  <a:pt x="1001" y="1383"/>
                  <a:pt x="1001" y="1383"/>
                </a:cubicBezTo>
                <a:cubicBezTo>
                  <a:pt x="1002" y="1378"/>
                  <a:pt x="1002" y="1378"/>
                  <a:pt x="1002" y="1378"/>
                </a:cubicBezTo>
                <a:cubicBezTo>
                  <a:pt x="1003" y="1377"/>
                  <a:pt x="1003" y="1377"/>
                  <a:pt x="1003" y="1377"/>
                </a:cubicBezTo>
                <a:cubicBezTo>
                  <a:pt x="1002" y="1376"/>
                  <a:pt x="1002" y="1376"/>
                  <a:pt x="1002" y="1376"/>
                </a:cubicBezTo>
                <a:cubicBezTo>
                  <a:pt x="1000" y="1373"/>
                  <a:pt x="1000" y="1373"/>
                  <a:pt x="1000" y="1373"/>
                </a:cubicBezTo>
                <a:cubicBezTo>
                  <a:pt x="1001" y="1371"/>
                  <a:pt x="1001" y="1371"/>
                  <a:pt x="1001" y="1371"/>
                </a:cubicBezTo>
                <a:cubicBezTo>
                  <a:pt x="1003" y="1371"/>
                  <a:pt x="1003" y="1371"/>
                  <a:pt x="1003" y="1371"/>
                </a:cubicBezTo>
                <a:cubicBezTo>
                  <a:pt x="1003" y="1369"/>
                  <a:pt x="1003" y="1369"/>
                  <a:pt x="1003" y="1369"/>
                </a:cubicBezTo>
                <a:cubicBezTo>
                  <a:pt x="1004" y="1367"/>
                  <a:pt x="1004" y="1367"/>
                  <a:pt x="1004" y="1367"/>
                </a:cubicBezTo>
                <a:cubicBezTo>
                  <a:pt x="1004" y="1366"/>
                  <a:pt x="1004" y="1366"/>
                  <a:pt x="1004" y="1366"/>
                </a:cubicBezTo>
                <a:cubicBezTo>
                  <a:pt x="1005" y="1367"/>
                  <a:pt x="1005" y="1367"/>
                  <a:pt x="1005" y="1367"/>
                </a:cubicBezTo>
                <a:cubicBezTo>
                  <a:pt x="1007" y="1367"/>
                  <a:pt x="1007" y="1367"/>
                  <a:pt x="1007" y="1367"/>
                </a:cubicBezTo>
                <a:cubicBezTo>
                  <a:pt x="1008" y="1365"/>
                  <a:pt x="1008" y="1365"/>
                  <a:pt x="1008" y="1365"/>
                </a:cubicBezTo>
                <a:cubicBezTo>
                  <a:pt x="1009" y="1363"/>
                  <a:pt x="1009" y="1363"/>
                  <a:pt x="1009" y="1363"/>
                </a:cubicBezTo>
                <a:cubicBezTo>
                  <a:pt x="1009" y="1362"/>
                  <a:pt x="1009" y="1362"/>
                  <a:pt x="1009" y="1362"/>
                </a:cubicBezTo>
                <a:cubicBezTo>
                  <a:pt x="1009" y="1360"/>
                  <a:pt x="1009" y="1360"/>
                  <a:pt x="1009" y="1360"/>
                </a:cubicBezTo>
                <a:cubicBezTo>
                  <a:pt x="1010" y="1359"/>
                  <a:pt x="1010" y="1359"/>
                  <a:pt x="1010" y="1359"/>
                </a:cubicBezTo>
                <a:cubicBezTo>
                  <a:pt x="1011" y="1359"/>
                  <a:pt x="1011" y="1359"/>
                  <a:pt x="1011" y="1359"/>
                </a:cubicBezTo>
                <a:cubicBezTo>
                  <a:pt x="1012" y="1357"/>
                  <a:pt x="1012" y="1357"/>
                  <a:pt x="1012" y="1357"/>
                </a:cubicBezTo>
                <a:cubicBezTo>
                  <a:pt x="1011" y="1356"/>
                  <a:pt x="1011" y="1356"/>
                  <a:pt x="1011" y="1356"/>
                </a:cubicBezTo>
                <a:cubicBezTo>
                  <a:pt x="1010" y="1354"/>
                  <a:pt x="1010" y="1354"/>
                  <a:pt x="1010" y="1354"/>
                </a:cubicBezTo>
                <a:cubicBezTo>
                  <a:pt x="1010" y="1351"/>
                  <a:pt x="1010" y="1351"/>
                  <a:pt x="1010" y="1351"/>
                </a:cubicBezTo>
                <a:cubicBezTo>
                  <a:pt x="1010" y="1350"/>
                  <a:pt x="1010" y="1350"/>
                  <a:pt x="1010" y="1350"/>
                </a:cubicBezTo>
                <a:cubicBezTo>
                  <a:pt x="1011" y="1351"/>
                  <a:pt x="1011" y="1351"/>
                  <a:pt x="1011" y="1351"/>
                </a:cubicBezTo>
                <a:cubicBezTo>
                  <a:pt x="1012" y="1353"/>
                  <a:pt x="1012" y="1353"/>
                  <a:pt x="1012" y="1353"/>
                </a:cubicBezTo>
                <a:cubicBezTo>
                  <a:pt x="1014" y="1356"/>
                  <a:pt x="1014" y="1356"/>
                  <a:pt x="1014" y="1356"/>
                </a:cubicBezTo>
                <a:cubicBezTo>
                  <a:pt x="1015" y="1356"/>
                  <a:pt x="1015" y="1356"/>
                  <a:pt x="1015" y="1356"/>
                </a:cubicBezTo>
                <a:cubicBezTo>
                  <a:pt x="1016" y="1355"/>
                  <a:pt x="1016" y="1355"/>
                  <a:pt x="1016" y="1355"/>
                </a:cubicBezTo>
                <a:cubicBezTo>
                  <a:pt x="1017" y="1356"/>
                  <a:pt x="1017" y="1356"/>
                  <a:pt x="1017" y="1356"/>
                </a:cubicBezTo>
                <a:cubicBezTo>
                  <a:pt x="1017" y="1358"/>
                  <a:pt x="1017" y="1358"/>
                  <a:pt x="1017" y="1358"/>
                </a:cubicBezTo>
                <a:cubicBezTo>
                  <a:pt x="1016" y="1358"/>
                  <a:pt x="1016" y="1358"/>
                  <a:pt x="1016" y="1358"/>
                </a:cubicBezTo>
                <a:cubicBezTo>
                  <a:pt x="1015" y="1361"/>
                  <a:pt x="1015" y="1361"/>
                  <a:pt x="1015" y="1361"/>
                </a:cubicBezTo>
                <a:cubicBezTo>
                  <a:pt x="1013" y="1365"/>
                  <a:pt x="1013" y="1365"/>
                  <a:pt x="1013" y="1365"/>
                </a:cubicBezTo>
                <a:cubicBezTo>
                  <a:pt x="1011" y="1365"/>
                  <a:pt x="1011" y="1365"/>
                  <a:pt x="1011" y="1365"/>
                </a:cubicBezTo>
                <a:cubicBezTo>
                  <a:pt x="1011" y="1368"/>
                  <a:pt x="1011" y="1368"/>
                  <a:pt x="1011" y="1368"/>
                </a:cubicBezTo>
                <a:cubicBezTo>
                  <a:pt x="1010" y="1369"/>
                  <a:pt x="1010" y="1369"/>
                  <a:pt x="1010" y="1369"/>
                </a:cubicBezTo>
                <a:cubicBezTo>
                  <a:pt x="1009" y="1369"/>
                  <a:pt x="1009" y="1369"/>
                  <a:pt x="1009" y="1369"/>
                </a:cubicBezTo>
                <a:cubicBezTo>
                  <a:pt x="1007" y="1370"/>
                  <a:pt x="1007" y="1370"/>
                  <a:pt x="1007" y="1370"/>
                </a:cubicBezTo>
                <a:cubicBezTo>
                  <a:pt x="1006" y="1372"/>
                  <a:pt x="1006" y="1372"/>
                  <a:pt x="1006" y="1372"/>
                </a:cubicBezTo>
                <a:cubicBezTo>
                  <a:pt x="1005" y="1373"/>
                  <a:pt x="1005" y="1373"/>
                  <a:pt x="1005" y="1373"/>
                </a:cubicBezTo>
                <a:cubicBezTo>
                  <a:pt x="1004" y="1373"/>
                  <a:pt x="1004" y="1373"/>
                  <a:pt x="1004" y="1373"/>
                </a:cubicBezTo>
                <a:cubicBezTo>
                  <a:pt x="1003" y="1374"/>
                  <a:pt x="1003" y="1374"/>
                  <a:pt x="1003" y="1374"/>
                </a:cubicBezTo>
                <a:cubicBezTo>
                  <a:pt x="1003" y="1375"/>
                  <a:pt x="1003" y="1375"/>
                  <a:pt x="1003" y="1375"/>
                </a:cubicBezTo>
                <a:cubicBezTo>
                  <a:pt x="1005" y="1375"/>
                  <a:pt x="1005" y="1375"/>
                  <a:pt x="1005" y="1375"/>
                </a:cubicBezTo>
                <a:cubicBezTo>
                  <a:pt x="1011" y="1370"/>
                  <a:pt x="1011" y="1370"/>
                  <a:pt x="1011" y="1370"/>
                </a:cubicBezTo>
                <a:cubicBezTo>
                  <a:pt x="1015" y="1367"/>
                  <a:pt x="1015" y="1367"/>
                  <a:pt x="1015" y="1367"/>
                </a:cubicBezTo>
                <a:cubicBezTo>
                  <a:pt x="1019" y="1359"/>
                  <a:pt x="1019" y="1359"/>
                  <a:pt x="1019" y="1359"/>
                </a:cubicBezTo>
                <a:cubicBezTo>
                  <a:pt x="1021" y="1355"/>
                  <a:pt x="1021" y="1355"/>
                  <a:pt x="1021" y="1355"/>
                </a:cubicBezTo>
                <a:cubicBezTo>
                  <a:pt x="1023" y="1349"/>
                  <a:pt x="1023" y="1349"/>
                  <a:pt x="1023" y="1349"/>
                </a:cubicBezTo>
                <a:cubicBezTo>
                  <a:pt x="1028" y="1341"/>
                  <a:pt x="1028" y="1341"/>
                  <a:pt x="1028" y="1341"/>
                </a:cubicBezTo>
                <a:cubicBezTo>
                  <a:pt x="1032" y="1335"/>
                  <a:pt x="1032" y="1335"/>
                  <a:pt x="1032" y="1335"/>
                </a:cubicBezTo>
                <a:cubicBezTo>
                  <a:pt x="1033" y="1334"/>
                  <a:pt x="1033" y="1334"/>
                  <a:pt x="1033" y="1334"/>
                </a:cubicBezTo>
                <a:cubicBezTo>
                  <a:pt x="1032" y="1333"/>
                  <a:pt x="1032" y="1333"/>
                  <a:pt x="1032" y="1333"/>
                </a:cubicBezTo>
                <a:cubicBezTo>
                  <a:pt x="1033" y="1332"/>
                  <a:pt x="1033" y="1332"/>
                  <a:pt x="1033" y="1332"/>
                </a:cubicBezTo>
                <a:cubicBezTo>
                  <a:pt x="1034" y="1331"/>
                  <a:pt x="1034" y="1331"/>
                  <a:pt x="1034" y="1331"/>
                </a:cubicBezTo>
                <a:cubicBezTo>
                  <a:pt x="1034" y="1329"/>
                  <a:pt x="1034" y="1329"/>
                  <a:pt x="1034" y="1329"/>
                </a:cubicBezTo>
                <a:cubicBezTo>
                  <a:pt x="1036" y="1328"/>
                  <a:pt x="1036" y="1328"/>
                  <a:pt x="1036" y="1328"/>
                </a:cubicBezTo>
                <a:cubicBezTo>
                  <a:pt x="1035" y="1326"/>
                  <a:pt x="1035" y="1326"/>
                  <a:pt x="1035" y="1326"/>
                </a:cubicBezTo>
                <a:cubicBezTo>
                  <a:pt x="1036" y="1325"/>
                  <a:pt x="1036" y="1325"/>
                  <a:pt x="1036" y="1325"/>
                </a:cubicBezTo>
                <a:cubicBezTo>
                  <a:pt x="1035" y="1325"/>
                  <a:pt x="1035" y="1325"/>
                  <a:pt x="1035" y="1325"/>
                </a:cubicBezTo>
                <a:cubicBezTo>
                  <a:pt x="1034" y="1324"/>
                  <a:pt x="1034" y="1324"/>
                  <a:pt x="1034" y="1324"/>
                </a:cubicBezTo>
                <a:cubicBezTo>
                  <a:pt x="1035" y="1322"/>
                  <a:pt x="1035" y="1322"/>
                  <a:pt x="1035" y="1322"/>
                </a:cubicBezTo>
                <a:cubicBezTo>
                  <a:pt x="1033" y="1319"/>
                  <a:pt x="1033" y="1319"/>
                  <a:pt x="1033" y="1319"/>
                </a:cubicBezTo>
                <a:cubicBezTo>
                  <a:pt x="1033" y="1318"/>
                  <a:pt x="1033" y="1318"/>
                  <a:pt x="1033" y="1318"/>
                </a:cubicBezTo>
                <a:cubicBezTo>
                  <a:pt x="1033" y="1317"/>
                  <a:pt x="1033" y="1317"/>
                  <a:pt x="1033" y="1317"/>
                </a:cubicBezTo>
                <a:cubicBezTo>
                  <a:pt x="1033" y="1315"/>
                  <a:pt x="1033" y="1315"/>
                  <a:pt x="1033" y="1315"/>
                </a:cubicBezTo>
                <a:cubicBezTo>
                  <a:pt x="1032" y="1312"/>
                  <a:pt x="1032" y="1312"/>
                  <a:pt x="1032" y="1312"/>
                </a:cubicBezTo>
                <a:cubicBezTo>
                  <a:pt x="1031" y="1309"/>
                  <a:pt x="1031" y="1309"/>
                  <a:pt x="1031" y="1309"/>
                </a:cubicBezTo>
                <a:cubicBezTo>
                  <a:pt x="1032" y="1309"/>
                  <a:pt x="1032" y="1309"/>
                  <a:pt x="1032" y="1309"/>
                </a:cubicBezTo>
                <a:cubicBezTo>
                  <a:pt x="1034" y="1308"/>
                  <a:pt x="1034" y="1308"/>
                  <a:pt x="1034" y="1308"/>
                </a:cubicBezTo>
                <a:cubicBezTo>
                  <a:pt x="1034" y="1306"/>
                  <a:pt x="1034" y="1306"/>
                  <a:pt x="1034" y="1306"/>
                </a:cubicBezTo>
                <a:cubicBezTo>
                  <a:pt x="1032" y="1306"/>
                  <a:pt x="1032" y="1306"/>
                  <a:pt x="1032" y="1306"/>
                </a:cubicBezTo>
                <a:cubicBezTo>
                  <a:pt x="1035" y="1305"/>
                  <a:pt x="1035" y="1305"/>
                  <a:pt x="1035" y="1305"/>
                </a:cubicBezTo>
                <a:cubicBezTo>
                  <a:pt x="1035" y="1303"/>
                  <a:pt x="1035" y="1303"/>
                  <a:pt x="1035" y="1303"/>
                </a:cubicBezTo>
                <a:cubicBezTo>
                  <a:pt x="1032" y="1302"/>
                  <a:pt x="1032" y="1302"/>
                  <a:pt x="1032" y="1302"/>
                </a:cubicBezTo>
                <a:cubicBezTo>
                  <a:pt x="1034" y="1301"/>
                  <a:pt x="1034" y="1301"/>
                  <a:pt x="1034" y="1301"/>
                </a:cubicBezTo>
                <a:cubicBezTo>
                  <a:pt x="1036" y="1300"/>
                  <a:pt x="1036" y="1300"/>
                  <a:pt x="1036" y="1300"/>
                </a:cubicBezTo>
                <a:cubicBezTo>
                  <a:pt x="1037" y="1300"/>
                  <a:pt x="1037" y="1300"/>
                  <a:pt x="1037" y="1300"/>
                </a:cubicBezTo>
                <a:cubicBezTo>
                  <a:pt x="1040" y="1297"/>
                  <a:pt x="1040" y="1297"/>
                  <a:pt x="1040" y="1297"/>
                </a:cubicBezTo>
                <a:cubicBezTo>
                  <a:pt x="1042" y="1296"/>
                  <a:pt x="1042" y="1296"/>
                  <a:pt x="1042" y="1296"/>
                </a:cubicBezTo>
                <a:cubicBezTo>
                  <a:pt x="1042" y="1295"/>
                  <a:pt x="1042" y="1295"/>
                  <a:pt x="1042" y="1295"/>
                </a:cubicBezTo>
                <a:cubicBezTo>
                  <a:pt x="1044" y="1293"/>
                  <a:pt x="1044" y="1293"/>
                  <a:pt x="1044" y="1293"/>
                </a:cubicBezTo>
                <a:cubicBezTo>
                  <a:pt x="1048" y="1291"/>
                  <a:pt x="1048" y="1291"/>
                  <a:pt x="1048" y="1291"/>
                </a:cubicBezTo>
                <a:cubicBezTo>
                  <a:pt x="1052" y="1286"/>
                  <a:pt x="1052" y="1286"/>
                  <a:pt x="1052" y="1286"/>
                </a:cubicBezTo>
                <a:cubicBezTo>
                  <a:pt x="1055" y="1286"/>
                  <a:pt x="1055" y="1286"/>
                  <a:pt x="1055" y="1286"/>
                </a:cubicBezTo>
                <a:cubicBezTo>
                  <a:pt x="1057" y="1284"/>
                  <a:pt x="1057" y="1284"/>
                  <a:pt x="1057" y="1284"/>
                </a:cubicBezTo>
                <a:cubicBezTo>
                  <a:pt x="1060" y="1282"/>
                  <a:pt x="1060" y="1282"/>
                  <a:pt x="1060" y="1282"/>
                </a:cubicBezTo>
                <a:cubicBezTo>
                  <a:pt x="1062" y="1282"/>
                  <a:pt x="1062" y="1282"/>
                  <a:pt x="1062" y="1282"/>
                </a:cubicBezTo>
                <a:cubicBezTo>
                  <a:pt x="1063" y="1283"/>
                  <a:pt x="1063" y="1283"/>
                  <a:pt x="1063" y="1283"/>
                </a:cubicBezTo>
                <a:cubicBezTo>
                  <a:pt x="1064" y="1283"/>
                  <a:pt x="1064" y="1283"/>
                  <a:pt x="1064" y="1283"/>
                </a:cubicBezTo>
                <a:cubicBezTo>
                  <a:pt x="1065" y="1282"/>
                  <a:pt x="1065" y="1282"/>
                  <a:pt x="1065" y="1282"/>
                </a:cubicBezTo>
                <a:cubicBezTo>
                  <a:pt x="1066" y="1279"/>
                  <a:pt x="1066" y="1279"/>
                  <a:pt x="1066" y="1279"/>
                </a:cubicBezTo>
                <a:cubicBezTo>
                  <a:pt x="1070" y="1276"/>
                  <a:pt x="1070" y="1276"/>
                  <a:pt x="1070" y="1276"/>
                </a:cubicBezTo>
                <a:cubicBezTo>
                  <a:pt x="1072" y="1276"/>
                  <a:pt x="1072" y="1276"/>
                  <a:pt x="1072" y="1276"/>
                </a:cubicBezTo>
                <a:cubicBezTo>
                  <a:pt x="1072" y="1275"/>
                  <a:pt x="1072" y="1275"/>
                  <a:pt x="1072" y="1275"/>
                </a:cubicBezTo>
                <a:cubicBezTo>
                  <a:pt x="1071" y="1275"/>
                  <a:pt x="1071" y="1275"/>
                  <a:pt x="1071" y="1275"/>
                </a:cubicBezTo>
                <a:cubicBezTo>
                  <a:pt x="1070" y="1274"/>
                  <a:pt x="1070" y="1274"/>
                  <a:pt x="1070" y="1274"/>
                </a:cubicBezTo>
                <a:cubicBezTo>
                  <a:pt x="1069" y="1273"/>
                  <a:pt x="1069" y="1273"/>
                  <a:pt x="1069" y="1273"/>
                </a:cubicBezTo>
                <a:cubicBezTo>
                  <a:pt x="1070" y="1273"/>
                  <a:pt x="1070" y="1273"/>
                  <a:pt x="1070" y="1273"/>
                </a:cubicBezTo>
                <a:cubicBezTo>
                  <a:pt x="1073" y="1271"/>
                  <a:pt x="1073" y="1271"/>
                  <a:pt x="1073" y="1271"/>
                </a:cubicBezTo>
                <a:cubicBezTo>
                  <a:pt x="1075" y="1271"/>
                  <a:pt x="1075" y="1271"/>
                  <a:pt x="1075" y="1271"/>
                </a:cubicBezTo>
                <a:cubicBezTo>
                  <a:pt x="1076" y="1271"/>
                  <a:pt x="1076" y="1271"/>
                  <a:pt x="1076" y="1271"/>
                </a:cubicBezTo>
                <a:cubicBezTo>
                  <a:pt x="1078" y="1270"/>
                  <a:pt x="1078" y="1270"/>
                  <a:pt x="1078" y="1270"/>
                </a:cubicBezTo>
                <a:cubicBezTo>
                  <a:pt x="1079" y="1270"/>
                  <a:pt x="1079" y="1270"/>
                  <a:pt x="1079" y="1270"/>
                </a:cubicBezTo>
                <a:cubicBezTo>
                  <a:pt x="1079" y="1271"/>
                  <a:pt x="1079" y="1271"/>
                  <a:pt x="1079" y="1271"/>
                </a:cubicBezTo>
                <a:cubicBezTo>
                  <a:pt x="1077" y="1273"/>
                  <a:pt x="1077" y="1273"/>
                  <a:pt x="1077" y="1273"/>
                </a:cubicBezTo>
                <a:cubicBezTo>
                  <a:pt x="1074" y="1273"/>
                  <a:pt x="1074" y="1273"/>
                  <a:pt x="1074" y="1273"/>
                </a:cubicBezTo>
                <a:cubicBezTo>
                  <a:pt x="1074" y="1274"/>
                  <a:pt x="1074" y="1274"/>
                  <a:pt x="1074" y="1274"/>
                </a:cubicBezTo>
                <a:cubicBezTo>
                  <a:pt x="1075" y="1274"/>
                  <a:pt x="1075" y="1274"/>
                  <a:pt x="1075" y="1274"/>
                </a:cubicBezTo>
                <a:cubicBezTo>
                  <a:pt x="1078" y="1273"/>
                  <a:pt x="1078" y="1273"/>
                  <a:pt x="1078" y="1273"/>
                </a:cubicBezTo>
                <a:cubicBezTo>
                  <a:pt x="1083" y="1271"/>
                  <a:pt x="1083" y="1271"/>
                  <a:pt x="1083" y="1271"/>
                </a:cubicBezTo>
                <a:cubicBezTo>
                  <a:pt x="1083" y="1270"/>
                  <a:pt x="1083" y="1270"/>
                  <a:pt x="1083" y="1270"/>
                </a:cubicBezTo>
                <a:cubicBezTo>
                  <a:pt x="1084" y="1269"/>
                  <a:pt x="1084" y="1269"/>
                  <a:pt x="1084" y="1269"/>
                </a:cubicBezTo>
                <a:cubicBezTo>
                  <a:pt x="1085" y="1269"/>
                  <a:pt x="1085" y="1269"/>
                  <a:pt x="1085" y="1269"/>
                </a:cubicBezTo>
                <a:cubicBezTo>
                  <a:pt x="1085" y="1271"/>
                  <a:pt x="1085" y="1271"/>
                  <a:pt x="1085" y="1271"/>
                </a:cubicBezTo>
                <a:cubicBezTo>
                  <a:pt x="1085" y="1271"/>
                  <a:pt x="1085" y="1272"/>
                  <a:pt x="1085" y="1272"/>
                </a:cubicBezTo>
                <a:cubicBezTo>
                  <a:pt x="1085" y="1272"/>
                  <a:pt x="1088" y="1273"/>
                  <a:pt x="1088" y="1273"/>
                </a:cubicBezTo>
                <a:cubicBezTo>
                  <a:pt x="1090" y="1272"/>
                  <a:pt x="1090" y="1272"/>
                  <a:pt x="1090" y="1272"/>
                </a:cubicBezTo>
                <a:cubicBezTo>
                  <a:pt x="1092" y="1272"/>
                  <a:pt x="1092" y="1272"/>
                  <a:pt x="1092" y="1272"/>
                </a:cubicBezTo>
                <a:cubicBezTo>
                  <a:pt x="1096" y="1272"/>
                  <a:pt x="1096" y="1272"/>
                  <a:pt x="1096" y="1272"/>
                </a:cubicBezTo>
                <a:cubicBezTo>
                  <a:pt x="1098" y="1271"/>
                  <a:pt x="1098" y="1271"/>
                  <a:pt x="1098" y="1271"/>
                </a:cubicBezTo>
                <a:cubicBezTo>
                  <a:pt x="1098" y="1270"/>
                  <a:pt x="1098" y="1270"/>
                  <a:pt x="1098" y="1270"/>
                </a:cubicBezTo>
                <a:cubicBezTo>
                  <a:pt x="1097" y="1269"/>
                  <a:pt x="1097" y="1269"/>
                  <a:pt x="1097" y="1269"/>
                </a:cubicBezTo>
                <a:cubicBezTo>
                  <a:pt x="1098" y="1268"/>
                  <a:pt x="1098" y="1268"/>
                  <a:pt x="1098" y="1268"/>
                </a:cubicBezTo>
                <a:cubicBezTo>
                  <a:pt x="1102" y="1265"/>
                  <a:pt x="1102" y="1265"/>
                  <a:pt x="1102" y="1265"/>
                </a:cubicBezTo>
                <a:cubicBezTo>
                  <a:pt x="1106" y="1264"/>
                  <a:pt x="1106" y="1264"/>
                  <a:pt x="1106" y="1264"/>
                </a:cubicBezTo>
                <a:cubicBezTo>
                  <a:pt x="1108" y="1263"/>
                  <a:pt x="1108" y="1263"/>
                  <a:pt x="1108" y="1263"/>
                </a:cubicBezTo>
                <a:cubicBezTo>
                  <a:pt x="1109" y="1261"/>
                  <a:pt x="1109" y="1261"/>
                  <a:pt x="1109" y="1261"/>
                </a:cubicBezTo>
                <a:cubicBezTo>
                  <a:pt x="1108" y="1261"/>
                  <a:pt x="1108" y="1261"/>
                  <a:pt x="1108" y="1261"/>
                </a:cubicBezTo>
                <a:cubicBezTo>
                  <a:pt x="1106" y="1257"/>
                  <a:pt x="1106" y="1257"/>
                  <a:pt x="1106" y="1257"/>
                </a:cubicBezTo>
                <a:cubicBezTo>
                  <a:pt x="1108" y="1254"/>
                  <a:pt x="1108" y="1254"/>
                  <a:pt x="1108" y="1254"/>
                </a:cubicBezTo>
                <a:cubicBezTo>
                  <a:pt x="1109" y="1252"/>
                  <a:pt x="1109" y="1252"/>
                  <a:pt x="1109" y="1252"/>
                </a:cubicBezTo>
                <a:cubicBezTo>
                  <a:pt x="1109" y="1250"/>
                  <a:pt x="1109" y="1250"/>
                  <a:pt x="1109" y="1250"/>
                </a:cubicBezTo>
                <a:cubicBezTo>
                  <a:pt x="1110" y="1250"/>
                  <a:pt x="1110" y="1250"/>
                  <a:pt x="1110" y="1250"/>
                </a:cubicBezTo>
                <a:cubicBezTo>
                  <a:pt x="1112" y="1248"/>
                  <a:pt x="1112" y="1248"/>
                  <a:pt x="1112" y="1248"/>
                </a:cubicBezTo>
                <a:cubicBezTo>
                  <a:pt x="1112" y="1246"/>
                  <a:pt x="1112" y="1246"/>
                  <a:pt x="1112" y="1246"/>
                </a:cubicBezTo>
                <a:cubicBezTo>
                  <a:pt x="1112" y="1246"/>
                  <a:pt x="1112" y="1246"/>
                  <a:pt x="1112" y="1246"/>
                </a:cubicBezTo>
                <a:cubicBezTo>
                  <a:pt x="1114" y="1241"/>
                  <a:pt x="1114" y="1241"/>
                  <a:pt x="1114" y="1241"/>
                </a:cubicBezTo>
                <a:cubicBezTo>
                  <a:pt x="1118" y="1237"/>
                  <a:pt x="1118" y="1237"/>
                  <a:pt x="1118" y="1237"/>
                </a:cubicBezTo>
                <a:cubicBezTo>
                  <a:pt x="1118" y="1235"/>
                  <a:pt x="1118" y="1235"/>
                  <a:pt x="1118" y="1235"/>
                </a:cubicBezTo>
                <a:cubicBezTo>
                  <a:pt x="1118" y="1229"/>
                  <a:pt x="1118" y="1229"/>
                  <a:pt x="1118" y="1229"/>
                </a:cubicBezTo>
                <a:cubicBezTo>
                  <a:pt x="1117" y="1227"/>
                  <a:pt x="1117" y="1227"/>
                  <a:pt x="1117" y="1227"/>
                </a:cubicBezTo>
                <a:cubicBezTo>
                  <a:pt x="1118" y="1223"/>
                  <a:pt x="1118" y="1223"/>
                  <a:pt x="1118" y="1223"/>
                </a:cubicBezTo>
                <a:cubicBezTo>
                  <a:pt x="1119" y="1222"/>
                  <a:pt x="1119" y="1222"/>
                  <a:pt x="1119" y="1222"/>
                </a:cubicBezTo>
                <a:cubicBezTo>
                  <a:pt x="1119" y="1221"/>
                  <a:pt x="1119" y="1221"/>
                  <a:pt x="1119" y="1221"/>
                </a:cubicBezTo>
                <a:cubicBezTo>
                  <a:pt x="1122" y="1218"/>
                  <a:pt x="1122" y="1218"/>
                  <a:pt x="1122" y="1218"/>
                </a:cubicBezTo>
                <a:cubicBezTo>
                  <a:pt x="1123" y="1217"/>
                  <a:pt x="1123" y="1217"/>
                  <a:pt x="1123" y="1217"/>
                </a:cubicBezTo>
                <a:cubicBezTo>
                  <a:pt x="1122" y="1213"/>
                  <a:pt x="1122" y="1213"/>
                  <a:pt x="1122" y="1213"/>
                </a:cubicBezTo>
                <a:cubicBezTo>
                  <a:pt x="1124" y="1209"/>
                  <a:pt x="1124" y="1209"/>
                  <a:pt x="1124" y="1209"/>
                </a:cubicBezTo>
                <a:cubicBezTo>
                  <a:pt x="1123" y="1205"/>
                  <a:pt x="1123" y="1205"/>
                  <a:pt x="1123" y="1205"/>
                </a:cubicBezTo>
                <a:cubicBezTo>
                  <a:pt x="1124" y="1203"/>
                  <a:pt x="1124" y="1203"/>
                  <a:pt x="1124" y="1203"/>
                </a:cubicBezTo>
                <a:cubicBezTo>
                  <a:pt x="1124" y="1201"/>
                  <a:pt x="1124" y="1201"/>
                  <a:pt x="1124" y="1201"/>
                </a:cubicBezTo>
                <a:cubicBezTo>
                  <a:pt x="1125" y="1197"/>
                  <a:pt x="1125" y="1197"/>
                  <a:pt x="1125" y="1197"/>
                </a:cubicBezTo>
                <a:cubicBezTo>
                  <a:pt x="1123" y="1184"/>
                  <a:pt x="1123" y="1184"/>
                  <a:pt x="1123" y="1184"/>
                </a:cubicBezTo>
                <a:cubicBezTo>
                  <a:pt x="1123" y="1181"/>
                  <a:pt x="1123" y="1181"/>
                  <a:pt x="1123" y="1181"/>
                </a:cubicBezTo>
                <a:cubicBezTo>
                  <a:pt x="1124" y="1179"/>
                  <a:pt x="1124" y="1179"/>
                  <a:pt x="1124" y="1179"/>
                </a:cubicBezTo>
                <a:cubicBezTo>
                  <a:pt x="1124" y="1177"/>
                  <a:pt x="1124" y="1177"/>
                  <a:pt x="1124" y="1177"/>
                </a:cubicBezTo>
                <a:cubicBezTo>
                  <a:pt x="1123" y="1178"/>
                  <a:pt x="1123" y="1178"/>
                  <a:pt x="1123" y="1178"/>
                </a:cubicBezTo>
                <a:cubicBezTo>
                  <a:pt x="1122" y="1177"/>
                  <a:pt x="1122" y="1177"/>
                  <a:pt x="1122" y="1177"/>
                </a:cubicBezTo>
                <a:cubicBezTo>
                  <a:pt x="1122" y="1176"/>
                  <a:pt x="1122" y="1176"/>
                  <a:pt x="1122" y="1176"/>
                </a:cubicBezTo>
                <a:cubicBezTo>
                  <a:pt x="1123" y="1174"/>
                  <a:pt x="1123" y="1174"/>
                  <a:pt x="1123" y="1174"/>
                </a:cubicBezTo>
                <a:cubicBezTo>
                  <a:pt x="1123" y="1171"/>
                  <a:pt x="1123" y="1171"/>
                  <a:pt x="1123" y="1171"/>
                </a:cubicBezTo>
                <a:cubicBezTo>
                  <a:pt x="1123" y="1170"/>
                  <a:pt x="1123" y="1170"/>
                  <a:pt x="1123" y="1170"/>
                </a:cubicBezTo>
                <a:cubicBezTo>
                  <a:pt x="1125" y="1170"/>
                  <a:pt x="1125" y="1170"/>
                  <a:pt x="1125" y="1170"/>
                </a:cubicBezTo>
                <a:cubicBezTo>
                  <a:pt x="1125" y="1167"/>
                  <a:pt x="1125" y="1167"/>
                  <a:pt x="1125" y="1167"/>
                </a:cubicBezTo>
                <a:cubicBezTo>
                  <a:pt x="1123" y="1165"/>
                  <a:pt x="1123" y="1165"/>
                  <a:pt x="1123" y="1165"/>
                </a:cubicBezTo>
                <a:cubicBezTo>
                  <a:pt x="1121" y="1164"/>
                  <a:pt x="1121" y="1164"/>
                  <a:pt x="1121" y="1164"/>
                </a:cubicBezTo>
                <a:cubicBezTo>
                  <a:pt x="1122" y="1163"/>
                  <a:pt x="1122" y="1163"/>
                  <a:pt x="1122" y="1163"/>
                </a:cubicBezTo>
                <a:cubicBezTo>
                  <a:pt x="1122" y="1162"/>
                  <a:pt x="1122" y="1162"/>
                  <a:pt x="1122" y="1162"/>
                </a:cubicBezTo>
                <a:cubicBezTo>
                  <a:pt x="1122" y="1164"/>
                  <a:pt x="1122" y="1164"/>
                  <a:pt x="1122" y="1164"/>
                </a:cubicBezTo>
                <a:cubicBezTo>
                  <a:pt x="1124" y="1164"/>
                  <a:pt x="1124" y="1164"/>
                  <a:pt x="1124" y="1164"/>
                </a:cubicBezTo>
                <a:cubicBezTo>
                  <a:pt x="1125" y="1165"/>
                  <a:pt x="1125" y="1165"/>
                  <a:pt x="1125" y="1165"/>
                </a:cubicBezTo>
                <a:cubicBezTo>
                  <a:pt x="1126" y="1163"/>
                  <a:pt x="1126" y="1163"/>
                  <a:pt x="1126" y="1163"/>
                </a:cubicBezTo>
                <a:cubicBezTo>
                  <a:pt x="1127" y="1163"/>
                  <a:pt x="1127" y="1163"/>
                  <a:pt x="1127" y="1163"/>
                </a:cubicBezTo>
                <a:cubicBezTo>
                  <a:pt x="1128" y="1164"/>
                  <a:pt x="1128" y="1164"/>
                  <a:pt x="1128" y="1164"/>
                </a:cubicBezTo>
                <a:cubicBezTo>
                  <a:pt x="1129" y="1165"/>
                  <a:pt x="1129" y="1165"/>
                  <a:pt x="1129" y="1165"/>
                </a:cubicBezTo>
                <a:cubicBezTo>
                  <a:pt x="1128" y="1166"/>
                  <a:pt x="1128" y="1166"/>
                  <a:pt x="1128" y="1166"/>
                </a:cubicBezTo>
                <a:cubicBezTo>
                  <a:pt x="1126" y="1167"/>
                  <a:pt x="1126" y="1167"/>
                  <a:pt x="1126" y="1167"/>
                </a:cubicBezTo>
                <a:cubicBezTo>
                  <a:pt x="1126" y="1169"/>
                  <a:pt x="1126" y="1169"/>
                  <a:pt x="1126" y="1169"/>
                </a:cubicBezTo>
                <a:cubicBezTo>
                  <a:pt x="1127" y="1169"/>
                  <a:pt x="1127" y="1169"/>
                  <a:pt x="1127" y="1169"/>
                </a:cubicBezTo>
                <a:cubicBezTo>
                  <a:pt x="1129" y="1167"/>
                  <a:pt x="1129" y="1167"/>
                  <a:pt x="1129" y="1167"/>
                </a:cubicBezTo>
                <a:cubicBezTo>
                  <a:pt x="1132" y="1165"/>
                  <a:pt x="1132" y="1165"/>
                  <a:pt x="1132" y="1165"/>
                </a:cubicBezTo>
                <a:cubicBezTo>
                  <a:pt x="1135" y="1160"/>
                  <a:pt x="1135" y="1160"/>
                  <a:pt x="1135" y="1160"/>
                </a:cubicBezTo>
                <a:cubicBezTo>
                  <a:pt x="1137" y="1156"/>
                  <a:pt x="1137" y="1156"/>
                  <a:pt x="1137" y="1156"/>
                </a:cubicBezTo>
                <a:cubicBezTo>
                  <a:pt x="1137" y="1154"/>
                  <a:pt x="1137" y="1154"/>
                  <a:pt x="1137" y="1154"/>
                </a:cubicBezTo>
                <a:cubicBezTo>
                  <a:pt x="1139" y="1153"/>
                  <a:pt x="1139" y="1153"/>
                  <a:pt x="1139" y="1153"/>
                </a:cubicBezTo>
                <a:cubicBezTo>
                  <a:pt x="1140" y="1149"/>
                  <a:pt x="1140" y="1149"/>
                  <a:pt x="1140" y="1149"/>
                </a:cubicBezTo>
                <a:cubicBezTo>
                  <a:pt x="1141" y="1146"/>
                  <a:pt x="1141" y="1146"/>
                  <a:pt x="1141" y="1146"/>
                </a:cubicBezTo>
                <a:cubicBezTo>
                  <a:pt x="1147" y="1143"/>
                  <a:pt x="1147" y="1143"/>
                  <a:pt x="1147" y="1143"/>
                </a:cubicBezTo>
                <a:cubicBezTo>
                  <a:pt x="1147" y="1141"/>
                  <a:pt x="1147" y="1141"/>
                  <a:pt x="1147" y="1141"/>
                </a:cubicBezTo>
                <a:cubicBezTo>
                  <a:pt x="1149" y="1140"/>
                  <a:pt x="1149" y="1140"/>
                  <a:pt x="1149" y="1140"/>
                </a:cubicBezTo>
                <a:cubicBezTo>
                  <a:pt x="1150" y="1138"/>
                  <a:pt x="1150" y="1138"/>
                  <a:pt x="1150" y="1138"/>
                </a:cubicBezTo>
                <a:cubicBezTo>
                  <a:pt x="1155" y="1134"/>
                  <a:pt x="1155" y="1134"/>
                  <a:pt x="1155" y="1134"/>
                </a:cubicBezTo>
                <a:cubicBezTo>
                  <a:pt x="1159" y="1129"/>
                  <a:pt x="1159" y="1129"/>
                  <a:pt x="1159" y="1129"/>
                </a:cubicBezTo>
                <a:cubicBezTo>
                  <a:pt x="1160" y="1128"/>
                  <a:pt x="1160" y="1128"/>
                  <a:pt x="1160" y="1128"/>
                </a:cubicBezTo>
                <a:cubicBezTo>
                  <a:pt x="1162" y="1122"/>
                  <a:pt x="1162" y="1122"/>
                  <a:pt x="1162" y="1122"/>
                </a:cubicBezTo>
                <a:cubicBezTo>
                  <a:pt x="1163" y="1120"/>
                  <a:pt x="1163" y="1120"/>
                  <a:pt x="1163" y="1120"/>
                </a:cubicBezTo>
                <a:cubicBezTo>
                  <a:pt x="1164" y="1118"/>
                  <a:pt x="1164" y="1118"/>
                  <a:pt x="1164" y="1118"/>
                </a:cubicBezTo>
                <a:cubicBezTo>
                  <a:pt x="1164" y="1116"/>
                  <a:pt x="1164" y="1116"/>
                  <a:pt x="1164" y="1116"/>
                </a:cubicBezTo>
                <a:cubicBezTo>
                  <a:pt x="1163" y="1114"/>
                  <a:pt x="1163" y="1114"/>
                  <a:pt x="1163" y="1114"/>
                </a:cubicBezTo>
                <a:cubicBezTo>
                  <a:pt x="1163" y="1112"/>
                  <a:pt x="1163" y="1112"/>
                  <a:pt x="1163" y="1112"/>
                </a:cubicBezTo>
                <a:lnTo>
                  <a:pt x="1164" y="1111"/>
                </a:lnTo>
                <a:close/>
                <a:moveTo>
                  <a:pt x="503" y="0"/>
                </a:moveTo>
                <a:cubicBezTo>
                  <a:pt x="501" y="0"/>
                  <a:pt x="501" y="0"/>
                  <a:pt x="501" y="0"/>
                </a:cubicBezTo>
                <a:cubicBezTo>
                  <a:pt x="502" y="1"/>
                  <a:pt x="502" y="1"/>
                  <a:pt x="502" y="1"/>
                </a:cubicBezTo>
                <a:lnTo>
                  <a:pt x="503" y="0"/>
                </a:lnTo>
                <a:close/>
                <a:moveTo>
                  <a:pt x="3030" y="1049"/>
                </a:moveTo>
                <a:cubicBezTo>
                  <a:pt x="3032" y="1051"/>
                  <a:pt x="3032" y="1051"/>
                  <a:pt x="3032" y="1051"/>
                </a:cubicBezTo>
                <a:cubicBezTo>
                  <a:pt x="3032" y="1049"/>
                  <a:pt x="3032" y="1049"/>
                  <a:pt x="3032" y="1049"/>
                </a:cubicBezTo>
                <a:cubicBezTo>
                  <a:pt x="3031" y="1048"/>
                  <a:pt x="3031" y="1048"/>
                  <a:pt x="3031" y="1048"/>
                </a:cubicBezTo>
                <a:cubicBezTo>
                  <a:pt x="3029" y="1048"/>
                  <a:pt x="3029" y="1048"/>
                  <a:pt x="3029" y="1048"/>
                </a:cubicBezTo>
                <a:lnTo>
                  <a:pt x="3030" y="1049"/>
                </a:lnTo>
                <a:close/>
                <a:moveTo>
                  <a:pt x="3164" y="1265"/>
                </a:moveTo>
                <a:cubicBezTo>
                  <a:pt x="3167" y="1270"/>
                  <a:pt x="3167" y="1270"/>
                  <a:pt x="3167" y="1270"/>
                </a:cubicBezTo>
                <a:cubicBezTo>
                  <a:pt x="3169" y="1271"/>
                  <a:pt x="3169" y="1271"/>
                  <a:pt x="3169" y="1271"/>
                </a:cubicBezTo>
                <a:cubicBezTo>
                  <a:pt x="3169" y="1273"/>
                  <a:pt x="3169" y="1273"/>
                  <a:pt x="3169" y="1273"/>
                </a:cubicBezTo>
                <a:cubicBezTo>
                  <a:pt x="3170" y="1275"/>
                  <a:pt x="3170" y="1275"/>
                  <a:pt x="3170" y="1275"/>
                </a:cubicBezTo>
                <a:cubicBezTo>
                  <a:pt x="3172" y="1275"/>
                  <a:pt x="3172" y="1275"/>
                  <a:pt x="3172" y="1275"/>
                </a:cubicBezTo>
                <a:cubicBezTo>
                  <a:pt x="3172" y="1276"/>
                  <a:pt x="3172" y="1276"/>
                  <a:pt x="3172" y="1276"/>
                </a:cubicBezTo>
                <a:cubicBezTo>
                  <a:pt x="3175" y="1278"/>
                  <a:pt x="3175" y="1278"/>
                  <a:pt x="3175" y="1278"/>
                </a:cubicBezTo>
                <a:cubicBezTo>
                  <a:pt x="3176" y="1281"/>
                  <a:pt x="3176" y="1281"/>
                  <a:pt x="3176" y="1281"/>
                </a:cubicBezTo>
                <a:cubicBezTo>
                  <a:pt x="3177" y="1281"/>
                  <a:pt x="3177" y="1281"/>
                  <a:pt x="3177" y="1281"/>
                </a:cubicBezTo>
                <a:cubicBezTo>
                  <a:pt x="3178" y="1281"/>
                  <a:pt x="3178" y="1281"/>
                  <a:pt x="3178" y="1281"/>
                </a:cubicBezTo>
                <a:cubicBezTo>
                  <a:pt x="3179" y="1284"/>
                  <a:pt x="3179" y="1284"/>
                  <a:pt x="3179" y="1284"/>
                </a:cubicBezTo>
                <a:cubicBezTo>
                  <a:pt x="3181" y="1284"/>
                  <a:pt x="3181" y="1284"/>
                  <a:pt x="3181" y="1284"/>
                </a:cubicBezTo>
                <a:cubicBezTo>
                  <a:pt x="3182" y="1286"/>
                  <a:pt x="3182" y="1286"/>
                  <a:pt x="3182" y="1286"/>
                </a:cubicBezTo>
                <a:cubicBezTo>
                  <a:pt x="3184" y="1288"/>
                  <a:pt x="3184" y="1288"/>
                  <a:pt x="3184" y="1288"/>
                </a:cubicBezTo>
                <a:cubicBezTo>
                  <a:pt x="3186" y="1287"/>
                  <a:pt x="3186" y="1287"/>
                  <a:pt x="3186" y="1287"/>
                </a:cubicBezTo>
                <a:cubicBezTo>
                  <a:pt x="3187" y="1288"/>
                  <a:pt x="3187" y="1288"/>
                  <a:pt x="3187" y="1288"/>
                </a:cubicBezTo>
                <a:cubicBezTo>
                  <a:pt x="3188" y="1288"/>
                  <a:pt x="3188" y="1288"/>
                  <a:pt x="3188" y="1288"/>
                </a:cubicBezTo>
                <a:cubicBezTo>
                  <a:pt x="3190" y="1289"/>
                  <a:pt x="3190" y="1289"/>
                  <a:pt x="3190" y="1289"/>
                </a:cubicBezTo>
                <a:cubicBezTo>
                  <a:pt x="3190" y="1286"/>
                  <a:pt x="3190" y="1286"/>
                  <a:pt x="3190" y="1286"/>
                </a:cubicBezTo>
                <a:cubicBezTo>
                  <a:pt x="3188" y="1285"/>
                  <a:pt x="3188" y="1285"/>
                  <a:pt x="3188" y="1285"/>
                </a:cubicBezTo>
                <a:cubicBezTo>
                  <a:pt x="3185" y="1283"/>
                  <a:pt x="3185" y="1283"/>
                  <a:pt x="3185" y="1283"/>
                </a:cubicBezTo>
                <a:cubicBezTo>
                  <a:pt x="3182" y="1278"/>
                  <a:pt x="3182" y="1278"/>
                  <a:pt x="3182" y="1278"/>
                </a:cubicBezTo>
                <a:cubicBezTo>
                  <a:pt x="3181" y="1277"/>
                  <a:pt x="3181" y="1277"/>
                  <a:pt x="3181" y="1277"/>
                </a:cubicBezTo>
                <a:cubicBezTo>
                  <a:pt x="3179" y="1278"/>
                  <a:pt x="3179" y="1278"/>
                  <a:pt x="3179" y="1278"/>
                </a:cubicBezTo>
                <a:cubicBezTo>
                  <a:pt x="3177" y="1274"/>
                  <a:pt x="3177" y="1274"/>
                  <a:pt x="3177" y="1274"/>
                </a:cubicBezTo>
                <a:cubicBezTo>
                  <a:pt x="3173" y="1269"/>
                  <a:pt x="3173" y="1269"/>
                  <a:pt x="3173" y="1269"/>
                </a:cubicBezTo>
                <a:cubicBezTo>
                  <a:pt x="3172" y="1268"/>
                  <a:pt x="3172" y="1268"/>
                  <a:pt x="3172" y="1268"/>
                </a:cubicBezTo>
                <a:cubicBezTo>
                  <a:pt x="3171" y="1266"/>
                  <a:pt x="3171" y="1266"/>
                  <a:pt x="3171" y="1266"/>
                </a:cubicBezTo>
                <a:cubicBezTo>
                  <a:pt x="3169" y="1265"/>
                  <a:pt x="3169" y="1265"/>
                  <a:pt x="3169" y="1265"/>
                </a:cubicBezTo>
                <a:cubicBezTo>
                  <a:pt x="3168" y="1263"/>
                  <a:pt x="3168" y="1263"/>
                  <a:pt x="3168" y="1263"/>
                </a:cubicBezTo>
                <a:cubicBezTo>
                  <a:pt x="3167" y="1262"/>
                  <a:pt x="3167" y="1262"/>
                  <a:pt x="3167" y="1262"/>
                </a:cubicBezTo>
                <a:cubicBezTo>
                  <a:pt x="3166" y="1263"/>
                  <a:pt x="3166" y="1263"/>
                  <a:pt x="3166" y="1263"/>
                </a:cubicBezTo>
                <a:cubicBezTo>
                  <a:pt x="3164" y="1260"/>
                  <a:pt x="3164" y="1260"/>
                  <a:pt x="3164" y="1260"/>
                </a:cubicBezTo>
                <a:cubicBezTo>
                  <a:pt x="3163" y="1262"/>
                  <a:pt x="3163" y="1262"/>
                  <a:pt x="3163" y="1262"/>
                </a:cubicBezTo>
                <a:cubicBezTo>
                  <a:pt x="3164" y="1263"/>
                  <a:pt x="3164" y="1263"/>
                  <a:pt x="3164" y="1263"/>
                </a:cubicBezTo>
                <a:lnTo>
                  <a:pt x="3164" y="1265"/>
                </a:lnTo>
                <a:close/>
                <a:moveTo>
                  <a:pt x="3198" y="1566"/>
                </a:moveTo>
                <a:cubicBezTo>
                  <a:pt x="3198" y="1565"/>
                  <a:pt x="3198" y="1565"/>
                  <a:pt x="3198" y="1565"/>
                </a:cubicBezTo>
                <a:cubicBezTo>
                  <a:pt x="3197" y="1565"/>
                  <a:pt x="3197" y="1565"/>
                  <a:pt x="3197" y="1565"/>
                </a:cubicBezTo>
                <a:cubicBezTo>
                  <a:pt x="3196" y="1566"/>
                  <a:pt x="3196" y="1566"/>
                  <a:pt x="3196" y="1566"/>
                </a:cubicBezTo>
                <a:cubicBezTo>
                  <a:pt x="3196" y="1568"/>
                  <a:pt x="3196" y="1568"/>
                  <a:pt x="3196" y="1568"/>
                </a:cubicBezTo>
                <a:cubicBezTo>
                  <a:pt x="3195" y="1568"/>
                  <a:pt x="3195" y="1568"/>
                  <a:pt x="3195" y="1568"/>
                </a:cubicBezTo>
                <a:cubicBezTo>
                  <a:pt x="3196" y="1568"/>
                  <a:pt x="3196" y="1568"/>
                  <a:pt x="3196" y="1568"/>
                </a:cubicBezTo>
                <a:cubicBezTo>
                  <a:pt x="3197" y="1567"/>
                  <a:pt x="3197" y="1567"/>
                  <a:pt x="3197" y="1567"/>
                </a:cubicBezTo>
                <a:lnTo>
                  <a:pt x="3198" y="1566"/>
                </a:lnTo>
                <a:close/>
                <a:moveTo>
                  <a:pt x="3260" y="1520"/>
                </a:moveTo>
                <a:cubicBezTo>
                  <a:pt x="3257" y="1519"/>
                  <a:pt x="3257" y="1519"/>
                  <a:pt x="3257" y="1519"/>
                </a:cubicBezTo>
                <a:cubicBezTo>
                  <a:pt x="3256" y="1518"/>
                  <a:pt x="3256" y="1518"/>
                  <a:pt x="3256" y="1518"/>
                </a:cubicBezTo>
                <a:cubicBezTo>
                  <a:pt x="3257" y="1518"/>
                  <a:pt x="3257" y="1518"/>
                  <a:pt x="3257" y="1518"/>
                </a:cubicBezTo>
                <a:cubicBezTo>
                  <a:pt x="3257" y="1517"/>
                  <a:pt x="3257" y="1517"/>
                  <a:pt x="3257" y="1517"/>
                </a:cubicBezTo>
                <a:cubicBezTo>
                  <a:pt x="3255" y="1517"/>
                  <a:pt x="3255" y="1517"/>
                  <a:pt x="3255" y="1517"/>
                </a:cubicBezTo>
                <a:cubicBezTo>
                  <a:pt x="3253" y="1518"/>
                  <a:pt x="3253" y="1518"/>
                  <a:pt x="3253" y="1518"/>
                </a:cubicBezTo>
                <a:cubicBezTo>
                  <a:pt x="3249" y="1522"/>
                  <a:pt x="3249" y="1522"/>
                  <a:pt x="3249" y="1522"/>
                </a:cubicBezTo>
                <a:cubicBezTo>
                  <a:pt x="3247" y="1522"/>
                  <a:pt x="3247" y="1522"/>
                  <a:pt x="3247" y="1522"/>
                </a:cubicBezTo>
                <a:cubicBezTo>
                  <a:pt x="3245" y="1523"/>
                  <a:pt x="3245" y="1523"/>
                  <a:pt x="3245" y="1523"/>
                </a:cubicBezTo>
                <a:cubicBezTo>
                  <a:pt x="3244" y="1522"/>
                  <a:pt x="3244" y="1522"/>
                  <a:pt x="3244" y="1522"/>
                </a:cubicBezTo>
                <a:cubicBezTo>
                  <a:pt x="3239" y="1518"/>
                  <a:pt x="3239" y="1518"/>
                  <a:pt x="3239" y="1518"/>
                </a:cubicBezTo>
                <a:cubicBezTo>
                  <a:pt x="3238" y="1518"/>
                  <a:pt x="3238" y="1518"/>
                  <a:pt x="3238" y="1518"/>
                </a:cubicBezTo>
                <a:cubicBezTo>
                  <a:pt x="3237" y="1516"/>
                  <a:pt x="3237" y="1516"/>
                  <a:pt x="3237" y="1516"/>
                </a:cubicBezTo>
                <a:cubicBezTo>
                  <a:pt x="3236" y="1515"/>
                  <a:pt x="3236" y="1515"/>
                  <a:pt x="3236" y="1515"/>
                </a:cubicBezTo>
                <a:cubicBezTo>
                  <a:pt x="3237" y="1514"/>
                  <a:pt x="3237" y="1514"/>
                  <a:pt x="3237" y="1514"/>
                </a:cubicBezTo>
                <a:cubicBezTo>
                  <a:pt x="3237" y="1511"/>
                  <a:pt x="3237" y="1511"/>
                  <a:pt x="3237" y="1511"/>
                </a:cubicBezTo>
                <a:cubicBezTo>
                  <a:pt x="3236" y="1508"/>
                  <a:pt x="3236" y="1508"/>
                  <a:pt x="3236" y="1508"/>
                </a:cubicBezTo>
                <a:cubicBezTo>
                  <a:pt x="3236" y="1507"/>
                  <a:pt x="3236" y="1507"/>
                  <a:pt x="3236" y="1507"/>
                </a:cubicBezTo>
                <a:cubicBezTo>
                  <a:pt x="3235" y="1506"/>
                  <a:pt x="3235" y="1506"/>
                  <a:pt x="3235" y="1506"/>
                </a:cubicBezTo>
                <a:cubicBezTo>
                  <a:pt x="3236" y="1504"/>
                  <a:pt x="3236" y="1504"/>
                  <a:pt x="3236" y="1504"/>
                </a:cubicBezTo>
                <a:cubicBezTo>
                  <a:pt x="3236" y="1502"/>
                  <a:pt x="3236" y="1502"/>
                  <a:pt x="3236" y="1502"/>
                </a:cubicBezTo>
                <a:cubicBezTo>
                  <a:pt x="3235" y="1502"/>
                  <a:pt x="3235" y="1502"/>
                  <a:pt x="3235" y="1502"/>
                </a:cubicBezTo>
                <a:cubicBezTo>
                  <a:pt x="3235" y="1500"/>
                  <a:pt x="3235" y="1500"/>
                  <a:pt x="3235" y="1500"/>
                </a:cubicBezTo>
                <a:cubicBezTo>
                  <a:pt x="3234" y="1498"/>
                  <a:pt x="3234" y="1498"/>
                  <a:pt x="3234" y="1498"/>
                </a:cubicBezTo>
                <a:cubicBezTo>
                  <a:pt x="3233" y="1499"/>
                  <a:pt x="3233" y="1499"/>
                  <a:pt x="3233" y="1499"/>
                </a:cubicBezTo>
                <a:cubicBezTo>
                  <a:pt x="3232" y="1498"/>
                  <a:pt x="3232" y="1498"/>
                  <a:pt x="3232" y="1498"/>
                </a:cubicBezTo>
                <a:cubicBezTo>
                  <a:pt x="3231" y="1499"/>
                  <a:pt x="3231" y="1499"/>
                  <a:pt x="3231" y="1499"/>
                </a:cubicBezTo>
                <a:cubicBezTo>
                  <a:pt x="3233" y="1500"/>
                  <a:pt x="3233" y="1500"/>
                  <a:pt x="3233" y="1500"/>
                </a:cubicBezTo>
                <a:cubicBezTo>
                  <a:pt x="3233" y="1502"/>
                  <a:pt x="3233" y="1502"/>
                  <a:pt x="3233" y="1502"/>
                </a:cubicBezTo>
                <a:cubicBezTo>
                  <a:pt x="3233" y="1503"/>
                  <a:pt x="3233" y="1503"/>
                  <a:pt x="3233" y="1503"/>
                </a:cubicBezTo>
                <a:cubicBezTo>
                  <a:pt x="3232" y="1504"/>
                  <a:pt x="3232" y="1504"/>
                  <a:pt x="3232" y="1504"/>
                </a:cubicBezTo>
                <a:cubicBezTo>
                  <a:pt x="3232" y="1506"/>
                  <a:pt x="3232" y="1506"/>
                  <a:pt x="3232" y="1506"/>
                </a:cubicBezTo>
                <a:cubicBezTo>
                  <a:pt x="3233" y="1508"/>
                  <a:pt x="3233" y="1508"/>
                  <a:pt x="3233" y="1508"/>
                </a:cubicBezTo>
                <a:cubicBezTo>
                  <a:pt x="3233" y="1509"/>
                  <a:pt x="3233" y="1509"/>
                  <a:pt x="3233" y="1509"/>
                </a:cubicBezTo>
                <a:cubicBezTo>
                  <a:pt x="3231" y="1509"/>
                  <a:pt x="3231" y="1509"/>
                  <a:pt x="3231" y="1509"/>
                </a:cubicBezTo>
                <a:cubicBezTo>
                  <a:pt x="3230" y="1508"/>
                  <a:pt x="3230" y="1508"/>
                  <a:pt x="3230" y="1508"/>
                </a:cubicBezTo>
                <a:cubicBezTo>
                  <a:pt x="3230" y="1506"/>
                  <a:pt x="3230" y="1506"/>
                  <a:pt x="3230" y="1506"/>
                </a:cubicBezTo>
                <a:cubicBezTo>
                  <a:pt x="3228" y="1506"/>
                  <a:pt x="3228" y="1506"/>
                  <a:pt x="3228" y="1506"/>
                </a:cubicBezTo>
                <a:cubicBezTo>
                  <a:pt x="3228" y="1505"/>
                  <a:pt x="3228" y="1505"/>
                  <a:pt x="3228" y="1505"/>
                </a:cubicBezTo>
                <a:cubicBezTo>
                  <a:pt x="3226" y="1504"/>
                  <a:pt x="3226" y="1504"/>
                  <a:pt x="3226" y="1504"/>
                </a:cubicBezTo>
                <a:cubicBezTo>
                  <a:pt x="3225" y="1504"/>
                  <a:pt x="3225" y="1504"/>
                  <a:pt x="3225" y="1504"/>
                </a:cubicBezTo>
                <a:cubicBezTo>
                  <a:pt x="3225" y="1503"/>
                  <a:pt x="3225" y="1503"/>
                  <a:pt x="3225" y="1503"/>
                </a:cubicBezTo>
                <a:cubicBezTo>
                  <a:pt x="3226" y="1503"/>
                  <a:pt x="3226" y="1503"/>
                  <a:pt x="3226" y="1503"/>
                </a:cubicBezTo>
                <a:cubicBezTo>
                  <a:pt x="3227" y="1501"/>
                  <a:pt x="3227" y="1501"/>
                  <a:pt x="3227" y="1501"/>
                </a:cubicBezTo>
                <a:cubicBezTo>
                  <a:pt x="3225" y="1500"/>
                  <a:pt x="3225" y="1500"/>
                  <a:pt x="3225" y="1500"/>
                </a:cubicBezTo>
                <a:cubicBezTo>
                  <a:pt x="3227" y="1498"/>
                  <a:pt x="3227" y="1498"/>
                  <a:pt x="3227" y="1498"/>
                </a:cubicBezTo>
                <a:cubicBezTo>
                  <a:pt x="3228" y="1497"/>
                  <a:pt x="3228" y="1497"/>
                  <a:pt x="3228" y="1497"/>
                </a:cubicBezTo>
                <a:cubicBezTo>
                  <a:pt x="3229" y="1495"/>
                  <a:pt x="3229" y="1495"/>
                  <a:pt x="3229" y="1495"/>
                </a:cubicBezTo>
                <a:cubicBezTo>
                  <a:pt x="3228" y="1494"/>
                  <a:pt x="3228" y="1494"/>
                  <a:pt x="3228" y="1494"/>
                </a:cubicBezTo>
                <a:cubicBezTo>
                  <a:pt x="3228" y="1493"/>
                  <a:pt x="3228" y="1493"/>
                  <a:pt x="3228" y="1493"/>
                </a:cubicBezTo>
                <a:cubicBezTo>
                  <a:pt x="3228" y="1491"/>
                  <a:pt x="3228" y="1491"/>
                  <a:pt x="3228" y="1491"/>
                </a:cubicBezTo>
                <a:cubicBezTo>
                  <a:pt x="3228" y="1489"/>
                  <a:pt x="3228" y="1489"/>
                  <a:pt x="3228" y="1489"/>
                </a:cubicBezTo>
                <a:cubicBezTo>
                  <a:pt x="3226" y="1487"/>
                  <a:pt x="3226" y="1487"/>
                  <a:pt x="3226" y="1487"/>
                </a:cubicBezTo>
                <a:cubicBezTo>
                  <a:pt x="3226" y="1486"/>
                  <a:pt x="3226" y="1486"/>
                  <a:pt x="3226" y="1486"/>
                </a:cubicBezTo>
                <a:cubicBezTo>
                  <a:pt x="3227" y="1487"/>
                  <a:pt x="3227" y="1487"/>
                  <a:pt x="3227" y="1487"/>
                </a:cubicBezTo>
                <a:cubicBezTo>
                  <a:pt x="3229" y="1486"/>
                  <a:pt x="3229" y="1486"/>
                  <a:pt x="3229" y="1486"/>
                </a:cubicBezTo>
                <a:cubicBezTo>
                  <a:pt x="3229" y="1484"/>
                  <a:pt x="3229" y="1484"/>
                  <a:pt x="3229" y="1484"/>
                </a:cubicBezTo>
                <a:cubicBezTo>
                  <a:pt x="3230" y="1484"/>
                  <a:pt x="3230" y="1484"/>
                  <a:pt x="3230" y="1484"/>
                </a:cubicBezTo>
                <a:cubicBezTo>
                  <a:pt x="3230" y="1481"/>
                  <a:pt x="3230" y="1481"/>
                  <a:pt x="3230" y="1481"/>
                </a:cubicBezTo>
                <a:cubicBezTo>
                  <a:pt x="3229" y="1478"/>
                  <a:pt x="3229" y="1478"/>
                  <a:pt x="3229" y="1478"/>
                </a:cubicBezTo>
                <a:cubicBezTo>
                  <a:pt x="3229" y="1476"/>
                  <a:pt x="3229" y="1476"/>
                  <a:pt x="3229" y="1476"/>
                </a:cubicBezTo>
                <a:cubicBezTo>
                  <a:pt x="3229" y="1477"/>
                  <a:pt x="3229" y="1477"/>
                  <a:pt x="3229" y="1477"/>
                </a:cubicBezTo>
                <a:cubicBezTo>
                  <a:pt x="3226" y="1478"/>
                  <a:pt x="3226" y="1478"/>
                  <a:pt x="3226" y="1478"/>
                </a:cubicBezTo>
                <a:cubicBezTo>
                  <a:pt x="3224" y="1476"/>
                  <a:pt x="3224" y="1476"/>
                  <a:pt x="3224" y="1476"/>
                </a:cubicBezTo>
                <a:cubicBezTo>
                  <a:pt x="3225" y="1475"/>
                  <a:pt x="3225" y="1475"/>
                  <a:pt x="3225" y="1475"/>
                </a:cubicBezTo>
                <a:cubicBezTo>
                  <a:pt x="3224" y="1474"/>
                  <a:pt x="3224" y="1474"/>
                  <a:pt x="3224" y="1474"/>
                </a:cubicBezTo>
                <a:cubicBezTo>
                  <a:pt x="3224" y="1474"/>
                  <a:pt x="3224" y="1474"/>
                  <a:pt x="3224" y="1474"/>
                </a:cubicBezTo>
                <a:cubicBezTo>
                  <a:pt x="3224" y="1473"/>
                  <a:pt x="3224" y="1473"/>
                  <a:pt x="3224" y="1473"/>
                </a:cubicBezTo>
                <a:cubicBezTo>
                  <a:pt x="3226" y="1472"/>
                  <a:pt x="3226" y="1472"/>
                  <a:pt x="3226" y="1472"/>
                </a:cubicBezTo>
                <a:cubicBezTo>
                  <a:pt x="3226" y="1471"/>
                  <a:pt x="3226" y="1471"/>
                  <a:pt x="3226" y="1471"/>
                </a:cubicBezTo>
                <a:cubicBezTo>
                  <a:pt x="3224" y="1470"/>
                  <a:pt x="3224" y="1470"/>
                  <a:pt x="3224" y="1470"/>
                </a:cubicBezTo>
                <a:cubicBezTo>
                  <a:pt x="3222" y="1469"/>
                  <a:pt x="3222" y="1469"/>
                  <a:pt x="3222" y="1469"/>
                </a:cubicBezTo>
                <a:cubicBezTo>
                  <a:pt x="3221" y="1470"/>
                  <a:pt x="3221" y="1470"/>
                  <a:pt x="3221" y="1470"/>
                </a:cubicBezTo>
                <a:cubicBezTo>
                  <a:pt x="3221" y="1468"/>
                  <a:pt x="3221" y="1468"/>
                  <a:pt x="3221" y="1468"/>
                </a:cubicBezTo>
                <a:cubicBezTo>
                  <a:pt x="3222" y="1468"/>
                  <a:pt x="3222" y="1468"/>
                  <a:pt x="3222" y="1468"/>
                </a:cubicBezTo>
                <a:cubicBezTo>
                  <a:pt x="3222" y="1467"/>
                  <a:pt x="3222" y="1467"/>
                  <a:pt x="3222" y="1467"/>
                </a:cubicBezTo>
                <a:cubicBezTo>
                  <a:pt x="3221" y="1467"/>
                  <a:pt x="3221" y="1467"/>
                  <a:pt x="3221" y="1467"/>
                </a:cubicBezTo>
                <a:cubicBezTo>
                  <a:pt x="3220" y="1467"/>
                  <a:pt x="3220" y="1467"/>
                  <a:pt x="3220" y="1467"/>
                </a:cubicBezTo>
                <a:cubicBezTo>
                  <a:pt x="3220" y="1468"/>
                  <a:pt x="3220" y="1468"/>
                  <a:pt x="3220" y="1468"/>
                </a:cubicBezTo>
                <a:cubicBezTo>
                  <a:pt x="3220" y="1470"/>
                  <a:pt x="3220" y="1470"/>
                  <a:pt x="3220" y="1470"/>
                </a:cubicBezTo>
                <a:cubicBezTo>
                  <a:pt x="3218" y="1469"/>
                  <a:pt x="3218" y="1469"/>
                  <a:pt x="3218" y="1469"/>
                </a:cubicBezTo>
                <a:cubicBezTo>
                  <a:pt x="3219" y="1468"/>
                  <a:pt x="3219" y="1468"/>
                  <a:pt x="3219" y="1468"/>
                </a:cubicBezTo>
                <a:cubicBezTo>
                  <a:pt x="3218" y="1466"/>
                  <a:pt x="3218" y="1466"/>
                  <a:pt x="3218" y="1466"/>
                </a:cubicBezTo>
                <a:cubicBezTo>
                  <a:pt x="3217" y="1464"/>
                  <a:pt x="3217" y="1464"/>
                  <a:pt x="3217" y="1464"/>
                </a:cubicBezTo>
                <a:cubicBezTo>
                  <a:pt x="3218" y="1462"/>
                  <a:pt x="3218" y="1462"/>
                  <a:pt x="3218" y="1462"/>
                </a:cubicBezTo>
                <a:cubicBezTo>
                  <a:pt x="3218" y="1461"/>
                  <a:pt x="3218" y="1461"/>
                  <a:pt x="3218" y="1461"/>
                </a:cubicBezTo>
                <a:cubicBezTo>
                  <a:pt x="3218" y="1461"/>
                  <a:pt x="3218" y="1461"/>
                  <a:pt x="3218" y="1461"/>
                </a:cubicBezTo>
                <a:cubicBezTo>
                  <a:pt x="3217" y="1460"/>
                  <a:pt x="3217" y="1460"/>
                  <a:pt x="3217" y="1460"/>
                </a:cubicBezTo>
                <a:cubicBezTo>
                  <a:pt x="3216" y="1461"/>
                  <a:pt x="3216" y="1461"/>
                  <a:pt x="3216" y="1461"/>
                </a:cubicBezTo>
                <a:cubicBezTo>
                  <a:pt x="3213" y="1461"/>
                  <a:pt x="3213" y="1461"/>
                  <a:pt x="3213" y="1461"/>
                </a:cubicBezTo>
                <a:cubicBezTo>
                  <a:pt x="3213" y="1461"/>
                  <a:pt x="3213" y="1461"/>
                  <a:pt x="3213" y="1461"/>
                </a:cubicBezTo>
                <a:cubicBezTo>
                  <a:pt x="3215" y="1463"/>
                  <a:pt x="3215" y="1463"/>
                  <a:pt x="3215" y="1463"/>
                </a:cubicBezTo>
                <a:cubicBezTo>
                  <a:pt x="3217" y="1468"/>
                  <a:pt x="3217" y="1468"/>
                  <a:pt x="3217" y="1468"/>
                </a:cubicBezTo>
                <a:cubicBezTo>
                  <a:pt x="3217" y="1470"/>
                  <a:pt x="3217" y="1470"/>
                  <a:pt x="3217" y="1470"/>
                </a:cubicBezTo>
                <a:cubicBezTo>
                  <a:pt x="3217" y="1473"/>
                  <a:pt x="3217" y="1473"/>
                  <a:pt x="3217" y="1473"/>
                </a:cubicBezTo>
                <a:cubicBezTo>
                  <a:pt x="3216" y="1474"/>
                  <a:pt x="3216" y="1474"/>
                  <a:pt x="3216" y="1474"/>
                </a:cubicBezTo>
                <a:cubicBezTo>
                  <a:pt x="3215" y="1474"/>
                  <a:pt x="3215" y="1474"/>
                  <a:pt x="3215" y="1474"/>
                </a:cubicBezTo>
                <a:cubicBezTo>
                  <a:pt x="3215" y="1475"/>
                  <a:pt x="3215" y="1475"/>
                  <a:pt x="3215" y="1475"/>
                </a:cubicBezTo>
                <a:cubicBezTo>
                  <a:pt x="3216" y="1479"/>
                  <a:pt x="3216" y="1479"/>
                  <a:pt x="3216" y="1479"/>
                </a:cubicBezTo>
                <a:cubicBezTo>
                  <a:pt x="3217" y="1479"/>
                  <a:pt x="3217" y="1479"/>
                  <a:pt x="3217" y="1479"/>
                </a:cubicBezTo>
                <a:cubicBezTo>
                  <a:pt x="3218" y="1478"/>
                  <a:pt x="3218" y="1478"/>
                  <a:pt x="3218" y="1478"/>
                </a:cubicBezTo>
                <a:cubicBezTo>
                  <a:pt x="3220" y="1478"/>
                  <a:pt x="3220" y="1478"/>
                  <a:pt x="3220" y="1478"/>
                </a:cubicBezTo>
                <a:cubicBezTo>
                  <a:pt x="3219" y="1479"/>
                  <a:pt x="3219" y="1479"/>
                  <a:pt x="3219" y="1479"/>
                </a:cubicBezTo>
                <a:cubicBezTo>
                  <a:pt x="3217" y="1480"/>
                  <a:pt x="3217" y="1480"/>
                  <a:pt x="3217" y="1480"/>
                </a:cubicBezTo>
                <a:cubicBezTo>
                  <a:pt x="3218" y="1483"/>
                  <a:pt x="3218" y="1483"/>
                  <a:pt x="3218" y="1483"/>
                </a:cubicBezTo>
                <a:cubicBezTo>
                  <a:pt x="3219" y="1486"/>
                  <a:pt x="3219" y="1486"/>
                  <a:pt x="3219" y="1486"/>
                </a:cubicBezTo>
                <a:cubicBezTo>
                  <a:pt x="3220" y="1491"/>
                  <a:pt x="3220" y="1491"/>
                  <a:pt x="3220" y="1491"/>
                </a:cubicBezTo>
                <a:cubicBezTo>
                  <a:pt x="3220" y="1494"/>
                  <a:pt x="3220" y="1494"/>
                  <a:pt x="3220" y="1494"/>
                </a:cubicBezTo>
                <a:cubicBezTo>
                  <a:pt x="3220" y="1496"/>
                  <a:pt x="3220" y="1496"/>
                  <a:pt x="3220" y="1496"/>
                </a:cubicBezTo>
                <a:cubicBezTo>
                  <a:pt x="3221" y="1495"/>
                  <a:pt x="3221" y="1495"/>
                  <a:pt x="3221" y="1495"/>
                </a:cubicBezTo>
                <a:cubicBezTo>
                  <a:pt x="3221" y="1494"/>
                  <a:pt x="3221" y="1494"/>
                  <a:pt x="3221" y="1494"/>
                </a:cubicBezTo>
                <a:cubicBezTo>
                  <a:pt x="3221" y="1492"/>
                  <a:pt x="3221" y="1492"/>
                  <a:pt x="3221" y="1492"/>
                </a:cubicBezTo>
                <a:cubicBezTo>
                  <a:pt x="3221" y="1492"/>
                  <a:pt x="3221" y="1492"/>
                  <a:pt x="3221" y="1492"/>
                </a:cubicBezTo>
                <a:cubicBezTo>
                  <a:pt x="3222" y="1493"/>
                  <a:pt x="3222" y="1493"/>
                  <a:pt x="3222" y="1493"/>
                </a:cubicBezTo>
                <a:cubicBezTo>
                  <a:pt x="3222" y="1495"/>
                  <a:pt x="3222" y="1495"/>
                  <a:pt x="3222" y="1495"/>
                </a:cubicBezTo>
                <a:cubicBezTo>
                  <a:pt x="3223" y="1495"/>
                  <a:pt x="3223" y="1495"/>
                  <a:pt x="3223" y="1495"/>
                </a:cubicBezTo>
                <a:cubicBezTo>
                  <a:pt x="3223" y="1494"/>
                  <a:pt x="3223" y="1494"/>
                  <a:pt x="3223" y="1494"/>
                </a:cubicBezTo>
                <a:cubicBezTo>
                  <a:pt x="3223" y="1493"/>
                  <a:pt x="3223" y="1493"/>
                  <a:pt x="3223" y="1493"/>
                </a:cubicBezTo>
                <a:cubicBezTo>
                  <a:pt x="3224" y="1493"/>
                  <a:pt x="3224" y="1493"/>
                  <a:pt x="3224" y="1493"/>
                </a:cubicBezTo>
                <a:cubicBezTo>
                  <a:pt x="3224" y="1494"/>
                  <a:pt x="3224" y="1494"/>
                  <a:pt x="3224" y="1494"/>
                </a:cubicBezTo>
                <a:cubicBezTo>
                  <a:pt x="3223" y="1496"/>
                  <a:pt x="3223" y="1496"/>
                  <a:pt x="3223" y="1496"/>
                </a:cubicBezTo>
                <a:cubicBezTo>
                  <a:pt x="3222" y="1498"/>
                  <a:pt x="3222" y="1498"/>
                  <a:pt x="3222" y="1498"/>
                </a:cubicBezTo>
                <a:cubicBezTo>
                  <a:pt x="3222" y="1499"/>
                  <a:pt x="3222" y="1499"/>
                  <a:pt x="3222" y="1499"/>
                </a:cubicBezTo>
                <a:cubicBezTo>
                  <a:pt x="3221" y="1499"/>
                  <a:pt x="3221" y="1499"/>
                  <a:pt x="3221" y="1499"/>
                </a:cubicBezTo>
                <a:cubicBezTo>
                  <a:pt x="3221" y="1498"/>
                  <a:pt x="3221" y="1498"/>
                  <a:pt x="3221" y="1498"/>
                </a:cubicBezTo>
                <a:cubicBezTo>
                  <a:pt x="3220" y="1498"/>
                  <a:pt x="3220" y="1498"/>
                  <a:pt x="3220" y="1498"/>
                </a:cubicBezTo>
                <a:cubicBezTo>
                  <a:pt x="3220" y="1501"/>
                  <a:pt x="3220" y="1501"/>
                  <a:pt x="3220" y="1501"/>
                </a:cubicBezTo>
                <a:cubicBezTo>
                  <a:pt x="3222" y="1505"/>
                  <a:pt x="3222" y="1505"/>
                  <a:pt x="3222" y="1505"/>
                </a:cubicBezTo>
                <a:cubicBezTo>
                  <a:pt x="3222" y="1505"/>
                  <a:pt x="3222" y="1505"/>
                  <a:pt x="3222" y="1505"/>
                </a:cubicBezTo>
                <a:cubicBezTo>
                  <a:pt x="3223" y="1505"/>
                  <a:pt x="3223" y="1505"/>
                  <a:pt x="3223" y="1505"/>
                </a:cubicBezTo>
                <a:cubicBezTo>
                  <a:pt x="3224" y="1506"/>
                  <a:pt x="3224" y="1506"/>
                  <a:pt x="3224" y="1506"/>
                </a:cubicBezTo>
                <a:cubicBezTo>
                  <a:pt x="3224" y="1507"/>
                  <a:pt x="3224" y="1507"/>
                  <a:pt x="3224" y="1507"/>
                </a:cubicBezTo>
                <a:cubicBezTo>
                  <a:pt x="3225" y="1508"/>
                  <a:pt x="3225" y="1508"/>
                  <a:pt x="3225" y="1508"/>
                </a:cubicBezTo>
                <a:cubicBezTo>
                  <a:pt x="3223" y="1509"/>
                  <a:pt x="3223" y="1509"/>
                  <a:pt x="3223" y="1509"/>
                </a:cubicBezTo>
                <a:cubicBezTo>
                  <a:pt x="3223" y="1510"/>
                  <a:pt x="3223" y="1510"/>
                  <a:pt x="3223" y="1510"/>
                </a:cubicBezTo>
                <a:cubicBezTo>
                  <a:pt x="3224" y="1511"/>
                  <a:pt x="3224" y="1511"/>
                  <a:pt x="3224" y="1511"/>
                </a:cubicBezTo>
                <a:cubicBezTo>
                  <a:pt x="3223" y="1512"/>
                  <a:pt x="3223" y="1512"/>
                  <a:pt x="3223" y="1512"/>
                </a:cubicBezTo>
                <a:cubicBezTo>
                  <a:pt x="3222" y="1515"/>
                  <a:pt x="3222" y="1515"/>
                  <a:pt x="3222" y="1515"/>
                </a:cubicBezTo>
                <a:cubicBezTo>
                  <a:pt x="3222" y="1517"/>
                  <a:pt x="3222" y="1517"/>
                  <a:pt x="3222" y="1517"/>
                </a:cubicBezTo>
                <a:cubicBezTo>
                  <a:pt x="3221" y="1518"/>
                  <a:pt x="3221" y="1518"/>
                  <a:pt x="3221" y="1518"/>
                </a:cubicBezTo>
                <a:cubicBezTo>
                  <a:pt x="3222" y="1519"/>
                  <a:pt x="3222" y="1519"/>
                  <a:pt x="3222" y="1519"/>
                </a:cubicBezTo>
                <a:cubicBezTo>
                  <a:pt x="3222" y="1520"/>
                  <a:pt x="3222" y="1520"/>
                  <a:pt x="3222" y="1520"/>
                </a:cubicBezTo>
                <a:cubicBezTo>
                  <a:pt x="3220" y="1520"/>
                  <a:pt x="3220" y="1520"/>
                  <a:pt x="3220" y="1520"/>
                </a:cubicBezTo>
                <a:cubicBezTo>
                  <a:pt x="3220" y="1521"/>
                  <a:pt x="3220" y="1521"/>
                  <a:pt x="3220" y="1521"/>
                </a:cubicBezTo>
                <a:cubicBezTo>
                  <a:pt x="3220" y="1522"/>
                  <a:pt x="3220" y="1522"/>
                  <a:pt x="3220" y="1522"/>
                </a:cubicBezTo>
                <a:cubicBezTo>
                  <a:pt x="3221" y="1523"/>
                  <a:pt x="3221" y="1523"/>
                  <a:pt x="3221" y="1523"/>
                </a:cubicBezTo>
                <a:cubicBezTo>
                  <a:pt x="3220" y="1524"/>
                  <a:pt x="3220" y="1524"/>
                  <a:pt x="3220" y="1524"/>
                </a:cubicBezTo>
                <a:cubicBezTo>
                  <a:pt x="3218" y="1524"/>
                  <a:pt x="3218" y="1524"/>
                  <a:pt x="3218" y="1524"/>
                </a:cubicBezTo>
                <a:cubicBezTo>
                  <a:pt x="3217" y="1526"/>
                  <a:pt x="3217" y="1526"/>
                  <a:pt x="3217" y="1526"/>
                </a:cubicBezTo>
                <a:cubicBezTo>
                  <a:pt x="3216" y="1534"/>
                  <a:pt x="3216" y="1534"/>
                  <a:pt x="3216" y="1534"/>
                </a:cubicBezTo>
                <a:cubicBezTo>
                  <a:pt x="3216" y="1535"/>
                  <a:pt x="3216" y="1535"/>
                  <a:pt x="3216" y="1535"/>
                </a:cubicBezTo>
                <a:cubicBezTo>
                  <a:pt x="3214" y="1536"/>
                  <a:pt x="3214" y="1536"/>
                  <a:pt x="3214" y="1536"/>
                </a:cubicBezTo>
                <a:cubicBezTo>
                  <a:pt x="3213" y="1536"/>
                  <a:pt x="3213" y="1536"/>
                  <a:pt x="3213" y="1536"/>
                </a:cubicBezTo>
                <a:cubicBezTo>
                  <a:pt x="3211" y="1536"/>
                  <a:pt x="3211" y="1536"/>
                  <a:pt x="3211" y="1536"/>
                </a:cubicBezTo>
                <a:cubicBezTo>
                  <a:pt x="3209" y="1536"/>
                  <a:pt x="3209" y="1536"/>
                  <a:pt x="3209" y="1536"/>
                </a:cubicBezTo>
                <a:cubicBezTo>
                  <a:pt x="3206" y="1538"/>
                  <a:pt x="3206" y="1538"/>
                  <a:pt x="3206" y="1538"/>
                </a:cubicBezTo>
                <a:cubicBezTo>
                  <a:pt x="3204" y="1540"/>
                  <a:pt x="3204" y="1540"/>
                  <a:pt x="3204" y="1540"/>
                </a:cubicBezTo>
                <a:cubicBezTo>
                  <a:pt x="3203" y="1542"/>
                  <a:pt x="3203" y="1542"/>
                  <a:pt x="3203" y="1542"/>
                </a:cubicBezTo>
                <a:cubicBezTo>
                  <a:pt x="3204" y="1545"/>
                  <a:pt x="3204" y="1545"/>
                  <a:pt x="3204" y="1545"/>
                </a:cubicBezTo>
                <a:cubicBezTo>
                  <a:pt x="3205" y="1547"/>
                  <a:pt x="3205" y="1547"/>
                  <a:pt x="3205" y="1547"/>
                </a:cubicBezTo>
                <a:cubicBezTo>
                  <a:pt x="3208" y="1549"/>
                  <a:pt x="3208" y="1549"/>
                  <a:pt x="3208" y="1549"/>
                </a:cubicBezTo>
                <a:cubicBezTo>
                  <a:pt x="3210" y="1551"/>
                  <a:pt x="3210" y="1551"/>
                  <a:pt x="3210" y="1551"/>
                </a:cubicBezTo>
                <a:cubicBezTo>
                  <a:pt x="3212" y="1552"/>
                  <a:pt x="3212" y="1552"/>
                  <a:pt x="3212" y="1552"/>
                </a:cubicBezTo>
                <a:cubicBezTo>
                  <a:pt x="3213" y="1553"/>
                  <a:pt x="3213" y="1553"/>
                  <a:pt x="3213" y="1553"/>
                </a:cubicBezTo>
                <a:cubicBezTo>
                  <a:pt x="3214" y="1557"/>
                  <a:pt x="3214" y="1557"/>
                  <a:pt x="3214" y="1557"/>
                </a:cubicBezTo>
                <a:cubicBezTo>
                  <a:pt x="3214" y="1558"/>
                  <a:pt x="3214" y="1558"/>
                  <a:pt x="3214" y="1558"/>
                </a:cubicBezTo>
                <a:cubicBezTo>
                  <a:pt x="3214" y="1558"/>
                  <a:pt x="3214" y="1558"/>
                  <a:pt x="3214" y="1558"/>
                </a:cubicBezTo>
                <a:cubicBezTo>
                  <a:pt x="3214" y="1561"/>
                  <a:pt x="3214" y="1561"/>
                  <a:pt x="3214" y="1561"/>
                </a:cubicBezTo>
                <a:cubicBezTo>
                  <a:pt x="3213" y="1563"/>
                  <a:pt x="3213" y="1563"/>
                  <a:pt x="3213" y="1563"/>
                </a:cubicBezTo>
                <a:cubicBezTo>
                  <a:pt x="3209" y="1568"/>
                  <a:pt x="3209" y="1568"/>
                  <a:pt x="3209" y="1568"/>
                </a:cubicBezTo>
                <a:cubicBezTo>
                  <a:pt x="3206" y="1571"/>
                  <a:pt x="3206" y="1571"/>
                  <a:pt x="3206" y="1571"/>
                </a:cubicBezTo>
                <a:cubicBezTo>
                  <a:pt x="3203" y="1573"/>
                  <a:pt x="3203" y="1573"/>
                  <a:pt x="3203" y="1573"/>
                </a:cubicBezTo>
                <a:cubicBezTo>
                  <a:pt x="3202" y="1575"/>
                  <a:pt x="3202" y="1575"/>
                  <a:pt x="3202" y="1575"/>
                </a:cubicBezTo>
                <a:cubicBezTo>
                  <a:pt x="3202" y="1576"/>
                  <a:pt x="3202" y="1576"/>
                  <a:pt x="3202" y="1576"/>
                </a:cubicBezTo>
                <a:cubicBezTo>
                  <a:pt x="3204" y="1576"/>
                  <a:pt x="3204" y="1576"/>
                  <a:pt x="3204" y="1576"/>
                </a:cubicBezTo>
                <a:cubicBezTo>
                  <a:pt x="3205" y="1575"/>
                  <a:pt x="3205" y="1575"/>
                  <a:pt x="3205" y="1575"/>
                </a:cubicBezTo>
                <a:cubicBezTo>
                  <a:pt x="3205" y="1575"/>
                  <a:pt x="3205" y="1575"/>
                  <a:pt x="3205" y="1575"/>
                </a:cubicBezTo>
                <a:cubicBezTo>
                  <a:pt x="3206" y="1577"/>
                  <a:pt x="3206" y="1577"/>
                  <a:pt x="3206" y="1577"/>
                </a:cubicBezTo>
                <a:cubicBezTo>
                  <a:pt x="3205" y="1578"/>
                  <a:pt x="3205" y="1578"/>
                  <a:pt x="3205" y="1578"/>
                </a:cubicBezTo>
                <a:cubicBezTo>
                  <a:pt x="3206" y="1578"/>
                  <a:pt x="3206" y="1578"/>
                  <a:pt x="3206" y="1578"/>
                </a:cubicBezTo>
                <a:cubicBezTo>
                  <a:pt x="3207" y="1578"/>
                  <a:pt x="3207" y="1578"/>
                  <a:pt x="3207" y="1578"/>
                </a:cubicBezTo>
                <a:cubicBezTo>
                  <a:pt x="3207" y="1578"/>
                  <a:pt x="3207" y="1578"/>
                  <a:pt x="3207" y="1578"/>
                </a:cubicBezTo>
                <a:cubicBezTo>
                  <a:pt x="3207" y="1580"/>
                  <a:pt x="3207" y="1580"/>
                  <a:pt x="3207" y="1580"/>
                </a:cubicBezTo>
                <a:cubicBezTo>
                  <a:pt x="3208" y="1580"/>
                  <a:pt x="3208" y="1580"/>
                  <a:pt x="3208" y="1580"/>
                </a:cubicBezTo>
                <a:cubicBezTo>
                  <a:pt x="3209" y="1580"/>
                  <a:pt x="3209" y="1580"/>
                  <a:pt x="3209" y="1580"/>
                </a:cubicBezTo>
                <a:cubicBezTo>
                  <a:pt x="3213" y="1578"/>
                  <a:pt x="3213" y="1578"/>
                  <a:pt x="3213" y="1578"/>
                </a:cubicBezTo>
                <a:cubicBezTo>
                  <a:pt x="3216" y="1575"/>
                  <a:pt x="3216" y="1575"/>
                  <a:pt x="3216" y="1575"/>
                </a:cubicBezTo>
                <a:cubicBezTo>
                  <a:pt x="3219" y="1572"/>
                  <a:pt x="3219" y="1572"/>
                  <a:pt x="3219" y="1572"/>
                </a:cubicBezTo>
                <a:cubicBezTo>
                  <a:pt x="3222" y="1569"/>
                  <a:pt x="3222" y="1569"/>
                  <a:pt x="3222" y="1569"/>
                </a:cubicBezTo>
                <a:cubicBezTo>
                  <a:pt x="3225" y="1564"/>
                  <a:pt x="3225" y="1564"/>
                  <a:pt x="3225" y="1564"/>
                </a:cubicBezTo>
                <a:cubicBezTo>
                  <a:pt x="3227" y="1563"/>
                  <a:pt x="3227" y="1563"/>
                  <a:pt x="3227" y="1563"/>
                </a:cubicBezTo>
                <a:cubicBezTo>
                  <a:pt x="3228" y="1563"/>
                  <a:pt x="3228" y="1563"/>
                  <a:pt x="3228" y="1563"/>
                </a:cubicBezTo>
                <a:cubicBezTo>
                  <a:pt x="3229" y="1562"/>
                  <a:pt x="3229" y="1562"/>
                  <a:pt x="3229" y="1562"/>
                </a:cubicBezTo>
                <a:cubicBezTo>
                  <a:pt x="3229" y="1560"/>
                  <a:pt x="3229" y="1560"/>
                  <a:pt x="3229" y="1560"/>
                </a:cubicBezTo>
                <a:cubicBezTo>
                  <a:pt x="3230" y="1559"/>
                  <a:pt x="3230" y="1559"/>
                  <a:pt x="3230" y="1559"/>
                </a:cubicBezTo>
                <a:cubicBezTo>
                  <a:pt x="3232" y="1559"/>
                  <a:pt x="3232" y="1559"/>
                  <a:pt x="3232" y="1559"/>
                </a:cubicBezTo>
                <a:cubicBezTo>
                  <a:pt x="3233" y="1555"/>
                  <a:pt x="3233" y="1555"/>
                  <a:pt x="3233" y="1555"/>
                </a:cubicBezTo>
                <a:cubicBezTo>
                  <a:pt x="3236" y="1552"/>
                  <a:pt x="3236" y="1552"/>
                  <a:pt x="3236" y="1552"/>
                </a:cubicBezTo>
                <a:cubicBezTo>
                  <a:pt x="3236" y="1551"/>
                  <a:pt x="3236" y="1551"/>
                  <a:pt x="3236" y="1551"/>
                </a:cubicBezTo>
                <a:cubicBezTo>
                  <a:pt x="3237" y="1550"/>
                  <a:pt x="3237" y="1550"/>
                  <a:pt x="3237" y="1550"/>
                </a:cubicBezTo>
                <a:cubicBezTo>
                  <a:pt x="3235" y="1548"/>
                  <a:pt x="3235" y="1548"/>
                  <a:pt x="3235" y="1548"/>
                </a:cubicBezTo>
                <a:cubicBezTo>
                  <a:pt x="3233" y="1548"/>
                  <a:pt x="3233" y="1548"/>
                  <a:pt x="3233" y="1548"/>
                </a:cubicBezTo>
                <a:cubicBezTo>
                  <a:pt x="3232" y="1548"/>
                  <a:pt x="3232" y="1548"/>
                  <a:pt x="3232" y="1548"/>
                </a:cubicBezTo>
                <a:cubicBezTo>
                  <a:pt x="3233" y="1547"/>
                  <a:pt x="3233" y="1547"/>
                  <a:pt x="3233" y="1547"/>
                </a:cubicBezTo>
                <a:cubicBezTo>
                  <a:pt x="3235" y="1547"/>
                  <a:pt x="3235" y="1547"/>
                  <a:pt x="3235" y="1547"/>
                </a:cubicBezTo>
                <a:cubicBezTo>
                  <a:pt x="3239" y="1542"/>
                  <a:pt x="3239" y="1542"/>
                  <a:pt x="3239" y="1542"/>
                </a:cubicBezTo>
                <a:cubicBezTo>
                  <a:pt x="3241" y="1541"/>
                  <a:pt x="3241" y="1541"/>
                  <a:pt x="3241" y="1541"/>
                </a:cubicBezTo>
                <a:cubicBezTo>
                  <a:pt x="3244" y="1542"/>
                  <a:pt x="3244" y="1542"/>
                  <a:pt x="3244" y="1542"/>
                </a:cubicBezTo>
                <a:cubicBezTo>
                  <a:pt x="3246" y="1542"/>
                  <a:pt x="3246" y="1542"/>
                  <a:pt x="3246" y="1542"/>
                </a:cubicBezTo>
                <a:cubicBezTo>
                  <a:pt x="3246" y="1543"/>
                  <a:pt x="3246" y="1543"/>
                  <a:pt x="3246" y="1543"/>
                </a:cubicBezTo>
                <a:cubicBezTo>
                  <a:pt x="3246" y="1544"/>
                  <a:pt x="3246" y="1544"/>
                  <a:pt x="3246" y="1544"/>
                </a:cubicBezTo>
                <a:cubicBezTo>
                  <a:pt x="3248" y="1543"/>
                  <a:pt x="3248" y="1543"/>
                  <a:pt x="3248" y="1543"/>
                </a:cubicBezTo>
                <a:cubicBezTo>
                  <a:pt x="3249" y="1542"/>
                  <a:pt x="3249" y="1542"/>
                  <a:pt x="3249" y="1542"/>
                </a:cubicBezTo>
                <a:cubicBezTo>
                  <a:pt x="3246" y="1541"/>
                  <a:pt x="3246" y="1541"/>
                  <a:pt x="3246" y="1541"/>
                </a:cubicBezTo>
                <a:cubicBezTo>
                  <a:pt x="3247" y="1539"/>
                  <a:pt x="3247" y="1539"/>
                  <a:pt x="3247" y="1539"/>
                </a:cubicBezTo>
                <a:cubicBezTo>
                  <a:pt x="3248" y="1536"/>
                  <a:pt x="3248" y="1536"/>
                  <a:pt x="3248" y="1536"/>
                </a:cubicBezTo>
                <a:cubicBezTo>
                  <a:pt x="3249" y="1535"/>
                  <a:pt x="3249" y="1535"/>
                  <a:pt x="3249" y="1535"/>
                </a:cubicBezTo>
                <a:cubicBezTo>
                  <a:pt x="3251" y="1535"/>
                  <a:pt x="3251" y="1535"/>
                  <a:pt x="3251" y="1535"/>
                </a:cubicBezTo>
                <a:cubicBezTo>
                  <a:pt x="3251" y="1535"/>
                  <a:pt x="3251" y="1535"/>
                  <a:pt x="3251" y="1535"/>
                </a:cubicBezTo>
                <a:cubicBezTo>
                  <a:pt x="3252" y="1535"/>
                  <a:pt x="3252" y="1535"/>
                  <a:pt x="3252" y="1535"/>
                </a:cubicBezTo>
                <a:cubicBezTo>
                  <a:pt x="3253" y="1533"/>
                  <a:pt x="3253" y="1533"/>
                  <a:pt x="3253" y="1533"/>
                </a:cubicBezTo>
                <a:cubicBezTo>
                  <a:pt x="3256" y="1529"/>
                  <a:pt x="3256" y="1529"/>
                  <a:pt x="3256" y="1529"/>
                </a:cubicBezTo>
                <a:cubicBezTo>
                  <a:pt x="3256" y="1527"/>
                  <a:pt x="3256" y="1527"/>
                  <a:pt x="3256" y="1527"/>
                </a:cubicBezTo>
                <a:cubicBezTo>
                  <a:pt x="3256" y="1526"/>
                  <a:pt x="3256" y="1526"/>
                  <a:pt x="3256" y="1526"/>
                </a:cubicBezTo>
                <a:cubicBezTo>
                  <a:pt x="3257" y="1524"/>
                  <a:pt x="3257" y="1524"/>
                  <a:pt x="3257" y="1524"/>
                </a:cubicBezTo>
                <a:cubicBezTo>
                  <a:pt x="3258" y="1522"/>
                  <a:pt x="3258" y="1522"/>
                  <a:pt x="3258" y="1522"/>
                </a:cubicBezTo>
                <a:cubicBezTo>
                  <a:pt x="3260" y="1521"/>
                  <a:pt x="3260" y="1521"/>
                  <a:pt x="3260" y="1521"/>
                </a:cubicBezTo>
                <a:lnTo>
                  <a:pt x="3260" y="1520"/>
                </a:lnTo>
                <a:close/>
                <a:moveTo>
                  <a:pt x="3190" y="1266"/>
                </a:moveTo>
                <a:cubicBezTo>
                  <a:pt x="3190" y="1265"/>
                  <a:pt x="3190" y="1265"/>
                  <a:pt x="3190" y="1265"/>
                </a:cubicBezTo>
                <a:cubicBezTo>
                  <a:pt x="3188" y="1265"/>
                  <a:pt x="3188" y="1265"/>
                  <a:pt x="3188" y="1265"/>
                </a:cubicBezTo>
                <a:cubicBezTo>
                  <a:pt x="3188" y="1266"/>
                  <a:pt x="3188" y="1266"/>
                  <a:pt x="3188" y="1266"/>
                </a:cubicBezTo>
                <a:cubicBezTo>
                  <a:pt x="3187" y="1268"/>
                  <a:pt x="3187" y="1268"/>
                  <a:pt x="3187" y="1268"/>
                </a:cubicBezTo>
                <a:cubicBezTo>
                  <a:pt x="3189" y="1268"/>
                  <a:pt x="3189" y="1268"/>
                  <a:pt x="3189" y="1268"/>
                </a:cubicBezTo>
                <a:lnTo>
                  <a:pt x="3190" y="1266"/>
                </a:lnTo>
                <a:close/>
                <a:moveTo>
                  <a:pt x="3194" y="1273"/>
                </a:moveTo>
                <a:cubicBezTo>
                  <a:pt x="3196" y="1274"/>
                  <a:pt x="3196" y="1274"/>
                  <a:pt x="3196" y="1274"/>
                </a:cubicBezTo>
                <a:cubicBezTo>
                  <a:pt x="3197" y="1273"/>
                  <a:pt x="3197" y="1273"/>
                  <a:pt x="3197" y="1273"/>
                </a:cubicBezTo>
                <a:cubicBezTo>
                  <a:pt x="3195" y="1271"/>
                  <a:pt x="3195" y="1271"/>
                  <a:pt x="3195" y="1271"/>
                </a:cubicBezTo>
                <a:cubicBezTo>
                  <a:pt x="3196" y="1270"/>
                  <a:pt x="3196" y="1270"/>
                  <a:pt x="3196" y="1270"/>
                </a:cubicBezTo>
                <a:cubicBezTo>
                  <a:pt x="3196" y="1268"/>
                  <a:pt x="3196" y="1268"/>
                  <a:pt x="3196" y="1268"/>
                </a:cubicBezTo>
                <a:cubicBezTo>
                  <a:pt x="3195" y="1267"/>
                  <a:pt x="3195" y="1267"/>
                  <a:pt x="3195" y="1267"/>
                </a:cubicBezTo>
                <a:cubicBezTo>
                  <a:pt x="3193" y="1269"/>
                  <a:pt x="3193" y="1269"/>
                  <a:pt x="3193" y="1269"/>
                </a:cubicBezTo>
                <a:cubicBezTo>
                  <a:pt x="3193" y="1270"/>
                  <a:pt x="3193" y="1270"/>
                  <a:pt x="3193" y="1270"/>
                </a:cubicBezTo>
                <a:cubicBezTo>
                  <a:pt x="3193" y="1271"/>
                  <a:pt x="3193" y="1271"/>
                  <a:pt x="3193" y="1271"/>
                </a:cubicBezTo>
                <a:lnTo>
                  <a:pt x="3194" y="1273"/>
                </a:lnTo>
                <a:close/>
                <a:moveTo>
                  <a:pt x="3192" y="1152"/>
                </a:moveTo>
                <a:cubicBezTo>
                  <a:pt x="3194" y="1151"/>
                  <a:pt x="3194" y="1151"/>
                  <a:pt x="3194" y="1151"/>
                </a:cubicBezTo>
                <a:cubicBezTo>
                  <a:pt x="3193" y="1150"/>
                  <a:pt x="3193" y="1150"/>
                  <a:pt x="3193" y="1150"/>
                </a:cubicBezTo>
                <a:cubicBezTo>
                  <a:pt x="3191" y="1150"/>
                  <a:pt x="3191" y="1150"/>
                  <a:pt x="3191" y="1150"/>
                </a:cubicBezTo>
                <a:cubicBezTo>
                  <a:pt x="3190" y="1151"/>
                  <a:pt x="3190" y="1151"/>
                  <a:pt x="3190" y="1151"/>
                </a:cubicBezTo>
                <a:cubicBezTo>
                  <a:pt x="3190" y="1152"/>
                  <a:pt x="3190" y="1152"/>
                  <a:pt x="3190" y="1152"/>
                </a:cubicBezTo>
                <a:lnTo>
                  <a:pt x="3192" y="1152"/>
                </a:lnTo>
                <a:close/>
                <a:moveTo>
                  <a:pt x="3212" y="1201"/>
                </a:moveTo>
                <a:cubicBezTo>
                  <a:pt x="3211" y="1197"/>
                  <a:pt x="3211" y="1197"/>
                  <a:pt x="3211" y="1197"/>
                </a:cubicBezTo>
                <a:cubicBezTo>
                  <a:pt x="3211" y="1201"/>
                  <a:pt x="3211" y="1201"/>
                  <a:pt x="3211" y="1201"/>
                </a:cubicBezTo>
                <a:cubicBezTo>
                  <a:pt x="3211" y="1203"/>
                  <a:pt x="3211" y="1203"/>
                  <a:pt x="3211" y="1203"/>
                </a:cubicBezTo>
                <a:lnTo>
                  <a:pt x="3212" y="1201"/>
                </a:lnTo>
                <a:close/>
                <a:moveTo>
                  <a:pt x="3207" y="1216"/>
                </a:moveTo>
                <a:cubicBezTo>
                  <a:pt x="3208" y="1217"/>
                  <a:pt x="3208" y="1217"/>
                  <a:pt x="3208" y="1217"/>
                </a:cubicBezTo>
                <a:cubicBezTo>
                  <a:pt x="3209" y="1217"/>
                  <a:pt x="3209" y="1217"/>
                  <a:pt x="3209" y="1217"/>
                </a:cubicBezTo>
                <a:cubicBezTo>
                  <a:pt x="3210" y="1216"/>
                  <a:pt x="3210" y="1216"/>
                  <a:pt x="3210" y="1216"/>
                </a:cubicBezTo>
                <a:cubicBezTo>
                  <a:pt x="3211" y="1216"/>
                  <a:pt x="3211" y="1216"/>
                  <a:pt x="3211" y="1216"/>
                </a:cubicBezTo>
                <a:cubicBezTo>
                  <a:pt x="3211" y="1215"/>
                  <a:pt x="3211" y="1215"/>
                  <a:pt x="3211" y="1215"/>
                </a:cubicBezTo>
                <a:cubicBezTo>
                  <a:pt x="3210" y="1214"/>
                  <a:pt x="3210" y="1214"/>
                  <a:pt x="3210" y="1214"/>
                </a:cubicBezTo>
                <a:cubicBezTo>
                  <a:pt x="3210" y="1213"/>
                  <a:pt x="3210" y="1213"/>
                  <a:pt x="3210" y="1213"/>
                </a:cubicBezTo>
                <a:cubicBezTo>
                  <a:pt x="3207" y="1215"/>
                  <a:pt x="3207" y="1215"/>
                  <a:pt x="3207" y="1215"/>
                </a:cubicBezTo>
                <a:lnTo>
                  <a:pt x="3207" y="1216"/>
                </a:lnTo>
                <a:close/>
                <a:moveTo>
                  <a:pt x="3217" y="1255"/>
                </a:moveTo>
                <a:cubicBezTo>
                  <a:pt x="3218" y="1253"/>
                  <a:pt x="3218" y="1253"/>
                  <a:pt x="3218" y="1253"/>
                </a:cubicBezTo>
                <a:cubicBezTo>
                  <a:pt x="3217" y="1251"/>
                  <a:pt x="3217" y="1251"/>
                  <a:pt x="3217" y="1251"/>
                </a:cubicBezTo>
                <a:cubicBezTo>
                  <a:pt x="3217" y="1253"/>
                  <a:pt x="3217" y="1253"/>
                  <a:pt x="3217" y="1253"/>
                </a:cubicBezTo>
                <a:lnTo>
                  <a:pt x="3217" y="1255"/>
                </a:lnTo>
                <a:close/>
                <a:moveTo>
                  <a:pt x="3209" y="1203"/>
                </a:moveTo>
                <a:cubicBezTo>
                  <a:pt x="3209" y="1202"/>
                  <a:pt x="3209" y="1202"/>
                  <a:pt x="3209" y="1202"/>
                </a:cubicBezTo>
                <a:cubicBezTo>
                  <a:pt x="3207" y="1203"/>
                  <a:pt x="3207" y="1203"/>
                  <a:pt x="3207" y="1203"/>
                </a:cubicBezTo>
                <a:cubicBezTo>
                  <a:pt x="3207" y="1203"/>
                  <a:pt x="3206" y="1204"/>
                  <a:pt x="3206" y="1204"/>
                </a:cubicBezTo>
                <a:cubicBezTo>
                  <a:pt x="3207" y="1204"/>
                  <a:pt x="3207" y="1204"/>
                  <a:pt x="3207" y="1204"/>
                </a:cubicBezTo>
                <a:lnTo>
                  <a:pt x="3209" y="1203"/>
                </a:lnTo>
                <a:close/>
                <a:moveTo>
                  <a:pt x="3216" y="1247"/>
                </a:moveTo>
                <a:cubicBezTo>
                  <a:pt x="3217" y="1244"/>
                  <a:pt x="3217" y="1244"/>
                  <a:pt x="3217" y="1244"/>
                </a:cubicBezTo>
                <a:cubicBezTo>
                  <a:pt x="3215" y="1242"/>
                  <a:pt x="3215" y="1242"/>
                  <a:pt x="3215" y="1242"/>
                </a:cubicBezTo>
                <a:cubicBezTo>
                  <a:pt x="3215" y="1243"/>
                  <a:pt x="3215" y="1243"/>
                  <a:pt x="3215" y="1243"/>
                </a:cubicBezTo>
                <a:cubicBezTo>
                  <a:pt x="3215" y="1245"/>
                  <a:pt x="3215" y="1245"/>
                  <a:pt x="3215" y="1245"/>
                </a:cubicBezTo>
                <a:lnTo>
                  <a:pt x="3216" y="1247"/>
                </a:lnTo>
                <a:close/>
                <a:moveTo>
                  <a:pt x="3212" y="1220"/>
                </a:moveTo>
                <a:cubicBezTo>
                  <a:pt x="3210" y="1219"/>
                  <a:pt x="3210" y="1219"/>
                  <a:pt x="3210" y="1219"/>
                </a:cubicBezTo>
                <a:cubicBezTo>
                  <a:pt x="3209" y="1221"/>
                  <a:pt x="3209" y="1221"/>
                  <a:pt x="3209" y="1221"/>
                </a:cubicBezTo>
                <a:cubicBezTo>
                  <a:pt x="3210" y="1221"/>
                  <a:pt x="3210" y="1221"/>
                  <a:pt x="3210" y="1221"/>
                </a:cubicBezTo>
                <a:cubicBezTo>
                  <a:pt x="3212" y="1221"/>
                  <a:pt x="3212" y="1221"/>
                  <a:pt x="3212" y="1221"/>
                </a:cubicBezTo>
                <a:lnTo>
                  <a:pt x="3212" y="1220"/>
                </a:lnTo>
                <a:close/>
                <a:moveTo>
                  <a:pt x="3208" y="1231"/>
                </a:moveTo>
                <a:cubicBezTo>
                  <a:pt x="3210" y="1233"/>
                  <a:pt x="3210" y="1233"/>
                  <a:pt x="3210" y="1233"/>
                </a:cubicBezTo>
                <a:cubicBezTo>
                  <a:pt x="3212" y="1232"/>
                  <a:pt x="3212" y="1232"/>
                  <a:pt x="3212" y="1232"/>
                </a:cubicBezTo>
                <a:cubicBezTo>
                  <a:pt x="3212" y="1230"/>
                  <a:pt x="3212" y="1230"/>
                  <a:pt x="3212" y="1230"/>
                </a:cubicBezTo>
                <a:cubicBezTo>
                  <a:pt x="3211" y="1229"/>
                  <a:pt x="3211" y="1229"/>
                  <a:pt x="3211" y="1229"/>
                </a:cubicBezTo>
                <a:cubicBezTo>
                  <a:pt x="3208" y="1230"/>
                  <a:pt x="3208" y="1230"/>
                  <a:pt x="3208" y="1230"/>
                </a:cubicBezTo>
                <a:lnTo>
                  <a:pt x="3208" y="1231"/>
                </a:lnTo>
                <a:close/>
                <a:moveTo>
                  <a:pt x="2794" y="661"/>
                </a:moveTo>
                <a:cubicBezTo>
                  <a:pt x="2794" y="660"/>
                  <a:pt x="2794" y="660"/>
                  <a:pt x="2794" y="660"/>
                </a:cubicBezTo>
                <a:cubicBezTo>
                  <a:pt x="2793" y="660"/>
                  <a:pt x="2793" y="660"/>
                  <a:pt x="2793" y="660"/>
                </a:cubicBezTo>
                <a:cubicBezTo>
                  <a:pt x="2793" y="661"/>
                  <a:pt x="2793" y="661"/>
                  <a:pt x="2793" y="661"/>
                </a:cubicBezTo>
                <a:cubicBezTo>
                  <a:pt x="2793" y="663"/>
                  <a:pt x="2793" y="663"/>
                  <a:pt x="2793" y="663"/>
                </a:cubicBezTo>
                <a:cubicBezTo>
                  <a:pt x="2794" y="664"/>
                  <a:pt x="2794" y="664"/>
                  <a:pt x="2794" y="664"/>
                </a:cubicBezTo>
                <a:cubicBezTo>
                  <a:pt x="2795" y="664"/>
                  <a:pt x="2795" y="664"/>
                  <a:pt x="2795" y="664"/>
                </a:cubicBezTo>
                <a:cubicBezTo>
                  <a:pt x="2795" y="663"/>
                  <a:pt x="2795" y="663"/>
                  <a:pt x="2795" y="663"/>
                </a:cubicBezTo>
                <a:lnTo>
                  <a:pt x="2794" y="661"/>
                </a:lnTo>
                <a:close/>
                <a:moveTo>
                  <a:pt x="3212" y="1210"/>
                </a:moveTo>
                <a:cubicBezTo>
                  <a:pt x="3212" y="1208"/>
                  <a:pt x="3212" y="1208"/>
                  <a:pt x="3212" y="1208"/>
                </a:cubicBezTo>
                <a:cubicBezTo>
                  <a:pt x="3212" y="1206"/>
                  <a:pt x="3212" y="1206"/>
                  <a:pt x="3212" y="1206"/>
                </a:cubicBezTo>
                <a:cubicBezTo>
                  <a:pt x="3211" y="1205"/>
                  <a:pt x="3211" y="1205"/>
                  <a:pt x="3211" y="1205"/>
                </a:cubicBezTo>
                <a:cubicBezTo>
                  <a:pt x="3211" y="1205"/>
                  <a:pt x="3210" y="1208"/>
                  <a:pt x="3210" y="1208"/>
                </a:cubicBezTo>
                <a:cubicBezTo>
                  <a:pt x="3211" y="1210"/>
                  <a:pt x="3211" y="1210"/>
                  <a:pt x="3211" y="1210"/>
                </a:cubicBezTo>
                <a:lnTo>
                  <a:pt x="3212" y="1210"/>
                </a:lnTo>
                <a:close/>
                <a:moveTo>
                  <a:pt x="3057" y="1088"/>
                </a:moveTo>
                <a:cubicBezTo>
                  <a:pt x="3059" y="1086"/>
                  <a:pt x="3059" y="1086"/>
                  <a:pt x="3059" y="1086"/>
                </a:cubicBezTo>
                <a:cubicBezTo>
                  <a:pt x="3059" y="1081"/>
                  <a:pt x="3059" y="1081"/>
                  <a:pt x="3059" y="1081"/>
                </a:cubicBezTo>
                <a:cubicBezTo>
                  <a:pt x="3057" y="1079"/>
                  <a:pt x="3057" y="1079"/>
                  <a:pt x="3057" y="1079"/>
                </a:cubicBezTo>
                <a:cubicBezTo>
                  <a:pt x="3056" y="1080"/>
                  <a:pt x="3056" y="1080"/>
                  <a:pt x="3056" y="1080"/>
                </a:cubicBezTo>
                <a:cubicBezTo>
                  <a:pt x="3055" y="1081"/>
                  <a:pt x="3055" y="1081"/>
                  <a:pt x="3055" y="1081"/>
                </a:cubicBezTo>
                <a:cubicBezTo>
                  <a:pt x="3054" y="1080"/>
                  <a:pt x="3054" y="1080"/>
                  <a:pt x="3054" y="1080"/>
                </a:cubicBezTo>
                <a:cubicBezTo>
                  <a:pt x="3051" y="1080"/>
                  <a:pt x="3051" y="1080"/>
                  <a:pt x="3051" y="1080"/>
                </a:cubicBezTo>
                <a:cubicBezTo>
                  <a:pt x="3050" y="1081"/>
                  <a:pt x="3050" y="1081"/>
                  <a:pt x="3050" y="1081"/>
                </a:cubicBezTo>
                <a:cubicBezTo>
                  <a:pt x="3051" y="1086"/>
                  <a:pt x="3051" y="1086"/>
                  <a:pt x="3051" y="1086"/>
                </a:cubicBezTo>
                <a:cubicBezTo>
                  <a:pt x="3052" y="1087"/>
                  <a:pt x="3052" y="1087"/>
                  <a:pt x="3052" y="1087"/>
                </a:cubicBezTo>
                <a:cubicBezTo>
                  <a:pt x="3051" y="1088"/>
                  <a:pt x="3051" y="1088"/>
                  <a:pt x="3051" y="1088"/>
                </a:cubicBezTo>
                <a:cubicBezTo>
                  <a:pt x="3049" y="1088"/>
                  <a:pt x="3049" y="1088"/>
                  <a:pt x="3049" y="1088"/>
                </a:cubicBezTo>
                <a:cubicBezTo>
                  <a:pt x="3045" y="1091"/>
                  <a:pt x="3045" y="1091"/>
                  <a:pt x="3045" y="1091"/>
                </a:cubicBezTo>
                <a:cubicBezTo>
                  <a:pt x="3045" y="1093"/>
                  <a:pt x="3045" y="1093"/>
                  <a:pt x="3045" y="1093"/>
                </a:cubicBezTo>
                <a:cubicBezTo>
                  <a:pt x="3043" y="1094"/>
                  <a:pt x="3043" y="1094"/>
                  <a:pt x="3043" y="1094"/>
                </a:cubicBezTo>
                <a:cubicBezTo>
                  <a:pt x="3042" y="1093"/>
                  <a:pt x="3042" y="1093"/>
                  <a:pt x="3042" y="1093"/>
                </a:cubicBezTo>
                <a:cubicBezTo>
                  <a:pt x="3041" y="1094"/>
                  <a:pt x="3041" y="1094"/>
                  <a:pt x="3041" y="1094"/>
                </a:cubicBezTo>
                <a:cubicBezTo>
                  <a:pt x="3040" y="1093"/>
                  <a:pt x="3040" y="1093"/>
                  <a:pt x="3040" y="1093"/>
                </a:cubicBezTo>
                <a:cubicBezTo>
                  <a:pt x="3038" y="1093"/>
                  <a:pt x="3038" y="1093"/>
                  <a:pt x="3038" y="1093"/>
                </a:cubicBezTo>
                <a:cubicBezTo>
                  <a:pt x="3037" y="1095"/>
                  <a:pt x="3037" y="1095"/>
                  <a:pt x="3037" y="1095"/>
                </a:cubicBezTo>
                <a:cubicBezTo>
                  <a:pt x="3036" y="1094"/>
                  <a:pt x="3036" y="1094"/>
                  <a:pt x="3036" y="1094"/>
                </a:cubicBezTo>
                <a:cubicBezTo>
                  <a:pt x="3035" y="1092"/>
                  <a:pt x="3035" y="1092"/>
                  <a:pt x="3035" y="1092"/>
                </a:cubicBezTo>
                <a:cubicBezTo>
                  <a:pt x="3035" y="1090"/>
                  <a:pt x="3035" y="1090"/>
                  <a:pt x="3035" y="1090"/>
                </a:cubicBezTo>
                <a:cubicBezTo>
                  <a:pt x="3034" y="1089"/>
                  <a:pt x="3034" y="1089"/>
                  <a:pt x="3034" y="1089"/>
                </a:cubicBezTo>
                <a:cubicBezTo>
                  <a:pt x="3033" y="1090"/>
                  <a:pt x="3033" y="1090"/>
                  <a:pt x="3033" y="1090"/>
                </a:cubicBezTo>
                <a:cubicBezTo>
                  <a:pt x="3033" y="1092"/>
                  <a:pt x="3033" y="1092"/>
                  <a:pt x="3033" y="1092"/>
                </a:cubicBezTo>
                <a:cubicBezTo>
                  <a:pt x="3032" y="1093"/>
                  <a:pt x="3032" y="1093"/>
                  <a:pt x="3032" y="1093"/>
                </a:cubicBezTo>
                <a:cubicBezTo>
                  <a:pt x="3030" y="1092"/>
                  <a:pt x="3030" y="1092"/>
                  <a:pt x="3030" y="1092"/>
                </a:cubicBezTo>
                <a:cubicBezTo>
                  <a:pt x="3027" y="1093"/>
                  <a:pt x="3027" y="1093"/>
                  <a:pt x="3027" y="1093"/>
                </a:cubicBezTo>
                <a:cubicBezTo>
                  <a:pt x="3026" y="1093"/>
                  <a:pt x="3026" y="1093"/>
                  <a:pt x="3026" y="1093"/>
                </a:cubicBezTo>
                <a:cubicBezTo>
                  <a:pt x="3024" y="1093"/>
                  <a:pt x="3024" y="1093"/>
                  <a:pt x="3024" y="1093"/>
                </a:cubicBezTo>
                <a:cubicBezTo>
                  <a:pt x="3022" y="1093"/>
                  <a:pt x="3022" y="1093"/>
                  <a:pt x="3022" y="1093"/>
                </a:cubicBezTo>
                <a:cubicBezTo>
                  <a:pt x="3020" y="1093"/>
                  <a:pt x="3020" y="1093"/>
                  <a:pt x="3020" y="1093"/>
                </a:cubicBezTo>
                <a:cubicBezTo>
                  <a:pt x="3018" y="1092"/>
                  <a:pt x="3018" y="1092"/>
                  <a:pt x="3018" y="1092"/>
                </a:cubicBezTo>
                <a:cubicBezTo>
                  <a:pt x="3016" y="1095"/>
                  <a:pt x="3016" y="1095"/>
                  <a:pt x="3016" y="1095"/>
                </a:cubicBezTo>
                <a:cubicBezTo>
                  <a:pt x="3018" y="1097"/>
                  <a:pt x="3018" y="1097"/>
                  <a:pt x="3018" y="1097"/>
                </a:cubicBezTo>
                <a:cubicBezTo>
                  <a:pt x="3020" y="1097"/>
                  <a:pt x="3020" y="1097"/>
                  <a:pt x="3020" y="1097"/>
                </a:cubicBezTo>
                <a:cubicBezTo>
                  <a:pt x="3024" y="1100"/>
                  <a:pt x="3024" y="1100"/>
                  <a:pt x="3024" y="1100"/>
                </a:cubicBezTo>
                <a:cubicBezTo>
                  <a:pt x="3024" y="1101"/>
                  <a:pt x="3024" y="1101"/>
                  <a:pt x="3024" y="1101"/>
                </a:cubicBezTo>
                <a:cubicBezTo>
                  <a:pt x="3025" y="1100"/>
                  <a:pt x="3025" y="1100"/>
                  <a:pt x="3025" y="1100"/>
                </a:cubicBezTo>
                <a:cubicBezTo>
                  <a:pt x="3029" y="1100"/>
                  <a:pt x="3029" y="1100"/>
                  <a:pt x="3029" y="1100"/>
                </a:cubicBezTo>
                <a:cubicBezTo>
                  <a:pt x="3030" y="1102"/>
                  <a:pt x="3030" y="1102"/>
                  <a:pt x="3030" y="1102"/>
                </a:cubicBezTo>
                <a:cubicBezTo>
                  <a:pt x="3032" y="1102"/>
                  <a:pt x="3032" y="1102"/>
                  <a:pt x="3032" y="1102"/>
                </a:cubicBezTo>
                <a:cubicBezTo>
                  <a:pt x="3034" y="1102"/>
                  <a:pt x="3034" y="1102"/>
                  <a:pt x="3034" y="1102"/>
                </a:cubicBezTo>
                <a:cubicBezTo>
                  <a:pt x="3037" y="1101"/>
                  <a:pt x="3037" y="1101"/>
                  <a:pt x="3037" y="1101"/>
                </a:cubicBezTo>
                <a:cubicBezTo>
                  <a:pt x="3039" y="1102"/>
                  <a:pt x="3039" y="1102"/>
                  <a:pt x="3039" y="1102"/>
                </a:cubicBezTo>
                <a:cubicBezTo>
                  <a:pt x="3041" y="1101"/>
                  <a:pt x="3041" y="1101"/>
                  <a:pt x="3041" y="1101"/>
                </a:cubicBezTo>
                <a:cubicBezTo>
                  <a:pt x="3044" y="1102"/>
                  <a:pt x="3044" y="1102"/>
                  <a:pt x="3044" y="1102"/>
                </a:cubicBezTo>
                <a:cubicBezTo>
                  <a:pt x="3044" y="1101"/>
                  <a:pt x="3044" y="1101"/>
                  <a:pt x="3044" y="1101"/>
                </a:cubicBezTo>
                <a:cubicBezTo>
                  <a:pt x="3044" y="1099"/>
                  <a:pt x="3044" y="1099"/>
                  <a:pt x="3044" y="1099"/>
                </a:cubicBezTo>
                <a:cubicBezTo>
                  <a:pt x="3047" y="1099"/>
                  <a:pt x="3047" y="1099"/>
                  <a:pt x="3047" y="1099"/>
                </a:cubicBezTo>
                <a:cubicBezTo>
                  <a:pt x="3051" y="1095"/>
                  <a:pt x="3051" y="1095"/>
                  <a:pt x="3051" y="1095"/>
                </a:cubicBezTo>
                <a:cubicBezTo>
                  <a:pt x="3051" y="1094"/>
                  <a:pt x="3051" y="1094"/>
                  <a:pt x="3051" y="1094"/>
                </a:cubicBezTo>
                <a:cubicBezTo>
                  <a:pt x="3052" y="1093"/>
                  <a:pt x="3052" y="1093"/>
                  <a:pt x="3052" y="1093"/>
                </a:cubicBezTo>
                <a:cubicBezTo>
                  <a:pt x="3053" y="1094"/>
                  <a:pt x="3053" y="1094"/>
                  <a:pt x="3053" y="1094"/>
                </a:cubicBezTo>
                <a:cubicBezTo>
                  <a:pt x="3056" y="1093"/>
                  <a:pt x="3056" y="1093"/>
                  <a:pt x="3056" y="1093"/>
                </a:cubicBezTo>
                <a:cubicBezTo>
                  <a:pt x="3057" y="1092"/>
                  <a:pt x="3057" y="1092"/>
                  <a:pt x="3057" y="1092"/>
                </a:cubicBezTo>
                <a:cubicBezTo>
                  <a:pt x="3055" y="1090"/>
                  <a:pt x="3055" y="1090"/>
                  <a:pt x="3055" y="1090"/>
                </a:cubicBezTo>
                <a:cubicBezTo>
                  <a:pt x="3055" y="1088"/>
                  <a:pt x="3055" y="1088"/>
                  <a:pt x="3055" y="1088"/>
                </a:cubicBezTo>
                <a:cubicBezTo>
                  <a:pt x="3056" y="1087"/>
                  <a:pt x="3056" y="1087"/>
                  <a:pt x="3056" y="1087"/>
                </a:cubicBezTo>
                <a:lnTo>
                  <a:pt x="3057" y="1088"/>
                </a:lnTo>
                <a:close/>
                <a:moveTo>
                  <a:pt x="2699" y="948"/>
                </a:moveTo>
                <a:cubicBezTo>
                  <a:pt x="2699" y="947"/>
                  <a:pt x="2699" y="947"/>
                  <a:pt x="2699" y="947"/>
                </a:cubicBezTo>
                <a:cubicBezTo>
                  <a:pt x="2698" y="948"/>
                  <a:pt x="2698" y="948"/>
                  <a:pt x="2698" y="948"/>
                </a:cubicBezTo>
                <a:lnTo>
                  <a:pt x="2699" y="948"/>
                </a:lnTo>
                <a:close/>
                <a:moveTo>
                  <a:pt x="2695" y="950"/>
                </a:moveTo>
                <a:cubicBezTo>
                  <a:pt x="2695" y="952"/>
                  <a:pt x="2695" y="952"/>
                  <a:pt x="2695" y="952"/>
                </a:cubicBezTo>
                <a:cubicBezTo>
                  <a:pt x="2696" y="954"/>
                  <a:pt x="2696" y="954"/>
                  <a:pt x="2696" y="954"/>
                </a:cubicBezTo>
                <a:cubicBezTo>
                  <a:pt x="2697" y="954"/>
                  <a:pt x="2697" y="954"/>
                  <a:pt x="2697" y="954"/>
                </a:cubicBezTo>
                <a:cubicBezTo>
                  <a:pt x="2697" y="951"/>
                  <a:pt x="2697" y="951"/>
                  <a:pt x="2697" y="951"/>
                </a:cubicBezTo>
                <a:cubicBezTo>
                  <a:pt x="2698" y="950"/>
                  <a:pt x="2698" y="950"/>
                  <a:pt x="2698" y="950"/>
                </a:cubicBezTo>
                <a:cubicBezTo>
                  <a:pt x="2697" y="950"/>
                  <a:pt x="2697" y="950"/>
                  <a:pt x="2697" y="950"/>
                </a:cubicBezTo>
                <a:lnTo>
                  <a:pt x="2695" y="950"/>
                </a:lnTo>
                <a:close/>
                <a:moveTo>
                  <a:pt x="2700" y="949"/>
                </a:moveTo>
                <a:cubicBezTo>
                  <a:pt x="2700" y="947"/>
                  <a:pt x="2700" y="947"/>
                  <a:pt x="2700" y="947"/>
                </a:cubicBezTo>
                <a:cubicBezTo>
                  <a:pt x="2699" y="948"/>
                  <a:pt x="2699" y="948"/>
                  <a:pt x="2699" y="948"/>
                </a:cubicBezTo>
                <a:lnTo>
                  <a:pt x="2700" y="949"/>
                </a:lnTo>
                <a:close/>
                <a:moveTo>
                  <a:pt x="2732" y="833"/>
                </a:moveTo>
                <a:cubicBezTo>
                  <a:pt x="2734" y="832"/>
                  <a:pt x="2734" y="832"/>
                  <a:pt x="2734" y="832"/>
                </a:cubicBezTo>
                <a:cubicBezTo>
                  <a:pt x="2731" y="832"/>
                  <a:pt x="2731" y="832"/>
                  <a:pt x="2731" y="832"/>
                </a:cubicBezTo>
                <a:lnTo>
                  <a:pt x="2732" y="833"/>
                </a:lnTo>
                <a:close/>
                <a:moveTo>
                  <a:pt x="2691" y="1073"/>
                </a:moveTo>
                <a:cubicBezTo>
                  <a:pt x="2691" y="1073"/>
                  <a:pt x="2691" y="1073"/>
                  <a:pt x="2691" y="1073"/>
                </a:cubicBezTo>
                <a:cubicBezTo>
                  <a:pt x="2690" y="1073"/>
                  <a:pt x="2690" y="1073"/>
                  <a:pt x="2690" y="1073"/>
                </a:cubicBezTo>
                <a:cubicBezTo>
                  <a:pt x="2691" y="1076"/>
                  <a:pt x="2691" y="1076"/>
                  <a:pt x="2691" y="1076"/>
                </a:cubicBezTo>
                <a:cubicBezTo>
                  <a:pt x="2691" y="1076"/>
                  <a:pt x="2691" y="1076"/>
                  <a:pt x="2691" y="1076"/>
                </a:cubicBezTo>
                <a:lnTo>
                  <a:pt x="2691" y="1073"/>
                </a:lnTo>
                <a:close/>
                <a:moveTo>
                  <a:pt x="2729" y="829"/>
                </a:moveTo>
                <a:cubicBezTo>
                  <a:pt x="2731" y="829"/>
                  <a:pt x="2731" y="829"/>
                  <a:pt x="2731" y="829"/>
                </a:cubicBezTo>
                <a:cubicBezTo>
                  <a:pt x="2730" y="828"/>
                  <a:pt x="2730" y="828"/>
                  <a:pt x="2730" y="828"/>
                </a:cubicBezTo>
                <a:lnTo>
                  <a:pt x="2729" y="829"/>
                </a:lnTo>
                <a:close/>
                <a:moveTo>
                  <a:pt x="2695" y="960"/>
                </a:moveTo>
                <a:cubicBezTo>
                  <a:pt x="2697" y="959"/>
                  <a:pt x="2697" y="959"/>
                  <a:pt x="2697" y="959"/>
                </a:cubicBezTo>
                <a:cubicBezTo>
                  <a:pt x="2697" y="958"/>
                  <a:pt x="2697" y="958"/>
                  <a:pt x="2697" y="958"/>
                </a:cubicBezTo>
                <a:cubicBezTo>
                  <a:pt x="2694" y="960"/>
                  <a:pt x="2694" y="960"/>
                  <a:pt x="2694" y="960"/>
                </a:cubicBezTo>
                <a:lnTo>
                  <a:pt x="2695" y="960"/>
                </a:lnTo>
                <a:close/>
                <a:moveTo>
                  <a:pt x="2686" y="1112"/>
                </a:moveTo>
                <a:cubicBezTo>
                  <a:pt x="2685" y="1112"/>
                  <a:pt x="2685" y="1112"/>
                  <a:pt x="2685" y="1112"/>
                </a:cubicBezTo>
                <a:cubicBezTo>
                  <a:pt x="2684" y="1112"/>
                  <a:pt x="2684" y="1112"/>
                  <a:pt x="2684" y="1112"/>
                </a:cubicBezTo>
                <a:cubicBezTo>
                  <a:pt x="2684" y="1113"/>
                  <a:pt x="2684" y="1113"/>
                  <a:pt x="2684" y="1113"/>
                </a:cubicBezTo>
                <a:cubicBezTo>
                  <a:pt x="2685" y="1113"/>
                  <a:pt x="2685" y="1113"/>
                  <a:pt x="2685" y="1113"/>
                </a:cubicBezTo>
                <a:lnTo>
                  <a:pt x="2686" y="1112"/>
                </a:lnTo>
                <a:close/>
                <a:moveTo>
                  <a:pt x="2692" y="1124"/>
                </a:moveTo>
                <a:cubicBezTo>
                  <a:pt x="2689" y="1123"/>
                  <a:pt x="2689" y="1123"/>
                  <a:pt x="2689" y="1123"/>
                </a:cubicBezTo>
                <a:cubicBezTo>
                  <a:pt x="2687" y="1125"/>
                  <a:pt x="2687" y="1125"/>
                  <a:pt x="2687" y="1125"/>
                </a:cubicBezTo>
                <a:cubicBezTo>
                  <a:pt x="2686" y="1127"/>
                  <a:pt x="2686" y="1127"/>
                  <a:pt x="2686" y="1127"/>
                </a:cubicBezTo>
                <a:cubicBezTo>
                  <a:pt x="2685" y="1127"/>
                  <a:pt x="2685" y="1127"/>
                  <a:pt x="2685" y="1127"/>
                </a:cubicBezTo>
                <a:cubicBezTo>
                  <a:pt x="2684" y="1128"/>
                  <a:pt x="2684" y="1128"/>
                  <a:pt x="2684" y="1128"/>
                </a:cubicBezTo>
                <a:cubicBezTo>
                  <a:pt x="2684" y="1129"/>
                  <a:pt x="2684" y="1129"/>
                  <a:pt x="2684" y="1129"/>
                </a:cubicBezTo>
                <a:cubicBezTo>
                  <a:pt x="2688" y="1130"/>
                  <a:pt x="2688" y="1130"/>
                  <a:pt x="2688" y="1130"/>
                </a:cubicBezTo>
                <a:cubicBezTo>
                  <a:pt x="2690" y="1129"/>
                  <a:pt x="2690" y="1129"/>
                  <a:pt x="2690" y="1129"/>
                </a:cubicBezTo>
                <a:cubicBezTo>
                  <a:pt x="2691" y="1130"/>
                  <a:pt x="2691" y="1130"/>
                  <a:pt x="2691" y="1130"/>
                </a:cubicBezTo>
                <a:cubicBezTo>
                  <a:pt x="2691" y="1128"/>
                  <a:pt x="2691" y="1128"/>
                  <a:pt x="2691" y="1128"/>
                </a:cubicBezTo>
                <a:cubicBezTo>
                  <a:pt x="2692" y="1127"/>
                  <a:pt x="2692" y="1127"/>
                  <a:pt x="2692" y="1127"/>
                </a:cubicBezTo>
                <a:lnTo>
                  <a:pt x="2692" y="1124"/>
                </a:lnTo>
                <a:close/>
                <a:moveTo>
                  <a:pt x="2690" y="1076"/>
                </a:moveTo>
                <a:cubicBezTo>
                  <a:pt x="2690" y="1073"/>
                  <a:pt x="2690" y="1073"/>
                  <a:pt x="2690" y="1073"/>
                </a:cubicBezTo>
                <a:cubicBezTo>
                  <a:pt x="2689" y="1072"/>
                  <a:pt x="2689" y="1072"/>
                  <a:pt x="2689" y="1072"/>
                </a:cubicBezTo>
                <a:cubicBezTo>
                  <a:pt x="2689" y="1073"/>
                  <a:pt x="2689" y="1073"/>
                  <a:pt x="2689" y="1073"/>
                </a:cubicBezTo>
                <a:cubicBezTo>
                  <a:pt x="2687" y="1075"/>
                  <a:pt x="2687" y="1075"/>
                  <a:pt x="2687" y="1075"/>
                </a:cubicBezTo>
                <a:cubicBezTo>
                  <a:pt x="2687" y="1078"/>
                  <a:pt x="2687" y="1078"/>
                  <a:pt x="2687" y="1078"/>
                </a:cubicBezTo>
                <a:cubicBezTo>
                  <a:pt x="2688" y="1079"/>
                  <a:pt x="2688" y="1079"/>
                  <a:pt x="2688" y="1079"/>
                </a:cubicBezTo>
                <a:cubicBezTo>
                  <a:pt x="2690" y="1078"/>
                  <a:pt x="2690" y="1078"/>
                  <a:pt x="2690" y="1078"/>
                </a:cubicBezTo>
                <a:lnTo>
                  <a:pt x="2690" y="1076"/>
                </a:lnTo>
                <a:close/>
                <a:moveTo>
                  <a:pt x="2704" y="1002"/>
                </a:moveTo>
                <a:cubicBezTo>
                  <a:pt x="2704" y="1002"/>
                  <a:pt x="2704" y="1002"/>
                  <a:pt x="2704" y="1002"/>
                </a:cubicBezTo>
                <a:cubicBezTo>
                  <a:pt x="2704" y="1000"/>
                  <a:pt x="2704" y="1000"/>
                  <a:pt x="2704" y="1000"/>
                </a:cubicBezTo>
                <a:cubicBezTo>
                  <a:pt x="2703" y="1000"/>
                  <a:pt x="2703" y="1000"/>
                  <a:pt x="2703" y="1000"/>
                </a:cubicBezTo>
                <a:lnTo>
                  <a:pt x="2704" y="1002"/>
                </a:lnTo>
                <a:close/>
                <a:moveTo>
                  <a:pt x="2704" y="994"/>
                </a:moveTo>
                <a:cubicBezTo>
                  <a:pt x="2705" y="994"/>
                  <a:pt x="2705" y="994"/>
                  <a:pt x="2705" y="994"/>
                </a:cubicBezTo>
                <a:cubicBezTo>
                  <a:pt x="2704" y="993"/>
                  <a:pt x="2704" y="993"/>
                  <a:pt x="2704" y="993"/>
                </a:cubicBezTo>
                <a:lnTo>
                  <a:pt x="2704" y="994"/>
                </a:lnTo>
                <a:close/>
                <a:moveTo>
                  <a:pt x="2706" y="998"/>
                </a:moveTo>
                <a:cubicBezTo>
                  <a:pt x="2704" y="998"/>
                  <a:pt x="2704" y="998"/>
                  <a:pt x="2704" y="998"/>
                </a:cubicBezTo>
                <a:cubicBezTo>
                  <a:pt x="2705" y="999"/>
                  <a:pt x="2705" y="999"/>
                  <a:pt x="2705" y="999"/>
                </a:cubicBezTo>
                <a:lnTo>
                  <a:pt x="2706" y="998"/>
                </a:lnTo>
                <a:close/>
                <a:moveTo>
                  <a:pt x="2707" y="993"/>
                </a:moveTo>
                <a:cubicBezTo>
                  <a:pt x="2707" y="993"/>
                  <a:pt x="2707" y="993"/>
                  <a:pt x="2707" y="993"/>
                </a:cubicBezTo>
                <a:cubicBezTo>
                  <a:pt x="2704" y="992"/>
                  <a:pt x="2704" y="992"/>
                  <a:pt x="2704" y="992"/>
                </a:cubicBezTo>
                <a:cubicBezTo>
                  <a:pt x="2704" y="992"/>
                  <a:pt x="2704" y="992"/>
                  <a:pt x="2704" y="992"/>
                </a:cubicBezTo>
                <a:cubicBezTo>
                  <a:pt x="2705" y="993"/>
                  <a:pt x="2705" y="993"/>
                  <a:pt x="2705" y="993"/>
                </a:cubicBezTo>
                <a:lnTo>
                  <a:pt x="2707" y="993"/>
                </a:lnTo>
                <a:close/>
                <a:moveTo>
                  <a:pt x="2734" y="827"/>
                </a:moveTo>
                <a:cubicBezTo>
                  <a:pt x="2734" y="825"/>
                  <a:pt x="2734" y="825"/>
                  <a:pt x="2734" y="825"/>
                </a:cubicBezTo>
                <a:cubicBezTo>
                  <a:pt x="2733" y="826"/>
                  <a:pt x="2733" y="826"/>
                  <a:pt x="2733" y="826"/>
                </a:cubicBezTo>
                <a:lnTo>
                  <a:pt x="2734" y="827"/>
                </a:lnTo>
                <a:close/>
                <a:moveTo>
                  <a:pt x="2785" y="924"/>
                </a:moveTo>
                <a:cubicBezTo>
                  <a:pt x="2784" y="925"/>
                  <a:pt x="2784" y="925"/>
                  <a:pt x="2784" y="925"/>
                </a:cubicBezTo>
                <a:cubicBezTo>
                  <a:pt x="2783" y="927"/>
                  <a:pt x="2783" y="927"/>
                  <a:pt x="2783" y="927"/>
                </a:cubicBezTo>
                <a:cubicBezTo>
                  <a:pt x="2784" y="929"/>
                  <a:pt x="2784" y="929"/>
                  <a:pt x="2784" y="929"/>
                </a:cubicBezTo>
                <a:cubicBezTo>
                  <a:pt x="2784" y="930"/>
                  <a:pt x="2784" y="930"/>
                  <a:pt x="2784" y="930"/>
                </a:cubicBezTo>
                <a:cubicBezTo>
                  <a:pt x="2784" y="931"/>
                  <a:pt x="2784" y="931"/>
                  <a:pt x="2784" y="931"/>
                </a:cubicBezTo>
                <a:cubicBezTo>
                  <a:pt x="2785" y="932"/>
                  <a:pt x="2785" y="932"/>
                  <a:pt x="2785" y="932"/>
                </a:cubicBezTo>
                <a:cubicBezTo>
                  <a:pt x="2786" y="929"/>
                  <a:pt x="2786" y="929"/>
                  <a:pt x="2786" y="929"/>
                </a:cubicBezTo>
                <a:cubicBezTo>
                  <a:pt x="2784" y="928"/>
                  <a:pt x="2784" y="928"/>
                  <a:pt x="2784" y="928"/>
                </a:cubicBezTo>
                <a:cubicBezTo>
                  <a:pt x="2784" y="926"/>
                  <a:pt x="2784" y="926"/>
                  <a:pt x="2784" y="926"/>
                </a:cubicBezTo>
                <a:cubicBezTo>
                  <a:pt x="2785" y="925"/>
                  <a:pt x="2785" y="925"/>
                  <a:pt x="2785" y="925"/>
                </a:cubicBezTo>
                <a:lnTo>
                  <a:pt x="2785" y="924"/>
                </a:lnTo>
                <a:close/>
                <a:moveTo>
                  <a:pt x="2785" y="919"/>
                </a:moveTo>
                <a:cubicBezTo>
                  <a:pt x="2785" y="920"/>
                  <a:pt x="2785" y="920"/>
                  <a:pt x="2785" y="920"/>
                </a:cubicBezTo>
                <a:cubicBezTo>
                  <a:pt x="2786" y="920"/>
                  <a:pt x="2786" y="920"/>
                  <a:pt x="2786" y="920"/>
                </a:cubicBezTo>
                <a:cubicBezTo>
                  <a:pt x="2786" y="919"/>
                  <a:pt x="2786" y="919"/>
                  <a:pt x="2786" y="919"/>
                </a:cubicBezTo>
                <a:lnTo>
                  <a:pt x="2785" y="919"/>
                </a:lnTo>
                <a:close/>
                <a:moveTo>
                  <a:pt x="2784" y="932"/>
                </a:moveTo>
                <a:cubicBezTo>
                  <a:pt x="2784" y="932"/>
                  <a:pt x="2784" y="932"/>
                  <a:pt x="2784" y="932"/>
                </a:cubicBezTo>
                <a:cubicBezTo>
                  <a:pt x="2782" y="932"/>
                  <a:pt x="2782" y="932"/>
                  <a:pt x="2782" y="932"/>
                </a:cubicBezTo>
                <a:cubicBezTo>
                  <a:pt x="2782" y="934"/>
                  <a:pt x="2782" y="934"/>
                  <a:pt x="2782" y="934"/>
                </a:cubicBezTo>
                <a:cubicBezTo>
                  <a:pt x="2783" y="938"/>
                  <a:pt x="2783" y="938"/>
                  <a:pt x="2783" y="938"/>
                </a:cubicBezTo>
                <a:cubicBezTo>
                  <a:pt x="2783" y="939"/>
                  <a:pt x="2783" y="939"/>
                  <a:pt x="2783" y="939"/>
                </a:cubicBezTo>
                <a:cubicBezTo>
                  <a:pt x="2781" y="938"/>
                  <a:pt x="2781" y="938"/>
                  <a:pt x="2781" y="938"/>
                </a:cubicBezTo>
                <a:cubicBezTo>
                  <a:pt x="2780" y="938"/>
                  <a:pt x="2780" y="938"/>
                  <a:pt x="2780" y="938"/>
                </a:cubicBezTo>
                <a:cubicBezTo>
                  <a:pt x="2780" y="941"/>
                  <a:pt x="2780" y="941"/>
                  <a:pt x="2780" y="941"/>
                </a:cubicBezTo>
                <a:cubicBezTo>
                  <a:pt x="2780" y="941"/>
                  <a:pt x="2780" y="941"/>
                  <a:pt x="2780" y="941"/>
                </a:cubicBezTo>
                <a:cubicBezTo>
                  <a:pt x="2779" y="941"/>
                  <a:pt x="2779" y="941"/>
                  <a:pt x="2779" y="941"/>
                </a:cubicBezTo>
                <a:cubicBezTo>
                  <a:pt x="2777" y="940"/>
                  <a:pt x="2777" y="940"/>
                  <a:pt x="2777" y="940"/>
                </a:cubicBezTo>
                <a:cubicBezTo>
                  <a:pt x="2776" y="944"/>
                  <a:pt x="2776" y="944"/>
                  <a:pt x="2776" y="944"/>
                </a:cubicBezTo>
                <a:cubicBezTo>
                  <a:pt x="2776" y="944"/>
                  <a:pt x="2776" y="944"/>
                  <a:pt x="2776" y="944"/>
                </a:cubicBezTo>
                <a:cubicBezTo>
                  <a:pt x="2776" y="946"/>
                  <a:pt x="2776" y="946"/>
                  <a:pt x="2776" y="946"/>
                </a:cubicBezTo>
                <a:cubicBezTo>
                  <a:pt x="2775" y="946"/>
                  <a:pt x="2775" y="946"/>
                  <a:pt x="2775" y="946"/>
                </a:cubicBezTo>
                <a:cubicBezTo>
                  <a:pt x="2774" y="944"/>
                  <a:pt x="2774" y="944"/>
                  <a:pt x="2774" y="944"/>
                </a:cubicBezTo>
                <a:cubicBezTo>
                  <a:pt x="2772" y="945"/>
                  <a:pt x="2772" y="945"/>
                  <a:pt x="2772" y="945"/>
                </a:cubicBezTo>
                <a:cubicBezTo>
                  <a:pt x="2771" y="948"/>
                  <a:pt x="2771" y="948"/>
                  <a:pt x="2771" y="948"/>
                </a:cubicBezTo>
                <a:cubicBezTo>
                  <a:pt x="2768" y="950"/>
                  <a:pt x="2768" y="950"/>
                  <a:pt x="2768" y="950"/>
                </a:cubicBezTo>
                <a:cubicBezTo>
                  <a:pt x="2766" y="950"/>
                  <a:pt x="2766" y="950"/>
                  <a:pt x="2766" y="950"/>
                </a:cubicBezTo>
                <a:cubicBezTo>
                  <a:pt x="2765" y="952"/>
                  <a:pt x="2765" y="952"/>
                  <a:pt x="2765" y="952"/>
                </a:cubicBezTo>
                <a:cubicBezTo>
                  <a:pt x="2767" y="949"/>
                  <a:pt x="2767" y="949"/>
                  <a:pt x="2767" y="949"/>
                </a:cubicBezTo>
                <a:cubicBezTo>
                  <a:pt x="2767" y="945"/>
                  <a:pt x="2767" y="945"/>
                  <a:pt x="2767" y="945"/>
                </a:cubicBezTo>
                <a:cubicBezTo>
                  <a:pt x="2764" y="943"/>
                  <a:pt x="2764" y="943"/>
                  <a:pt x="2764" y="943"/>
                </a:cubicBezTo>
                <a:cubicBezTo>
                  <a:pt x="2762" y="943"/>
                  <a:pt x="2762" y="943"/>
                  <a:pt x="2762" y="943"/>
                </a:cubicBezTo>
                <a:cubicBezTo>
                  <a:pt x="2761" y="945"/>
                  <a:pt x="2761" y="945"/>
                  <a:pt x="2761" y="945"/>
                </a:cubicBezTo>
                <a:cubicBezTo>
                  <a:pt x="2759" y="946"/>
                  <a:pt x="2759" y="946"/>
                  <a:pt x="2759" y="946"/>
                </a:cubicBezTo>
                <a:cubicBezTo>
                  <a:pt x="2758" y="948"/>
                  <a:pt x="2758" y="948"/>
                  <a:pt x="2758" y="948"/>
                </a:cubicBezTo>
                <a:cubicBezTo>
                  <a:pt x="2759" y="950"/>
                  <a:pt x="2759" y="950"/>
                  <a:pt x="2759" y="950"/>
                </a:cubicBezTo>
                <a:cubicBezTo>
                  <a:pt x="2756" y="950"/>
                  <a:pt x="2756" y="950"/>
                  <a:pt x="2756" y="950"/>
                </a:cubicBezTo>
                <a:cubicBezTo>
                  <a:pt x="2754" y="950"/>
                  <a:pt x="2754" y="950"/>
                  <a:pt x="2754" y="950"/>
                </a:cubicBezTo>
                <a:cubicBezTo>
                  <a:pt x="2752" y="951"/>
                  <a:pt x="2752" y="951"/>
                  <a:pt x="2752" y="951"/>
                </a:cubicBezTo>
                <a:cubicBezTo>
                  <a:pt x="2750" y="951"/>
                  <a:pt x="2750" y="951"/>
                  <a:pt x="2750" y="951"/>
                </a:cubicBezTo>
                <a:cubicBezTo>
                  <a:pt x="2749" y="954"/>
                  <a:pt x="2749" y="954"/>
                  <a:pt x="2749" y="954"/>
                </a:cubicBezTo>
                <a:cubicBezTo>
                  <a:pt x="2749" y="955"/>
                  <a:pt x="2749" y="955"/>
                  <a:pt x="2749" y="955"/>
                </a:cubicBezTo>
                <a:cubicBezTo>
                  <a:pt x="2749" y="958"/>
                  <a:pt x="2749" y="958"/>
                  <a:pt x="2749" y="958"/>
                </a:cubicBezTo>
                <a:cubicBezTo>
                  <a:pt x="2747" y="961"/>
                  <a:pt x="2747" y="961"/>
                  <a:pt x="2747" y="961"/>
                </a:cubicBezTo>
                <a:cubicBezTo>
                  <a:pt x="2749" y="963"/>
                  <a:pt x="2749" y="963"/>
                  <a:pt x="2749" y="963"/>
                </a:cubicBezTo>
                <a:cubicBezTo>
                  <a:pt x="2750" y="962"/>
                  <a:pt x="2750" y="962"/>
                  <a:pt x="2750" y="962"/>
                </a:cubicBezTo>
                <a:cubicBezTo>
                  <a:pt x="2752" y="958"/>
                  <a:pt x="2752" y="958"/>
                  <a:pt x="2752" y="958"/>
                </a:cubicBezTo>
                <a:cubicBezTo>
                  <a:pt x="2753" y="957"/>
                  <a:pt x="2753" y="957"/>
                  <a:pt x="2753" y="957"/>
                </a:cubicBezTo>
                <a:cubicBezTo>
                  <a:pt x="2754" y="954"/>
                  <a:pt x="2754" y="954"/>
                  <a:pt x="2754" y="954"/>
                </a:cubicBezTo>
                <a:cubicBezTo>
                  <a:pt x="2755" y="954"/>
                  <a:pt x="2755" y="954"/>
                  <a:pt x="2755" y="954"/>
                </a:cubicBezTo>
                <a:cubicBezTo>
                  <a:pt x="2757" y="955"/>
                  <a:pt x="2757" y="955"/>
                  <a:pt x="2757" y="955"/>
                </a:cubicBezTo>
                <a:cubicBezTo>
                  <a:pt x="2756" y="957"/>
                  <a:pt x="2756" y="957"/>
                  <a:pt x="2756" y="957"/>
                </a:cubicBezTo>
                <a:cubicBezTo>
                  <a:pt x="2757" y="957"/>
                  <a:pt x="2757" y="957"/>
                  <a:pt x="2757" y="957"/>
                </a:cubicBezTo>
                <a:cubicBezTo>
                  <a:pt x="2758" y="957"/>
                  <a:pt x="2758" y="957"/>
                  <a:pt x="2758" y="957"/>
                </a:cubicBezTo>
                <a:cubicBezTo>
                  <a:pt x="2759" y="958"/>
                  <a:pt x="2759" y="958"/>
                  <a:pt x="2759" y="958"/>
                </a:cubicBezTo>
                <a:cubicBezTo>
                  <a:pt x="2759" y="956"/>
                  <a:pt x="2759" y="956"/>
                  <a:pt x="2759" y="956"/>
                </a:cubicBezTo>
                <a:cubicBezTo>
                  <a:pt x="2760" y="955"/>
                  <a:pt x="2760" y="955"/>
                  <a:pt x="2760" y="955"/>
                </a:cubicBezTo>
                <a:cubicBezTo>
                  <a:pt x="2761" y="956"/>
                  <a:pt x="2761" y="956"/>
                  <a:pt x="2761" y="956"/>
                </a:cubicBezTo>
                <a:cubicBezTo>
                  <a:pt x="2760" y="957"/>
                  <a:pt x="2760" y="957"/>
                  <a:pt x="2760" y="957"/>
                </a:cubicBezTo>
                <a:cubicBezTo>
                  <a:pt x="2761" y="957"/>
                  <a:pt x="2761" y="957"/>
                  <a:pt x="2761" y="957"/>
                </a:cubicBezTo>
                <a:cubicBezTo>
                  <a:pt x="2763" y="958"/>
                  <a:pt x="2763" y="958"/>
                  <a:pt x="2763" y="958"/>
                </a:cubicBezTo>
                <a:cubicBezTo>
                  <a:pt x="2764" y="958"/>
                  <a:pt x="2764" y="958"/>
                  <a:pt x="2764" y="958"/>
                </a:cubicBezTo>
                <a:cubicBezTo>
                  <a:pt x="2762" y="956"/>
                  <a:pt x="2762" y="956"/>
                  <a:pt x="2762" y="956"/>
                </a:cubicBezTo>
                <a:cubicBezTo>
                  <a:pt x="2763" y="955"/>
                  <a:pt x="2763" y="955"/>
                  <a:pt x="2763" y="955"/>
                </a:cubicBezTo>
                <a:cubicBezTo>
                  <a:pt x="2763" y="955"/>
                  <a:pt x="2763" y="955"/>
                  <a:pt x="2763" y="955"/>
                </a:cubicBezTo>
                <a:cubicBezTo>
                  <a:pt x="2763" y="954"/>
                  <a:pt x="2763" y="954"/>
                  <a:pt x="2763" y="954"/>
                </a:cubicBezTo>
                <a:cubicBezTo>
                  <a:pt x="2764" y="954"/>
                  <a:pt x="2764" y="954"/>
                  <a:pt x="2764" y="954"/>
                </a:cubicBezTo>
                <a:cubicBezTo>
                  <a:pt x="2766" y="955"/>
                  <a:pt x="2766" y="955"/>
                  <a:pt x="2766" y="955"/>
                </a:cubicBezTo>
                <a:cubicBezTo>
                  <a:pt x="2768" y="956"/>
                  <a:pt x="2768" y="956"/>
                  <a:pt x="2768" y="956"/>
                </a:cubicBezTo>
                <a:cubicBezTo>
                  <a:pt x="2770" y="957"/>
                  <a:pt x="2770" y="957"/>
                  <a:pt x="2770" y="957"/>
                </a:cubicBezTo>
                <a:cubicBezTo>
                  <a:pt x="2770" y="959"/>
                  <a:pt x="2770" y="959"/>
                  <a:pt x="2770" y="959"/>
                </a:cubicBezTo>
                <a:cubicBezTo>
                  <a:pt x="2772" y="961"/>
                  <a:pt x="2772" y="961"/>
                  <a:pt x="2772" y="961"/>
                </a:cubicBezTo>
                <a:cubicBezTo>
                  <a:pt x="2770" y="960"/>
                  <a:pt x="2770" y="960"/>
                  <a:pt x="2770" y="960"/>
                </a:cubicBezTo>
                <a:cubicBezTo>
                  <a:pt x="2769" y="960"/>
                  <a:pt x="2769" y="960"/>
                  <a:pt x="2769" y="960"/>
                </a:cubicBezTo>
                <a:cubicBezTo>
                  <a:pt x="2770" y="961"/>
                  <a:pt x="2770" y="961"/>
                  <a:pt x="2770" y="961"/>
                </a:cubicBezTo>
                <a:cubicBezTo>
                  <a:pt x="2769" y="963"/>
                  <a:pt x="2769" y="963"/>
                  <a:pt x="2769" y="963"/>
                </a:cubicBezTo>
                <a:cubicBezTo>
                  <a:pt x="2770" y="964"/>
                  <a:pt x="2770" y="964"/>
                  <a:pt x="2770" y="964"/>
                </a:cubicBezTo>
                <a:cubicBezTo>
                  <a:pt x="2770" y="965"/>
                  <a:pt x="2770" y="965"/>
                  <a:pt x="2770" y="965"/>
                </a:cubicBezTo>
                <a:cubicBezTo>
                  <a:pt x="2769" y="967"/>
                  <a:pt x="2769" y="967"/>
                  <a:pt x="2769" y="967"/>
                </a:cubicBezTo>
                <a:cubicBezTo>
                  <a:pt x="2771" y="968"/>
                  <a:pt x="2771" y="968"/>
                  <a:pt x="2771" y="968"/>
                </a:cubicBezTo>
                <a:cubicBezTo>
                  <a:pt x="2771" y="970"/>
                  <a:pt x="2771" y="970"/>
                  <a:pt x="2771" y="970"/>
                </a:cubicBezTo>
                <a:cubicBezTo>
                  <a:pt x="2773" y="972"/>
                  <a:pt x="2773" y="972"/>
                  <a:pt x="2773" y="972"/>
                </a:cubicBezTo>
                <a:cubicBezTo>
                  <a:pt x="2775" y="972"/>
                  <a:pt x="2775" y="972"/>
                  <a:pt x="2775" y="972"/>
                </a:cubicBezTo>
                <a:cubicBezTo>
                  <a:pt x="2777" y="974"/>
                  <a:pt x="2777" y="974"/>
                  <a:pt x="2777" y="974"/>
                </a:cubicBezTo>
                <a:cubicBezTo>
                  <a:pt x="2779" y="975"/>
                  <a:pt x="2779" y="975"/>
                  <a:pt x="2779" y="975"/>
                </a:cubicBezTo>
                <a:cubicBezTo>
                  <a:pt x="2781" y="974"/>
                  <a:pt x="2781" y="974"/>
                  <a:pt x="2781" y="974"/>
                </a:cubicBezTo>
                <a:cubicBezTo>
                  <a:pt x="2781" y="973"/>
                  <a:pt x="2781" y="973"/>
                  <a:pt x="2781" y="973"/>
                </a:cubicBezTo>
                <a:cubicBezTo>
                  <a:pt x="2782" y="972"/>
                  <a:pt x="2782" y="972"/>
                  <a:pt x="2782" y="972"/>
                </a:cubicBezTo>
                <a:cubicBezTo>
                  <a:pt x="2783" y="973"/>
                  <a:pt x="2783" y="973"/>
                  <a:pt x="2783" y="973"/>
                </a:cubicBezTo>
                <a:cubicBezTo>
                  <a:pt x="2782" y="974"/>
                  <a:pt x="2782" y="974"/>
                  <a:pt x="2782" y="974"/>
                </a:cubicBezTo>
                <a:cubicBezTo>
                  <a:pt x="2783" y="976"/>
                  <a:pt x="2783" y="976"/>
                  <a:pt x="2783" y="976"/>
                </a:cubicBezTo>
                <a:cubicBezTo>
                  <a:pt x="2783" y="977"/>
                  <a:pt x="2783" y="977"/>
                  <a:pt x="2783" y="977"/>
                </a:cubicBezTo>
                <a:cubicBezTo>
                  <a:pt x="2785" y="976"/>
                  <a:pt x="2785" y="976"/>
                  <a:pt x="2785" y="976"/>
                </a:cubicBezTo>
                <a:cubicBezTo>
                  <a:pt x="2787" y="972"/>
                  <a:pt x="2787" y="972"/>
                  <a:pt x="2787" y="972"/>
                </a:cubicBezTo>
                <a:cubicBezTo>
                  <a:pt x="2788" y="970"/>
                  <a:pt x="2788" y="970"/>
                  <a:pt x="2788" y="970"/>
                </a:cubicBezTo>
                <a:cubicBezTo>
                  <a:pt x="2787" y="969"/>
                  <a:pt x="2787" y="969"/>
                  <a:pt x="2787" y="969"/>
                </a:cubicBezTo>
                <a:cubicBezTo>
                  <a:pt x="2786" y="966"/>
                  <a:pt x="2786" y="966"/>
                  <a:pt x="2786" y="966"/>
                </a:cubicBezTo>
                <a:cubicBezTo>
                  <a:pt x="2784" y="965"/>
                  <a:pt x="2784" y="965"/>
                  <a:pt x="2784" y="965"/>
                </a:cubicBezTo>
                <a:cubicBezTo>
                  <a:pt x="2784" y="963"/>
                  <a:pt x="2784" y="963"/>
                  <a:pt x="2784" y="963"/>
                </a:cubicBezTo>
                <a:cubicBezTo>
                  <a:pt x="2787" y="959"/>
                  <a:pt x="2787" y="959"/>
                  <a:pt x="2787" y="959"/>
                </a:cubicBezTo>
                <a:cubicBezTo>
                  <a:pt x="2788" y="958"/>
                  <a:pt x="2788" y="958"/>
                  <a:pt x="2788" y="958"/>
                </a:cubicBezTo>
                <a:cubicBezTo>
                  <a:pt x="2789" y="960"/>
                  <a:pt x="2789" y="960"/>
                  <a:pt x="2789" y="960"/>
                </a:cubicBezTo>
                <a:cubicBezTo>
                  <a:pt x="2790" y="962"/>
                  <a:pt x="2790" y="962"/>
                  <a:pt x="2790" y="962"/>
                </a:cubicBezTo>
                <a:cubicBezTo>
                  <a:pt x="2791" y="964"/>
                  <a:pt x="2791" y="964"/>
                  <a:pt x="2791" y="964"/>
                </a:cubicBezTo>
                <a:cubicBezTo>
                  <a:pt x="2791" y="965"/>
                  <a:pt x="2791" y="965"/>
                  <a:pt x="2791" y="965"/>
                </a:cubicBezTo>
                <a:cubicBezTo>
                  <a:pt x="2792" y="968"/>
                  <a:pt x="2792" y="968"/>
                  <a:pt x="2792" y="968"/>
                </a:cubicBezTo>
                <a:cubicBezTo>
                  <a:pt x="2792" y="970"/>
                  <a:pt x="2792" y="970"/>
                  <a:pt x="2792" y="970"/>
                </a:cubicBezTo>
                <a:cubicBezTo>
                  <a:pt x="2792" y="968"/>
                  <a:pt x="2792" y="968"/>
                  <a:pt x="2792" y="968"/>
                </a:cubicBezTo>
                <a:cubicBezTo>
                  <a:pt x="2793" y="966"/>
                  <a:pt x="2793" y="966"/>
                  <a:pt x="2793" y="966"/>
                </a:cubicBezTo>
                <a:cubicBezTo>
                  <a:pt x="2792" y="963"/>
                  <a:pt x="2792" y="963"/>
                  <a:pt x="2792" y="963"/>
                </a:cubicBezTo>
                <a:cubicBezTo>
                  <a:pt x="2792" y="962"/>
                  <a:pt x="2792" y="962"/>
                  <a:pt x="2792" y="962"/>
                </a:cubicBezTo>
                <a:cubicBezTo>
                  <a:pt x="2793" y="962"/>
                  <a:pt x="2793" y="962"/>
                  <a:pt x="2793" y="962"/>
                </a:cubicBezTo>
                <a:cubicBezTo>
                  <a:pt x="2794" y="963"/>
                  <a:pt x="2794" y="963"/>
                  <a:pt x="2794" y="963"/>
                </a:cubicBezTo>
                <a:cubicBezTo>
                  <a:pt x="2794" y="962"/>
                  <a:pt x="2794" y="962"/>
                  <a:pt x="2794" y="962"/>
                </a:cubicBezTo>
                <a:cubicBezTo>
                  <a:pt x="2795" y="962"/>
                  <a:pt x="2795" y="962"/>
                  <a:pt x="2795" y="962"/>
                </a:cubicBezTo>
                <a:cubicBezTo>
                  <a:pt x="2796" y="959"/>
                  <a:pt x="2796" y="959"/>
                  <a:pt x="2796" y="959"/>
                </a:cubicBezTo>
                <a:cubicBezTo>
                  <a:pt x="2796" y="956"/>
                  <a:pt x="2796" y="956"/>
                  <a:pt x="2796" y="956"/>
                </a:cubicBezTo>
                <a:cubicBezTo>
                  <a:pt x="2794" y="954"/>
                  <a:pt x="2794" y="954"/>
                  <a:pt x="2794" y="954"/>
                </a:cubicBezTo>
                <a:cubicBezTo>
                  <a:pt x="2793" y="952"/>
                  <a:pt x="2793" y="952"/>
                  <a:pt x="2793" y="952"/>
                </a:cubicBezTo>
                <a:cubicBezTo>
                  <a:pt x="2793" y="950"/>
                  <a:pt x="2793" y="950"/>
                  <a:pt x="2793" y="950"/>
                </a:cubicBezTo>
                <a:cubicBezTo>
                  <a:pt x="2793" y="948"/>
                  <a:pt x="2793" y="948"/>
                  <a:pt x="2793" y="948"/>
                </a:cubicBezTo>
                <a:cubicBezTo>
                  <a:pt x="2792" y="949"/>
                  <a:pt x="2792" y="949"/>
                  <a:pt x="2792" y="949"/>
                </a:cubicBezTo>
                <a:cubicBezTo>
                  <a:pt x="2792" y="947"/>
                  <a:pt x="2792" y="947"/>
                  <a:pt x="2792" y="947"/>
                </a:cubicBezTo>
                <a:cubicBezTo>
                  <a:pt x="2792" y="945"/>
                  <a:pt x="2792" y="945"/>
                  <a:pt x="2792" y="945"/>
                </a:cubicBezTo>
                <a:cubicBezTo>
                  <a:pt x="2792" y="945"/>
                  <a:pt x="2792" y="945"/>
                  <a:pt x="2792" y="945"/>
                </a:cubicBezTo>
                <a:cubicBezTo>
                  <a:pt x="2790" y="944"/>
                  <a:pt x="2790" y="944"/>
                  <a:pt x="2790" y="944"/>
                </a:cubicBezTo>
                <a:cubicBezTo>
                  <a:pt x="2791" y="943"/>
                  <a:pt x="2791" y="943"/>
                  <a:pt x="2791" y="943"/>
                </a:cubicBezTo>
                <a:cubicBezTo>
                  <a:pt x="2792" y="943"/>
                  <a:pt x="2792" y="943"/>
                  <a:pt x="2792" y="943"/>
                </a:cubicBezTo>
                <a:cubicBezTo>
                  <a:pt x="2792" y="940"/>
                  <a:pt x="2792" y="940"/>
                  <a:pt x="2792" y="940"/>
                </a:cubicBezTo>
                <a:cubicBezTo>
                  <a:pt x="2791" y="938"/>
                  <a:pt x="2791" y="938"/>
                  <a:pt x="2791" y="938"/>
                </a:cubicBezTo>
                <a:cubicBezTo>
                  <a:pt x="2791" y="937"/>
                  <a:pt x="2791" y="937"/>
                  <a:pt x="2791" y="937"/>
                </a:cubicBezTo>
                <a:cubicBezTo>
                  <a:pt x="2789" y="938"/>
                  <a:pt x="2789" y="938"/>
                  <a:pt x="2789" y="938"/>
                </a:cubicBezTo>
                <a:cubicBezTo>
                  <a:pt x="2787" y="936"/>
                  <a:pt x="2787" y="936"/>
                  <a:pt x="2787" y="936"/>
                </a:cubicBezTo>
                <a:cubicBezTo>
                  <a:pt x="2785" y="934"/>
                  <a:pt x="2785" y="934"/>
                  <a:pt x="2785" y="934"/>
                </a:cubicBezTo>
                <a:lnTo>
                  <a:pt x="2784" y="932"/>
                </a:lnTo>
                <a:close/>
                <a:moveTo>
                  <a:pt x="2785" y="652"/>
                </a:moveTo>
                <a:cubicBezTo>
                  <a:pt x="2785" y="652"/>
                  <a:pt x="2785" y="652"/>
                  <a:pt x="2785" y="652"/>
                </a:cubicBezTo>
                <a:cubicBezTo>
                  <a:pt x="2786" y="653"/>
                  <a:pt x="2786" y="653"/>
                  <a:pt x="2786" y="653"/>
                </a:cubicBezTo>
                <a:cubicBezTo>
                  <a:pt x="2787" y="653"/>
                  <a:pt x="2787" y="653"/>
                  <a:pt x="2787" y="653"/>
                </a:cubicBezTo>
                <a:cubicBezTo>
                  <a:pt x="2785" y="652"/>
                  <a:pt x="2785" y="652"/>
                  <a:pt x="2785" y="652"/>
                </a:cubicBezTo>
                <a:close/>
                <a:moveTo>
                  <a:pt x="2787" y="933"/>
                </a:moveTo>
                <a:cubicBezTo>
                  <a:pt x="2788" y="934"/>
                  <a:pt x="2788" y="934"/>
                  <a:pt x="2788" y="934"/>
                </a:cubicBezTo>
                <a:cubicBezTo>
                  <a:pt x="2788" y="933"/>
                  <a:pt x="2788" y="933"/>
                  <a:pt x="2788" y="933"/>
                </a:cubicBezTo>
                <a:cubicBezTo>
                  <a:pt x="2787" y="932"/>
                  <a:pt x="2787" y="932"/>
                  <a:pt x="2787" y="932"/>
                </a:cubicBezTo>
                <a:lnTo>
                  <a:pt x="2787" y="933"/>
                </a:lnTo>
                <a:close/>
                <a:moveTo>
                  <a:pt x="2797" y="661"/>
                </a:moveTo>
                <a:cubicBezTo>
                  <a:pt x="2796" y="660"/>
                  <a:pt x="2796" y="660"/>
                  <a:pt x="2796" y="660"/>
                </a:cubicBezTo>
                <a:cubicBezTo>
                  <a:pt x="2796" y="661"/>
                  <a:pt x="2796" y="661"/>
                  <a:pt x="2796" y="661"/>
                </a:cubicBezTo>
                <a:cubicBezTo>
                  <a:pt x="2796" y="662"/>
                  <a:pt x="2796" y="662"/>
                  <a:pt x="2796" y="662"/>
                </a:cubicBezTo>
                <a:cubicBezTo>
                  <a:pt x="2797" y="662"/>
                  <a:pt x="2797" y="662"/>
                  <a:pt x="2797" y="662"/>
                </a:cubicBezTo>
                <a:lnTo>
                  <a:pt x="2797" y="661"/>
                </a:lnTo>
                <a:close/>
                <a:moveTo>
                  <a:pt x="2789" y="928"/>
                </a:moveTo>
                <a:cubicBezTo>
                  <a:pt x="2789" y="930"/>
                  <a:pt x="2789" y="930"/>
                  <a:pt x="2789" y="930"/>
                </a:cubicBezTo>
                <a:cubicBezTo>
                  <a:pt x="2788" y="931"/>
                  <a:pt x="2788" y="931"/>
                  <a:pt x="2788" y="931"/>
                </a:cubicBezTo>
                <a:cubicBezTo>
                  <a:pt x="2789" y="932"/>
                  <a:pt x="2789" y="932"/>
                  <a:pt x="2789" y="932"/>
                </a:cubicBezTo>
                <a:cubicBezTo>
                  <a:pt x="2791" y="932"/>
                  <a:pt x="2791" y="932"/>
                  <a:pt x="2791" y="932"/>
                </a:cubicBezTo>
                <a:cubicBezTo>
                  <a:pt x="2790" y="930"/>
                  <a:pt x="2790" y="930"/>
                  <a:pt x="2790" y="930"/>
                </a:cubicBezTo>
                <a:lnTo>
                  <a:pt x="2789" y="928"/>
                </a:lnTo>
                <a:close/>
                <a:moveTo>
                  <a:pt x="2781" y="641"/>
                </a:moveTo>
                <a:cubicBezTo>
                  <a:pt x="2782" y="641"/>
                  <a:pt x="2782" y="641"/>
                  <a:pt x="2782" y="641"/>
                </a:cubicBezTo>
                <a:cubicBezTo>
                  <a:pt x="2783" y="640"/>
                  <a:pt x="2783" y="640"/>
                  <a:pt x="2783" y="640"/>
                </a:cubicBezTo>
                <a:cubicBezTo>
                  <a:pt x="2783" y="639"/>
                  <a:pt x="2783" y="639"/>
                  <a:pt x="2783" y="639"/>
                </a:cubicBezTo>
                <a:cubicBezTo>
                  <a:pt x="2781" y="639"/>
                  <a:pt x="2781" y="639"/>
                  <a:pt x="2781" y="639"/>
                </a:cubicBezTo>
                <a:cubicBezTo>
                  <a:pt x="2781" y="640"/>
                  <a:pt x="2781" y="640"/>
                  <a:pt x="2781" y="640"/>
                </a:cubicBezTo>
                <a:lnTo>
                  <a:pt x="2781" y="641"/>
                </a:lnTo>
                <a:close/>
                <a:moveTo>
                  <a:pt x="2782" y="657"/>
                </a:moveTo>
                <a:cubicBezTo>
                  <a:pt x="2783" y="656"/>
                  <a:pt x="2783" y="656"/>
                  <a:pt x="2783" y="656"/>
                </a:cubicBezTo>
                <a:cubicBezTo>
                  <a:pt x="2782" y="656"/>
                  <a:pt x="2782" y="656"/>
                  <a:pt x="2782" y="656"/>
                </a:cubicBezTo>
                <a:lnTo>
                  <a:pt x="2782" y="657"/>
                </a:lnTo>
                <a:close/>
                <a:moveTo>
                  <a:pt x="2478" y="862"/>
                </a:moveTo>
                <a:cubicBezTo>
                  <a:pt x="2480" y="862"/>
                  <a:pt x="2480" y="862"/>
                  <a:pt x="2480" y="862"/>
                </a:cubicBezTo>
                <a:cubicBezTo>
                  <a:pt x="2482" y="861"/>
                  <a:pt x="2482" y="861"/>
                  <a:pt x="2482" y="861"/>
                </a:cubicBezTo>
                <a:cubicBezTo>
                  <a:pt x="2480" y="861"/>
                  <a:pt x="2480" y="861"/>
                  <a:pt x="2480" y="861"/>
                </a:cubicBezTo>
                <a:cubicBezTo>
                  <a:pt x="2480" y="860"/>
                  <a:pt x="2480" y="860"/>
                  <a:pt x="2480" y="860"/>
                </a:cubicBezTo>
                <a:cubicBezTo>
                  <a:pt x="2480" y="858"/>
                  <a:pt x="2480" y="858"/>
                  <a:pt x="2480" y="858"/>
                </a:cubicBezTo>
                <a:cubicBezTo>
                  <a:pt x="2480" y="858"/>
                  <a:pt x="2480" y="858"/>
                  <a:pt x="2480" y="858"/>
                </a:cubicBezTo>
                <a:cubicBezTo>
                  <a:pt x="2481" y="860"/>
                  <a:pt x="2481" y="860"/>
                  <a:pt x="2481" y="860"/>
                </a:cubicBezTo>
                <a:cubicBezTo>
                  <a:pt x="2483" y="860"/>
                  <a:pt x="2483" y="860"/>
                  <a:pt x="2483" y="860"/>
                </a:cubicBezTo>
                <a:cubicBezTo>
                  <a:pt x="2486" y="858"/>
                  <a:pt x="2486" y="858"/>
                  <a:pt x="2486" y="858"/>
                </a:cubicBezTo>
                <a:cubicBezTo>
                  <a:pt x="2485" y="857"/>
                  <a:pt x="2485" y="857"/>
                  <a:pt x="2485" y="857"/>
                </a:cubicBezTo>
                <a:cubicBezTo>
                  <a:pt x="2486" y="856"/>
                  <a:pt x="2486" y="856"/>
                  <a:pt x="2486" y="856"/>
                </a:cubicBezTo>
                <a:cubicBezTo>
                  <a:pt x="2486" y="854"/>
                  <a:pt x="2486" y="854"/>
                  <a:pt x="2486" y="854"/>
                </a:cubicBezTo>
                <a:cubicBezTo>
                  <a:pt x="2485" y="853"/>
                  <a:pt x="2485" y="853"/>
                  <a:pt x="2485" y="853"/>
                </a:cubicBezTo>
                <a:cubicBezTo>
                  <a:pt x="2485" y="852"/>
                  <a:pt x="2485" y="852"/>
                  <a:pt x="2485" y="852"/>
                </a:cubicBezTo>
                <a:cubicBezTo>
                  <a:pt x="2486" y="851"/>
                  <a:pt x="2486" y="851"/>
                  <a:pt x="2486" y="851"/>
                </a:cubicBezTo>
                <a:cubicBezTo>
                  <a:pt x="2485" y="850"/>
                  <a:pt x="2485" y="850"/>
                  <a:pt x="2485" y="850"/>
                </a:cubicBezTo>
                <a:cubicBezTo>
                  <a:pt x="2487" y="851"/>
                  <a:pt x="2487" y="851"/>
                  <a:pt x="2487" y="851"/>
                </a:cubicBezTo>
                <a:cubicBezTo>
                  <a:pt x="2487" y="852"/>
                  <a:pt x="2487" y="852"/>
                  <a:pt x="2487" y="852"/>
                </a:cubicBezTo>
                <a:cubicBezTo>
                  <a:pt x="2488" y="852"/>
                  <a:pt x="2488" y="852"/>
                  <a:pt x="2488" y="852"/>
                </a:cubicBezTo>
                <a:cubicBezTo>
                  <a:pt x="2488" y="853"/>
                  <a:pt x="2488" y="853"/>
                  <a:pt x="2488" y="853"/>
                </a:cubicBezTo>
                <a:cubicBezTo>
                  <a:pt x="2490" y="857"/>
                  <a:pt x="2490" y="857"/>
                  <a:pt x="2490" y="857"/>
                </a:cubicBezTo>
                <a:cubicBezTo>
                  <a:pt x="2491" y="858"/>
                  <a:pt x="2491" y="858"/>
                  <a:pt x="2491" y="858"/>
                </a:cubicBezTo>
                <a:cubicBezTo>
                  <a:pt x="2491" y="861"/>
                  <a:pt x="2491" y="861"/>
                  <a:pt x="2491" y="861"/>
                </a:cubicBezTo>
                <a:cubicBezTo>
                  <a:pt x="2493" y="861"/>
                  <a:pt x="2493" y="861"/>
                  <a:pt x="2493" y="861"/>
                </a:cubicBezTo>
                <a:cubicBezTo>
                  <a:pt x="2494" y="860"/>
                  <a:pt x="2494" y="860"/>
                  <a:pt x="2494" y="860"/>
                </a:cubicBezTo>
                <a:cubicBezTo>
                  <a:pt x="2495" y="859"/>
                  <a:pt x="2495" y="859"/>
                  <a:pt x="2495" y="859"/>
                </a:cubicBezTo>
                <a:cubicBezTo>
                  <a:pt x="2495" y="860"/>
                  <a:pt x="2495" y="860"/>
                  <a:pt x="2495" y="860"/>
                </a:cubicBezTo>
                <a:cubicBezTo>
                  <a:pt x="2494" y="861"/>
                  <a:pt x="2494" y="861"/>
                  <a:pt x="2494" y="861"/>
                </a:cubicBezTo>
                <a:cubicBezTo>
                  <a:pt x="2496" y="863"/>
                  <a:pt x="2496" y="863"/>
                  <a:pt x="2496" y="863"/>
                </a:cubicBezTo>
                <a:cubicBezTo>
                  <a:pt x="2496" y="864"/>
                  <a:pt x="2496" y="864"/>
                  <a:pt x="2496" y="864"/>
                </a:cubicBezTo>
                <a:cubicBezTo>
                  <a:pt x="2495" y="865"/>
                  <a:pt x="2495" y="865"/>
                  <a:pt x="2495" y="865"/>
                </a:cubicBezTo>
                <a:cubicBezTo>
                  <a:pt x="2495" y="867"/>
                  <a:pt x="2495" y="867"/>
                  <a:pt x="2495" y="867"/>
                </a:cubicBezTo>
                <a:cubicBezTo>
                  <a:pt x="2497" y="868"/>
                  <a:pt x="2497" y="868"/>
                  <a:pt x="2497" y="868"/>
                </a:cubicBezTo>
                <a:cubicBezTo>
                  <a:pt x="2497" y="875"/>
                  <a:pt x="2497" y="875"/>
                  <a:pt x="2497" y="875"/>
                </a:cubicBezTo>
                <a:cubicBezTo>
                  <a:pt x="2498" y="875"/>
                  <a:pt x="2498" y="875"/>
                  <a:pt x="2498" y="875"/>
                </a:cubicBezTo>
                <a:cubicBezTo>
                  <a:pt x="2498" y="879"/>
                  <a:pt x="2498" y="879"/>
                  <a:pt x="2498" y="879"/>
                </a:cubicBezTo>
                <a:cubicBezTo>
                  <a:pt x="2501" y="880"/>
                  <a:pt x="2501" y="880"/>
                  <a:pt x="2501" y="880"/>
                </a:cubicBezTo>
                <a:cubicBezTo>
                  <a:pt x="2500" y="881"/>
                  <a:pt x="2500" y="881"/>
                  <a:pt x="2500" y="881"/>
                </a:cubicBezTo>
                <a:cubicBezTo>
                  <a:pt x="2500" y="883"/>
                  <a:pt x="2500" y="883"/>
                  <a:pt x="2500" y="883"/>
                </a:cubicBezTo>
                <a:cubicBezTo>
                  <a:pt x="2502" y="885"/>
                  <a:pt x="2502" y="885"/>
                  <a:pt x="2502" y="885"/>
                </a:cubicBezTo>
                <a:cubicBezTo>
                  <a:pt x="2501" y="889"/>
                  <a:pt x="2501" y="889"/>
                  <a:pt x="2501" y="889"/>
                </a:cubicBezTo>
                <a:cubicBezTo>
                  <a:pt x="2502" y="891"/>
                  <a:pt x="2502" y="891"/>
                  <a:pt x="2502" y="891"/>
                </a:cubicBezTo>
                <a:cubicBezTo>
                  <a:pt x="2502" y="893"/>
                  <a:pt x="2502" y="893"/>
                  <a:pt x="2502" y="893"/>
                </a:cubicBezTo>
                <a:cubicBezTo>
                  <a:pt x="2503" y="892"/>
                  <a:pt x="2503" y="892"/>
                  <a:pt x="2503" y="892"/>
                </a:cubicBezTo>
                <a:cubicBezTo>
                  <a:pt x="2503" y="889"/>
                  <a:pt x="2503" y="889"/>
                  <a:pt x="2503" y="889"/>
                </a:cubicBezTo>
                <a:cubicBezTo>
                  <a:pt x="2505" y="891"/>
                  <a:pt x="2505" y="891"/>
                  <a:pt x="2505" y="891"/>
                </a:cubicBezTo>
                <a:cubicBezTo>
                  <a:pt x="2505" y="894"/>
                  <a:pt x="2505" y="894"/>
                  <a:pt x="2505" y="894"/>
                </a:cubicBezTo>
                <a:cubicBezTo>
                  <a:pt x="2507" y="895"/>
                  <a:pt x="2507" y="895"/>
                  <a:pt x="2507" y="895"/>
                </a:cubicBezTo>
                <a:cubicBezTo>
                  <a:pt x="2507" y="901"/>
                  <a:pt x="2507" y="901"/>
                  <a:pt x="2507" y="901"/>
                </a:cubicBezTo>
                <a:cubicBezTo>
                  <a:pt x="2508" y="902"/>
                  <a:pt x="2508" y="902"/>
                  <a:pt x="2508" y="902"/>
                </a:cubicBezTo>
                <a:cubicBezTo>
                  <a:pt x="2509" y="904"/>
                  <a:pt x="2509" y="904"/>
                  <a:pt x="2509" y="904"/>
                </a:cubicBezTo>
                <a:cubicBezTo>
                  <a:pt x="2508" y="905"/>
                  <a:pt x="2508" y="905"/>
                  <a:pt x="2508" y="905"/>
                </a:cubicBezTo>
                <a:cubicBezTo>
                  <a:pt x="2508" y="907"/>
                  <a:pt x="2508" y="907"/>
                  <a:pt x="2508" y="907"/>
                </a:cubicBezTo>
                <a:cubicBezTo>
                  <a:pt x="2509" y="909"/>
                  <a:pt x="2509" y="909"/>
                  <a:pt x="2509" y="909"/>
                </a:cubicBezTo>
                <a:cubicBezTo>
                  <a:pt x="2511" y="910"/>
                  <a:pt x="2511" y="910"/>
                  <a:pt x="2511" y="910"/>
                </a:cubicBezTo>
                <a:cubicBezTo>
                  <a:pt x="2509" y="911"/>
                  <a:pt x="2509" y="911"/>
                  <a:pt x="2509" y="911"/>
                </a:cubicBezTo>
                <a:cubicBezTo>
                  <a:pt x="2510" y="914"/>
                  <a:pt x="2510" y="914"/>
                  <a:pt x="2510" y="914"/>
                </a:cubicBezTo>
                <a:cubicBezTo>
                  <a:pt x="2510" y="915"/>
                  <a:pt x="2510" y="915"/>
                  <a:pt x="2510" y="915"/>
                </a:cubicBezTo>
                <a:cubicBezTo>
                  <a:pt x="2509" y="916"/>
                  <a:pt x="2509" y="916"/>
                  <a:pt x="2509" y="916"/>
                </a:cubicBezTo>
                <a:cubicBezTo>
                  <a:pt x="2509" y="918"/>
                  <a:pt x="2509" y="918"/>
                  <a:pt x="2509" y="918"/>
                </a:cubicBezTo>
                <a:cubicBezTo>
                  <a:pt x="2509" y="919"/>
                  <a:pt x="2509" y="919"/>
                  <a:pt x="2509" y="919"/>
                </a:cubicBezTo>
                <a:cubicBezTo>
                  <a:pt x="2509" y="921"/>
                  <a:pt x="2509" y="921"/>
                  <a:pt x="2509" y="921"/>
                </a:cubicBezTo>
                <a:cubicBezTo>
                  <a:pt x="2508" y="923"/>
                  <a:pt x="2508" y="923"/>
                  <a:pt x="2508" y="923"/>
                </a:cubicBezTo>
                <a:cubicBezTo>
                  <a:pt x="2507" y="923"/>
                  <a:pt x="2507" y="923"/>
                  <a:pt x="2507" y="923"/>
                </a:cubicBezTo>
                <a:cubicBezTo>
                  <a:pt x="2507" y="923"/>
                  <a:pt x="2507" y="923"/>
                  <a:pt x="2507" y="923"/>
                </a:cubicBezTo>
                <a:cubicBezTo>
                  <a:pt x="2507" y="924"/>
                  <a:pt x="2507" y="924"/>
                  <a:pt x="2507" y="924"/>
                </a:cubicBezTo>
                <a:cubicBezTo>
                  <a:pt x="2507" y="925"/>
                  <a:pt x="2507" y="925"/>
                  <a:pt x="2507" y="925"/>
                </a:cubicBezTo>
                <a:cubicBezTo>
                  <a:pt x="2507" y="928"/>
                  <a:pt x="2507" y="928"/>
                  <a:pt x="2507" y="928"/>
                </a:cubicBezTo>
                <a:cubicBezTo>
                  <a:pt x="2508" y="931"/>
                  <a:pt x="2508" y="931"/>
                  <a:pt x="2508" y="931"/>
                </a:cubicBezTo>
                <a:cubicBezTo>
                  <a:pt x="2509" y="928"/>
                  <a:pt x="2509" y="928"/>
                  <a:pt x="2509" y="928"/>
                </a:cubicBezTo>
                <a:cubicBezTo>
                  <a:pt x="2510" y="926"/>
                  <a:pt x="2510" y="926"/>
                  <a:pt x="2510" y="926"/>
                </a:cubicBezTo>
                <a:cubicBezTo>
                  <a:pt x="2510" y="926"/>
                  <a:pt x="2510" y="926"/>
                  <a:pt x="2510" y="926"/>
                </a:cubicBezTo>
                <a:cubicBezTo>
                  <a:pt x="2509" y="930"/>
                  <a:pt x="2509" y="930"/>
                  <a:pt x="2509" y="930"/>
                </a:cubicBezTo>
                <a:cubicBezTo>
                  <a:pt x="2510" y="930"/>
                  <a:pt x="2510" y="930"/>
                  <a:pt x="2510" y="930"/>
                </a:cubicBezTo>
                <a:cubicBezTo>
                  <a:pt x="2509" y="932"/>
                  <a:pt x="2509" y="932"/>
                  <a:pt x="2509" y="932"/>
                </a:cubicBezTo>
                <a:cubicBezTo>
                  <a:pt x="2509" y="933"/>
                  <a:pt x="2509" y="933"/>
                  <a:pt x="2509" y="933"/>
                </a:cubicBezTo>
                <a:cubicBezTo>
                  <a:pt x="2508" y="935"/>
                  <a:pt x="2508" y="935"/>
                  <a:pt x="2508" y="935"/>
                </a:cubicBezTo>
                <a:cubicBezTo>
                  <a:pt x="2509" y="935"/>
                  <a:pt x="2509" y="935"/>
                  <a:pt x="2509" y="935"/>
                </a:cubicBezTo>
                <a:cubicBezTo>
                  <a:pt x="2508" y="937"/>
                  <a:pt x="2508" y="937"/>
                  <a:pt x="2508" y="937"/>
                </a:cubicBezTo>
                <a:cubicBezTo>
                  <a:pt x="2507" y="936"/>
                  <a:pt x="2507" y="936"/>
                  <a:pt x="2507" y="936"/>
                </a:cubicBezTo>
                <a:cubicBezTo>
                  <a:pt x="2507" y="940"/>
                  <a:pt x="2507" y="940"/>
                  <a:pt x="2507" y="940"/>
                </a:cubicBezTo>
                <a:cubicBezTo>
                  <a:pt x="2506" y="941"/>
                  <a:pt x="2506" y="941"/>
                  <a:pt x="2506" y="941"/>
                </a:cubicBezTo>
                <a:cubicBezTo>
                  <a:pt x="2506" y="944"/>
                  <a:pt x="2506" y="944"/>
                  <a:pt x="2506" y="944"/>
                </a:cubicBezTo>
                <a:cubicBezTo>
                  <a:pt x="2506" y="945"/>
                  <a:pt x="2506" y="945"/>
                  <a:pt x="2506" y="945"/>
                </a:cubicBezTo>
                <a:cubicBezTo>
                  <a:pt x="2506" y="948"/>
                  <a:pt x="2506" y="948"/>
                  <a:pt x="2506" y="948"/>
                </a:cubicBezTo>
                <a:cubicBezTo>
                  <a:pt x="2507" y="949"/>
                  <a:pt x="2507" y="949"/>
                  <a:pt x="2507" y="949"/>
                </a:cubicBezTo>
                <a:cubicBezTo>
                  <a:pt x="2509" y="950"/>
                  <a:pt x="2509" y="950"/>
                  <a:pt x="2509" y="950"/>
                </a:cubicBezTo>
                <a:cubicBezTo>
                  <a:pt x="2509" y="948"/>
                  <a:pt x="2509" y="948"/>
                  <a:pt x="2509" y="948"/>
                </a:cubicBezTo>
                <a:cubicBezTo>
                  <a:pt x="2510" y="947"/>
                  <a:pt x="2510" y="947"/>
                  <a:pt x="2510" y="947"/>
                </a:cubicBezTo>
                <a:cubicBezTo>
                  <a:pt x="2510" y="948"/>
                  <a:pt x="2510" y="948"/>
                  <a:pt x="2510" y="948"/>
                </a:cubicBezTo>
                <a:cubicBezTo>
                  <a:pt x="2512" y="949"/>
                  <a:pt x="2512" y="949"/>
                  <a:pt x="2512" y="949"/>
                </a:cubicBezTo>
                <a:cubicBezTo>
                  <a:pt x="2512" y="950"/>
                  <a:pt x="2512" y="950"/>
                  <a:pt x="2512" y="950"/>
                </a:cubicBezTo>
                <a:cubicBezTo>
                  <a:pt x="2513" y="950"/>
                  <a:pt x="2513" y="950"/>
                  <a:pt x="2513" y="950"/>
                </a:cubicBezTo>
                <a:cubicBezTo>
                  <a:pt x="2515" y="954"/>
                  <a:pt x="2515" y="954"/>
                  <a:pt x="2515" y="954"/>
                </a:cubicBezTo>
                <a:cubicBezTo>
                  <a:pt x="2516" y="954"/>
                  <a:pt x="2516" y="954"/>
                  <a:pt x="2516" y="954"/>
                </a:cubicBezTo>
                <a:cubicBezTo>
                  <a:pt x="2518" y="957"/>
                  <a:pt x="2518" y="957"/>
                  <a:pt x="2518" y="957"/>
                </a:cubicBezTo>
                <a:cubicBezTo>
                  <a:pt x="2518" y="959"/>
                  <a:pt x="2518" y="959"/>
                  <a:pt x="2518" y="959"/>
                </a:cubicBezTo>
                <a:cubicBezTo>
                  <a:pt x="2520" y="959"/>
                  <a:pt x="2520" y="959"/>
                  <a:pt x="2520" y="959"/>
                </a:cubicBezTo>
                <a:cubicBezTo>
                  <a:pt x="2521" y="961"/>
                  <a:pt x="2521" y="961"/>
                  <a:pt x="2521" y="961"/>
                </a:cubicBezTo>
                <a:cubicBezTo>
                  <a:pt x="2522" y="961"/>
                  <a:pt x="2522" y="961"/>
                  <a:pt x="2522" y="961"/>
                </a:cubicBezTo>
                <a:cubicBezTo>
                  <a:pt x="2522" y="962"/>
                  <a:pt x="2522" y="962"/>
                  <a:pt x="2522" y="962"/>
                </a:cubicBezTo>
                <a:cubicBezTo>
                  <a:pt x="2521" y="963"/>
                  <a:pt x="2521" y="963"/>
                  <a:pt x="2521" y="963"/>
                </a:cubicBezTo>
                <a:cubicBezTo>
                  <a:pt x="2521" y="964"/>
                  <a:pt x="2521" y="964"/>
                  <a:pt x="2521" y="964"/>
                </a:cubicBezTo>
                <a:cubicBezTo>
                  <a:pt x="2526" y="967"/>
                  <a:pt x="2526" y="967"/>
                  <a:pt x="2526" y="967"/>
                </a:cubicBezTo>
                <a:cubicBezTo>
                  <a:pt x="2526" y="968"/>
                  <a:pt x="2526" y="968"/>
                  <a:pt x="2526" y="968"/>
                </a:cubicBezTo>
                <a:cubicBezTo>
                  <a:pt x="2529" y="972"/>
                  <a:pt x="2529" y="972"/>
                  <a:pt x="2529" y="972"/>
                </a:cubicBezTo>
                <a:cubicBezTo>
                  <a:pt x="2530" y="980"/>
                  <a:pt x="2530" y="980"/>
                  <a:pt x="2530" y="980"/>
                </a:cubicBezTo>
                <a:cubicBezTo>
                  <a:pt x="2531" y="983"/>
                  <a:pt x="2531" y="983"/>
                  <a:pt x="2531" y="983"/>
                </a:cubicBezTo>
                <a:cubicBezTo>
                  <a:pt x="2532" y="985"/>
                  <a:pt x="2532" y="985"/>
                  <a:pt x="2532" y="985"/>
                </a:cubicBezTo>
                <a:cubicBezTo>
                  <a:pt x="2532" y="988"/>
                  <a:pt x="2532" y="988"/>
                  <a:pt x="2532" y="988"/>
                </a:cubicBezTo>
                <a:cubicBezTo>
                  <a:pt x="2531" y="989"/>
                  <a:pt x="2531" y="989"/>
                  <a:pt x="2531" y="989"/>
                </a:cubicBezTo>
                <a:cubicBezTo>
                  <a:pt x="2531" y="991"/>
                  <a:pt x="2531" y="991"/>
                  <a:pt x="2531" y="991"/>
                </a:cubicBezTo>
                <a:cubicBezTo>
                  <a:pt x="2533" y="993"/>
                  <a:pt x="2533" y="993"/>
                  <a:pt x="2533" y="993"/>
                </a:cubicBezTo>
                <a:cubicBezTo>
                  <a:pt x="2532" y="994"/>
                  <a:pt x="2532" y="994"/>
                  <a:pt x="2532" y="994"/>
                </a:cubicBezTo>
                <a:cubicBezTo>
                  <a:pt x="2533" y="995"/>
                  <a:pt x="2533" y="995"/>
                  <a:pt x="2533" y="995"/>
                </a:cubicBezTo>
                <a:cubicBezTo>
                  <a:pt x="2536" y="997"/>
                  <a:pt x="2536" y="997"/>
                  <a:pt x="2536" y="997"/>
                </a:cubicBezTo>
                <a:cubicBezTo>
                  <a:pt x="2538" y="1000"/>
                  <a:pt x="2538" y="1000"/>
                  <a:pt x="2538" y="1000"/>
                </a:cubicBezTo>
                <a:cubicBezTo>
                  <a:pt x="2540" y="1001"/>
                  <a:pt x="2540" y="1001"/>
                  <a:pt x="2540" y="1001"/>
                </a:cubicBezTo>
                <a:cubicBezTo>
                  <a:pt x="2541" y="1003"/>
                  <a:pt x="2541" y="1003"/>
                  <a:pt x="2541" y="1003"/>
                </a:cubicBezTo>
                <a:cubicBezTo>
                  <a:pt x="2539" y="1004"/>
                  <a:pt x="2539" y="1004"/>
                  <a:pt x="2539" y="1004"/>
                </a:cubicBezTo>
                <a:cubicBezTo>
                  <a:pt x="2539" y="1005"/>
                  <a:pt x="2539" y="1005"/>
                  <a:pt x="2539" y="1005"/>
                </a:cubicBezTo>
                <a:cubicBezTo>
                  <a:pt x="2541" y="1007"/>
                  <a:pt x="2541" y="1007"/>
                  <a:pt x="2541" y="1007"/>
                </a:cubicBezTo>
                <a:cubicBezTo>
                  <a:pt x="2544" y="1008"/>
                  <a:pt x="2544" y="1008"/>
                  <a:pt x="2544" y="1008"/>
                </a:cubicBezTo>
                <a:cubicBezTo>
                  <a:pt x="2547" y="1010"/>
                  <a:pt x="2547" y="1010"/>
                  <a:pt x="2547" y="1010"/>
                </a:cubicBezTo>
                <a:cubicBezTo>
                  <a:pt x="2547" y="1012"/>
                  <a:pt x="2547" y="1012"/>
                  <a:pt x="2547" y="1012"/>
                </a:cubicBezTo>
                <a:cubicBezTo>
                  <a:pt x="2549" y="1015"/>
                  <a:pt x="2549" y="1015"/>
                  <a:pt x="2549" y="1015"/>
                </a:cubicBezTo>
                <a:cubicBezTo>
                  <a:pt x="2551" y="1015"/>
                  <a:pt x="2551" y="1015"/>
                  <a:pt x="2551" y="1015"/>
                </a:cubicBezTo>
                <a:cubicBezTo>
                  <a:pt x="2552" y="1015"/>
                  <a:pt x="2552" y="1015"/>
                  <a:pt x="2552" y="1015"/>
                </a:cubicBezTo>
                <a:cubicBezTo>
                  <a:pt x="2553" y="1016"/>
                  <a:pt x="2553" y="1016"/>
                  <a:pt x="2553" y="1016"/>
                </a:cubicBezTo>
                <a:cubicBezTo>
                  <a:pt x="2555" y="1017"/>
                  <a:pt x="2555" y="1017"/>
                  <a:pt x="2555" y="1017"/>
                </a:cubicBezTo>
                <a:cubicBezTo>
                  <a:pt x="2558" y="1019"/>
                  <a:pt x="2558" y="1019"/>
                  <a:pt x="2558" y="1019"/>
                </a:cubicBezTo>
                <a:cubicBezTo>
                  <a:pt x="2561" y="1019"/>
                  <a:pt x="2561" y="1019"/>
                  <a:pt x="2561" y="1019"/>
                </a:cubicBezTo>
                <a:cubicBezTo>
                  <a:pt x="2563" y="1021"/>
                  <a:pt x="2563" y="1021"/>
                  <a:pt x="2563" y="1021"/>
                </a:cubicBezTo>
                <a:cubicBezTo>
                  <a:pt x="2565" y="1022"/>
                  <a:pt x="2565" y="1022"/>
                  <a:pt x="2565" y="1022"/>
                </a:cubicBezTo>
                <a:cubicBezTo>
                  <a:pt x="2565" y="1021"/>
                  <a:pt x="2565" y="1021"/>
                  <a:pt x="2565" y="1021"/>
                </a:cubicBezTo>
                <a:cubicBezTo>
                  <a:pt x="2566" y="1022"/>
                  <a:pt x="2566" y="1022"/>
                  <a:pt x="2566" y="1022"/>
                </a:cubicBezTo>
                <a:cubicBezTo>
                  <a:pt x="2568" y="1021"/>
                  <a:pt x="2568" y="1021"/>
                  <a:pt x="2568" y="1021"/>
                </a:cubicBezTo>
                <a:cubicBezTo>
                  <a:pt x="2568" y="1021"/>
                  <a:pt x="2568" y="1021"/>
                  <a:pt x="2568" y="1021"/>
                </a:cubicBezTo>
                <a:cubicBezTo>
                  <a:pt x="2567" y="1020"/>
                  <a:pt x="2567" y="1020"/>
                  <a:pt x="2567" y="1020"/>
                </a:cubicBezTo>
                <a:cubicBezTo>
                  <a:pt x="2568" y="1020"/>
                  <a:pt x="2568" y="1020"/>
                  <a:pt x="2568" y="1020"/>
                </a:cubicBezTo>
                <a:cubicBezTo>
                  <a:pt x="2568" y="1019"/>
                  <a:pt x="2568" y="1019"/>
                  <a:pt x="2568" y="1019"/>
                </a:cubicBezTo>
                <a:cubicBezTo>
                  <a:pt x="2567" y="1018"/>
                  <a:pt x="2567" y="1018"/>
                  <a:pt x="2567" y="1018"/>
                </a:cubicBezTo>
                <a:cubicBezTo>
                  <a:pt x="2568" y="1019"/>
                  <a:pt x="2568" y="1019"/>
                  <a:pt x="2568" y="1019"/>
                </a:cubicBezTo>
                <a:cubicBezTo>
                  <a:pt x="2568" y="1020"/>
                  <a:pt x="2568" y="1020"/>
                  <a:pt x="2568" y="1020"/>
                </a:cubicBezTo>
                <a:cubicBezTo>
                  <a:pt x="2569" y="1021"/>
                  <a:pt x="2569" y="1021"/>
                  <a:pt x="2569" y="1021"/>
                </a:cubicBezTo>
                <a:cubicBezTo>
                  <a:pt x="2570" y="1021"/>
                  <a:pt x="2570" y="1021"/>
                  <a:pt x="2570" y="1021"/>
                </a:cubicBezTo>
                <a:cubicBezTo>
                  <a:pt x="2570" y="1019"/>
                  <a:pt x="2570" y="1019"/>
                  <a:pt x="2570" y="1019"/>
                </a:cubicBezTo>
                <a:cubicBezTo>
                  <a:pt x="2568" y="1015"/>
                  <a:pt x="2568" y="1015"/>
                  <a:pt x="2568" y="1015"/>
                </a:cubicBezTo>
                <a:cubicBezTo>
                  <a:pt x="2567" y="1014"/>
                  <a:pt x="2567" y="1014"/>
                  <a:pt x="2567" y="1014"/>
                </a:cubicBezTo>
                <a:cubicBezTo>
                  <a:pt x="2567" y="1014"/>
                  <a:pt x="2567" y="1014"/>
                  <a:pt x="2567" y="1014"/>
                </a:cubicBezTo>
                <a:cubicBezTo>
                  <a:pt x="2567" y="1013"/>
                  <a:pt x="2567" y="1013"/>
                  <a:pt x="2567" y="1013"/>
                </a:cubicBezTo>
                <a:cubicBezTo>
                  <a:pt x="2566" y="1012"/>
                  <a:pt x="2566" y="1012"/>
                  <a:pt x="2566" y="1012"/>
                </a:cubicBezTo>
                <a:cubicBezTo>
                  <a:pt x="2566" y="1009"/>
                  <a:pt x="2566" y="1009"/>
                  <a:pt x="2566" y="1009"/>
                </a:cubicBezTo>
                <a:cubicBezTo>
                  <a:pt x="2566" y="1009"/>
                  <a:pt x="2566" y="1009"/>
                  <a:pt x="2566" y="1009"/>
                </a:cubicBezTo>
                <a:cubicBezTo>
                  <a:pt x="2566" y="1008"/>
                  <a:pt x="2566" y="1008"/>
                  <a:pt x="2566" y="1008"/>
                </a:cubicBezTo>
                <a:cubicBezTo>
                  <a:pt x="2564" y="1008"/>
                  <a:pt x="2564" y="1008"/>
                  <a:pt x="2564" y="1008"/>
                </a:cubicBezTo>
                <a:cubicBezTo>
                  <a:pt x="2562" y="1006"/>
                  <a:pt x="2562" y="1006"/>
                  <a:pt x="2562" y="1006"/>
                </a:cubicBezTo>
                <a:cubicBezTo>
                  <a:pt x="2561" y="1003"/>
                  <a:pt x="2561" y="1003"/>
                  <a:pt x="2561" y="1003"/>
                </a:cubicBezTo>
                <a:cubicBezTo>
                  <a:pt x="2561" y="998"/>
                  <a:pt x="2561" y="998"/>
                  <a:pt x="2561" y="998"/>
                </a:cubicBezTo>
                <a:cubicBezTo>
                  <a:pt x="2560" y="997"/>
                  <a:pt x="2560" y="997"/>
                  <a:pt x="2560" y="997"/>
                </a:cubicBezTo>
                <a:cubicBezTo>
                  <a:pt x="2560" y="995"/>
                  <a:pt x="2560" y="995"/>
                  <a:pt x="2560" y="995"/>
                </a:cubicBezTo>
                <a:cubicBezTo>
                  <a:pt x="2560" y="994"/>
                  <a:pt x="2560" y="994"/>
                  <a:pt x="2560" y="994"/>
                </a:cubicBezTo>
                <a:cubicBezTo>
                  <a:pt x="2560" y="989"/>
                  <a:pt x="2560" y="989"/>
                  <a:pt x="2560" y="989"/>
                </a:cubicBezTo>
                <a:cubicBezTo>
                  <a:pt x="2561" y="988"/>
                  <a:pt x="2561" y="988"/>
                  <a:pt x="2561" y="988"/>
                </a:cubicBezTo>
                <a:cubicBezTo>
                  <a:pt x="2560" y="984"/>
                  <a:pt x="2560" y="984"/>
                  <a:pt x="2560" y="984"/>
                </a:cubicBezTo>
                <a:cubicBezTo>
                  <a:pt x="2558" y="980"/>
                  <a:pt x="2558" y="980"/>
                  <a:pt x="2558" y="980"/>
                </a:cubicBezTo>
                <a:cubicBezTo>
                  <a:pt x="2550" y="973"/>
                  <a:pt x="2550" y="973"/>
                  <a:pt x="2550" y="973"/>
                </a:cubicBezTo>
                <a:cubicBezTo>
                  <a:pt x="2549" y="970"/>
                  <a:pt x="2549" y="970"/>
                  <a:pt x="2549" y="970"/>
                </a:cubicBezTo>
                <a:cubicBezTo>
                  <a:pt x="2548" y="970"/>
                  <a:pt x="2548" y="970"/>
                  <a:pt x="2548" y="970"/>
                </a:cubicBezTo>
                <a:cubicBezTo>
                  <a:pt x="2547" y="971"/>
                  <a:pt x="2547" y="971"/>
                  <a:pt x="2547" y="971"/>
                </a:cubicBezTo>
                <a:cubicBezTo>
                  <a:pt x="2546" y="971"/>
                  <a:pt x="2546" y="971"/>
                  <a:pt x="2546" y="971"/>
                </a:cubicBezTo>
                <a:cubicBezTo>
                  <a:pt x="2546" y="971"/>
                  <a:pt x="2546" y="971"/>
                  <a:pt x="2546" y="971"/>
                </a:cubicBezTo>
                <a:cubicBezTo>
                  <a:pt x="2545" y="970"/>
                  <a:pt x="2545" y="970"/>
                  <a:pt x="2545" y="970"/>
                </a:cubicBezTo>
                <a:cubicBezTo>
                  <a:pt x="2543" y="969"/>
                  <a:pt x="2543" y="969"/>
                  <a:pt x="2543" y="969"/>
                </a:cubicBezTo>
                <a:cubicBezTo>
                  <a:pt x="2542" y="968"/>
                  <a:pt x="2542" y="968"/>
                  <a:pt x="2542" y="968"/>
                </a:cubicBezTo>
                <a:cubicBezTo>
                  <a:pt x="2541" y="965"/>
                  <a:pt x="2541" y="965"/>
                  <a:pt x="2541" y="965"/>
                </a:cubicBezTo>
                <a:cubicBezTo>
                  <a:pt x="2539" y="964"/>
                  <a:pt x="2539" y="964"/>
                  <a:pt x="2539" y="964"/>
                </a:cubicBezTo>
                <a:cubicBezTo>
                  <a:pt x="2537" y="964"/>
                  <a:pt x="2537" y="964"/>
                  <a:pt x="2537" y="964"/>
                </a:cubicBezTo>
                <a:cubicBezTo>
                  <a:pt x="2536" y="964"/>
                  <a:pt x="2536" y="964"/>
                  <a:pt x="2536" y="964"/>
                </a:cubicBezTo>
                <a:cubicBezTo>
                  <a:pt x="2535" y="963"/>
                  <a:pt x="2535" y="963"/>
                  <a:pt x="2535" y="963"/>
                </a:cubicBezTo>
                <a:cubicBezTo>
                  <a:pt x="2532" y="961"/>
                  <a:pt x="2532" y="961"/>
                  <a:pt x="2532" y="961"/>
                </a:cubicBezTo>
                <a:cubicBezTo>
                  <a:pt x="2531" y="959"/>
                  <a:pt x="2531" y="959"/>
                  <a:pt x="2531" y="959"/>
                </a:cubicBezTo>
                <a:cubicBezTo>
                  <a:pt x="2531" y="958"/>
                  <a:pt x="2531" y="958"/>
                  <a:pt x="2531" y="958"/>
                </a:cubicBezTo>
                <a:cubicBezTo>
                  <a:pt x="2530" y="957"/>
                  <a:pt x="2530" y="957"/>
                  <a:pt x="2530" y="957"/>
                </a:cubicBezTo>
                <a:cubicBezTo>
                  <a:pt x="2530" y="959"/>
                  <a:pt x="2530" y="959"/>
                  <a:pt x="2530" y="959"/>
                </a:cubicBezTo>
                <a:cubicBezTo>
                  <a:pt x="2527" y="958"/>
                  <a:pt x="2527" y="958"/>
                  <a:pt x="2527" y="958"/>
                </a:cubicBezTo>
                <a:cubicBezTo>
                  <a:pt x="2527" y="956"/>
                  <a:pt x="2527" y="956"/>
                  <a:pt x="2527" y="956"/>
                </a:cubicBezTo>
                <a:cubicBezTo>
                  <a:pt x="2529" y="955"/>
                  <a:pt x="2529" y="955"/>
                  <a:pt x="2529" y="955"/>
                </a:cubicBezTo>
                <a:cubicBezTo>
                  <a:pt x="2529" y="956"/>
                  <a:pt x="2529" y="956"/>
                  <a:pt x="2529" y="956"/>
                </a:cubicBezTo>
                <a:cubicBezTo>
                  <a:pt x="2529" y="955"/>
                  <a:pt x="2529" y="955"/>
                  <a:pt x="2529" y="955"/>
                </a:cubicBezTo>
                <a:cubicBezTo>
                  <a:pt x="2530" y="954"/>
                  <a:pt x="2530" y="954"/>
                  <a:pt x="2530" y="954"/>
                </a:cubicBezTo>
                <a:cubicBezTo>
                  <a:pt x="2529" y="950"/>
                  <a:pt x="2529" y="950"/>
                  <a:pt x="2529" y="950"/>
                </a:cubicBezTo>
                <a:cubicBezTo>
                  <a:pt x="2528" y="950"/>
                  <a:pt x="2528" y="950"/>
                  <a:pt x="2528" y="950"/>
                </a:cubicBezTo>
                <a:cubicBezTo>
                  <a:pt x="2528" y="948"/>
                  <a:pt x="2528" y="948"/>
                  <a:pt x="2528" y="948"/>
                </a:cubicBezTo>
                <a:cubicBezTo>
                  <a:pt x="2527" y="946"/>
                  <a:pt x="2527" y="946"/>
                  <a:pt x="2527" y="946"/>
                </a:cubicBezTo>
                <a:cubicBezTo>
                  <a:pt x="2526" y="945"/>
                  <a:pt x="2526" y="945"/>
                  <a:pt x="2526" y="945"/>
                </a:cubicBezTo>
                <a:cubicBezTo>
                  <a:pt x="2526" y="946"/>
                  <a:pt x="2526" y="946"/>
                  <a:pt x="2526" y="946"/>
                </a:cubicBezTo>
                <a:cubicBezTo>
                  <a:pt x="2526" y="947"/>
                  <a:pt x="2526" y="947"/>
                  <a:pt x="2526" y="947"/>
                </a:cubicBezTo>
                <a:cubicBezTo>
                  <a:pt x="2525" y="947"/>
                  <a:pt x="2525" y="947"/>
                  <a:pt x="2525" y="947"/>
                </a:cubicBezTo>
                <a:cubicBezTo>
                  <a:pt x="2524" y="945"/>
                  <a:pt x="2524" y="945"/>
                  <a:pt x="2524" y="945"/>
                </a:cubicBezTo>
                <a:cubicBezTo>
                  <a:pt x="2523" y="944"/>
                  <a:pt x="2523" y="944"/>
                  <a:pt x="2523" y="944"/>
                </a:cubicBezTo>
                <a:cubicBezTo>
                  <a:pt x="2523" y="942"/>
                  <a:pt x="2523" y="942"/>
                  <a:pt x="2523" y="942"/>
                </a:cubicBezTo>
                <a:cubicBezTo>
                  <a:pt x="2522" y="941"/>
                  <a:pt x="2522" y="941"/>
                  <a:pt x="2522" y="941"/>
                </a:cubicBezTo>
                <a:cubicBezTo>
                  <a:pt x="2522" y="939"/>
                  <a:pt x="2522" y="939"/>
                  <a:pt x="2522" y="939"/>
                </a:cubicBezTo>
                <a:cubicBezTo>
                  <a:pt x="2521" y="938"/>
                  <a:pt x="2521" y="938"/>
                  <a:pt x="2521" y="938"/>
                </a:cubicBezTo>
                <a:cubicBezTo>
                  <a:pt x="2520" y="938"/>
                  <a:pt x="2520" y="938"/>
                  <a:pt x="2520" y="938"/>
                </a:cubicBezTo>
                <a:cubicBezTo>
                  <a:pt x="2519" y="937"/>
                  <a:pt x="2519" y="937"/>
                  <a:pt x="2519" y="937"/>
                </a:cubicBezTo>
                <a:cubicBezTo>
                  <a:pt x="2518" y="938"/>
                  <a:pt x="2518" y="938"/>
                  <a:pt x="2518" y="938"/>
                </a:cubicBezTo>
                <a:cubicBezTo>
                  <a:pt x="2518" y="939"/>
                  <a:pt x="2518" y="939"/>
                  <a:pt x="2518" y="939"/>
                </a:cubicBezTo>
                <a:cubicBezTo>
                  <a:pt x="2517" y="939"/>
                  <a:pt x="2517" y="939"/>
                  <a:pt x="2517" y="939"/>
                </a:cubicBezTo>
                <a:cubicBezTo>
                  <a:pt x="2516" y="939"/>
                  <a:pt x="2516" y="939"/>
                  <a:pt x="2516" y="939"/>
                </a:cubicBezTo>
                <a:cubicBezTo>
                  <a:pt x="2517" y="937"/>
                  <a:pt x="2517" y="937"/>
                  <a:pt x="2517" y="937"/>
                </a:cubicBezTo>
                <a:cubicBezTo>
                  <a:pt x="2515" y="934"/>
                  <a:pt x="2515" y="934"/>
                  <a:pt x="2515" y="934"/>
                </a:cubicBezTo>
                <a:cubicBezTo>
                  <a:pt x="2515" y="933"/>
                  <a:pt x="2515" y="933"/>
                  <a:pt x="2515" y="933"/>
                </a:cubicBezTo>
                <a:cubicBezTo>
                  <a:pt x="2515" y="930"/>
                  <a:pt x="2515" y="930"/>
                  <a:pt x="2515" y="930"/>
                </a:cubicBezTo>
                <a:cubicBezTo>
                  <a:pt x="2515" y="930"/>
                  <a:pt x="2515" y="930"/>
                  <a:pt x="2515" y="930"/>
                </a:cubicBezTo>
                <a:cubicBezTo>
                  <a:pt x="2516" y="928"/>
                  <a:pt x="2516" y="928"/>
                  <a:pt x="2516" y="928"/>
                </a:cubicBezTo>
                <a:cubicBezTo>
                  <a:pt x="2515" y="928"/>
                  <a:pt x="2515" y="928"/>
                  <a:pt x="2515" y="928"/>
                </a:cubicBezTo>
                <a:cubicBezTo>
                  <a:pt x="2514" y="928"/>
                  <a:pt x="2514" y="928"/>
                  <a:pt x="2514" y="928"/>
                </a:cubicBezTo>
                <a:cubicBezTo>
                  <a:pt x="2515" y="926"/>
                  <a:pt x="2515" y="926"/>
                  <a:pt x="2515" y="926"/>
                </a:cubicBezTo>
                <a:cubicBezTo>
                  <a:pt x="2515" y="923"/>
                  <a:pt x="2515" y="923"/>
                  <a:pt x="2515" y="923"/>
                </a:cubicBezTo>
                <a:cubicBezTo>
                  <a:pt x="2518" y="920"/>
                  <a:pt x="2518" y="920"/>
                  <a:pt x="2518" y="920"/>
                </a:cubicBezTo>
                <a:cubicBezTo>
                  <a:pt x="2518" y="913"/>
                  <a:pt x="2518" y="913"/>
                  <a:pt x="2518" y="913"/>
                </a:cubicBezTo>
                <a:cubicBezTo>
                  <a:pt x="2520" y="911"/>
                  <a:pt x="2520" y="911"/>
                  <a:pt x="2520" y="911"/>
                </a:cubicBezTo>
                <a:cubicBezTo>
                  <a:pt x="2520" y="908"/>
                  <a:pt x="2520" y="908"/>
                  <a:pt x="2520" y="908"/>
                </a:cubicBezTo>
                <a:cubicBezTo>
                  <a:pt x="2521" y="907"/>
                  <a:pt x="2521" y="907"/>
                  <a:pt x="2521" y="907"/>
                </a:cubicBezTo>
                <a:cubicBezTo>
                  <a:pt x="2522" y="904"/>
                  <a:pt x="2522" y="904"/>
                  <a:pt x="2522" y="904"/>
                </a:cubicBezTo>
                <a:cubicBezTo>
                  <a:pt x="2521" y="903"/>
                  <a:pt x="2521" y="903"/>
                  <a:pt x="2521" y="903"/>
                </a:cubicBezTo>
                <a:cubicBezTo>
                  <a:pt x="2521" y="902"/>
                  <a:pt x="2521" y="902"/>
                  <a:pt x="2521" y="902"/>
                </a:cubicBezTo>
                <a:cubicBezTo>
                  <a:pt x="2521" y="900"/>
                  <a:pt x="2521" y="900"/>
                  <a:pt x="2521" y="900"/>
                </a:cubicBezTo>
                <a:cubicBezTo>
                  <a:pt x="2522" y="898"/>
                  <a:pt x="2522" y="898"/>
                  <a:pt x="2522" y="898"/>
                </a:cubicBezTo>
                <a:cubicBezTo>
                  <a:pt x="2522" y="896"/>
                  <a:pt x="2522" y="896"/>
                  <a:pt x="2522" y="896"/>
                </a:cubicBezTo>
                <a:cubicBezTo>
                  <a:pt x="2520" y="895"/>
                  <a:pt x="2520" y="895"/>
                  <a:pt x="2520" y="895"/>
                </a:cubicBezTo>
                <a:cubicBezTo>
                  <a:pt x="2521" y="894"/>
                  <a:pt x="2521" y="894"/>
                  <a:pt x="2521" y="894"/>
                </a:cubicBezTo>
                <a:cubicBezTo>
                  <a:pt x="2521" y="893"/>
                  <a:pt x="2521" y="893"/>
                  <a:pt x="2521" y="893"/>
                </a:cubicBezTo>
                <a:cubicBezTo>
                  <a:pt x="2521" y="894"/>
                  <a:pt x="2521" y="894"/>
                  <a:pt x="2521" y="894"/>
                </a:cubicBezTo>
                <a:cubicBezTo>
                  <a:pt x="2522" y="894"/>
                  <a:pt x="2522" y="894"/>
                  <a:pt x="2522" y="894"/>
                </a:cubicBezTo>
                <a:cubicBezTo>
                  <a:pt x="2523" y="893"/>
                  <a:pt x="2523" y="893"/>
                  <a:pt x="2523" y="893"/>
                </a:cubicBezTo>
                <a:cubicBezTo>
                  <a:pt x="2524" y="894"/>
                  <a:pt x="2524" y="894"/>
                  <a:pt x="2524" y="894"/>
                </a:cubicBezTo>
                <a:cubicBezTo>
                  <a:pt x="2525" y="893"/>
                  <a:pt x="2525" y="893"/>
                  <a:pt x="2525" y="893"/>
                </a:cubicBezTo>
                <a:cubicBezTo>
                  <a:pt x="2527" y="893"/>
                  <a:pt x="2527" y="893"/>
                  <a:pt x="2527" y="893"/>
                </a:cubicBezTo>
                <a:cubicBezTo>
                  <a:pt x="2527" y="893"/>
                  <a:pt x="2527" y="893"/>
                  <a:pt x="2527" y="893"/>
                </a:cubicBezTo>
                <a:cubicBezTo>
                  <a:pt x="2528" y="893"/>
                  <a:pt x="2528" y="893"/>
                  <a:pt x="2528" y="893"/>
                </a:cubicBezTo>
                <a:cubicBezTo>
                  <a:pt x="2528" y="893"/>
                  <a:pt x="2528" y="893"/>
                  <a:pt x="2528" y="893"/>
                </a:cubicBezTo>
                <a:cubicBezTo>
                  <a:pt x="2530" y="894"/>
                  <a:pt x="2530" y="894"/>
                  <a:pt x="2530" y="894"/>
                </a:cubicBezTo>
                <a:cubicBezTo>
                  <a:pt x="2531" y="895"/>
                  <a:pt x="2531" y="895"/>
                  <a:pt x="2531" y="895"/>
                </a:cubicBezTo>
                <a:cubicBezTo>
                  <a:pt x="2530" y="896"/>
                  <a:pt x="2530" y="896"/>
                  <a:pt x="2530" y="896"/>
                </a:cubicBezTo>
                <a:cubicBezTo>
                  <a:pt x="2530" y="898"/>
                  <a:pt x="2530" y="898"/>
                  <a:pt x="2530" y="898"/>
                </a:cubicBezTo>
                <a:cubicBezTo>
                  <a:pt x="2531" y="900"/>
                  <a:pt x="2531" y="900"/>
                  <a:pt x="2531" y="900"/>
                </a:cubicBezTo>
                <a:cubicBezTo>
                  <a:pt x="2530" y="901"/>
                  <a:pt x="2530" y="901"/>
                  <a:pt x="2530" y="901"/>
                </a:cubicBezTo>
                <a:cubicBezTo>
                  <a:pt x="2530" y="902"/>
                  <a:pt x="2530" y="902"/>
                  <a:pt x="2530" y="902"/>
                </a:cubicBezTo>
                <a:cubicBezTo>
                  <a:pt x="2531" y="902"/>
                  <a:pt x="2531" y="902"/>
                  <a:pt x="2531" y="902"/>
                </a:cubicBezTo>
                <a:cubicBezTo>
                  <a:pt x="2533" y="903"/>
                  <a:pt x="2533" y="903"/>
                  <a:pt x="2533" y="903"/>
                </a:cubicBezTo>
                <a:cubicBezTo>
                  <a:pt x="2535" y="902"/>
                  <a:pt x="2535" y="902"/>
                  <a:pt x="2535" y="902"/>
                </a:cubicBezTo>
                <a:cubicBezTo>
                  <a:pt x="2537" y="903"/>
                  <a:pt x="2537" y="903"/>
                  <a:pt x="2537" y="903"/>
                </a:cubicBezTo>
                <a:cubicBezTo>
                  <a:pt x="2538" y="903"/>
                  <a:pt x="2538" y="903"/>
                  <a:pt x="2538" y="903"/>
                </a:cubicBezTo>
                <a:cubicBezTo>
                  <a:pt x="2538" y="903"/>
                  <a:pt x="2538" y="903"/>
                  <a:pt x="2538" y="903"/>
                </a:cubicBezTo>
                <a:cubicBezTo>
                  <a:pt x="2538" y="902"/>
                  <a:pt x="2538" y="902"/>
                  <a:pt x="2538" y="902"/>
                </a:cubicBezTo>
                <a:cubicBezTo>
                  <a:pt x="2539" y="901"/>
                  <a:pt x="2539" y="901"/>
                  <a:pt x="2539" y="901"/>
                </a:cubicBezTo>
                <a:cubicBezTo>
                  <a:pt x="2540" y="902"/>
                  <a:pt x="2540" y="902"/>
                  <a:pt x="2540" y="902"/>
                </a:cubicBezTo>
                <a:cubicBezTo>
                  <a:pt x="2543" y="905"/>
                  <a:pt x="2543" y="905"/>
                  <a:pt x="2543" y="905"/>
                </a:cubicBezTo>
                <a:cubicBezTo>
                  <a:pt x="2544" y="905"/>
                  <a:pt x="2544" y="905"/>
                  <a:pt x="2544" y="905"/>
                </a:cubicBezTo>
                <a:cubicBezTo>
                  <a:pt x="2544" y="906"/>
                  <a:pt x="2544" y="906"/>
                  <a:pt x="2544" y="906"/>
                </a:cubicBezTo>
                <a:cubicBezTo>
                  <a:pt x="2545" y="906"/>
                  <a:pt x="2545" y="906"/>
                  <a:pt x="2545" y="906"/>
                </a:cubicBezTo>
                <a:cubicBezTo>
                  <a:pt x="2547" y="908"/>
                  <a:pt x="2547" y="908"/>
                  <a:pt x="2547" y="908"/>
                </a:cubicBezTo>
                <a:cubicBezTo>
                  <a:pt x="2547" y="908"/>
                  <a:pt x="2547" y="908"/>
                  <a:pt x="2547" y="908"/>
                </a:cubicBezTo>
                <a:cubicBezTo>
                  <a:pt x="2548" y="908"/>
                  <a:pt x="2548" y="908"/>
                  <a:pt x="2548" y="908"/>
                </a:cubicBezTo>
                <a:cubicBezTo>
                  <a:pt x="2548" y="907"/>
                  <a:pt x="2548" y="907"/>
                  <a:pt x="2548" y="907"/>
                </a:cubicBezTo>
                <a:cubicBezTo>
                  <a:pt x="2549" y="907"/>
                  <a:pt x="2549" y="907"/>
                  <a:pt x="2549" y="907"/>
                </a:cubicBezTo>
                <a:cubicBezTo>
                  <a:pt x="2549" y="907"/>
                  <a:pt x="2549" y="907"/>
                  <a:pt x="2549" y="907"/>
                </a:cubicBezTo>
                <a:cubicBezTo>
                  <a:pt x="2550" y="909"/>
                  <a:pt x="2550" y="909"/>
                  <a:pt x="2550" y="909"/>
                </a:cubicBezTo>
                <a:cubicBezTo>
                  <a:pt x="2550" y="910"/>
                  <a:pt x="2550" y="910"/>
                  <a:pt x="2550" y="910"/>
                </a:cubicBezTo>
                <a:cubicBezTo>
                  <a:pt x="2552" y="912"/>
                  <a:pt x="2552" y="912"/>
                  <a:pt x="2552" y="912"/>
                </a:cubicBezTo>
                <a:cubicBezTo>
                  <a:pt x="2552" y="914"/>
                  <a:pt x="2552" y="914"/>
                  <a:pt x="2552" y="914"/>
                </a:cubicBezTo>
                <a:cubicBezTo>
                  <a:pt x="2553" y="916"/>
                  <a:pt x="2553" y="916"/>
                  <a:pt x="2553" y="916"/>
                </a:cubicBezTo>
                <a:cubicBezTo>
                  <a:pt x="2554" y="915"/>
                  <a:pt x="2554" y="915"/>
                  <a:pt x="2554" y="915"/>
                </a:cubicBezTo>
                <a:cubicBezTo>
                  <a:pt x="2555" y="917"/>
                  <a:pt x="2555" y="917"/>
                  <a:pt x="2555" y="917"/>
                </a:cubicBezTo>
                <a:cubicBezTo>
                  <a:pt x="2554" y="918"/>
                  <a:pt x="2554" y="918"/>
                  <a:pt x="2554" y="918"/>
                </a:cubicBezTo>
                <a:cubicBezTo>
                  <a:pt x="2555" y="920"/>
                  <a:pt x="2555" y="920"/>
                  <a:pt x="2555" y="920"/>
                </a:cubicBezTo>
                <a:cubicBezTo>
                  <a:pt x="2555" y="921"/>
                  <a:pt x="2555" y="921"/>
                  <a:pt x="2555" y="921"/>
                </a:cubicBezTo>
                <a:cubicBezTo>
                  <a:pt x="2557" y="921"/>
                  <a:pt x="2557" y="921"/>
                  <a:pt x="2557" y="921"/>
                </a:cubicBezTo>
                <a:cubicBezTo>
                  <a:pt x="2558" y="921"/>
                  <a:pt x="2558" y="921"/>
                  <a:pt x="2558" y="921"/>
                </a:cubicBezTo>
                <a:cubicBezTo>
                  <a:pt x="2558" y="919"/>
                  <a:pt x="2558" y="919"/>
                  <a:pt x="2558" y="919"/>
                </a:cubicBezTo>
                <a:cubicBezTo>
                  <a:pt x="2559" y="918"/>
                  <a:pt x="2559" y="918"/>
                  <a:pt x="2559" y="918"/>
                </a:cubicBezTo>
                <a:cubicBezTo>
                  <a:pt x="2560" y="918"/>
                  <a:pt x="2560" y="918"/>
                  <a:pt x="2560" y="918"/>
                </a:cubicBezTo>
                <a:cubicBezTo>
                  <a:pt x="2560" y="919"/>
                  <a:pt x="2560" y="919"/>
                  <a:pt x="2560" y="919"/>
                </a:cubicBezTo>
                <a:cubicBezTo>
                  <a:pt x="2561" y="920"/>
                  <a:pt x="2561" y="920"/>
                  <a:pt x="2561" y="920"/>
                </a:cubicBezTo>
                <a:cubicBezTo>
                  <a:pt x="2561" y="922"/>
                  <a:pt x="2561" y="922"/>
                  <a:pt x="2561" y="922"/>
                </a:cubicBezTo>
                <a:cubicBezTo>
                  <a:pt x="2560" y="923"/>
                  <a:pt x="2560" y="923"/>
                  <a:pt x="2560" y="923"/>
                </a:cubicBezTo>
                <a:cubicBezTo>
                  <a:pt x="2560" y="924"/>
                  <a:pt x="2560" y="924"/>
                  <a:pt x="2560" y="924"/>
                </a:cubicBezTo>
                <a:cubicBezTo>
                  <a:pt x="2560" y="925"/>
                  <a:pt x="2560" y="925"/>
                  <a:pt x="2560" y="925"/>
                </a:cubicBezTo>
                <a:cubicBezTo>
                  <a:pt x="2562" y="925"/>
                  <a:pt x="2562" y="925"/>
                  <a:pt x="2562" y="925"/>
                </a:cubicBezTo>
                <a:cubicBezTo>
                  <a:pt x="2563" y="923"/>
                  <a:pt x="2563" y="923"/>
                  <a:pt x="2563" y="923"/>
                </a:cubicBezTo>
                <a:cubicBezTo>
                  <a:pt x="2563" y="923"/>
                  <a:pt x="2563" y="923"/>
                  <a:pt x="2563" y="923"/>
                </a:cubicBezTo>
                <a:cubicBezTo>
                  <a:pt x="2565" y="924"/>
                  <a:pt x="2565" y="924"/>
                  <a:pt x="2565" y="924"/>
                </a:cubicBezTo>
                <a:cubicBezTo>
                  <a:pt x="2567" y="924"/>
                  <a:pt x="2567" y="924"/>
                  <a:pt x="2567" y="924"/>
                </a:cubicBezTo>
                <a:cubicBezTo>
                  <a:pt x="2567" y="924"/>
                  <a:pt x="2567" y="924"/>
                  <a:pt x="2567" y="924"/>
                </a:cubicBezTo>
                <a:cubicBezTo>
                  <a:pt x="2569" y="925"/>
                  <a:pt x="2569" y="925"/>
                  <a:pt x="2569" y="925"/>
                </a:cubicBezTo>
                <a:cubicBezTo>
                  <a:pt x="2569" y="926"/>
                  <a:pt x="2569" y="926"/>
                  <a:pt x="2569" y="926"/>
                </a:cubicBezTo>
                <a:cubicBezTo>
                  <a:pt x="2570" y="927"/>
                  <a:pt x="2570" y="927"/>
                  <a:pt x="2570" y="927"/>
                </a:cubicBezTo>
                <a:cubicBezTo>
                  <a:pt x="2569" y="928"/>
                  <a:pt x="2569" y="928"/>
                  <a:pt x="2569" y="928"/>
                </a:cubicBezTo>
                <a:cubicBezTo>
                  <a:pt x="2571" y="928"/>
                  <a:pt x="2571" y="928"/>
                  <a:pt x="2571" y="928"/>
                </a:cubicBezTo>
                <a:cubicBezTo>
                  <a:pt x="2572" y="928"/>
                  <a:pt x="2572" y="928"/>
                  <a:pt x="2572" y="928"/>
                </a:cubicBezTo>
                <a:cubicBezTo>
                  <a:pt x="2573" y="929"/>
                  <a:pt x="2573" y="929"/>
                  <a:pt x="2573" y="929"/>
                </a:cubicBezTo>
                <a:cubicBezTo>
                  <a:pt x="2575" y="928"/>
                  <a:pt x="2575" y="928"/>
                  <a:pt x="2575" y="928"/>
                </a:cubicBezTo>
                <a:cubicBezTo>
                  <a:pt x="2577" y="928"/>
                  <a:pt x="2577" y="928"/>
                  <a:pt x="2577" y="928"/>
                </a:cubicBezTo>
                <a:cubicBezTo>
                  <a:pt x="2578" y="928"/>
                  <a:pt x="2578" y="928"/>
                  <a:pt x="2578" y="928"/>
                </a:cubicBezTo>
                <a:cubicBezTo>
                  <a:pt x="2577" y="929"/>
                  <a:pt x="2577" y="929"/>
                  <a:pt x="2577" y="929"/>
                </a:cubicBezTo>
                <a:cubicBezTo>
                  <a:pt x="2575" y="931"/>
                  <a:pt x="2575" y="931"/>
                  <a:pt x="2575" y="931"/>
                </a:cubicBezTo>
                <a:cubicBezTo>
                  <a:pt x="2573" y="934"/>
                  <a:pt x="2573" y="934"/>
                  <a:pt x="2573" y="934"/>
                </a:cubicBezTo>
                <a:cubicBezTo>
                  <a:pt x="2573" y="937"/>
                  <a:pt x="2573" y="937"/>
                  <a:pt x="2573" y="937"/>
                </a:cubicBezTo>
                <a:cubicBezTo>
                  <a:pt x="2573" y="938"/>
                  <a:pt x="2573" y="938"/>
                  <a:pt x="2573" y="938"/>
                </a:cubicBezTo>
                <a:cubicBezTo>
                  <a:pt x="2573" y="938"/>
                  <a:pt x="2573" y="938"/>
                  <a:pt x="2573" y="938"/>
                </a:cubicBezTo>
                <a:cubicBezTo>
                  <a:pt x="2573" y="939"/>
                  <a:pt x="2573" y="939"/>
                  <a:pt x="2573" y="939"/>
                </a:cubicBezTo>
                <a:cubicBezTo>
                  <a:pt x="2573" y="942"/>
                  <a:pt x="2573" y="942"/>
                  <a:pt x="2573" y="942"/>
                </a:cubicBezTo>
                <a:cubicBezTo>
                  <a:pt x="2574" y="942"/>
                  <a:pt x="2574" y="942"/>
                  <a:pt x="2574" y="942"/>
                </a:cubicBezTo>
                <a:cubicBezTo>
                  <a:pt x="2575" y="942"/>
                  <a:pt x="2575" y="942"/>
                  <a:pt x="2575" y="942"/>
                </a:cubicBezTo>
                <a:cubicBezTo>
                  <a:pt x="2574" y="943"/>
                  <a:pt x="2574" y="943"/>
                  <a:pt x="2574" y="943"/>
                </a:cubicBezTo>
                <a:cubicBezTo>
                  <a:pt x="2573" y="944"/>
                  <a:pt x="2573" y="944"/>
                  <a:pt x="2573" y="944"/>
                </a:cubicBezTo>
                <a:cubicBezTo>
                  <a:pt x="2571" y="945"/>
                  <a:pt x="2571" y="945"/>
                  <a:pt x="2571" y="945"/>
                </a:cubicBezTo>
                <a:cubicBezTo>
                  <a:pt x="2573" y="945"/>
                  <a:pt x="2573" y="945"/>
                  <a:pt x="2573" y="945"/>
                </a:cubicBezTo>
                <a:cubicBezTo>
                  <a:pt x="2578" y="943"/>
                  <a:pt x="2578" y="943"/>
                  <a:pt x="2578" y="943"/>
                </a:cubicBezTo>
                <a:cubicBezTo>
                  <a:pt x="2578" y="943"/>
                  <a:pt x="2578" y="943"/>
                  <a:pt x="2578" y="943"/>
                </a:cubicBezTo>
                <a:cubicBezTo>
                  <a:pt x="2578" y="943"/>
                  <a:pt x="2578" y="943"/>
                  <a:pt x="2578" y="943"/>
                </a:cubicBezTo>
                <a:cubicBezTo>
                  <a:pt x="2580" y="942"/>
                  <a:pt x="2580" y="942"/>
                  <a:pt x="2580" y="942"/>
                </a:cubicBezTo>
                <a:cubicBezTo>
                  <a:pt x="2580" y="939"/>
                  <a:pt x="2580" y="939"/>
                  <a:pt x="2580" y="939"/>
                </a:cubicBezTo>
                <a:cubicBezTo>
                  <a:pt x="2580" y="938"/>
                  <a:pt x="2580" y="938"/>
                  <a:pt x="2580" y="938"/>
                </a:cubicBezTo>
                <a:cubicBezTo>
                  <a:pt x="2582" y="939"/>
                  <a:pt x="2582" y="939"/>
                  <a:pt x="2582" y="939"/>
                </a:cubicBezTo>
                <a:cubicBezTo>
                  <a:pt x="2582" y="938"/>
                  <a:pt x="2582" y="938"/>
                  <a:pt x="2582" y="938"/>
                </a:cubicBezTo>
                <a:cubicBezTo>
                  <a:pt x="2584" y="936"/>
                  <a:pt x="2584" y="936"/>
                  <a:pt x="2584" y="936"/>
                </a:cubicBezTo>
                <a:cubicBezTo>
                  <a:pt x="2585" y="936"/>
                  <a:pt x="2585" y="936"/>
                  <a:pt x="2585" y="936"/>
                </a:cubicBezTo>
                <a:cubicBezTo>
                  <a:pt x="2586" y="935"/>
                  <a:pt x="2586" y="935"/>
                  <a:pt x="2586" y="935"/>
                </a:cubicBezTo>
                <a:cubicBezTo>
                  <a:pt x="2587" y="935"/>
                  <a:pt x="2587" y="935"/>
                  <a:pt x="2587" y="935"/>
                </a:cubicBezTo>
                <a:cubicBezTo>
                  <a:pt x="2586" y="934"/>
                  <a:pt x="2586" y="934"/>
                  <a:pt x="2586" y="934"/>
                </a:cubicBezTo>
                <a:cubicBezTo>
                  <a:pt x="2586" y="934"/>
                  <a:pt x="2586" y="934"/>
                  <a:pt x="2586" y="934"/>
                </a:cubicBezTo>
                <a:cubicBezTo>
                  <a:pt x="2586" y="932"/>
                  <a:pt x="2586" y="932"/>
                  <a:pt x="2586" y="932"/>
                </a:cubicBezTo>
                <a:cubicBezTo>
                  <a:pt x="2587" y="932"/>
                  <a:pt x="2587" y="932"/>
                  <a:pt x="2587" y="932"/>
                </a:cubicBezTo>
                <a:cubicBezTo>
                  <a:pt x="2588" y="933"/>
                  <a:pt x="2588" y="933"/>
                  <a:pt x="2588" y="933"/>
                </a:cubicBezTo>
                <a:cubicBezTo>
                  <a:pt x="2589" y="934"/>
                  <a:pt x="2589" y="934"/>
                  <a:pt x="2589" y="934"/>
                </a:cubicBezTo>
                <a:cubicBezTo>
                  <a:pt x="2590" y="932"/>
                  <a:pt x="2590" y="932"/>
                  <a:pt x="2590" y="932"/>
                </a:cubicBezTo>
                <a:cubicBezTo>
                  <a:pt x="2590" y="931"/>
                  <a:pt x="2590" y="931"/>
                  <a:pt x="2590" y="931"/>
                </a:cubicBezTo>
                <a:cubicBezTo>
                  <a:pt x="2588" y="929"/>
                  <a:pt x="2588" y="929"/>
                  <a:pt x="2588" y="929"/>
                </a:cubicBezTo>
                <a:cubicBezTo>
                  <a:pt x="2590" y="931"/>
                  <a:pt x="2590" y="931"/>
                  <a:pt x="2590" y="931"/>
                </a:cubicBezTo>
                <a:cubicBezTo>
                  <a:pt x="2592" y="930"/>
                  <a:pt x="2592" y="930"/>
                  <a:pt x="2592" y="930"/>
                </a:cubicBezTo>
                <a:cubicBezTo>
                  <a:pt x="2591" y="929"/>
                  <a:pt x="2591" y="929"/>
                  <a:pt x="2591" y="929"/>
                </a:cubicBezTo>
                <a:cubicBezTo>
                  <a:pt x="2591" y="928"/>
                  <a:pt x="2591" y="928"/>
                  <a:pt x="2591" y="928"/>
                </a:cubicBezTo>
                <a:cubicBezTo>
                  <a:pt x="2589" y="927"/>
                  <a:pt x="2589" y="927"/>
                  <a:pt x="2589" y="927"/>
                </a:cubicBezTo>
                <a:cubicBezTo>
                  <a:pt x="2590" y="927"/>
                  <a:pt x="2590" y="927"/>
                  <a:pt x="2590" y="927"/>
                </a:cubicBezTo>
                <a:cubicBezTo>
                  <a:pt x="2591" y="926"/>
                  <a:pt x="2591" y="926"/>
                  <a:pt x="2591" y="926"/>
                </a:cubicBezTo>
                <a:cubicBezTo>
                  <a:pt x="2591" y="926"/>
                  <a:pt x="2591" y="926"/>
                  <a:pt x="2591" y="926"/>
                </a:cubicBezTo>
                <a:cubicBezTo>
                  <a:pt x="2590" y="925"/>
                  <a:pt x="2590" y="925"/>
                  <a:pt x="2590" y="925"/>
                </a:cubicBezTo>
                <a:cubicBezTo>
                  <a:pt x="2591" y="925"/>
                  <a:pt x="2591" y="925"/>
                  <a:pt x="2591" y="925"/>
                </a:cubicBezTo>
                <a:cubicBezTo>
                  <a:pt x="2592" y="925"/>
                  <a:pt x="2592" y="925"/>
                  <a:pt x="2592" y="925"/>
                </a:cubicBezTo>
                <a:cubicBezTo>
                  <a:pt x="2592" y="924"/>
                  <a:pt x="2592" y="924"/>
                  <a:pt x="2592" y="924"/>
                </a:cubicBezTo>
                <a:cubicBezTo>
                  <a:pt x="2592" y="925"/>
                  <a:pt x="2592" y="925"/>
                  <a:pt x="2592" y="925"/>
                </a:cubicBezTo>
                <a:cubicBezTo>
                  <a:pt x="2592" y="926"/>
                  <a:pt x="2592" y="926"/>
                  <a:pt x="2592" y="926"/>
                </a:cubicBezTo>
                <a:cubicBezTo>
                  <a:pt x="2592" y="926"/>
                  <a:pt x="2592" y="926"/>
                  <a:pt x="2592" y="926"/>
                </a:cubicBezTo>
                <a:cubicBezTo>
                  <a:pt x="2594" y="926"/>
                  <a:pt x="2594" y="926"/>
                  <a:pt x="2594" y="926"/>
                </a:cubicBezTo>
                <a:cubicBezTo>
                  <a:pt x="2595" y="926"/>
                  <a:pt x="2595" y="926"/>
                  <a:pt x="2595" y="926"/>
                </a:cubicBezTo>
                <a:cubicBezTo>
                  <a:pt x="2598" y="926"/>
                  <a:pt x="2598" y="926"/>
                  <a:pt x="2598" y="926"/>
                </a:cubicBezTo>
                <a:cubicBezTo>
                  <a:pt x="2602" y="924"/>
                  <a:pt x="2602" y="924"/>
                  <a:pt x="2602" y="924"/>
                </a:cubicBezTo>
                <a:cubicBezTo>
                  <a:pt x="2604" y="922"/>
                  <a:pt x="2604" y="922"/>
                  <a:pt x="2604" y="922"/>
                </a:cubicBezTo>
                <a:cubicBezTo>
                  <a:pt x="2605" y="922"/>
                  <a:pt x="2605" y="922"/>
                  <a:pt x="2605" y="922"/>
                </a:cubicBezTo>
                <a:cubicBezTo>
                  <a:pt x="2606" y="921"/>
                  <a:pt x="2606" y="921"/>
                  <a:pt x="2606" y="921"/>
                </a:cubicBezTo>
                <a:cubicBezTo>
                  <a:pt x="2608" y="919"/>
                  <a:pt x="2608" y="919"/>
                  <a:pt x="2608" y="919"/>
                </a:cubicBezTo>
                <a:cubicBezTo>
                  <a:pt x="2609" y="918"/>
                  <a:pt x="2609" y="918"/>
                  <a:pt x="2609" y="918"/>
                </a:cubicBezTo>
                <a:cubicBezTo>
                  <a:pt x="2612" y="916"/>
                  <a:pt x="2612" y="916"/>
                  <a:pt x="2612" y="916"/>
                </a:cubicBezTo>
                <a:cubicBezTo>
                  <a:pt x="2613" y="916"/>
                  <a:pt x="2613" y="916"/>
                  <a:pt x="2613" y="916"/>
                </a:cubicBezTo>
                <a:cubicBezTo>
                  <a:pt x="2613" y="913"/>
                  <a:pt x="2613" y="913"/>
                  <a:pt x="2613" y="913"/>
                </a:cubicBezTo>
                <a:cubicBezTo>
                  <a:pt x="2614" y="913"/>
                  <a:pt x="2614" y="913"/>
                  <a:pt x="2614" y="913"/>
                </a:cubicBezTo>
                <a:cubicBezTo>
                  <a:pt x="2615" y="912"/>
                  <a:pt x="2615" y="912"/>
                  <a:pt x="2615" y="912"/>
                </a:cubicBezTo>
                <a:cubicBezTo>
                  <a:pt x="2615" y="911"/>
                  <a:pt x="2615" y="911"/>
                  <a:pt x="2615" y="911"/>
                </a:cubicBezTo>
                <a:cubicBezTo>
                  <a:pt x="2615" y="909"/>
                  <a:pt x="2615" y="909"/>
                  <a:pt x="2615" y="909"/>
                </a:cubicBezTo>
                <a:cubicBezTo>
                  <a:pt x="2614" y="907"/>
                  <a:pt x="2614" y="907"/>
                  <a:pt x="2614" y="907"/>
                </a:cubicBezTo>
                <a:cubicBezTo>
                  <a:pt x="2616" y="906"/>
                  <a:pt x="2616" y="906"/>
                  <a:pt x="2616" y="906"/>
                </a:cubicBezTo>
                <a:cubicBezTo>
                  <a:pt x="2616" y="904"/>
                  <a:pt x="2616" y="904"/>
                  <a:pt x="2616" y="904"/>
                </a:cubicBezTo>
                <a:cubicBezTo>
                  <a:pt x="2617" y="904"/>
                  <a:pt x="2617" y="904"/>
                  <a:pt x="2617" y="904"/>
                </a:cubicBezTo>
                <a:cubicBezTo>
                  <a:pt x="2617" y="903"/>
                  <a:pt x="2617" y="903"/>
                  <a:pt x="2617" y="903"/>
                </a:cubicBezTo>
                <a:cubicBezTo>
                  <a:pt x="2616" y="902"/>
                  <a:pt x="2616" y="902"/>
                  <a:pt x="2616" y="902"/>
                </a:cubicBezTo>
                <a:cubicBezTo>
                  <a:pt x="2616" y="900"/>
                  <a:pt x="2616" y="900"/>
                  <a:pt x="2616" y="900"/>
                </a:cubicBezTo>
                <a:cubicBezTo>
                  <a:pt x="2617" y="900"/>
                  <a:pt x="2617" y="900"/>
                  <a:pt x="2617" y="900"/>
                </a:cubicBezTo>
                <a:cubicBezTo>
                  <a:pt x="2617" y="900"/>
                  <a:pt x="2617" y="900"/>
                  <a:pt x="2617" y="900"/>
                </a:cubicBezTo>
                <a:cubicBezTo>
                  <a:pt x="2617" y="901"/>
                  <a:pt x="2617" y="901"/>
                  <a:pt x="2617" y="901"/>
                </a:cubicBezTo>
                <a:cubicBezTo>
                  <a:pt x="2618" y="901"/>
                  <a:pt x="2618" y="901"/>
                  <a:pt x="2618" y="901"/>
                </a:cubicBezTo>
                <a:cubicBezTo>
                  <a:pt x="2618" y="900"/>
                  <a:pt x="2618" y="900"/>
                  <a:pt x="2618" y="900"/>
                </a:cubicBezTo>
                <a:cubicBezTo>
                  <a:pt x="2617" y="897"/>
                  <a:pt x="2617" y="897"/>
                  <a:pt x="2617" y="897"/>
                </a:cubicBezTo>
                <a:cubicBezTo>
                  <a:pt x="2616" y="896"/>
                  <a:pt x="2616" y="896"/>
                  <a:pt x="2616" y="896"/>
                </a:cubicBezTo>
                <a:cubicBezTo>
                  <a:pt x="2616" y="895"/>
                  <a:pt x="2616" y="895"/>
                  <a:pt x="2616" y="895"/>
                </a:cubicBezTo>
                <a:cubicBezTo>
                  <a:pt x="2615" y="895"/>
                  <a:pt x="2615" y="895"/>
                  <a:pt x="2615" y="895"/>
                </a:cubicBezTo>
                <a:cubicBezTo>
                  <a:pt x="2615" y="892"/>
                  <a:pt x="2615" y="892"/>
                  <a:pt x="2615" y="892"/>
                </a:cubicBezTo>
                <a:cubicBezTo>
                  <a:pt x="2615" y="891"/>
                  <a:pt x="2615" y="891"/>
                  <a:pt x="2615" y="891"/>
                </a:cubicBezTo>
                <a:cubicBezTo>
                  <a:pt x="2615" y="890"/>
                  <a:pt x="2615" y="890"/>
                  <a:pt x="2615" y="890"/>
                </a:cubicBezTo>
                <a:cubicBezTo>
                  <a:pt x="2615" y="888"/>
                  <a:pt x="2615" y="888"/>
                  <a:pt x="2615" y="888"/>
                </a:cubicBezTo>
                <a:cubicBezTo>
                  <a:pt x="2615" y="887"/>
                  <a:pt x="2615" y="887"/>
                  <a:pt x="2615" y="887"/>
                </a:cubicBezTo>
                <a:cubicBezTo>
                  <a:pt x="2614" y="886"/>
                  <a:pt x="2614" y="886"/>
                  <a:pt x="2614" y="886"/>
                </a:cubicBezTo>
                <a:cubicBezTo>
                  <a:pt x="2613" y="883"/>
                  <a:pt x="2613" y="883"/>
                  <a:pt x="2613" y="883"/>
                </a:cubicBezTo>
                <a:cubicBezTo>
                  <a:pt x="2613" y="882"/>
                  <a:pt x="2613" y="882"/>
                  <a:pt x="2613" y="882"/>
                </a:cubicBezTo>
                <a:cubicBezTo>
                  <a:pt x="2612" y="878"/>
                  <a:pt x="2612" y="878"/>
                  <a:pt x="2612" y="878"/>
                </a:cubicBezTo>
                <a:cubicBezTo>
                  <a:pt x="2610" y="876"/>
                  <a:pt x="2610" y="876"/>
                  <a:pt x="2610" y="876"/>
                </a:cubicBezTo>
                <a:cubicBezTo>
                  <a:pt x="2611" y="875"/>
                  <a:pt x="2611" y="875"/>
                  <a:pt x="2611" y="875"/>
                </a:cubicBezTo>
                <a:cubicBezTo>
                  <a:pt x="2610" y="875"/>
                  <a:pt x="2610" y="875"/>
                  <a:pt x="2610" y="875"/>
                </a:cubicBezTo>
                <a:cubicBezTo>
                  <a:pt x="2610" y="873"/>
                  <a:pt x="2610" y="873"/>
                  <a:pt x="2610" y="873"/>
                </a:cubicBezTo>
                <a:cubicBezTo>
                  <a:pt x="2608" y="871"/>
                  <a:pt x="2608" y="871"/>
                  <a:pt x="2608" y="871"/>
                </a:cubicBezTo>
                <a:cubicBezTo>
                  <a:pt x="2608" y="870"/>
                  <a:pt x="2608" y="870"/>
                  <a:pt x="2608" y="870"/>
                </a:cubicBezTo>
                <a:cubicBezTo>
                  <a:pt x="2607" y="870"/>
                  <a:pt x="2607" y="870"/>
                  <a:pt x="2607" y="870"/>
                </a:cubicBezTo>
                <a:cubicBezTo>
                  <a:pt x="2607" y="868"/>
                  <a:pt x="2607" y="868"/>
                  <a:pt x="2607" y="868"/>
                </a:cubicBezTo>
                <a:cubicBezTo>
                  <a:pt x="2606" y="866"/>
                  <a:pt x="2606" y="866"/>
                  <a:pt x="2606" y="866"/>
                </a:cubicBezTo>
                <a:cubicBezTo>
                  <a:pt x="2601" y="862"/>
                  <a:pt x="2601" y="862"/>
                  <a:pt x="2601" y="862"/>
                </a:cubicBezTo>
                <a:cubicBezTo>
                  <a:pt x="2600" y="860"/>
                  <a:pt x="2600" y="860"/>
                  <a:pt x="2600" y="860"/>
                </a:cubicBezTo>
                <a:cubicBezTo>
                  <a:pt x="2595" y="857"/>
                  <a:pt x="2595" y="857"/>
                  <a:pt x="2595" y="857"/>
                </a:cubicBezTo>
                <a:cubicBezTo>
                  <a:pt x="2590" y="854"/>
                  <a:pt x="2590" y="854"/>
                  <a:pt x="2590" y="854"/>
                </a:cubicBezTo>
                <a:cubicBezTo>
                  <a:pt x="2590" y="853"/>
                  <a:pt x="2590" y="853"/>
                  <a:pt x="2590" y="853"/>
                </a:cubicBezTo>
                <a:cubicBezTo>
                  <a:pt x="2587" y="852"/>
                  <a:pt x="2587" y="852"/>
                  <a:pt x="2587" y="852"/>
                </a:cubicBezTo>
                <a:cubicBezTo>
                  <a:pt x="2583" y="848"/>
                  <a:pt x="2583" y="848"/>
                  <a:pt x="2583" y="848"/>
                </a:cubicBezTo>
                <a:cubicBezTo>
                  <a:pt x="2583" y="847"/>
                  <a:pt x="2583" y="847"/>
                  <a:pt x="2583" y="847"/>
                </a:cubicBezTo>
                <a:cubicBezTo>
                  <a:pt x="2582" y="845"/>
                  <a:pt x="2582" y="845"/>
                  <a:pt x="2582" y="845"/>
                </a:cubicBezTo>
                <a:cubicBezTo>
                  <a:pt x="2583" y="844"/>
                  <a:pt x="2583" y="844"/>
                  <a:pt x="2583" y="844"/>
                </a:cubicBezTo>
                <a:cubicBezTo>
                  <a:pt x="2583" y="843"/>
                  <a:pt x="2583" y="843"/>
                  <a:pt x="2583" y="843"/>
                </a:cubicBezTo>
                <a:cubicBezTo>
                  <a:pt x="2581" y="841"/>
                  <a:pt x="2581" y="841"/>
                  <a:pt x="2581" y="841"/>
                </a:cubicBezTo>
                <a:cubicBezTo>
                  <a:pt x="2580" y="841"/>
                  <a:pt x="2580" y="841"/>
                  <a:pt x="2580" y="841"/>
                </a:cubicBezTo>
                <a:cubicBezTo>
                  <a:pt x="2578" y="838"/>
                  <a:pt x="2578" y="838"/>
                  <a:pt x="2578" y="838"/>
                </a:cubicBezTo>
                <a:cubicBezTo>
                  <a:pt x="2575" y="837"/>
                  <a:pt x="2575" y="837"/>
                  <a:pt x="2575" y="837"/>
                </a:cubicBezTo>
                <a:cubicBezTo>
                  <a:pt x="2573" y="836"/>
                  <a:pt x="2573" y="836"/>
                  <a:pt x="2573" y="836"/>
                </a:cubicBezTo>
                <a:cubicBezTo>
                  <a:pt x="2574" y="836"/>
                  <a:pt x="2574" y="836"/>
                  <a:pt x="2574" y="836"/>
                </a:cubicBezTo>
                <a:cubicBezTo>
                  <a:pt x="2575" y="834"/>
                  <a:pt x="2575" y="834"/>
                  <a:pt x="2575" y="834"/>
                </a:cubicBezTo>
                <a:cubicBezTo>
                  <a:pt x="2573" y="833"/>
                  <a:pt x="2573" y="833"/>
                  <a:pt x="2573" y="833"/>
                </a:cubicBezTo>
                <a:cubicBezTo>
                  <a:pt x="2574" y="831"/>
                  <a:pt x="2574" y="831"/>
                  <a:pt x="2574" y="831"/>
                </a:cubicBezTo>
                <a:cubicBezTo>
                  <a:pt x="2575" y="828"/>
                  <a:pt x="2575" y="828"/>
                  <a:pt x="2575" y="828"/>
                </a:cubicBezTo>
                <a:cubicBezTo>
                  <a:pt x="2574" y="827"/>
                  <a:pt x="2574" y="827"/>
                  <a:pt x="2574" y="827"/>
                </a:cubicBezTo>
                <a:cubicBezTo>
                  <a:pt x="2573" y="826"/>
                  <a:pt x="2573" y="826"/>
                  <a:pt x="2573" y="826"/>
                </a:cubicBezTo>
                <a:cubicBezTo>
                  <a:pt x="2573" y="825"/>
                  <a:pt x="2573" y="825"/>
                  <a:pt x="2573" y="825"/>
                </a:cubicBezTo>
                <a:cubicBezTo>
                  <a:pt x="2574" y="824"/>
                  <a:pt x="2574" y="824"/>
                  <a:pt x="2574" y="824"/>
                </a:cubicBezTo>
                <a:cubicBezTo>
                  <a:pt x="2575" y="822"/>
                  <a:pt x="2575" y="822"/>
                  <a:pt x="2575" y="822"/>
                </a:cubicBezTo>
                <a:cubicBezTo>
                  <a:pt x="2576" y="821"/>
                  <a:pt x="2576" y="821"/>
                  <a:pt x="2576" y="821"/>
                </a:cubicBezTo>
                <a:cubicBezTo>
                  <a:pt x="2576" y="821"/>
                  <a:pt x="2576" y="821"/>
                  <a:pt x="2576" y="821"/>
                </a:cubicBezTo>
                <a:cubicBezTo>
                  <a:pt x="2576" y="821"/>
                  <a:pt x="2576" y="821"/>
                  <a:pt x="2576" y="821"/>
                </a:cubicBezTo>
                <a:cubicBezTo>
                  <a:pt x="2577" y="821"/>
                  <a:pt x="2577" y="821"/>
                  <a:pt x="2577" y="821"/>
                </a:cubicBezTo>
                <a:cubicBezTo>
                  <a:pt x="2579" y="819"/>
                  <a:pt x="2579" y="819"/>
                  <a:pt x="2579" y="819"/>
                </a:cubicBezTo>
                <a:cubicBezTo>
                  <a:pt x="2580" y="819"/>
                  <a:pt x="2580" y="819"/>
                  <a:pt x="2580" y="819"/>
                </a:cubicBezTo>
                <a:cubicBezTo>
                  <a:pt x="2580" y="818"/>
                  <a:pt x="2580" y="818"/>
                  <a:pt x="2580" y="818"/>
                </a:cubicBezTo>
                <a:cubicBezTo>
                  <a:pt x="2580" y="817"/>
                  <a:pt x="2580" y="817"/>
                  <a:pt x="2580" y="817"/>
                </a:cubicBezTo>
                <a:cubicBezTo>
                  <a:pt x="2580" y="816"/>
                  <a:pt x="2580" y="816"/>
                  <a:pt x="2580" y="816"/>
                </a:cubicBezTo>
                <a:cubicBezTo>
                  <a:pt x="2580" y="815"/>
                  <a:pt x="2580" y="815"/>
                  <a:pt x="2580" y="815"/>
                </a:cubicBezTo>
                <a:cubicBezTo>
                  <a:pt x="2580" y="813"/>
                  <a:pt x="2580" y="813"/>
                  <a:pt x="2580" y="813"/>
                </a:cubicBezTo>
                <a:cubicBezTo>
                  <a:pt x="2580" y="812"/>
                  <a:pt x="2580" y="812"/>
                  <a:pt x="2580" y="812"/>
                </a:cubicBezTo>
                <a:cubicBezTo>
                  <a:pt x="2580" y="811"/>
                  <a:pt x="2580" y="811"/>
                  <a:pt x="2580" y="811"/>
                </a:cubicBezTo>
                <a:cubicBezTo>
                  <a:pt x="2580" y="810"/>
                  <a:pt x="2580" y="810"/>
                  <a:pt x="2580" y="810"/>
                </a:cubicBezTo>
                <a:cubicBezTo>
                  <a:pt x="2581" y="810"/>
                  <a:pt x="2581" y="810"/>
                  <a:pt x="2581" y="810"/>
                </a:cubicBezTo>
                <a:cubicBezTo>
                  <a:pt x="2582" y="811"/>
                  <a:pt x="2582" y="811"/>
                  <a:pt x="2582" y="811"/>
                </a:cubicBezTo>
                <a:cubicBezTo>
                  <a:pt x="2583" y="811"/>
                  <a:pt x="2583" y="811"/>
                  <a:pt x="2583" y="811"/>
                </a:cubicBezTo>
                <a:cubicBezTo>
                  <a:pt x="2583" y="810"/>
                  <a:pt x="2583" y="810"/>
                  <a:pt x="2583" y="810"/>
                </a:cubicBezTo>
                <a:cubicBezTo>
                  <a:pt x="2585" y="810"/>
                  <a:pt x="2585" y="810"/>
                  <a:pt x="2585" y="810"/>
                </a:cubicBezTo>
                <a:cubicBezTo>
                  <a:pt x="2586" y="810"/>
                  <a:pt x="2586" y="810"/>
                  <a:pt x="2586" y="810"/>
                </a:cubicBezTo>
                <a:cubicBezTo>
                  <a:pt x="2586" y="809"/>
                  <a:pt x="2586" y="809"/>
                  <a:pt x="2586" y="809"/>
                </a:cubicBezTo>
                <a:cubicBezTo>
                  <a:pt x="2587" y="809"/>
                  <a:pt x="2587" y="809"/>
                  <a:pt x="2587" y="809"/>
                </a:cubicBezTo>
                <a:cubicBezTo>
                  <a:pt x="2587" y="807"/>
                  <a:pt x="2587" y="807"/>
                  <a:pt x="2587" y="807"/>
                </a:cubicBezTo>
                <a:cubicBezTo>
                  <a:pt x="2587" y="806"/>
                  <a:pt x="2587" y="806"/>
                  <a:pt x="2587" y="806"/>
                </a:cubicBezTo>
                <a:cubicBezTo>
                  <a:pt x="2589" y="806"/>
                  <a:pt x="2589" y="806"/>
                  <a:pt x="2589" y="806"/>
                </a:cubicBezTo>
                <a:cubicBezTo>
                  <a:pt x="2591" y="806"/>
                  <a:pt x="2591" y="806"/>
                  <a:pt x="2591" y="806"/>
                </a:cubicBezTo>
                <a:cubicBezTo>
                  <a:pt x="2593" y="805"/>
                  <a:pt x="2593" y="805"/>
                  <a:pt x="2593" y="805"/>
                </a:cubicBezTo>
                <a:cubicBezTo>
                  <a:pt x="2594" y="805"/>
                  <a:pt x="2594" y="805"/>
                  <a:pt x="2594" y="805"/>
                </a:cubicBezTo>
                <a:cubicBezTo>
                  <a:pt x="2595" y="805"/>
                  <a:pt x="2595" y="805"/>
                  <a:pt x="2595" y="805"/>
                </a:cubicBezTo>
                <a:cubicBezTo>
                  <a:pt x="2595" y="804"/>
                  <a:pt x="2595" y="804"/>
                  <a:pt x="2595" y="804"/>
                </a:cubicBezTo>
                <a:cubicBezTo>
                  <a:pt x="2595" y="803"/>
                  <a:pt x="2595" y="803"/>
                  <a:pt x="2595" y="803"/>
                </a:cubicBezTo>
                <a:cubicBezTo>
                  <a:pt x="2595" y="803"/>
                  <a:pt x="2595" y="803"/>
                  <a:pt x="2595" y="803"/>
                </a:cubicBezTo>
                <a:cubicBezTo>
                  <a:pt x="2595" y="803"/>
                  <a:pt x="2595" y="803"/>
                  <a:pt x="2595" y="803"/>
                </a:cubicBezTo>
                <a:cubicBezTo>
                  <a:pt x="2595" y="803"/>
                  <a:pt x="2595" y="803"/>
                  <a:pt x="2595" y="803"/>
                </a:cubicBezTo>
                <a:cubicBezTo>
                  <a:pt x="2595" y="803"/>
                  <a:pt x="2595" y="803"/>
                  <a:pt x="2595" y="803"/>
                </a:cubicBezTo>
                <a:cubicBezTo>
                  <a:pt x="2596" y="803"/>
                  <a:pt x="2596" y="803"/>
                  <a:pt x="2596" y="803"/>
                </a:cubicBezTo>
                <a:cubicBezTo>
                  <a:pt x="2596" y="802"/>
                  <a:pt x="2596" y="802"/>
                  <a:pt x="2596" y="802"/>
                </a:cubicBezTo>
                <a:cubicBezTo>
                  <a:pt x="2598" y="803"/>
                  <a:pt x="2598" y="803"/>
                  <a:pt x="2598" y="803"/>
                </a:cubicBezTo>
                <a:cubicBezTo>
                  <a:pt x="2599" y="802"/>
                  <a:pt x="2599" y="802"/>
                  <a:pt x="2599" y="802"/>
                </a:cubicBezTo>
                <a:cubicBezTo>
                  <a:pt x="2599" y="801"/>
                  <a:pt x="2599" y="801"/>
                  <a:pt x="2599" y="801"/>
                </a:cubicBezTo>
                <a:cubicBezTo>
                  <a:pt x="2600" y="799"/>
                  <a:pt x="2600" y="799"/>
                  <a:pt x="2600" y="799"/>
                </a:cubicBezTo>
                <a:cubicBezTo>
                  <a:pt x="2601" y="801"/>
                  <a:pt x="2601" y="801"/>
                  <a:pt x="2601" y="801"/>
                </a:cubicBezTo>
                <a:cubicBezTo>
                  <a:pt x="2603" y="803"/>
                  <a:pt x="2603" y="803"/>
                  <a:pt x="2603" y="803"/>
                </a:cubicBezTo>
                <a:cubicBezTo>
                  <a:pt x="2604" y="803"/>
                  <a:pt x="2604" y="803"/>
                  <a:pt x="2604" y="803"/>
                </a:cubicBezTo>
                <a:cubicBezTo>
                  <a:pt x="2606" y="805"/>
                  <a:pt x="2606" y="805"/>
                  <a:pt x="2606" y="805"/>
                </a:cubicBezTo>
                <a:cubicBezTo>
                  <a:pt x="2607" y="804"/>
                  <a:pt x="2607" y="804"/>
                  <a:pt x="2607" y="804"/>
                </a:cubicBezTo>
                <a:cubicBezTo>
                  <a:pt x="2608" y="804"/>
                  <a:pt x="2608" y="804"/>
                  <a:pt x="2608" y="804"/>
                </a:cubicBezTo>
                <a:cubicBezTo>
                  <a:pt x="2609" y="803"/>
                  <a:pt x="2609" y="803"/>
                  <a:pt x="2609" y="803"/>
                </a:cubicBezTo>
                <a:cubicBezTo>
                  <a:pt x="2611" y="804"/>
                  <a:pt x="2611" y="804"/>
                  <a:pt x="2611" y="804"/>
                </a:cubicBezTo>
                <a:cubicBezTo>
                  <a:pt x="2612" y="804"/>
                  <a:pt x="2612" y="804"/>
                  <a:pt x="2612" y="804"/>
                </a:cubicBezTo>
                <a:cubicBezTo>
                  <a:pt x="2613" y="804"/>
                  <a:pt x="2613" y="804"/>
                  <a:pt x="2613" y="804"/>
                </a:cubicBezTo>
                <a:cubicBezTo>
                  <a:pt x="2614" y="805"/>
                  <a:pt x="2614" y="805"/>
                  <a:pt x="2614" y="805"/>
                </a:cubicBezTo>
                <a:cubicBezTo>
                  <a:pt x="2612" y="805"/>
                  <a:pt x="2612" y="805"/>
                  <a:pt x="2612" y="805"/>
                </a:cubicBezTo>
                <a:cubicBezTo>
                  <a:pt x="2612" y="807"/>
                  <a:pt x="2612" y="807"/>
                  <a:pt x="2612" y="807"/>
                </a:cubicBezTo>
                <a:cubicBezTo>
                  <a:pt x="2610" y="808"/>
                  <a:pt x="2610" y="808"/>
                  <a:pt x="2610" y="808"/>
                </a:cubicBezTo>
                <a:cubicBezTo>
                  <a:pt x="2610" y="810"/>
                  <a:pt x="2610" y="810"/>
                  <a:pt x="2610" y="810"/>
                </a:cubicBezTo>
                <a:cubicBezTo>
                  <a:pt x="2613" y="813"/>
                  <a:pt x="2613" y="813"/>
                  <a:pt x="2613" y="813"/>
                </a:cubicBezTo>
                <a:cubicBezTo>
                  <a:pt x="2614" y="814"/>
                  <a:pt x="2614" y="814"/>
                  <a:pt x="2614" y="814"/>
                </a:cubicBezTo>
                <a:cubicBezTo>
                  <a:pt x="2614" y="815"/>
                  <a:pt x="2614" y="815"/>
                  <a:pt x="2614" y="815"/>
                </a:cubicBezTo>
                <a:cubicBezTo>
                  <a:pt x="2614" y="817"/>
                  <a:pt x="2614" y="817"/>
                  <a:pt x="2614" y="817"/>
                </a:cubicBezTo>
                <a:cubicBezTo>
                  <a:pt x="2615" y="817"/>
                  <a:pt x="2615" y="817"/>
                  <a:pt x="2615" y="817"/>
                </a:cubicBezTo>
                <a:cubicBezTo>
                  <a:pt x="2616" y="815"/>
                  <a:pt x="2616" y="815"/>
                  <a:pt x="2616" y="815"/>
                </a:cubicBezTo>
                <a:cubicBezTo>
                  <a:pt x="2618" y="816"/>
                  <a:pt x="2618" y="816"/>
                  <a:pt x="2618" y="816"/>
                </a:cubicBezTo>
                <a:cubicBezTo>
                  <a:pt x="2618" y="816"/>
                  <a:pt x="2618" y="816"/>
                  <a:pt x="2618" y="816"/>
                </a:cubicBezTo>
                <a:cubicBezTo>
                  <a:pt x="2619" y="816"/>
                  <a:pt x="2619" y="816"/>
                  <a:pt x="2619" y="816"/>
                </a:cubicBezTo>
                <a:cubicBezTo>
                  <a:pt x="2621" y="814"/>
                  <a:pt x="2621" y="814"/>
                  <a:pt x="2621" y="814"/>
                </a:cubicBezTo>
                <a:cubicBezTo>
                  <a:pt x="2620" y="813"/>
                  <a:pt x="2620" y="813"/>
                  <a:pt x="2620" y="813"/>
                </a:cubicBezTo>
                <a:cubicBezTo>
                  <a:pt x="2620" y="813"/>
                  <a:pt x="2620" y="813"/>
                  <a:pt x="2620" y="813"/>
                </a:cubicBezTo>
                <a:cubicBezTo>
                  <a:pt x="2620" y="812"/>
                  <a:pt x="2620" y="812"/>
                  <a:pt x="2620" y="812"/>
                </a:cubicBezTo>
                <a:cubicBezTo>
                  <a:pt x="2618" y="810"/>
                  <a:pt x="2618" y="810"/>
                  <a:pt x="2618" y="810"/>
                </a:cubicBezTo>
                <a:cubicBezTo>
                  <a:pt x="2617" y="810"/>
                  <a:pt x="2617" y="810"/>
                  <a:pt x="2617" y="810"/>
                </a:cubicBezTo>
                <a:cubicBezTo>
                  <a:pt x="2616" y="808"/>
                  <a:pt x="2616" y="808"/>
                  <a:pt x="2616" y="808"/>
                </a:cubicBezTo>
                <a:cubicBezTo>
                  <a:pt x="2617" y="808"/>
                  <a:pt x="2617" y="808"/>
                  <a:pt x="2617" y="808"/>
                </a:cubicBezTo>
                <a:cubicBezTo>
                  <a:pt x="2618" y="807"/>
                  <a:pt x="2618" y="807"/>
                  <a:pt x="2618" y="807"/>
                </a:cubicBezTo>
                <a:cubicBezTo>
                  <a:pt x="2619" y="805"/>
                  <a:pt x="2619" y="805"/>
                  <a:pt x="2619" y="805"/>
                </a:cubicBezTo>
                <a:cubicBezTo>
                  <a:pt x="2618" y="804"/>
                  <a:pt x="2618" y="804"/>
                  <a:pt x="2618" y="804"/>
                </a:cubicBezTo>
                <a:cubicBezTo>
                  <a:pt x="2619" y="804"/>
                  <a:pt x="2619" y="804"/>
                  <a:pt x="2619" y="804"/>
                </a:cubicBezTo>
                <a:cubicBezTo>
                  <a:pt x="2620" y="803"/>
                  <a:pt x="2620" y="803"/>
                  <a:pt x="2620" y="803"/>
                </a:cubicBezTo>
                <a:cubicBezTo>
                  <a:pt x="2620" y="804"/>
                  <a:pt x="2620" y="804"/>
                  <a:pt x="2620" y="804"/>
                </a:cubicBezTo>
                <a:cubicBezTo>
                  <a:pt x="2620" y="805"/>
                  <a:pt x="2620" y="805"/>
                  <a:pt x="2620" y="805"/>
                </a:cubicBezTo>
                <a:cubicBezTo>
                  <a:pt x="2621" y="805"/>
                  <a:pt x="2621" y="805"/>
                  <a:pt x="2621" y="805"/>
                </a:cubicBezTo>
                <a:cubicBezTo>
                  <a:pt x="2620" y="805"/>
                  <a:pt x="2620" y="805"/>
                  <a:pt x="2620" y="805"/>
                </a:cubicBezTo>
                <a:cubicBezTo>
                  <a:pt x="2621" y="805"/>
                  <a:pt x="2621" y="805"/>
                  <a:pt x="2621" y="805"/>
                </a:cubicBezTo>
                <a:cubicBezTo>
                  <a:pt x="2621" y="806"/>
                  <a:pt x="2621" y="806"/>
                  <a:pt x="2621" y="806"/>
                </a:cubicBezTo>
                <a:cubicBezTo>
                  <a:pt x="2621" y="806"/>
                  <a:pt x="2621" y="806"/>
                  <a:pt x="2621" y="806"/>
                </a:cubicBezTo>
                <a:cubicBezTo>
                  <a:pt x="2622" y="806"/>
                  <a:pt x="2622" y="806"/>
                  <a:pt x="2622" y="806"/>
                </a:cubicBezTo>
                <a:cubicBezTo>
                  <a:pt x="2623" y="805"/>
                  <a:pt x="2623" y="805"/>
                  <a:pt x="2623" y="805"/>
                </a:cubicBezTo>
                <a:cubicBezTo>
                  <a:pt x="2625" y="805"/>
                  <a:pt x="2625" y="805"/>
                  <a:pt x="2625" y="805"/>
                </a:cubicBezTo>
                <a:cubicBezTo>
                  <a:pt x="2625" y="803"/>
                  <a:pt x="2625" y="803"/>
                  <a:pt x="2625" y="803"/>
                </a:cubicBezTo>
                <a:cubicBezTo>
                  <a:pt x="2627" y="804"/>
                  <a:pt x="2627" y="804"/>
                  <a:pt x="2627" y="804"/>
                </a:cubicBezTo>
                <a:cubicBezTo>
                  <a:pt x="2629" y="803"/>
                  <a:pt x="2629" y="803"/>
                  <a:pt x="2629" y="803"/>
                </a:cubicBezTo>
                <a:cubicBezTo>
                  <a:pt x="2631" y="802"/>
                  <a:pt x="2631" y="802"/>
                  <a:pt x="2631" y="802"/>
                </a:cubicBezTo>
                <a:cubicBezTo>
                  <a:pt x="2630" y="801"/>
                  <a:pt x="2630" y="801"/>
                  <a:pt x="2630" y="801"/>
                </a:cubicBezTo>
                <a:cubicBezTo>
                  <a:pt x="2632" y="801"/>
                  <a:pt x="2632" y="801"/>
                  <a:pt x="2632" y="801"/>
                </a:cubicBezTo>
                <a:cubicBezTo>
                  <a:pt x="2634" y="800"/>
                  <a:pt x="2634" y="800"/>
                  <a:pt x="2634" y="800"/>
                </a:cubicBezTo>
                <a:cubicBezTo>
                  <a:pt x="2636" y="801"/>
                  <a:pt x="2636" y="801"/>
                  <a:pt x="2636" y="801"/>
                </a:cubicBezTo>
                <a:cubicBezTo>
                  <a:pt x="2637" y="801"/>
                  <a:pt x="2637" y="801"/>
                  <a:pt x="2637" y="801"/>
                </a:cubicBezTo>
                <a:cubicBezTo>
                  <a:pt x="2639" y="799"/>
                  <a:pt x="2639" y="799"/>
                  <a:pt x="2639" y="799"/>
                </a:cubicBezTo>
                <a:cubicBezTo>
                  <a:pt x="2641" y="797"/>
                  <a:pt x="2641" y="797"/>
                  <a:pt x="2641" y="797"/>
                </a:cubicBezTo>
                <a:cubicBezTo>
                  <a:pt x="2643" y="796"/>
                  <a:pt x="2643" y="796"/>
                  <a:pt x="2643" y="796"/>
                </a:cubicBezTo>
                <a:cubicBezTo>
                  <a:pt x="2643" y="795"/>
                  <a:pt x="2643" y="795"/>
                  <a:pt x="2643" y="795"/>
                </a:cubicBezTo>
                <a:cubicBezTo>
                  <a:pt x="2643" y="795"/>
                  <a:pt x="2643" y="795"/>
                  <a:pt x="2643" y="795"/>
                </a:cubicBezTo>
                <a:cubicBezTo>
                  <a:pt x="2644" y="796"/>
                  <a:pt x="2644" y="796"/>
                  <a:pt x="2644" y="796"/>
                </a:cubicBezTo>
                <a:cubicBezTo>
                  <a:pt x="2645" y="795"/>
                  <a:pt x="2645" y="795"/>
                  <a:pt x="2645" y="795"/>
                </a:cubicBezTo>
                <a:cubicBezTo>
                  <a:pt x="2646" y="794"/>
                  <a:pt x="2646" y="794"/>
                  <a:pt x="2646" y="794"/>
                </a:cubicBezTo>
                <a:cubicBezTo>
                  <a:pt x="2648" y="793"/>
                  <a:pt x="2648" y="793"/>
                  <a:pt x="2648" y="793"/>
                </a:cubicBezTo>
                <a:cubicBezTo>
                  <a:pt x="2647" y="791"/>
                  <a:pt x="2647" y="791"/>
                  <a:pt x="2647" y="791"/>
                </a:cubicBezTo>
                <a:cubicBezTo>
                  <a:pt x="2647" y="789"/>
                  <a:pt x="2647" y="789"/>
                  <a:pt x="2647" y="789"/>
                </a:cubicBezTo>
                <a:cubicBezTo>
                  <a:pt x="2647" y="787"/>
                  <a:pt x="2647" y="787"/>
                  <a:pt x="2647" y="787"/>
                </a:cubicBezTo>
                <a:cubicBezTo>
                  <a:pt x="2646" y="786"/>
                  <a:pt x="2646" y="786"/>
                  <a:pt x="2646" y="786"/>
                </a:cubicBezTo>
                <a:cubicBezTo>
                  <a:pt x="2647" y="787"/>
                  <a:pt x="2647" y="787"/>
                  <a:pt x="2647" y="787"/>
                </a:cubicBezTo>
                <a:cubicBezTo>
                  <a:pt x="2650" y="788"/>
                  <a:pt x="2650" y="788"/>
                  <a:pt x="2650" y="788"/>
                </a:cubicBezTo>
                <a:cubicBezTo>
                  <a:pt x="2650" y="790"/>
                  <a:pt x="2650" y="790"/>
                  <a:pt x="2650" y="790"/>
                </a:cubicBezTo>
                <a:cubicBezTo>
                  <a:pt x="2652" y="792"/>
                  <a:pt x="2652" y="792"/>
                  <a:pt x="2652" y="792"/>
                </a:cubicBezTo>
                <a:cubicBezTo>
                  <a:pt x="2654" y="791"/>
                  <a:pt x="2654" y="791"/>
                  <a:pt x="2654" y="791"/>
                </a:cubicBezTo>
                <a:cubicBezTo>
                  <a:pt x="2653" y="793"/>
                  <a:pt x="2653" y="793"/>
                  <a:pt x="2653" y="793"/>
                </a:cubicBezTo>
                <a:cubicBezTo>
                  <a:pt x="2651" y="793"/>
                  <a:pt x="2651" y="793"/>
                  <a:pt x="2651" y="793"/>
                </a:cubicBezTo>
                <a:cubicBezTo>
                  <a:pt x="2652" y="794"/>
                  <a:pt x="2652" y="794"/>
                  <a:pt x="2652" y="794"/>
                </a:cubicBezTo>
                <a:cubicBezTo>
                  <a:pt x="2655" y="792"/>
                  <a:pt x="2655" y="792"/>
                  <a:pt x="2655" y="792"/>
                </a:cubicBezTo>
                <a:cubicBezTo>
                  <a:pt x="2655" y="790"/>
                  <a:pt x="2655" y="790"/>
                  <a:pt x="2655" y="790"/>
                </a:cubicBezTo>
                <a:cubicBezTo>
                  <a:pt x="2657" y="790"/>
                  <a:pt x="2657" y="790"/>
                  <a:pt x="2657" y="790"/>
                </a:cubicBezTo>
                <a:cubicBezTo>
                  <a:pt x="2658" y="789"/>
                  <a:pt x="2658" y="789"/>
                  <a:pt x="2658" y="789"/>
                </a:cubicBezTo>
                <a:cubicBezTo>
                  <a:pt x="2660" y="790"/>
                  <a:pt x="2660" y="790"/>
                  <a:pt x="2660" y="790"/>
                </a:cubicBezTo>
                <a:cubicBezTo>
                  <a:pt x="2661" y="790"/>
                  <a:pt x="2661" y="790"/>
                  <a:pt x="2661" y="790"/>
                </a:cubicBezTo>
                <a:cubicBezTo>
                  <a:pt x="2662" y="788"/>
                  <a:pt x="2662" y="788"/>
                  <a:pt x="2662" y="788"/>
                </a:cubicBezTo>
                <a:cubicBezTo>
                  <a:pt x="2663" y="788"/>
                  <a:pt x="2663" y="788"/>
                  <a:pt x="2663" y="788"/>
                </a:cubicBezTo>
                <a:cubicBezTo>
                  <a:pt x="2664" y="787"/>
                  <a:pt x="2664" y="787"/>
                  <a:pt x="2664" y="787"/>
                </a:cubicBezTo>
                <a:cubicBezTo>
                  <a:pt x="2664" y="788"/>
                  <a:pt x="2664" y="788"/>
                  <a:pt x="2664" y="788"/>
                </a:cubicBezTo>
                <a:cubicBezTo>
                  <a:pt x="2666" y="790"/>
                  <a:pt x="2666" y="790"/>
                  <a:pt x="2666" y="790"/>
                </a:cubicBezTo>
                <a:cubicBezTo>
                  <a:pt x="2667" y="789"/>
                  <a:pt x="2667" y="789"/>
                  <a:pt x="2667" y="789"/>
                </a:cubicBezTo>
                <a:cubicBezTo>
                  <a:pt x="2667" y="787"/>
                  <a:pt x="2667" y="787"/>
                  <a:pt x="2667" y="787"/>
                </a:cubicBezTo>
                <a:cubicBezTo>
                  <a:pt x="2668" y="787"/>
                  <a:pt x="2668" y="787"/>
                  <a:pt x="2668" y="787"/>
                </a:cubicBezTo>
                <a:cubicBezTo>
                  <a:pt x="2668" y="788"/>
                  <a:pt x="2668" y="788"/>
                  <a:pt x="2668" y="788"/>
                </a:cubicBezTo>
                <a:cubicBezTo>
                  <a:pt x="2670" y="788"/>
                  <a:pt x="2670" y="788"/>
                  <a:pt x="2670" y="788"/>
                </a:cubicBezTo>
                <a:cubicBezTo>
                  <a:pt x="2670" y="787"/>
                  <a:pt x="2670" y="787"/>
                  <a:pt x="2670" y="787"/>
                </a:cubicBezTo>
                <a:cubicBezTo>
                  <a:pt x="2673" y="786"/>
                  <a:pt x="2673" y="786"/>
                  <a:pt x="2673" y="786"/>
                </a:cubicBezTo>
                <a:cubicBezTo>
                  <a:pt x="2674" y="785"/>
                  <a:pt x="2674" y="785"/>
                  <a:pt x="2674" y="785"/>
                </a:cubicBezTo>
                <a:cubicBezTo>
                  <a:pt x="2675" y="784"/>
                  <a:pt x="2675" y="784"/>
                  <a:pt x="2675" y="784"/>
                </a:cubicBezTo>
                <a:cubicBezTo>
                  <a:pt x="2675" y="786"/>
                  <a:pt x="2675" y="786"/>
                  <a:pt x="2675" y="786"/>
                </a:cubicBezTo>
                <a:cubicBezTo>
                  <a:pt x="2676" y="785"/>
                  <a:pt x="2676" y="785"/>
                  <a:pt x="2676" y="785"/>
                </a:cubicBezTo>
                <a:cubicBezTo>
                  <a:pt x="2677" y="785"/>
                  <a:pt x="2677" y="785"/>
                  <a:pt x="2677" y="785"/>
                </a:cubicBezTo>
                <a:cubicBezTo>
                  <a:pt x="2678" y="784"/>
                  <a:pt x="2678" y="784"/>
                  <a:pt x="2678" y="784"/>
                </a:cubicBezTo>
                <a:cubicBezTo>
                  <a:pt x="2678" y="783"/>
                  <a:pt x="2678" y="783"/>
                  <a:pt x="2678" y="783"/>
                </a:cubicBezTo>
                <a:cubicBezTo>
                  <a:pt x="2679" y="782"/>
                  <a:pt x="2679" y="782"/>
                  <a:pt x="2679" y="782"/>
                </a:cubicBezTo>
                <a:cubicBezTo>
                  <a:pt x="2679" y="779"/>
                  <a:pt x="2679" y="779"/>
                  <a:pt x="2679" y="779"/>
                </a:cubicBezTo>
                <a:cubicBezTo>
                  <a:pt x="2678" y="777"/>
                  <a:pt x="2678" y="777"/>
                  <a:pt x="2678" y="777"/>
                </a:cubicBezTo>
                <a:cubicBezTo>
                  <a:pt x="2679" y="778"/>
                  <a:pt x="2679" y="778"/>
                  <a:pt x="2679" y="778"/>
                </a:cubicBezTo>
                <a:cubicBezTo>
                  <a:pt x="2680" y="777"/>
                  <a:pt x="2680" y="777"/>
                  <a:pt x="2680" y="777"/>
                </a:cubicBezTo>
                <a:cubicBezTo>
                  <a:pt x="2682" y="776"/>
                  <a:pt x="2682" y="776"/>
                  <a:pt x="2682" y="776"/>
                </a:cubicBezTo>
                <a:cubicBezTo>
                  <a:pt x="2683" y="777"/>
                  <a:pt x="2683" y="777"/>
                  <a:pt x="2683" y="777"/>
                </a:cubicBezTo>
                <a:cubicBezTo>
                  <a:pt x="2685" y="777"/>
                  <a:pt x="2685" y="777"/>
                  <a:pt x="2685" y="777"/>
                </a:cubicBezTo>
                <a:cubicBezTo>
                  <a:pt x="2685" y="775"/>
                  <a:pt x="2685" y="775"/>
                  <a:pt x="2685" y="775"/>
                </a:cubicBezTo>
                <a:cubicBezTo>
                  <a:pt x="2686" y="775"/>
                  <a:pt x="2686" y="775"/>
                  <a:pt x="2686" y="775"/>
                </a:cubicBezTo>
                <a:cubicBezTo>
                  <a:pt x="2686" y="773"/>
                  <a:pt x="2686" y="773"/>
                  <a:pt x="2686" y="773"/>
                </a:cubicBezTo>
                <a:cubicBezTo>
                  <a:pt x="2687" y="773"/>
                  <a:pt x="2687" y="773"/>
                  <a:pt x="2687" y="773"/>
                </a:cubicBezTo>
                <a:cubicBezTo>
                  <a:pt x="2687" y="774"/>
                  <a:pt x="2687" y="774"/>
                  <a:pt x="2687" y="774"/>
                </a:cubicBezTo>
                <a:cubicBezTo>
                  <a:pt x="2688" y="774"/>
                  <a:pt x="2688" y="774"/>
                  <a:pt x="2688" y="774"/>
                </a:cubicBezTo>
                <a:cubicBezTo>
                  <a:pt x="2689" y="772"/>
                  <a:pt x="2689" y="772"/>
                  <a:pt x="2689" y="772"/>
                </a:cubicBezTo>
                <a:cubicBezTo>
                  <a:pt x="2690" y="773"/>
                  <a:pt x="2690" y="773"/>
                  <a:pt x="2690" y="773"/>
                </a:cubicBezTo>
                <a:cubicBezTo>
                  <a:pt x="2691" y="771"/>
                  <a:pt x="2691" y="771"/>
                  <a:pt x="2691" y="771"/>
                </a:cubicBezTo>
                <a:cubicBezTo>
                  <a:pt x="2692" y="771"/>
                  <a:pt x="2692" y="771"/>
                  <a:pt x="2692" y="771"/>
                </a:cubicBezTo>
                <a:cubicBezTo>
                  <a:pt x="2693" y="769"/>
                  <a:pt x="2693" y="769"/>
                  <a:pt x="2693" y="769"/>
                </a:cubicBezTo>
                <a:cubicBezTo>
                  <a:pt x="2691" y="769"/>
                  <a:pt x="2691" y="769"/>
                  <a:pt x="2691" y="769"/>
                </a:cubicBezTo>
                <a:cubicBezTo>
                  <a:pt x="2689" y="769"/>
                  <a:pt x="2689" y="769"/>
                  <a:pt x="2689" y="769"/>
                </a:cubicBezTo>
                <a:cubicBezTo>
                  <a:pt x="2687" y="768"/>
                  <a:pt x="2687" y="768"/>
                  <a:pt x="2687" y="768"/>
                </a:cubicBezTo>
                <a:cubicBezTo>
                  <a:pt x="2690" y="767"/>
                  <a:pt x="2690" y="767"/>
                  <a:pt x="2690" y="767"/>
                </a:cubicBezTo>
                <a:cubicBezTo>
                  <a:pt x="2692" y="765"/>
                  <a:pt x="2692" y="765"/>
                  <a:pt x="2692" y="765"/>
                </a:cubicBezTo>
                <a:cubicBezTo>
                  <a:pt x="2693" y="766"/>
                  <a:pt x="2693" y="766"/>
                  <a:pt x="2693" y="766"/>
                </a:cubicBezTo>
                <a:cubicBezTo>
                  <a:pt x="2694" y="765"/>
                  <a:pt x="2694" y="765"/>
                  <a:pt x="2694" y="765"/>
                </a:cubicBezTo>
                <a:cubicBezTo>
                  <a:pt x="2696" y="767"/>
                  <a:pt x="2696" y="767"/>
                  <a:pt x="2696" y="767"/>
                </a:cubicBezTo>
                <a:cubicBezTo>
                  <a:pt x="2697" y="765"/>
                  <a:pt x="2697" y="765"/>
                  <a:pt x="2697" y="765"/>
                </a:cubicBezTo>
                <a:cubicBezTo>
                  <a:pt x="2696" y="764"/>
                  <a:pt x="2696" y="764"/>
                  <a:pt x="2696" y="764"/>
                </a:cubicBezTo>
                <a:cubicBezTo>
                  <a:pt x="2695" y="763"/>
                  <a:pt x="2695" y="763"/>
                  <a:pt x="2695" y="763"/>
                </a:cubicBezTo>
                <a:cubicBezTo>
                  <a:pt x="2695" y="762"/>
                  <a:pt x="2695" y="762"/>
                  <a:pt x="2695" y="762"/>
                </a:cubicBezTo>
                <a:cubicBezTo>
                  <a:pt x="2697" y="763"/>
                  <a:pt x="2697" y="763"/>
                  <a:pt x="2697" y="763"/>
                </a:cubicBezTo>
                <a:cubicBezTo>
                  <a:pt x="2698" y="762"/>
                  <a:pt x="2698" y="762"/>
                  <a:pt x="2698" y="762"/>
                </a:cubicBezTo>
                <a:cubicBezTo>
                  <a:pt x="2698" y="761"/>
                  <a:pt x="2698" y="761"/>
                  <a:pt x="2698" y="761"/>
                </a:cubicBezTo>
                <a:cubicBezTo>
                  <a:pt x="2697" y="761"/>
                  <a:pt x="2697" y="761"/>
                  <a:pt x="2697" y="761"/>
                </a:cubicBezTo>
                <a:cubicBezTo>
                  <a:pt x="2696" y="759"/>
                  <a:pt x="2696" y="759"/>
                  <a:pt x="2696" y="759"/>
                </a:cubicBezTo>
                <a:cubicBezTo>
                  <a:pt x="2695" y="759"/>
                  <a:pt x="2695" y="759"/>
                  <a:pt x="2695" y="759"/>
                </a:cubicBezTo>
                <a:cubicBezTo>
                  <a:pt x="2697" y="758"/>
                  <a:pt x="2697" y="758"/>
                  <a:pt x="2697" y="758"/>
                </a:cubicBezTo>
                <a:cubicBezTo>
                  <a:pt x="2698" y="759"/>
                  <a:pt x="2698" y="759"/>
                  <a:pt x="2698" y="759"/>
                </a:cubicBezTo>
                <a:cubicBezTo>
                  <a:pt x="2699" y="759"/>
                  <a:pt x="2699" y="759"/>
                  <a:pt x="2699" y="759"/>
                </a:cubicBezTo>
                <a:cubicBezTo>
                  <a:pt x="2699" y="760"/>
                  <a:pt x="2699" y="760"/>
                  <a:pt x="2699" y="760"/>
                </a:cubicBezTo>
                <a:cubicBezTo>
                  <a:pt x="2699" y="759"/>
                  <a:pt x="2699" y="759"/>
                  <a:pt x="2699" y="759"/>
                </a:cubicBezTo>
                <a:cubicBezTo>
                  <a:pt x="2698" y="757"/>
                  <a:pt x="2698" y="757"/>
                  <a:pt x="2698" y="757"/>
                </a:cubicBezTo>
                <a:cubicBezTo>
                  <a:pt x="2698" y="756"/>
                  <a:pt x="2698" y="756"/>
                  <a:pt x="2698" y="756"/>
                </a:cubicBezTo>
                <a:cubicBezTo>
                  <a:pt x="2699" y="756"/>
                  <a:pt x="2699" y="756"/>
                  <a:pt x="2699" y="756"/>
                </a:cubicBezTo>
                <a:cubicBezTo>
                  <a:pt x="2699" y="754"/>
                  <a:pt x="2699" y="754"/>
                  <a:pt x="2699" y="754"/>
                </a:cubicBezTo>
                <a:cubicBezTo>
                  <a:pt x="2701" y="756"/>
                  <a:pt x="2701" y="756"/>
                  <a:pt x="2701" y="756"/>
                </a:cubicBezTo>
                <a:cubicBezTo>
                  <a:pt x="2701" y="757"/>
                  <a:pt x="2701" y="757"/>
                  <a:pt x="2701" y="757"/>
                </a:cubicBezTo>
                <a:cubicBezTo>
                  <a:pt x="2702" y="757"/>
                  <a:pt x="2702" y="757"/>
                  <a:pt x="2702" y="757"/>
                </a:cubicBezTo>
                <a:cubicBezTo>
                  <a:pt x="2703" y="759"/>
                  <a:pt x="2703" y="759"/>
                  <a:pt x="2703" y="759"/>
                </a:cubicBezTo>
                <a:cubicBezTo>
                  <a:pt x="2703" y="756"/>
                  <a:pt x="2703" y="756"/>
                  <a:pt x="2703" y="756"/>
                </a:cubicBezTo>
                <a:cubicBezTo>
                  <a:pt x="2703" y="755"/>
                  <a:pt x="2703" y="755"/>
                  <a:pt x="2703" y="755"/>
                </a:cubicBezTo>
                <a:cubicBezTo>
                  <a:pt x="2702" y="755"/>
                  <a:pt x="2702" y="755"/>
                  <a:pt x="2702" y="755"/>
                </a:cubicBezTo>
                <a:cubicBezTo>
                  <a:pt x="2701" y="754"/>
                  <a:pt x="2701" y="754"/>
                  <a:pt x="2701" y="754"/>
                </a:cubicBezTo>
                <a:cubicBezTo>
                  <a:pt x="2703" y="753"/>
                  <a:pt x="2703" y="753"/>
                  <a:pt x="2703" y="753"/>
                </a:cubicBezTo>
                <a:cubicBezTo>
                  <a:pt x="2703" y="752"/>
                  <a:pt x="2703" y="752"/>
                  <a:pt x="2703" y="752"/>
                </a:cubicBezTo>
                <a:cubicBezTo>
                  <a:pt x="2701" y="752"/>
                  <a:pt x="2701" y="752"/>
                  <a:pt x="2701" y="752"/>
                </a:cubicBezTo>
                <a:cubicBezTo>
                  <a:pt x="2703" y="750"/>
                  <a:pt x="2703" y="750"/>
                  <a:pt x="2703" y="750"/>
                </a:cubicBezTo>
                <a:cubicBezTo>
                  <a:pt x="2702" y="748"/>
                  <a:pt x="2702" y="748"/>
                  <a:pt x="2702" y="748"/>
                </a:cubicBezTo>
                <a:cubicBezTo>
                  <a:pt x="2701" y="749"/>
                  <a:pt x="2701" y="749"/>
                  <a:pt x="2701" y="749"/>
                </a:cubicBezTo>
                <a:cubicBezTo>
                  <a:pt x="2700" y="749"/>
                  <a:pt x="2700" y="749"/>
                  <a:pt x="2700" y="749"/>
                </a:cubicBezTo>
                <a:cubicBezTo>
                  <a:pt x="2700" y="748"/>
                  <a:pt x="2700" y="748"/>
                  <a:pt x="2700" y="748"/>
                </a:cubicBezTo>
                <a:cubicBezTo>
                  <a:pt x="2702" y="746"/>
                  <a:pt x="2702" y="746"/>
                  <a:pt x="2702" y="746"/>
                </a:cubicBezTo>
                <a:cubicBezTo>
                  <a:pt x="2706" y="745"/>
                  <a:pt x="2706" y="745"/>
                  <a:pt x="2706" y="745"/>
                </a:cubicBezTo>
                <a:cubicBezTo>
                  <a:pt x="2705" y="744"/>
                  <a:pt x="2705" y="744"/>
                  <a:pt x="2705" y="744"/>
                </a:cubicBezTo>
                <a:cubicBezTo>
                  <a:pt x="2703" y="745"/>
                  <a:pt x="2703" y="745"/>
                  <a:pt x="2703" y="745"/>
                </a:cubicBezTo>
                <a:cubicBezTo>
                  <a:pt x="2701" y="743"/>
                  <a:pt x="2701" y="743"/>
                  <a:pt x="2701" y="743"/>
                </a:cubicBezTo>
                <a:cubicBezTo>
                  <a:pt x="2703" y="743"/>
                  <a:pt x="2703" y="743"/>
                  <a:pt x="2703" y="743"/>
                </a:cubicBezTo>
                <a:cubicBezTo>
                  <a:pt x="2702" y="741"/>
                  <a:pt x="2702" y="741"/>
                  <a:pt x="2702" y="741"/>
                </a:cubicBezTo>
                <a:cubicBezTo>
                  <a:pt x="2700" y="741"/>
                  <a:pt x="2700" y="741"/>
                  <a:pt x="2700" y="741"/>
                </a:cubicBezTo>
                <a:cubicBezTo>
                  <a:pt x="2701" y="740"/>
                  <a:pt x="2701" y="740"/>
                  <a:pt x="2701" y="740"/>
                </a:cubicBezTo>
                <a:cubicBezTo>
                  <a:pt x="2700" y="739"/>
                  <a:pt x="2700" y="739"/>
                  <a:pt x="2700" y="739"/>
                </a:cubicBezTo>
                <a:cubicBezTo>
                  <a:pt x="2702" y="739"/>
                  <a:pt x="2702" y="739"/>
                  <a:pt x="2702" y="739"/>
                </a:cubicBezTo>
                <a:cubicBezTo>
                  <a:pt x="2702" y="737"/>
                  <a:pt x="2702" y="737"/>
                  <a:pt x="2702" y="737"/>
                </a:cubicBezTo>
                <a:cubicBezTo>
                  <a:pt x="2703" y="737"/>
                  <a:pt x="2703" y="737"/>
                  <a:pt x="2703" y="737"/>
                </a:cubicBezTo>
                <a:cubicBezTo>
                  <a:pt x="2704" y="737"/>
                  <a:pt x="2704" y="737"/>
                  <a:pt x="2704" y="737"/>
                </a:cubicBezTo>
                <a:cubicBezTo>
                  <a:pt x="2704" y="739"/>
                  <a:pt x="2704" y="739"/>
                  <a:pt x="2704" y="739"/>
                </a:cubicBezTo>
                <a:cubicBezTo>
                  <a:pt x="2705" y="739"/>
                  <a:pt x="2705" y="739"/>
                  <a:pt x="2705" y="739"/>
                </a:cubicBezTo>
                <a:cubicBezTo>
                  <a:pt x="2707" y="737"/>
                  <a:pt x="2707" y="737"/>
                  <a:pt x="2707" y="737"/>
                </a:cubicBezTo>
                <a:cubicBezTo>
                  <a:pt x="2708" y="735"/>
                  <a:pt x="2708" y="735"/>
                  <a:pt x="2708" y="735"/>
                </a:cubicBezTo>
                <a:cubicBezTo>
                  <a:pt x="2710" y="736"/>
                  <a:pt x="2710" y="736"/>
                  <a:pt x="2710" y="736"/>
                </a:cubicBezTo>
                <a:cubicBezTo>
                  <a:pt x="2709" y="734"/>
                  <a:pt x="2709" y="734"/>
                  <a:pt x="2709" y="734"/>
                </a:cubicBezTo>
                <a:cubicBezTo>
                  <a:pt x="2707" y="734"/>
                  <a:pt x="2707" y="734"/>
                  <a:pt x="2707" y="734"/>
                </a:cubicBezTo>
                <a:cubicBezTo>
                  <a:pt x="2707" y="732"/>
                  <a:pt x="2707" y="732"/>
                  <a:pt x="2707" y="732"/>
                </a:cubicBezTo>
                <a:cubicBezTo>
                  <a:pt x="2709" y="733"/>
                  <a:pt x="2709" y="733"/>
                  <a:pt x="2709" y="733"/>
                </a:cubicBezTo>
                <a:cubicBezTo>
                  <a:pt x="2711" y="733"/>
                  <a:pt x="2711" y="733"/>
                  <a:pt x="2711" y="733"/>
                </a:cubicBezTo>
                <a:cubicBezTo>
                  <a:pt x="2710" y="731"/>
                  <a:pt x="2710" y="731"/>
                  <a:pt x="2710" y="731"/>
                </a:cubicBezTo>
                <a:cubicBezTo>
                  <a:pt x="2711" y="730"/>
                  <a:pt x="2711" y="730"/>
                  <a:pt x="2711" y="730"/>
                </a:cubicBezTo>
                <a:cubicBezTo>
                  <a:pt x="2710" y="729"/>
                  <a:pt x="2710" y="729"/>
                  <a:pt x="2710" y="729"/>
                </a:cubicBezTo>
                <a:cubicBezTo>
                  <a:pt x="2710" y="728"/>
                  <a:pt x="2710" y="728"/>
                  <a:pt x="2710" y="728"/>
                </a:cubicBezTo>
                <a:cubicBezTo>
                  <a:pt x="2712" y="727"/>
                  <a:pt x="2712" y="727"/>
                  <a:pt x="2712" y="727"/>
                </a:cubicBezTo>
                <a:cubicBezTo>
                  <a:pt x="2711" y="726"/>
                  <a:pt x="2711" y="726"/>
                  <a:pt x="2711" y="726"/>
                </a:cubicBezTo>
                <a:cubicBezTo>
                  <a:pt x="2711" y="724"/>
                  <a:pt x="2711" y="724"/>
                  <a:pt x="2711" y="724"/>
                </a:cubicBezTo>
                <a:cubicBezTo>
                  <a:pt x="2709" y="723"/>
                  <a:pt x="2709" y="723"/>
                  <a:pt x="2709" y="723"/>
                </a:cubicBezTo>
                <a:cubicBezTo>
                  <a:pt x="2712" y="724"/>
                  <a:pt x="2712" y="724"/>
                  <a:pt x="2712" y="724"/>
                </a:cubicBezTo>
                <a:cubicBezTo>
                  <a:pt x="2713" y="723"/>
                  <a:pt x="2713" y="723"/>
                  <a:pt x="2713" y="723"/>
                </a:cubicBezTo>
                <a:cubicBezTo>
                  <a:pt x="2714" y="720"/>
                  <a:pt x="2714" y="720"/>
                  <a:pt x="2714" y="720"/>
                </a:cubicBezTo>
                <a:cubicBezTo>
                  <a:pt x="2716" y="719"/>
                  <a:pt x="2716" y="719"/>
                  <a:pt x="2716" y="719"/>
                </a:cubicBezTo>
                <a:cubicBezTo>
                  <a:pt x="2716" y="721"/>
                  <a:pt x="2716" y="721"/>
                  <a:pt x="2716" y="721"/>
                </a:cubicBezTo>
                <a:cubicBezTo>
                  <a:pt x="2717" y="722"/>
                  <a:pt x="2717" y="722"/>
                  <a:pt x="2717" y="722"/>
                </a:cubicBezTo>
                <a:cubicBezTo>
                  <a:pt x="2717" y="720"/>
                  <a:pt x="2717" y="720"/>
                  <a:pt x="2717" y="720"/>
                </a:cubicBezTo>
                <a:cubicBezTo>
                  <a:pt x="2719" y="719"/>
                  <a:pt x="2719" y="719"/>
                  <a:pt x="2719" y="719"/>
                </a:cubicBezTo>
                <a:cubicBezTo>
                  <a:pt x="2718" y="717"/>
                  <a:pt x="2718" y="717"/>
                  <a:pt x="2718" y="717"/>
                </a:cubicBezTo>
                <a:cubicBezTo>
                  <a:pt x="2716" y="717"/>
                  <a:pt x="2716" y="717"/>
                  <a:pt x="2716" y="717"/>
                </a:cubicBezTo>
                <a:cubicBezTo>
                  <a:pt x="2715" y="716"/>
                  <a:pt x="2715" y="716"/>
                  <a:pt x="2715" y="716"/>
                </a:cubicBezTo>
                <a:cubicBezTo>
                  <a:pt x="2716" y="715"/>
                  <a:pt x="2716" y="715"/>
                  <a:pt x="2716" y="715"/>
                </a:cubicBezTo>
                <a:cubicBezTo>
                  <a:pt x="2717" y="716"/>
                  <a:pt x="2717" y="716"/>
                  <a:pt x="2717" y="716"/>
                </a:cubicBezTo>
                <a:cubicBezTo>
                  <a:pt x="2718" y="715"/>
                  <a:pt x="2718" y="715"/>
                  <a:pt x="2718" y="715"/>
                </a:cubicBezTo>
                <a:cubicBezTo>
                  <a:pt x="2717" y="714"/>
                  <a:pt x="2717" y="714"/>
                  <a:pt x="2717" y="714"/>
                </a:cubicBezTo>
                <a:cubicBezTo>
                  <a:pt x="2716" y="713"/>
                  <a:pt x="2716" y="713"/>
                  <a:pt x="2716" y="713"/>
                </a:cubicBezTo>
                <a:cubicBezTo>
                  <a:pt x="2717" y="712"/>
                  <a:pt x="2717" y="712"/>
                  <a:pt x="2717" y="712"/>
                </a:cubicBezTo>
                <a:cubicBezTo>
                  <a:pt x="2718" y="712"/>
                  <a:pt x="2718" y="712"/>
                  <a:pt x="2718" y="712"/>
                </a:cubicBezTo>
                <a:cubicBezTo>
                  <a:pt x="2718" y="711"/>
                  <a:pt x="2718" y="711"/>
                  <a:pt x="2718" y="711"/>
                </a:cubicBezTo>
                <a:cubicBezTo>
                  <a:pt x="2717" y="710"/>
                  <a:pt x="2717" y="710"/>
                  <a:pt x="2717" y="710"/>
                </a:cubicBezTo>
                <a:cubicBezTo>
                  <a:pt x="2714" y="710"/>
                  <a:pt x="2714" y="710"/>
                  <a:pt x="2714" y="710"/>
                </a:cubicBezTo>
                <a:cubicBezTo>
                  <a:pt x="2714" y="709"/>
                  <a:pt x="2714" y="709"/>
                  <a:pt x="2714" y="709"/>
                </a:cubicBezTo>
                <a:cubicBezTo>
                  <a:pt x="2716" y="707"/>
                  <a:pt x="2716" y="707"/>
                  <a:pt x="2716" y="707"/>
                </a:cubicBezTo>
                <a:cubicBezTo>
                  <a:pt x="2718" y="708"/>
                  <a:pt x="2718" y="708"/>
                  <a:pt x="2718" y="708"/>
                </a:cubicBezTo>
                <a:cubicBezTo>
                  <a:pt x="2719" y="707"/>
                  <a:pt x="2719" y="707"/>
                  <a:pt x="2719" y="707"/>
                </a:cubicBezTo>
                <a:cubicBezTo>
                  <a:pt x="2719" y="706"/>
                  <a:pt x="2719" y="706"/>
                  <a:pt x="2719" y="706"/>
                </a:cubicBezTo>
                <a:cubicBezTo>
                  <a:pt x="2720" y="707"/>
                  <a:pt x="2720" y="707"/>
                  <a:pt x="2720" y="707"/>
                </a:cubicBezTo>
                <a:cubicBezTo>
                  <a:pt x="2720" y="708"/>
                  <a:pt x="2720" y="708"/>
                  <a:pt x="2720" y="708"/>
                </a:cubicBezTo>
                <a:cubicBezTo>
                  <a:pt x="2722" y="707"/>
                  <a:pt x="2722" y="707"/>
                  <a:pt x="2722" y="707"/>
                </a:cubicBezTo>
                <a:cubicBezTo>
                  <a:pt x="2721" y="705"/>
                  <a:pt x="2721" y="705"/>
                  <a:pt x="2721" y="705"/>
                </a:cubicBezTo>
                <a:cubicBezTo>
                  <a:pt x="2721" y="702"/>
                  <a:pt x="2721" y="702"/>
                  <a:pt x="2721" y="702"/>
                </a:cubicBezTo>
                <a:cubicBezTo>
                  <a:pt x="2720" y="702"/>
                  <a:pt x="2720" y="702"/>
                  <a:pt x="2720" y="702"/>
                </a:cubicBezTo>
                <a:cubicBezTo>
                  <a:pt x="2718" y="703"/>
                  <a:pt x="2718" y="703"/>
                  <a:pt x="2718" y="703"/>
                </a:cubicBezTo>
                <a:cubicBezTo>
                  <a:pt x="2719" y="704"/>
                  <a:pt x="2719" y="704"/>
                  <a:pt x="2719" y="704"/>
                </a:cubicBezTo>
                <a:cubicBezTo>
                  <a:pt x="2719" y="704"/>
                  <a:pt x="2719" y="704"/>
                  <a:pt x="2719" y="704"/>
                </a:cubicBezTo>
                <a:cubicBezTo>
                  <a:pt x="2717" y="704"/>
                  <a:pt x="2717" y="704"/>
                  <a:pt x="2717" y="704"/>
                </a:cubicBezTo>
                <a:cubicBezTo>
                  <a:pt x="2714" y="706"/>
                  <a:pt x="2714" y="706"/>
                  <a:pt x="2714" y="706"/>
                </a:cubicBezTo>
                <a:cubicBezTo>
                  <a:pt x="2713" y="706"/>
                  <a:pt x="2713" y="706"/>
                  <a:pt x="2713" y="706"/>
                </a:cubicBezTo>
                <a:cubicBezTo>
                  <a:pt x="2713" y="704"/>
                  <a:pt x="2713" y="704"/>
                  <a:pt x="2713" y="704"/>
                </a:cubicBezTo>
                <a:cubicBezTo>
                  <a:pt x="2715" y="704"/>
                  <a:pt x="2715" y="704"/>
                  <a:pt x="2715" y="704"/>
                </a:cubicBezTo>
                <a:cubicBezTo>
                  <a:pt x="2720" y="699"/>
                  <a:pt x="2720" y="699"/>
                  <a:pt x="2720" y="699"/>
                </a:cubicBezTo>
                <a:cubicBezTo>
                  <a:pt x="2720" y="699"/>
                  <a:pt x="2720" y="699"/>
                  <a:pt x="2720" y="699"/>
                </a:cubicBezTo>
                <a:cubicBezTo>
                  <a:pt x="2718" y="699"/>
                  <a:pt x="2718" y="699"/>
                  <a:pt x="2718" y="699"/>
                </a:cubicBezTo>
                <a:cubicBezTo>
                  <a:pt x="2717" y="698"/>
                  <a:pt x="2717" y="698"/>
                  <a:pt x="2717" y="698"/>
                </a:cubicBezTo>
                <a:cubicBezTo>
                  <a:pt x="2716" y="699"/>
                  <a:pt x="2716" y="699"/>
                  <a:pt x="2716" y="699"/>
                </a:cubicBezTo>
                <a:cubicBezTo>
                  <a:pt x="2713" y="694"/>
                  <a:pt x="2713" y="694"/>
                  <a:pt x="2713" y="694"/>
                </a:cubicBezTo>
                <a:cubicBezTo>
                  <a:pt x="2711" y="694"/>
                  <a:pt x="2711" y="694"/>
                  <a:pt x="2711" y="694"/>
                </a:cubicBezTo>
                <a:cubicBezTo>
                  <a:pt x="2707" y="697"/>
                  <a:pt x="2707" y="697"/>
                  <a:pt x="2707" y="697"/>
                </a:cubicBezTo>
                <a:cubicBezTo>
                  <a:pt x="2706" y="696"/>
                  <a:pt x="2706" y="696"/>
                  <a:pt x="2706" y="696"/>
                </a:cubicBezTo>
                <a:cubicBezTo>
                  <a:pt x="2704" y="693"/>
                  <a:pt x="2704" y="693"/>
                  <a:pt x="2704" y="693"/>
                </a:cubicBezTo>
                <a:cubicBezTo>
                  <a:pt x="2702" y="694"/>
                  <a:pt x="2702" y="694"/>
                  <a:pt x="2702" y="694"/>
                </a:cubicBezTo>
                <a:cubicBezTo>
                  <a:pt x="2700" y="695"/>
                  <a:pt x="2700" y="695"/>
                  <a:pt x="2700" y="695"/>
                </a:cubicBezTo>
                <a:cubicBezTo>
                  <a:pt x="2699" y="697"/>
                  <a:pt x="2699" y="697"/>
                  <a:pt x="2699" y="697"/>
                </a:cubicBezTo>
                <a:cubicBezTo>
                  <a:pt x="2699" y="695"/>
                  <a:pt x="2699" y="695"/>
                  <a:pt x="2699" y="695"/>
                </a:cubicBezTo>
                <a:cubicBezTo>
                  <a:pt x="2702" y="693"/>
                  <a:pt x="2702" y="693"/>
                  <a:pt x="2702" y="693"/>
                </a:cubicBezTo>
                <a:cubicBezTo>
                  <a:pt x="2703" y="693"/>
                  <a:pt x="2703" y="693"/>
                  <a:pt x="2703" y="693"/>
                </a:cubicBezTo>
                <a:cubicBezTo>
                  <a:pt x="2704" y="692"/>
                  <a:pt x="2704" y="692"/>
                  <a:pt x="2704" y="692"/>
                </a:cubicBezTo>
                <a:cubicBezTo>
                  <a:pt x="2707" y="693"/>
                  <a:pt x="2707" y="693"/>
                  <a:pt x="2707" y="693"/>
                </a:cubicBezTo>
                <a:cubicBezTo>
                  <a:pt x="2708" y="692"/>
                  <a:pt x="2708" y="692"/>
                  <a:pt x="2708" y="692"/>
                </a:cubicBezTo>
                <a:cubicBezTo>
                  <a:pt x="2709" y="691"/>
                  <a:pt x="2709" y="691"/>
                  <a:pt x="2709" y="691"/>
                </a:cubicBezTo>
                <a:cubicBezTo>
                  <a:pt x="2710" y="690"/>
                  <a:pt x="2710" y="690"/>
                  <a:pt x="2710" y="690"/>
                </a:cubicBezTo>
                <a:cubicBezTo>
                  <a:pt x="2711" y="690"/>
                  <a:pt x="2711" y="690"/>
                  <a:pt x="2711" y="690"/>
                </a:cubicBezTo>
                <a:cubicBezTo>
                  <a:pt x="2713" y="687"/>
                  <a:pt x="2713" y="687"/>
                  <a:pt x="2713" y="687"/>
                </a:cubicBezTo>
                <a:cubicBezTo>
                  <a:pt x="2716" y="687"/>
                  <a:pt x="2716" y="687"/>
                  <a:pt x="2716" y="687"/>
                </a:cubicBezTo>
                <a:cubicBezTo>
                  <a:pt x="2716" y="685"/>
                  <a:pt x="2716" y="685"/>
                  <a:pt x="2716" y="685"/>
                </a:cubicBezTo>
                <a:cubicBezTo>
                  <a:pt x="2714" y="681"/>
                  <a:pt x="2714" y="681"/>
                  <a:pt x="2714" y="681"/>
                </a:cubicBezTo>
                <a:cubicBezTo>
                  <a:pt x="2708" y="678"/>
                  <a:pt x="2708" y="678"/>
                  <a:pt x="2708" y="678"/>
                </a:cubicBezTo>
                <a:cubicBezTo>
                  <a:pt x="2705" y="676"/>
                  <a:pt x="2705" y="676"/>
                  <a:pt x="2705" y="676"/>
                </a:cubicBezTo>
                <a:cubicBezTo>
                  <a:pt x="2701" y="672"/>
                  <a:pt x="2701" y="672"/>
                  <a:pt x="2701" y="672"/>
                </a:cubicBezTo>
                <a:cubicBezTo>
                  <a:pt x="2699" y="672"/>
                  <a:pt x="2699" y="672"/>
                  <a:pt x="2699" y="672"/>
                </a:cubicBezTo>
                <a:cubicBezTo>
                  <a:pt x="2696" y="674"/>
                  <a:pt x="2696" y="674"/>
                  <a:pt x="2696" y="674"/>
                </a:cubicBezTo>
                <a:cubicBezTo>
                  <a:pt x="2694" y="674"/>
                  <a:pt x="2694" y="674"/>
                  <a:pt x="2694" y="674"/>
                </a:cubicBezTo>
                <a:cubicBezTo>
                  <a:pt x="2691" y="672"/>
                  <a:pt x="2691" y="672"/>
                  <a:pt x="2691" y="672"/>
                </a:cubicBezTo>
                <a:cubicBezTo>
                  <a:pt x="2691" y="671"/>
                  <a:pt x="2691" y="671"/>
                  <a:pt x="2691" y="671"/>
                </a:cubicBezTo>
                <a:cubicBezTo>
                  <a:pt x="2690" y="670"/>
                  <a:pt x="2690" y="670"/>
                  <a:pt x="2690" y="670"/>
                </a:cubicBezTo>
                <a:cubicBezTo>
                  <a:pt x="2688" y="671"/>
                  <a:pt x="2688" y="671"/>
                  <a:pt x="2688" y="671"/>
                </a:cubicBezTo>
                <a:cubicBezTo>
                  <a:pt x="2685" y="671"/>
                  <a:pt x="2685" y="671"/>
                  <a:pt x="2685" y="671"/>
                </a:cubicBezTo>
                <a:cubicBezTo>
                  <a:pt x="2683" y="671"/>
                  <a:pt x="2683" y="671"/>
                  <a:pt x="2683" y="671"/>
                </a:cubicBezTo>
                <a:cubicBezTo>
                  <a:pt x="2680" y="675"/>
                  <a:pt x="2680" y="675"/>
                  <a:pt x="2680" y="675"/>
                </a:cubicBezTo>
                <a:cubicBezTo>
                  <a:pt x="2683" y="670"/>
                  <a:pt x="2683" y="670"/>
                  <a:pt x="2683" y="670"/>
                </a:cubicBezTo>
                <a:cubicBezTo>
                  <a:pt x="2685" y="669"/>
                  <a:pt x="2685" y="669"/>
                  <a:pt x="2685" y="669"/>
                </a:cubicBezTo>
                <a:cubicBezTo>
                  <a:pt x="2686" y="670"/>
                  <a:pt x="2686" y="670"/>
                  <a:pt x="2686" y="670"/>
                </a:cubicBezTo>
                <a:cubicBezTo>
                  <a:pt x="2687" y="670"/>
                  <a:pt x="2687" y="670"/>
                  <a:pt x="2687" y="670"/>
                </a:cubicBezTo>
                <a:cubicBezTo>
                  <a:pt x="2688" y="669"/>
                  <a:pt x="2688" y="669"/>
                  <a:pt x="2688" y="669"/>
                </a:cubicBezTo>
                <a:cubicBezTo>
                  <a:pt x="2689" y="670"/>
                  <a:pt x="2689" y="670"/>
                  <a:pt x="2689" y="670"/>
                </a:cubicBezTo>
                <a:cubicBezTo>
                  <a:pt x="2692" y="669"/>
                  <a:pt x="2692" y="669"/>
                  <a:pt x="2692" y="669"/>
                </a:cubicBezTo>
                <a:cubicBezTo>
                  <a:pt x="2693" y="672"/>
                  <a:pt x="2693" y="672"/>
                  <a:pt x="2693" y="672"/>
                </a:cubicBezTo>
                <a:cubicBezTo>
                  <a:pt x="2694" y="673"/>
                  <a:pt x="2694" y="673"/>
                  <a:pt x="2694" y="673"/>
                </a:cubicBezTo>
                <a:cubicBezTo>
                  <a:pt x="2696" y="673"/>
                  <a:pt x="2696" y="673"/>
                  <a:pt x="2696" y="673"/>
                </a:cubicBezTo>
                <a:cubicBezTo>
                  <a:pt x="2698" y="671"/>
                  <a:pt x="2698" y="671"/>
                  <a:pt x="2698" y="671"/>
                </a:cubicBezTo>
                <a:cubicBezTo>
                  <a:pt x="2701" y="672"/>
                  <a:pt x="2701" y="672"/>
                  <a:pt x="2701" y="672"/>
                </a:cubicBezTo>
                <a:cubicBezTo>
                  <a:pt x="2703" y="673"/>
                  <a:pt x="2703" y="673"/>
                  <a:pt x="2703" y="673"/>
                </a:cubicBezTo>
                <a:cubicBezTo>
                  <a:pt x="2705" y="673"/>
                  <a:pt x="2705" y="673"/>
                  <a:pt x="2705" y="673"/>
                </a:cubicBezTo>
                <a:cubicBezTo>
                  <a:pt x="2707" y="675"/>
                  <a:pt x="2707" y="675"/>
                  <a:pt x="2707" y="675"/>
                </a:cubicBezTo>
                <a:cubicBezTo>
                  <a:pt x="2710" y="674"/>
                  <a:pt x="2710" y="674"/>
                  <a:pt x="2710" y="674"/>
                </a:cubicBezTo>
                <a:cubicBezTo>
                  <a:pt x="2714" y="675"/>
                  <a:pt x="2714" y="675"/>
                  <a:pt x="2714" y="675"/>
                </a:cubicBezTo>
                <a:cubicBezTo>
                  <a:pt x="2715" y="674"/>
                  <a:pt x="2715" y="674"/>
                  <a:pt x="2715" y="674"/>
                </a:cubicBezTo>
                <a:cubicBezTo>
                  <a:pt x="2713" y="671"/>
                  <a:pt x="2713" y="671"/>
                  <a:pt x="2713" y="671"/>
                </a:cubicBezTo>
                <a:cubicBezTo>
                  <a:pt x="2712" y="671"/>
                  <a:pt x="2712" y="671"/>
                  <a:pt x="2712" y="671"/>
                </a:cubicBezTo>
                <a:cubicBezTo>
                  <a:pt x="2710" y="668"/>
                  <a:pt x="2710" y="668"/>
                  <a:pt x="2710" y="668"/>
                </a:cubicBezTo>
                <a:cubicBezTo>
                  <a:pt x="2710" y="667"/>
                  <a:pt x="2710" y="667"/>
                  <a:pt x="2710" y="667"/>
                </a:cubicBezTo>
                <a:cubicBezTo>
                  <a:pt x="2709" y="666"/>
                  <a:pt x="2709" y="666"/>
                  <a:pt x="2709" y="666"/>
                </a:cubicBezTo>
                <a:cubicBezTo>
                  <a:pt x="2707" y="667"/>
                  <a:pt x="2707" y="667"/>
                  <a:pt x="2707" y="667"/>
                </a:cubicBezTo>
                <a:cubicBezTo>
                  <a:pt x="2705" y="666"/>
                  <a:pt x="2705" y="666"/>
                  <a:pt x="2705" y="666"/>
                </a:cubicBezTo>
                <a:cubicBezTo>
                  <a:pt x="2702" y="662"/>
                  <a:pt x="2702" y="662"/>
                  <a:pt x="2702" y="662"/>
                </a:cubicBezTo>
                <a:cubicBezTo>
                  <a:pt x="2702" y="659"/>
                  <a:pt x="2702" y="659"/>
                  <a:pt x="2702" y="659"/>
                </a:cubicBezTo>
                <a:cubicBezTo>
                  <a:pt x="2698" y="656"/>
                  <a:pt x="2698" y="656"/>
                  <a:pt x="2698" y="656"/>
                </a:cubicBezTo>
                <a:cubicBezTo>
                  <a:pt x="2698" y="653"/>
                  <a:pt x="2698" y="653"/>
                  <a:pt x="2698" y="653"/>
                </a:cubicBezTo>
                <a:cubicBezTo>
                  <a:pt x="2696" y="652"/>
                  <a:pt x="2696" y="652"/>
                  <a:pt x="2696" y="652"/>
                </a:cubicBezTo>
                <a:cubicBezTo>
                  <a:pt x="2697" y="650"/>
                  <a:pt x="2697" y="650"/>
                  <a:pt x="2697" y="650"/>
                </a:cubicBezTo>
                <a:cubicBezTo>
                  <a:pt x="2696" y="650"/>
                  <a:pt x="2696" y="650"/>
                  <a:pt x="2696" y="650"/>
                </a:cubicBezTo>
                <a:cubicBezTo>
                  <a:pt x="2693" y="644"/>
                  <a:pt x="2693" y="644"/>
                  <a:pt x="2693" y="644"/>
                </a:cubicBezTo>
                <a:cubicBezTo>
                  <a:pt x="2687" y="641"/>
                  <a:pt x="2687" y="641"/>
                  <a:pt x="2687" y="641"/>
                </a:cubicBezTo>
                <a:cubicBezTo>
                  <a:pt x="2686" y="642"/>
                  <a:pt x="2686" y="642"/>
                  <a:pt x="2686" y="642"/>
                </a:cubicBezTo>
                <a:cubicBezTo>
                  <a:pt x="2686" y="640"/>
                  <a:pt x="2686" y="640"/>
                  <a:pt x="2686" y="640"/>
                </a:cubicBezTo>
                <a:cubicBezTo>
                  <a:pt x="2681" y="638"/>
                  <a:pt x="2681" y="638"/>
                  <a:pt x="2681" y="638"/>
                </a:cubicBezTo>
                <a:cubicBezTo>
                  <a:pt x="2680" y="638"/>
                  <a:pt x="2680" y="638"/>
                  <a:pt x="2680" y="638"/>
                </a:cubicBezTo>
                <a:cubicBezTo>
                  <a:pt x="2680" y="633"/>
                  <a:pt x="2680" y="633"/>
                  <a:pt x="2680" y="633"/>
                </a:cubicBezTo>
                <a:cubicBezTo>
                  <a:pt x="2681" y="629"/>
                  <a:pt x="2681" y="629"/>
                  <a:pt x="2681" y="629"/>
                </a:cubicBezTo>
                <a:cubicBezTo>
                  <a:pt x="2680" y="627"/>
                  <a:pt x="2680" y="627"/>
                  <a:pt x="2680" y="627"/>
                </a:cubicBezTo>
                <a:cubicBezTo>
                  <a:pt x="2681" y="624"/>
                  <a:pt x="2681" y="624"/>
                  <a:pt x="2681" y="624"/>
                </a:cubicBezTo>
                <a:cubicBezTo>
                  <a:pt x="2681" y="625"/>
                  <a:pt x="2681" y="625"/>
                  <a:pt x="2681" y="625"/>
                </a:cubicBezTo>
                <a:cubicBezTo>
                  <a:pt x="2683" y="624"/>
                  <a:pt x="2683" y="624"/>
                  <a:pt x="2683" y="624"/>
                </a:cubicBezTo>
                <a:cubicBezTo>
                  <a:pt x="2684" y="621"/>
                  <a:pt x="2684" y="621"/>
                  <a:pt x="2684" y="621"/>
                </a:cubicBezTo>
                <a:cubicBezTo>
                  <a:pt x="2685" y="622"/>
                  <a:pt x="2685" y="622"/>
                  <a:pt x="2685" y="622"/>
                </a:cubicBezTo>
                <a:cubicBezTo>
                  <a:pt x="2687" y="620"/>
                  <a:pt x="2687" y="620"/>
                  <a:pt x="2687" y="620"/>
                </a:cubicBezTo>
                <a:cubicBezTo>
                  <a:pt x="2685" y="618"/>
                  <a:pt x="2685" y="618"/>
                  <a:pt x="2685" y="618"/>
                </a:cubicBezTo>
                <a:cubicBezTo>
                  <a:pt x="2684" y="617"/>
                  <a:pt x="2684" y="617"/>
                  <a:pt x="2684" y="617"/>
                </a:cubicBezTo>
                <a:cubicBezTo>
                  <a:pt x="2686" y="615"/>
                  <a:pt x="2686" y="615"/>
                  <a:pt x="2686" y="615"/>
                </a:cubicBezTo>
                <a:cubicBezTo>
                  <a:pt x="2689" y="616"/>
                  <a:pt x="2689" y="616"/>
                  <a:pt x="2689" y="616"/>
                </a:cubicBezTo>
                <a:cubicBezTo>
                  <a:pt x="2689" y="613"/>
                  <a:pt x="2689" y="613"/>
                  <a:pt x="2689" y="613"/>
                </a:cubicBezTo>
                <a:cubicBezTo>
                  <a:pt x="2692" y="613"/>
                  <a:pt x="2692" y="613"/>
                  <a:pt x="2692" y="613"/>
                </a:cubicBezTo>
                <a:cubicBezTo>
                  <a:pt x="2692" y="611"/>
                  <a:pt x="2692" y="611"/>
                  <a:pt x="2692" y="611"/>
                </a:cubicBezTo>
                <a:cubicBezTo>
                  <a:pt x="2689" y="610"/>
                  <a:pt x="2689" y="610"/>
                  <a:pt x="2689" y="610"/>
                </a:cubicBezTo>
                <a:cubicBezTo>
                  <a:pt x="2692" y="610"/>
                  <a:pt x="2692" y="610"/>
                  <a:pt x="2692" y="610"/>
                </a:cubicBezTo>
                <a:cubicBezTo>
                  <a:pt x="2693" y="611"/>
                  <a:pt x="2693" y="611"/>
                  <a:pt x="2693" y="611"/>
                </a:cubicBezTo>
                <a:cubicBezTo>
                  <a:pt x="2694" y="610"/>
                  <a:pt x="2694" y="610"/>
                  <a:pt x="2694" y="610"/>
                </a:cubicBezTo>
                <a:cubicBezTo>
                  <a:pt x="2696" y="610"/>
                  <a:pt x="2696" y="610"/>
                  <a:pt x="2696" y="610"/>
                </a:cubicBezTo>
                <a:cubicBezTo>
                  <a:pt x="2697" y="608"/>
                  <a:pt x="2697" y="608"/>
                  <a:pt x="2697" y="608"/>
                </a:cubicBezTo>
                <a:cubicBezTo>
                  <a:pt x="2699" y="608"/>
                  <a:pt x="2699" y="608"/>
                  <a:pt x="2699" y="608"/>
                </a:cubicBezTo>
                <a:cubicBezTo>
                  <a:pt x="2701" y="605"/>
                  <a:pt x="2701" y="605"/>
                  <a:pt x="2701" y="605"/>
                </a:cubicBezTo>
                <a:cubicBezTo>
                  <a:pt x="2702" y="607"/>
                  <a:pt x="2702" y="607"/>
                  <a:pt x="2702" y="607"/>
                </a:cubicBezTo>
                <a:cubicBezTo>
                  <a:pt x="2702" y="605"/>
                  <a:pt x="2702" y="605"/>
                  <a:pt x="2702" y="605"/>
                </a:cubicBezTo>
                <a:cubicBezTo>
                  <a:pt x="2703" y="607"/>
                  <a:pt x="2703" y="607"/>
                  <a:pt x="2703" y="607"/>
                </a:cubicBezTo>
                <a:cubicBezTo>
                  <a:pt x="2705" y="608"/>
                  <a:pt x="2705" y="608"/>
                  <a:pt x="2705" y="608"/>
                </a:cubicBezTo>
                <a:cubicBezTo>
                  <a:pt x="2708" y="606"/>
                  <a:pt x="2708" y="606"/>
                  <a:pt x="2708" y="606"/>
                </a:cubicBezTo>
                <a:cubicBezTo>
                  <a:pt x="2708" y="605"/>
                  <a:pt x="2708" y="605"/>
                  <a:pt x="2708" y="605"/>
                </a:cubicBezTo>
                <a:cubicBezTo>
                  <a:pt x="2706" y="605"/>
                  <a:pt x="2706" y="605"/>
                  <a:pt x="2706" y="605"/>
                </a:cubicBezTo>
                <a:cubicBezTo>
                  <a:pt x="2706" y="603"/>
                  <a:pt x="2706" y="603"/>
                  <a:pt x="2706" y="603"/>
                </a:cubicBezTo>
                <a:cubicBezTo>
                  <a:pt x="2707" y="602"/>
                  <a:pt x="2707" y="602"/>
                  <a:pt x="2707" y="602"/>
                </a:cubicBezTo>
                <a:cubicBezTo>
                  <a:pt x="2708" y="602"/>
                  <a:pt x="2708" y="602"/>
                  <a:pt x="2708" y="602"/>
                </a:cubicBezTo>
                <a:cubicBezTo>
                  <a:pt x="2707" y="600"/>
                  <a:pt x="2707" y="600"/>
                  <a:pt x="2707" y="600"/>
                </a:cubicBezTo>
                <a:cubicBezTo>
                  <a:pt x="2707" y="599"/>
                  <a:pt x="2707" y="599"/>
                  <a:pt x="2707" y="599"/>
                </a:cubicBezTo>
                <a:cubicBezTo>
                  <a:pt x="2709" y="598"/>
                  <a:pt x="2709" y="598"/>
                  <a:pt x="2709" y="598"/>
                </a:cubicBezTo>
                <a:cubicBezTo>
                  <a:pt x="2708" y="597"/>
                  <a:pt x="2708" y="597"/>
                  <a:pt x="2708" y="597"/>
                </a:cubicBezTo>
                <a:cubicBezTo>
                  <a:pt x="2705" y="598"/>
                  <a:pt x="2705" y="598"/>
                  <a:pt x="2705" y="598"/>
                </a:cubicBezTo>
                <a:cubicBezTo>
                  <a:pt x="2702" y="598"/>
                  <a:pt x="2702" y="598"/>
                  <a:pt x="2702" y="598"/>
                </a:cubicBezTo>
                <a:cubicBezTo>
                  <a:pt x="2703" y="597"/>
                  <a:pt x="2703" y="597"/>
                  <a:pt x="2703" y="597"/>
                </a:cubicBezTo>
                <a:cubicBezTo>
                  <a:pt x="2700" y="597"/>
                  <a:pt x="2700" y="597"/>
                  <a:pt x="2700" y="597"/>
                </a:cubicBezTo>
                <a:cubicBezTo>
                  <a:pt x="2699" y="598"/>
                  <a:pt x="2699" y="598"/>
                  <a:pt x="2699" y="598"/>
                </a:cubicBezTo>
                <a:cubicBezTo>
                  <a:pt x="2693" y="598"/>
                  <a:pt x="2693" y="598"/>
                  <a:pt x="2693" y="598"/>
                </a:cubicBezTo>
                <a:cubicBezTo>
                  <a:pt x="2692" y="597"/>
                  <a:pt x="2692" y="597"/>
                  <a:pt x="2692" y="597"/>
                </a:cubicBezTo>
                <a:cubicBezTo>
                  <a:pt x="2691" y="596"/>
                  <a:pt x="2691" y="596"/>
                  <a:pt x="2691" y="596"/>
                </a:cubicBezTo>
                <a:cubicBezTo>
                  <a:pt x="2689" y="595"/>
                  <a:pt x="2689" y="595"/>
                  <a:pt x="2689" y="595"/>
                </a:cubicBezTo>
                <a:cubicBezTo>
                  <a:pt x="2688" y="594"/>
                  <a:pt x="2688" y="594"/>
                  <a:pt x="2688" y="594"/>
                </a:cubicBezTo>
                <a:cubicBezTo>
                  <a:pt x="2688" y="593"/>
                  <a:pt x="2688" y="593"/>
                  <a:pt x="2688" y="593"/>
                </a:cubicBezTo>
                <a:cubicBezTo>
                  <a:pt x="2683" y="596"/>
                  <a:pt x="2683" y="596"/>
                  <a:pt x="2683" y="596"/>
                </a:cubicBezTo>
                <a:cubicBezTo>
                  <a:pt x="2681" y="596"/>
                  <a:pt x="2681" y="596"/>
                  <a:pt x="2681" y="596"/>
                </a:cubicBezTo>
                <a:cubicBezTo>
                  <a:pt x="2681" y="596"/>
                  <a:pt x="2681" y="596"/>
                  <a:pt x="2681" y="596"/>
                </a:cubicBezTo>
                <a:cubicBezTo>
                  <a:pt x="2681" y="598"/>
                  <a:pt x="2681" y="598"/>
                  <a:pt x="2681" y="598"/>
                </a:cubicBezTo>
                <a:cubicBezTo>
                  <a:pt x="2680" y="599"/>
                  <a:pt x="2680" y="599"/>
                  <a:pt x="2680" y="599"/>
                </a:cubicBezTo>
                <a:cubicBezTo>
                  <a:pt x="2677" y="600"/>
                  <a:pt x="2677" y="600"/>
                  <a:pt x="2677" y="600"/>
                </a:cubicBezTo>
                <a:cubicBezTo>
                  <a:pt x="2678" y="601"/>
                  <a:pt x="2678" y="601"/>
                  <a:pt x="2678" y="601"/>
                </a:cubicBezTo>
                <a:cubicBezTo>
                  <a:pt x="2679" y="602"/>
                  <a:pt x="2679" y="602"/>
                  <a:pt x="2679" y="602"/>
                </a:cubicBezTo>
                <a:cubicBezTo>
                  <a:pt x="2678" y="604"/>
                  <a:pt x="2678" y="604"/>
                  <a:pt x="2678" y="604"/>
                </a:cubicBezTo>
                <a:cubicBezTo>
                  <a:pt x="2677" y="605"/>
                  <a:pt x="2677" y="605"/>
                  <a:pt x="2677" y="605"/>
                </a:cubicBezTo>
                <a:cubicBezTo>
                  <a:pt x="2675" y="604"/>
                  <a:pt x="2675" y="604"/>
                  <a:pt x="2675" y="604"/>
                </a:cubicBezTo>
                <a:cubicBezTo>
                  <a:pt x="2673" y="605"/>
                  <a:pt x="2673" y="605"/>
                  <a:pt x="2673" y="605"/>
                </a:cubicBezTo>
                <a:cubicBezTo>
                  <a:pt x="2670" y="605"/>
                  <a:pt x="2670" y="605"/>
                  <a:pt x="2670" y="605"/>
                </a:cubicBezTo>
                <a:cubicBezTo>
                  <a:pt x="2667" y="600"/>
                  <a:pt x="2667" y="600"/>
                  <a:pt x="2667" y="600"/>
                </a:cubicBezTo>
                <a:cubicBezTo>
                  <a:pt x="2667" y="597"/>
                  <a:pt x="2667" y="597"/>
                  <a:pt x="2667" y="597"/>
                </a:cubicBezTo>
                <a:cubicBezTo>
                  <a:pt x="2667" y="595"/>
                  <a:pt x="2667" y="595"/>
                  <a:pt x="2667" y="595"/>
                </a:cubicBezTo>
                <a:cubicBezTo>
                  <a:pt x="2664" y="595"/>
                  <a:pt x="2664" y="595"/>
                  <a:pt x="2664" y="595"/>
                </a:cubicBezTo>
                <a:cubicBezTo>
                  <a:pt x="2663" y="596"/>
                  <a:pt x="2663" y="596"/>
                  <a:pt x="2663" y="596"/>
                </a:cubicBezTo>
                <a:cubicBezTo>
                  <a:pt x="2663" y="595"/>
                  <a:pt x="2663" y="595"/>
                  <a:pt x="2663" y="595"/>
                </a:cubicBezTo>
                <a:cubicBezTo>
                  <a:pt x="2662" y="595"/>
                  <a:pt x="2662" y="595"/>
                  <a:pt x="2662" y="595"/>
                </a:cubicBezTo>
                <a:cubicBezTo>
                  <a:pt x="2661" y="596"/>
                  <a:pt x="2661" y="596"/>
                  <a:pt x="2661" y="596"/>
                </a:cubicBezTo>
                <a:cubicBezTo>
                  <a:pt x="2660" y="595"/>
                  <a:pt x="2660" y="595"/>
                  <a:pt x="2660" y="595"/>
                </a:cubicBezTo>
                <a:cubicBezTo>
                  <a:pt x="2660" y="596"/>
                  <a:pt x="2660" y="596"/>
                  <a:pt x="2660" y="596"/>
                </a:cubicBezTo>
                <a:cubicBezTo>
                  <a:pt x="2659" y="593"/>
                  <a:pt x="2659" y="593"/>
                  <a:pt x="2659" y="593"/>
                </a:cubicBezTo>
                <a:cubicBezTo>
                  <a:pt x="2658" y="592"/>
                  <a:pt x="2658" y="592"/>
                  <a:pt x="2658" y="592"/>
                </a:cubicBezTo>
                <a:cubicBezTo>
                  <a:pt x="2655" y="590"/>
                  <a:pt x="2655" y="590"/>
                  <a:pt x="2655" y="590"/>
                </a:cubicBezTo>
                <a:cubicBezTo>
                  <a:pt x="2653" y="588"/>
                  <a:pt x="2653" y="588"/>
                  <a:pt x="2653" y="588"/>
                </a:cubicBezTo>
                <a:cubicBezTo>
                  <a:pt x="2653" y="586"/>
                  <a:pt x="2653" y="586"/>
                  <a:pt x="2653" y="586"/>
                </a:cubicBezTo>
                <a:cubicBezTo>
                  <a:pt x="2652" y="584"/>
                  <a:pt x="2652" y="584"/>
                  <a:pt x="2652" y="584"/>
                </a:cubicBezTo>
                <a:cubicBezTo>
                  <a:pt x="2652" y="583"/>
                  <a:pt x="2652" y="583"/>
                  <a:pt x="2652" y="583"/>
                </a:cubicBezTo>
                <a:cubicBezTo>
                  <a:pt x="2652" y="582"/>
                  <a:pt x="2652" y="582"/>
                  <a:pt x="2652" y="582"/>
                </a:cubicBezTo>
                <a:cubicBezTo>
                  <a:pt x="2653" y="581"/>
                  <a:pt x="2653" y="581"/>
                  <a:pt x="2653" y="581"/>
                </a:cubicBezTo>
                <a:cubicBezTo>
                  <a:pt x="2653" y="579"/>
                  <a:pt x="2653" y="579"/>
                  <a:pt x="2653" y="579"/>
                </a:cubicBezTo>
                <a:cubicBezTo>
                  <a:pt x="2654" y="578"/>
                  <a:pt x="2654" y="578"/>
                  <a:pt x="2654" y="578"/>
                </a:cubicBezTo>
                <a:cubicBezTo>
                  <a:pt x="2654" y="577"/>
                  <a:pt x="2654" y="577"/>
                  <a:pt x="2654" y="577"/>
                </a:cubicBezTo>
                <a:cubicBezTo>
                  <a:pt x="2658" y="578"/>
                  <a:pt x="2658" y="578"/>
                  <a:pt x="2658" y="578"/>
                </a:cubicBezTo>
                <a:cubicBezTo>
                  <a:pt x="2661" y="578"/>
                  <a:pt x="2661" y="578"/>
                  <a:pt x="2661" y="578"/>
                </a:cubicBezTo>
                <a:cubicBezTo>
                  <a:pt x="2664" y="578"/>
                  <a:pt x="2664" y="578"/>
                  <a:pt x="2664" y="578"/>
                </a:cubicBezTo>
                <a:cubicBezTo>
                  <a:pt x="2665" y="576"/>
                  <a:pt x="2665" y="576"/>
                  <a:pt x="2665" y="576"/>
                </a:cubicBezTo>
                <a:cubicBezTo>
                  <a:pt x="2664" y="575"/>
                  <a:pt x="2664" y="575"/>
                  <a:pt x="2664" y="575"/>
                </a:cubicBezTo>
                <a:cubicBezTo>
                  <a:pt x="2666" y="575"/>
                  <a:pt x="2666" y="575"/>
                  <a:pt x="2666" y="575"/>
                </a:cubicBezTo>
                <a:cubicBezTo>
                  <a:pt x="2666" y="572"/>
                  <a:pt x="2666" y="572"/>
                  <a:pt x="2666" y="572"/>
                </a:cubicBezTo>
                <a:cubicBezTo>
                  <a:pt x="2665" y="572"/>
                  <a:pt x="2665" y="572"/>
                  <a:pt x="2665" y="572"/>
                </a:cubicBezTo>
                <a:cubicBezTo>
                  <a:pt x="2666" y="571"/>
                  <a:pt x="2666" y="571"/>
                  <a:pt x="2666" y="571"/>
                </a:cubicBezTo>
                <a:cubicBezTo>
                  <a:pt x="2667" y="566"/>
                  <a:pt x="2667" y="566"/>
                  <a:pt x="2667" y="566"/>
                </a:cubicBezTo>
                <a:cubicBezTo>
                  <a:pt x="2670" y="564"/>
                  <a:pt x="2670" y="564"/>
                  <a:pt x="2670" y="564"/>
                </a:cubicBezTo>
                <a:cubicBezTo>
                  <a:pt x="2672" y="563"/>
                  <a:pt x="2672" y="563"/>
                  <a:pt x="2672" y="563"/>
                </a:cubicBezTo>
                <a:cubicBezTo>
                  <a:pt x="2674" y="561"/>
                  <a:pt x="2674" y="561"/>
                  <a:pt x="2674" y="561"/>
                </a:cubicBezTo>
                <a:cubicBezTo>
                  <a:pt x="2675" y="560"/>
                  <a:pt x="2675" y="560"/>
                  <a:pt x="2675" y="560"/>
                </a:cubicBezTo>
                <a:cubicBezTo>
                  <a:pt x="2675" y="557"/>
                  <a:pt x="2675" y="557"/>
                  <a:pt x="2675" y="557"/>
                </a:cubicBezTo>
                <a:cubicBezTo>
                  <a:pt x="2677" y="554"/>
                  <a:pt x="2677" y="554"/>
                  <a:pt x="2677" y="554"/>
                </a:cubicBezTo>
                <a:cubicBezTo>
                  <a:pt x="2678" y="552"/>
                  <a:pt x="2678" y="552"/>
                  <a:pt x="2678" y="552"/>
                </a:cubicBezTo>
                <a:cubicBezTo>
                  <a:pt x="2679" y="551"/>
                  <a:pt x="2679" y="551"/>
                  <a:pt x="2679" y="551"/>
                </a:cubicBezTo>
                <a:cubicBezTo>
                  <a:pt x="2680" y="549"/>
                  <a:pt x="2680" y="549"/>
                  <a:pt x="2680" y="549"/>
                </a:cubicBezTo>
                <a:cubicBezTo>
                  <a:pt x="2682" y="549"/>
                  <a:pt x="2682" y="549"/>
                  <a:pt x="2682" y="549"/>
                </a:cubicBezTo>
                <a:cubicBezTo>
                  <a:pt x="2683" y="550"/>
                  <a:pt x="2683" y="550"/>
                  <a:pt x="2683" y="550"/>
                </a:cubicBezTo>
                <a:cubicBezTo>
                  <a:pt x="2685" y="550"/>
                  <a:pt x="2685" y="550"/>
                  <a:pt x="2685" y="550"/>
                </a:cubicBezTo>
                <a:cubicBezTo>
                  <a:pt x="2686" y="548"/>
                  <a:pt x="2686" y="548"/>
                  <a:pt x="2686" y="548"/>
                </a:cubicBezTo>
                <a:cubicBezTo>
                  <a:pt x="2689" y="552"/>
                  <a:pt x="2689" y="552"/>
                  <a:pt x="2689" y="552"/>
                </a:cubicBezTo>
                <a:cubicBezTo>
                  <a:pt x="2693" y="554"/>
                  <a:pt x="2693" y="554"/>
                  <a:pt x="2693" y="554"/>
                </a:cubicBezTo>
                <a:cubicBezTo>
                  <a:pt x="2694" y="556"/>
                  <a:pt x="2694" y="556"/>
                  <a:pt x="2694" y="556"/>
                </a:cubicBezTo>
                <a:cubicBezTo>
                  <a:pt x="2692" y="557"/>
                  <a:pt x="2692" y="557"/>
                  <a:pt x="2692" y="557"/>
                </a:cubicBezTo>
                <a:cubicBezTo>
                  <a:pt x="2692" y="558"/>
                  <a:pt x="2692" y="558"/>
                  <a:pt x="2692" y="558"/>
                </a:cubicBezTo>
                <a:cubicBezTo>
                  <a:pt x="2690" y="561"/>
                  <a:pt x="2690" y="561"/>
                  <a:pt x="2690" y="561"/>
                </a:cubicBezTo>
                <a:cubicBezTo>
                  <a:pt x="2689" y="563"/>
                  <a:pt x="2689" y="563"/>
                  <a:pt x="2689" y="563"/>
                </a:cubicBezTo>
                <a:cubicBezTo>
                  <a:pt x="2688" y="563"/>
                  <a:pt x="2688" y="563"/>
                  <a:pt x="2688" y="563"/>
                </a:cubicBezTo>
                <a:cubicBezTo>
                  <a:pt x="2688" y="564"/>
                  <a:pt x="2688" y="564"/>
                  <a:pt x="2688" y="564"/>
                </a:cubicBezTo>
                <a:cubicBezTo>
                  <a:pt x="2687" y="567"/>
                  <a:pt x="2687" y="567"/>
                  <a:pt x="2687" y="567"/>
                </a:cubicBezTo>
                <a:cubicBezTo>
                  <a:pt x="2690" y="569"/>
                  <a:pt x="2690" y="569"/>
                  <a:pt x="2690" y="569"/>
                </a:cubicBezTo>
                <a:cubicBezTo>
                  <a:pt x="2689" y="570"/>
                  <a:pt x="2689" y="570"/>
                  <a:pt x="2689" y="570"/>
                </a:cubicBezTo>
                <a:cubicBezTo>
                  <a:pt x="2689" y="571"/>
                  <a:pt x="2689" y="571"/>
                  <a:pt x="2689" y="571"/>
                </a:cubicBezTo>
                <a:cubicBezTo>
                  <a:pt x="2689" y="572"/>
                  <a:pt x="2689" y="572"/>
                  <a:pt x="2689" y="572"/>
                </a:cubicBezTo>
                <a:cubicBezTo>
                  <a:pt x="2689" y="573"/>
                  <a:pt x="2689" y="573"/>
                  <a:pt x="2689" y="573"/>
                </a:cubicBezTo>
                <a:cubicBezTo>
                  <a:pt x="2692" y="572"/>
                  <a:pt x="2692" y="572"/>
                  <a:pt x="2692" y="572"/>
                </a:cubicBezTo>
                <a:cubicBezTo>
                  <a:pt x="2694" y="570"/>
                  <a:pt x="2694" y="570"/>
                  <a:pt x="2694" y="570"/>
                </a:cubicBezTo>
                <a:cubicBezTo>
                  <a:pt x="2693" y="572"/>
                  <a:pt x="2693" y="572"/>
                  <a:pt x="2693" y="572"/>
                </a:cubicBezTo>
                <a:cubicBezTo>
                  <a:pt x="2691" y="573"/>
                  <a:pt x="2691" y="573"/>
                  <a:pt x="2691" y="573"/>
                </a:cubicBezTo>
                <a:cubicBezTo>
                  <a:pt x="2691" y="574"/>
                  <a:pt x="2691" y="574"/>
                  <a:pt x="2691" y="574"/>
                </a:cubicBezTo>
                <a:cubicBezTo>
                  <a:pt x="2693" y="575"/>
                  <a:pt x="2693" y="575"/>
                  <a:pt x="2693" y="575"/>
                </a:cubicBezTo>
                <a:cubicBezTo>
                  <a:pt x="2692" y="576"/>
                  <a:pt x="2692" y="576"/>
                  <a:pt x="2692" y="576"/>
                </a:cubicBezTo>
                <a:cubicBezTo>
                  <a:pt x="2692" y="576"/>
                  <a:pt x="2692" y="576"/>
                  <a:pt x="2692" y="576"/>
                </a:cubicBezTo>
                <a:cubicBezTo>
                  <a:pt x="2689" y="576"/>
                  <a:pt x="2689" y="576"/>
                  <a:pt x="2689" y="576"/>
                </a:cubicBezTo>
                <a:cubicBezTo>
                  <a:pt x="2688" y="578"/>
                  <a:pt x="2688" y="578"/>
                  <a:pt x="2688" y="578"/>
                </a:cubicBezTo>
                <a:cubicBezTo>
                  <a:pt x="2687" y="578"/>
                  <a:pt x="2687" y="578"/>
                  <a:pt x="2687" y="578"/>
                </a:cubicBezTo>
                <a:cubicBezTo>
                  <a:pt x="2686" y="579"/>
                  <a:pt x="2686" y="579"/>
                  <a:pt x="2686" y="579"/>
                </a:cubicBezTo>
                <a:cubicBezTo>
                  <a:pt x="2687" y="580"/>
                  <a:pt x="2687" y="580"/>
                  <a:pt x="2687" y="580"/>
                </a:cubicBezTo>
                <a:cubicBezTo>
                  <a:pt x="2688" y="582"/>
                  <a:pt x="2688" y="582"/>
                  <a:pt x="2688" y="582"/>
                </a:cubicBezTo>
                <a:cubicBezTo>
                  <a:pt x="2689" y="582"/>
                  <a:pt x="2689" y="582"/>
                  <a:pt x="2689" y="582"/>
                </a:cubicBezTo>
                <a:cubicBezTo>
                  <a:pt x="2690" y="580"/>
                  <a:pt x="2690" y="580"/>
                  <a:pt x="2690" y="580"/>
                </a:cubicBezTo>
                <a:cubicBezTo>
                  <a:pt x="2691" y="580"/>
                  <a:pt x="2691" y="580"/>
                  <a:pt x="2691" y="580"/>
                </a:cubicBezTo>
                <a:cubicBezTo>
                  <a:pt x="2693" y="578"/>
                  <a:pt x="2693" y="578"/>
                  <a:pt x="2693" y="578"/>
                </a:cubicBezTo>
                <a:cubicBezTo>
                  <a:pt x="2696" y="576"/>
                  <a:pt x="2696" y="576"/>
                  <a:pt x="2696" y="576"/>
                </a:cubicBezTo>
                <a:cubicBezTo>
                  <a:pt x="2696" y="576"/>
                  <a:pt x="2696" y="576"/>
                  <a:pt x="2696" y="576"/>
                </a:cubicBezTo>
                <a:cubicBezTo>
                  <a:pt x="2695" y="574"/>
                  <a:pt x="2695" y="574"/>
                  <a:pt x="2695" y="574"/>
                </a:cubicBezTo>
                <a:cubicBezTo>
                  <a:pt x="2698" y="572"/>
                  <a:pt x="2698" y="572"/>
                  <a:pt x="2698" y="572"/>
                </a:cubicBezTo>
                <a:cubicBezTo>
                  <a:pt x="2702" y="568"/>
                  <a:pt x="2702" y="568"/>
                  <a:pt x="2702" y="568"/>
                </a:cubicBezTo>
                <a:cubicBezTo>
                  <a:pt x="2703" y="569"/>
                  <a:pt x="2703" y="569"/>
                  <a:pt x="2703" y="569"/>
                </a:cubicBezTo>
                <a:cubicBezTo>
                  <a:pt x="2704" y="566"/>
                  <a:pt x="2704" y="566"/>
                  <a:pt x="2704" y="566"/>
                </a:cubicBezTo>
                <a:cubicBezTo>
                  <a:pt x="2706" y="566"/>
                  <a:pt x="2706" y="566"/>
                  <a:pt x="2706" y="566"/>
                </a:cubicBezTo>
                <a:cubicBezTo>
                  <a:pt x="2709" y="565"/>
                  <a:pt x="2709" y="565"/>
                  <a:pt x="2709" y="565"/>
                </a:cubicBezTo>
                <a:cubicBezTo>
                  <a:pt x="2710" y="565"/>
                  <a:pt x="2710" y="565"/>
                  <a:pt x="2710" y="565"/>
                </a:cubicBezTo>
                <a:cubicBezTo>
                  <a:pt x="2711" y="565"/>
                  <a:pt x="2711" y="565"/>
                  <a:pt x="2711" y="565"/>
                </a:cubicBezTo>
                <a:cubicBezTo>
                  <a:pt x="2713" y="565"/>
                  <a:pt x="2713" y="565"/>
                  <a:pt x="2713" y="565"/>
                </a:cubicBezTo>
                <a:cubicBezTo>
                  <a:pt x="2716" y="562"/>
                  <a:pt x="2716" y="562"/>
                  <a:pt x="2716" y="562"/>
                </a:cubicBezTo>
                <a:cubicBezTo>
                  <a:pt x="2717" y="563"/>
                  <a:pt x="2717" y="563"/>
                  <a:pt x="2717" y="563"/>
                </a:cubicBezTo>
                <a:cubicBezTo>
                  <a:pt x="2717" y="563"/>
                  <a:pt x="2717" y="563"/>
                  <a:pt x="2717" y="563"/>
                </a:cubicBezTo>
                <a:cubicBezTo>
                  <a:pt x="2717" y="564"/>
                  <a:pt x="2717" y="564"/>
                  <a:pt x="2717" y="564"/>
                </a:cubicBezTo>
                <a:cubicBezTo>
                  <a:pt x="2718" y="564"/>
                  <a:pt x="2718" y="564"/>
                  <a:pt x="2718" y="564"/>
                </a:cubicBezTo>
                <a:cubicBezTo>
                  <a:pt x="2719" y="567"/>
                  <a:pt x="2719" y="567"/>
                  <a:pt x="2719" y="567"/>
                </a:cubicBezTo>
                <a:cubicBezTo>
                  <a:pt x="2720" y="566"/>
                  <a:pt x="2720" y="566"/>
                  <a:pt x="2720" y="566"/>
                </a:cubicBezTo>
                <a:cubicBezTo>
                  <a:pt x="2720" y="565"/>
                  <a:pt x="2720" y="565"/>
                  <a:pt x="2720" y="565"/>
                </a:cubicBezTo>
                <a:cubicBezTo>
                  <a:pt x="2722" y="566"/>
                  <a:pt x="2722" y="566"/>
                  <a:pt x="2722" y="566"/>
                </a:cubicBezTo>
                <a:cubicBezTo>
                  <a:pt x="2723" y="567"/>
                  <a:pt x="2723" y="567"/>
                  <a:pt x="2723" y="567"/>
                </a:cubicBezTo>
                <a:cubicBezTo>
                  <a:pt x="2727" y="567"/>
                  <a:pt x="2727" y="567"/>
                  <a:pt x="2727" y="567"/>
                </a:cubicBezTo>
                <a:cubicBezTo>
                  <a:pt x="2728" y="566"/>
                  <a:pt x="2728" y="566"/>
                  <a:pt x="2728" y="566"/>
                </a:cubicBezTo>
                <a:cubicBezTo>
                  <a:pt x="2729" y="566"/>
                  <a:pt x="2729" y="566"/>
                  <a:pt x="2729" y="566"/>
                </a:cubicBezTo>
                <a:cubicBezTo>
                  <a:pt x="2728" y="567"/>
                  <a:pt x="2728" y="567"/>
                  <a:pt x="2728" y="567"/>
                </a:cubicBezTo>
                <a:cubicBezTo>
                  <a:pt x="2727" y="568"/>
                  <a:pt x="2727" y="568"/>
                  <a:pt x="2727" y="568"/>
                </a:cubicBezTo>
                <a:cubicBezTo>
                  <a:pt x="2728" y="570"/>
                  <a:pt x="2728" y="570"/>
                  <a:pt x="2728" y="570"/>
                </a:cubicBezTo>
                <a:cubicBezTo>
                  <a:pt x="2726" y="574"/>
                  <a:pt x="2726" y="574"/>
                  <a:pt x="2726" y="574"/>
                </a:cubicBezTo>
                <a:cubicBezTo>
                  <a:pt x="2726" y="579"/>
                  <a:pt x="2726" y="579"/>
                  <a:pt x="2726" y="579"/>
                </a:cubicBezTo>
                <a:cubicBezTo>
                  <a:pt x="2727" y="580"/>
                  <a:pt x="2727" y="580"/>
                  <a:pt x="2727" y="580"/>
                </a:cubicBezTo>
                <a:cubicBezTo>
                  <a:pt x="2730" y="580"/>
                  <a:pt x="2730" y="580"/>
                  <a:pt x="2730" y="580"/>
                </a:cubicBezTo>
                <a:cubicBezTo>
                  <a:pt x="2732" y="579"/>
                  <a:pt x="2732" y="579"/>
                  <a:pt x="2732" y="579"/>
                </a:cubicBezTo>
                <a:cubicBezTo>
                  <a:pt x="2730" y="581"/>
                  <a:pt x="2730" y="581"/>
                  <a:pt x="2730" y="581"/>
                </a:cubicBezTo>
                <a:cubicBezTo>
                  <a:pt x="2728" y="581"/>
                  <a:pt x="2728" y="581"/>
                  <a:pt x="2728" y="581"/>
                </a:cubicBezTo>
                <a:cubicBezTo>
                  <a:pt x="2726" y="584"/>
                  <a:pt x="2726" y="584"/>
                  <a:pt x="2726" y="584"/>
                </a:cubicBezTo>
                <a:cubicBezTo>
                  <a:pt x="2726" y="588"/>
                  <a:pt x="2726" y="588"/>
                  <a:pt x="2726" y="588"/>
                </a:cubicBezTo>
                <a:cubicBezTo>
                  <a:pt x="2726" y="590"/>
                  <a:pt x="2726" y="590"/>
                  <a:pt x="2726" y="590"/>
                </a:cubicBezTo>
                <a:cubicBezTo>
                  <a:pt x="2727" y="590"/>
                  <a:pt x="2727" y="590"/>
                  <a:pt x="2727" y="590"/>
                </a:cubicBezTo>
                <a:cubicBezTo>
                  <a:pt x="2728" y="589"/>
                  <a:pt x="2728" y="589"/>
                  <a:pt x="2728" y="589"/>
                </a:cubicBezTo>
                <a:cubicBezTo>
                  <a:pt x="2730" y="590"/>
                  <a:pt x="2730" y="590"/>
                  <a:pt x="2730" y="590"/>
                </a:cubicBezTo>
                <a:cubicBezTo>
                  <a:pt x="2729" y="593"/>
                  <a:pt x="2729" y="593"/>
                  <a:pt x="2729" y="593"/>
                </a:cubicBezTo>
                <a:cubicBezTo>
                  <a:pt x="2729" y="594"/>
                  <a:pt x="2729" y="594"/>
                  <a:pt x="2729" y="594"/>
                </a:cubicBezTo>
                <a:cubicBezTo>
                  <a:pt x="2732" y="593"/>
                  <a:pt x="2732" y="593"/>
                  <a:pt x="2732" y="593"/>
                </a:cubicBezTo>
                <a:cubicBezTo>
                  <a:pt x="2733" y="593"/>
                  <a:pt x="2733" y="593"/>
                  <a:pt x="2733" y="593"/>
                </a:cubicBezTo>
                <a:cubicBezTo>
                  <a:pt x="2735" y="591"/>
                  <a:pt x="2735" y="591"/>
                  <a:pt x="2735" y="591"/>
                </a:cubicBezTo>
                <a:cubicBezTo>
                  <a:pt x="2734" y="590"/>
                  <a:pt x="2734" y="590"/>
                  <a:pt x="2734" y="590"/>
                </a:cubicBezTo>
                <a:cubicBezTo>
                  <a:pt x="2735" y="589"/>
                  <a:pt x="2735" y="589"/>
                  <a:pt x="2735" y="589"/>
                </a:cubicBezTo>
                <a:cubicBezTo>
                  <a:pt x="2737" y="592"/>
                  <a:pt x="2737" y="592"/>
                  <a:pt x="2737" y="592"/>
                </a:cubicBezTo>
                <a:cubicBezTo>
                  <a:pt x="2738" y="592"/>
                  <a:pt x="2738" y="592"/>
                  <a:pt x="2738" y="592"/>
                </a:cubicBezTo>
                <a:cubicBezTo>
                  <a:pt x="2739" y="591"/>
                  <a:pt x="2739" y="591"/>
                  <a:pt x="2739" y="591"/>
                </a:cubicBezTo>
                <a:cubicBezTo>
                  <a:pt x="2742" y="591"/>
                  <a:pt x="2742" y="591"/>
                  <a:pt x="2742" y="591"/>
                </a:cubicBezTo>
                <a:cubicBezTo>
                  <a:pt x="2741" y="592"/>
                  <a:pt x="2741" y="592"/>
                  <a:pt x="2741" y="592"/>
                </a:cubicBezTo>
                <a:cubicBezTo>
                  <a:pt x="2745" y="595"/>
                  <a:pt x="2745" y="595"/>
                  <a:pt x="2745" y="595"/>
                </a:cubicBezTo>
                <a:cubicBezTo>
                  <a:pt x="2748" y="599"/>
                  <a:pt x="2748" y="599"/>
                  <a:pt x="2748" y="599"/>
                </a:cubicBezTo>
                <a:cubicBezTo>
                  <a:pt x="2749" y="599"/>
                  <a:pt x="2749" y="599"/>
                  <a:pt x="2749" y="599"/>
                </a:cubicBezTo>
                <a:cubicBezTo>
                  <a:pt x="2748" y="600"/>
                  <a:pt x="2748" y="600"/>
                  <a:pt x="2748" y="600"/>
                </a:cubicBezTo>
                <a:cubicBezTo>
                  <a:pt x="2750" y="602"/>
                  <a:pt x="2750" y="602"/>
                  <a:pt x="2750" y="602"/>
                </a:cubicBezTo>
                <a:cubicBezTo>
                  <a:pt x="2751" y="604"/>
                  <a:pt x="2751" y="604"/>
                  <a:pt x="2751" y="604"/>
                </a:cubicBezTo>
                <a:cubicBezTo>
                  <a:pt x="2747" y="603"/>
                  <a:pt x="2747" y="603"/>
                  <a:pt x="2747" y="603"/>
                </a:cubicBezTo>
                <a:cubicBezTo>
                  <a:pt x="2747" y="602"/>
                  <a:pt x="2747" y="602"/>
                  <a:pt x="2747" y="602"/>
                </a:cubicBezTo>
                <a:cubicBezTo>
                  <a:pt x="2746" y="603"/>
                  <a:pt x="2746" y="603"/>
                  <a:pt x="2746" y="603"/>
                </a:cubicBezTo>
                <a:cubicBezTo>
                  <a:pt x="2744" y="603"/>
                  <a:pt x="2744" y="603"/>
                  <a:pt x="2744" y="603"/>
                </a:cubicBezTo>
                <a:cubicBezTo>
                  <a:pt x="2742" y="606"/>
                  <a:pt x="2742" y="606"/>
                  <a:pt x="2742" y="606"/>
                </a:cubicBezTo>
                <a:cubicBezTo>
                  <a:pt x="2747" y="608"/>
                  <a:pt x="2747" y="608"/>
                  <a:pt x="2747" y="608"/>
                </a:cubicBezTo>
                <a:cubicBezTo>
                  <a:pt x="2748" y="608"/>
                  <a:pt x="2748" y="608"/>
                  <a:pt x="2748" y="608"/>
                </a:cubicBezTo>
                <a:cubicBezTo>
                  <a:pt x="2749" y="610"/>
                  <a:pt x="2749" y="610"/>
                  <a:pt x="2749" y="610"/>
                </a:cubicBezTo>
                <a:cubicBezTo>
                  <a:pt x="2749" y="614"/>
                  <a:pt x="2749" y="614"/>
                  <a:pt x="2749" y="614"/>
                </a:cubicBezTo>
                <a:cubicBezTo>
                  <a:pt x="2750" y="615"/>
                  <a:pt x="2750" y="615"/>
                  <a:pt x="2750" y="615"/>
                </a:cubicBezTo>
                <a:cubicBezTo>
                  <a:pt x="2751" y="614"/>
                  <a:pt x="2751" y="614"/>
                  <a:pt x="2751" y="614"/>
                </a:cubicBezTo>
                <a:cubicBezTo>
                  <a:pt x="2753" y="618"/>
                  <a:pt x="2753" y="618"/>
                  <a:pt x="2753" y="618"/>
                </a:cubicBezTo>
                <a:cubicBezTo>
                  <a:pt x="2749" y="620"/>
                  <a:pt x="2749" y="620"/>
                  <a:pt x="2749" y="620"/>
                </a:cubicBezTo>
                <a:cubicBezTo>
                  <a:pt x="2749" y="621"/>
                  <a:pt x="2749" y="621"/>
                  <a:pt x="2749" y="621"/>
                </a:cubicBezTo>
                <a:cubicBezTo>
                  <a:pt x="2751" y="622"/>
                  <a:pt x="2751" y="622"/>
                  <a:pt x="2751" y="622"/>
                </a:cubicBezTo>
                <a:cubicBezTo>
                  <a:pt x="2751" y="624"/>
                  <a:pt x="2751" y="624"/>
                  <a:pt x="2751" y="624"/>
                </a:cubicBezTo>
                <a:cubicBezTo>
                  <a:pt x="2750" y="625"/>
                  <a:pt x="2750" y="625"/>
                  <a:pt x="2750" y="625"/>
                </a:cubicBezTo>
                <a:cubicBezTo>
                  <a:pt x="2750" y="626"/>
                  <a:pt x="2750" y="626"/>
                  <a:pt x="2750" y="626"/>
                </a:cubicBezTo>
                <a:cubicBezTo>
                  <a:pt x="2751" y="628"/>
                  <a:pt x="2751" y="628"/>
                  <a:pt x="2751" y="628"/>
                </a:cubicBezTo>
                <a:cubicBezTo>
                  <a:pt x="2749" y="628"/>
                  <a:pt x="2749" y="628"/>
                  <a:pt x="2749" y="628"/>
                </a:cubicBezTo>
                <a:cubicBezTo>
                  <a:pt x="2752" y="633"/>
                  <a:pt x="2752" y="633"/>
                  <a:pt x="2752" y="633"/>
                </a:cubicBezTo>
                <a:cubicBezTo>
                  <a:pt x="2753" y="633"/>
                  <a:pt x="2753" y="633"/>
                  <a:pt x="2753" y="633"/>
                </a:cubicBezTo>
                <a:cubicBezTo>
                  <a:pt x="2754" y="636"/>
                  <a:pt x="2754" y="636"/>
                  <a:pt x="2754" y="636"/>
                </a:cubicBezTo>
                <a:cubicBezTo>
                  <a:pt x="2754" y="636"/>
                  <a:pt x="2754" y="636"/>
                  <a:pt x="2754" y="636"/>
                </a:cubicBezTo>
                <a:cubicBezTo>
                  <a:pt x="2754" y="638"/>
                  <a:pt x="2754" y="638"/>
                  <a:pt x="2754" y="638"/>
                </a:cubicBezTo>
                <a:cubicBezTo>
                  <a:pt x="2756" y="637"/>
                  <a:pt x="2756" y="637"/>
                  <a:pt x="2756" y="637"/>
                </a:cubicBezTo>
                <a:cubicBezTo>
                  <a:pt x="2756" y="634"/>
                  <a:pt x="2756" y="634"/>
                  <a:pt x="2756" y="634"/>
                </a:cubicBezTo>
                <a:cubicBezTo>
                  <a:pt x="2757" y="636"/>
                  <a:pt x="2757" y="636"/>
                  <a:pt x="2757" y="636"/>
                </a:cubicBezTo>
                <a:cubicBezTo>
                  <a:pt x="2758" y="633"/>
                  <a:pt x="2758" y="633"/>
                  <a:pt x="2758" y="633"/>
                </a:cubicBezTo>
                <a:cubicBezTo>
                  <a:pt x="2763" y="630"/>
                  <a:pt x="2763" y="630"/>
                  <a:pt x="2763" y="630"/>
                </a:cubicBezTo>
                <a:cubicBezTo>
                  <a:pt x="2765" y="629"/>
                  <a:pt x="2765" y="629"/>
                  <a:pt x="2765" y="629"/>
                </a:cubicBezTo>
                <a:cubicBezTo>
                  <a:pt x="2765" y="630"/>
                  <a:pt x="2765" y="630"/>
                  <a:pt x="2765" y="630"/>
                </a:cubicBezTo>
                <a:cubicBezTo>
                  <a:pt x="2766" y="629"/>
                  <a:pt x="2766" y="629"/>
                  <a:pt x="2766" y="629"/>
                </a:cubicBezTo>
                <a:cubicBezTo>
                  <a:pt x="2767" y="629"/>
                  <a:pt x="2767" y="629"/>
                  <a:pt x="2767" y="629"/>
                </a:cubicBezTo>
                <a:cubicBezTo>
                  <a:pt x="2768" y="631"/>
                  <a:pt x="2768" y="631"/>
                  <a:pt x="2768" y="631"/>
                </a:cubicBezTo>
                <a:cubicBezTo>
                  <a:pt x="2770" y="630"/>
                  <a:pt x="2770" y="630"/>
                  <a:pt x="2770" y="630"/>
                </a:cubicBezTo>
                <a:cubicBezTo>
                  <a:pt x="2771" y="631"/>
                  <a:pt x="2771" y="631"/>
                  <a:pt x="2771" y="631"/>
                </a:cubicBezTo>
                <a:cubicBezTo>
                  <a:pt x="2772" y="630"/>
                  <a:pt x="2772" y="630"/>
                  <a:pt x="2772" y="630"/>
                </a:cubicBezTo>
                <a:cubicBezTo>
                  <a:pt x="2771" y="629"/>
                  <a:pt x="2771" y="629"/>
                  <a:pt x="2771" y="629"/>
                </a:cubicBezTo>
                <a:cubicBezTo>
                  <a:pt x="2774" y="627"/>
                  <a:pt x="2774" y="627"/>
                  <a:pt x="2774" y="627"/>
                </a:cubicBezTo>
                <a:cubicBezTo>
                  <a:pt x="2776" y="627"/>
                  <a:pt x="2776" y="627"/>
                  <a:pt x="2776" y="627"/>
                </a:cubicBezTo>
                <a:cubicBezTo>
                  <a:pt x="2779" y="624"/>
                  <a:pt x="2779" y="624"/>
                  <a:pt x="2779" y="624"/>
                </a:cubicBezTo>
                <a:cubicBezTo>
                  <a:pt x="2778" y="623"/>
                  <a:pt x="2778" y="623"/>
                  <a:pt x="2778" y="623"/>
                </a:cubicBezTo>
                <a:cubicBezTo>
                  <a:pt x="2780" y="622"/>
                  <a:pt x="2780" y="622"/>
                  <a:pt x="2780" y="622"/>
                </a:cubicBezTo>
                <a:cubicBezTo>
                  <a:pt x="2779" y="614"/>
                  <a:pt x="2779" y="614"/>
                  <a:pt x="2779" y="614"/>
                </a:cubicBezTo>
                <a:cubicBezTo>
                  <a:pt x="2778" y="614"/>
                  <a:pt x="2778" y="614"/>
                  <a:pt x="2778" y="614"/>
                </a:cubicBezTo>
                <a:cubicBezTo>
                  <a:pt x="2778" y="615"/>
                  <a:pt x="2778" y="615"/>
                  <a:pt x="2778" y="615"/>
                </a:cubicBezTo>
                <a:cubicBezTo>
                  <a:pt x="2778" y="612"/>
                  <a:pt x="2778" y="612"/>
                  <a:pt x="2778" y="612"/>
                </a:cubicBezTo>
                <a:cubicBezTo>
                  <a:pt x="2776" y="605"/>
                  <a:pt x="2776" y="605"/>
                  <a:pt x="2776" y="605"/>
                </a:cubicBezTo>
                <a:cubicBezTo>
                  <a:pt x="2775" y="603"/>
                  <a:pt x="2775" y="603"/>
                  <a:pt x="2775" y="603"/>
                </a:cubicBezTo>
                <a:cubicBezTo>
                  <a:pt x="2775" y="599"/>
                  <a:pt x="2775" y="599"/>
                  <a:pt x="2775" y="599"/>
                </a:cubicBezTo>
                <a:cubicBezTo>
                  <a:pt x="2769" y="591"/>
                  <a:pt x="2769" y="591"/>
                  <a:pt x="2769" y="591"/>
                </a:cubicBezTo>
                <a:cubicBezTo>
                  <a:pt x="2763" y="586"/>
                  <a:pt x="2763" y="586"/>
                  <a:pt x="2763" y="586"/>
                </a:cubicBezTo>
                <a:cubicBezTo>
                  <a:pt x="2759" y="579"/>
                  <a:pt x="2759" y="579"/>
                  <a:pt x="2759" y="579"/>
                </a:cubicBezTo>
                <a:cubicBezTo>
                  <a:pt x="2758" y="577"/>
                  <a:pt x="2758" y="577"/>
                  <a:pt x="2758" y="577"/>
                </a:cubicBezTo>
                <a:cubicBezTo>
                  <a:pt x="2751" y="572"/>
                  <a:pt x="2751" y="572"/>
                  <a:pt x="2751" y="572"/>
                </a:cubicBezTo>
                <a:cubicBezTo>
                  <a:pt x="2750" y="571"/>
                  <a:pt x="2750" y="571"/>
                  <a:pt x="2750" y="571"/>
                </a:cubicBezTo>
                <a:cubicBezTo>
                  <a:pt x="2746" y="570"/>
                  <a:pt x="2746" y="570"/>
                  <a:pt x="2746" y="570"/>
                </a:cubicBezTo>
                <a:cubicBezTo>
                  <a:pt x="2745" y="567"/>
                  <a:pt x="2745" y="567"/>
                  <a:pt x="2745" y="567"/>
                </a:cubicBezTo>
                <a:cubicBezTo>
                  <a:pt x="2746" y="566"/>
                  <a:pt x="2746" y="566"/>
                  <a:pt x="2746" y="566"/>
                </a:cubicBezTo>
                <a:cubicBezTo>
                  <a:pt x="2746" y="564"/>
                  <a:pt x="2746" y="564"/>
                  <a:pt x="2746" y="564"/>
                </a:cubicBezTo>
                <a:cubicBezTo>
                  <a:pt x="2746" y="562"/>
                  <a:pt x="2746" y="562"/>
                  <a:pt x="2746" y="562"/>
                </a:cubicBezTo>
                <a:cubicBezTo>
                  <a:pt x="2748" y="560"/>
                  <a:pt x="2748" y="560"/>
                  <a:pt x="2748" y="560"/>
                </a:cubicBezTo>
                <a:cubicBezTo>
                  <a:pt x="2749" y="558"/>
                  <a:pt x="2749" y="558"/>
                  <a:pt x="2749" y="558"/>
                </a:cubicBezTo>
                <a:cubicBezTo>
                  <a:pt x="2751" y="556"/>
                  <a:pt x="2751" y="556"/>
                  <a:pt x="2751" y="556"/>
                </a:cubicBezTo>
                <a:cubicBezTo>
                  <a:pt x="2753" y="556"/>
                  <a:pt x="2753" y="556"/>
                  <a:pt x="2753" y="556"/>
                </a:cubicBezTo>
                <a:cubicBezTo>
                  <a:pt x="2754" y="555"/>
                  <a:pt x="2754" y="555"/>
                  <a:pt x="2754" y="555"/>
                </a:cubicBezTo>
                <a:cubicBezTo>
                  <a:pt x="2755" y="554"/>
                  <a:pt x="2755" y="554"/>
                  <a:pt x="2755" y="554"/>
                </a:cubicBezTo>
                <a:cubicBezTo>
                  <a:pt x="2755" y="552"/>
                  <a:pt x="2755" y="552"/>
                  <a:pt x="2755" y="552"/>
                </a:cubicBezTo>
                <a:cubicBezTo>
                  <a:pt x="2760" y="547"/>
                  <a:pt x="2760" y="547"/>
                  <a:pt x="2760" y="547"/>
                </a:cubicBezTo>
                <a:cubicBezTo>
                  <a:pt x="2759" y="546"/>
                  <a:pt x="2759" y="546"/>
                  <a:pt x="2759" y="546"/>
                </a:cubicBezTo>
                <a:cubicBezTo>
                  <a:pt x="2762" y="544"/>
                  <a:pt x="2762" y="544"/>
                  <a:pt x="2762" y="544"/>
                </a:cubicBezTo>
                <a:cubicBezTo>
                  <a:pt x="2763" y="542"/>
                  <a:pt x="2763" y="542"/>
                  <a:pt x="2763" y="542"/>
                </a:cubicBezTo>
                <a:cubicBezTo>
                  <a:pt x="2761" y="541"/>
                  <a:pt x="2761" y="541"/>
                  <a:pt x="2761" y="541"/>
                </a:cubicBezTo>
                <a:cubicBezTo>
                  <a:pt x="2761" y="535"/>
                  <a:pt x="2761" y="535"/>
                  <a:pt x="2761" y="535"/>
                </a:cubicBezTo>
                <a:cubicBezTo>
                  <a:pt x="2759" y="534"/>
                  <a:pt x="2759" y="534"/>
                  <a:pt x="2759" y="534"/>
                </a:cubicBezTo>
                <a:cubicBezTo>
                  <a:pt x="2759" y="531"/>
                  <a:pt x="2759" y="531"/>
                  <a:pt x="2759" y="531"/>
                </a:cubicBezTo>
                <a:cubicBezTo>
                  <a:pt x="2760" y="526"/>
                  <a:pt x="2760" y="526"/>
                  <a:pt x="2760" y="526"/>
                </a:cubicBezTo>
                <a:cubicBezTo>
                  <a:pt x="2760" y="523"/>
                  <a:pt x="2760" y="523"/>
                  <a:pt x="2760" y="523"/>
                </a:cubicBezTo>
                <a:cubicBezTo>
                  <a:pt x="2761" y="524"/>
                  <a:pt x="2761" y="524"/>
                  <a:pt x="2761" y="524"/>
                </a:cubicBezTo>
                <a:cubicBezTo>
                  <a:pt x="2765" y="520"/>
                  <a:pt x="2765" y="520"/>
                  <a:pt x="2765" y="520"/>
                </a:cubicBezTo>
                <a:cubicBezTo>
                  <a:pt x="2765" y="520"/>
                  <a:pt x="2765" y="520"/>
                  <a:pt x="2765" y="520"/>
                </a:cubicBezTo>
                <a:cubicBezTo>
                  <a:pt x="2765" y="520"/>
                  <a:pt x="2765" y="520"/>
                  <a:pt x="2765" y="520"/>
                </a:cubicBezTo>
                <a:cubicBezTo>
                  <a:pt x="2766" y="520"/>
                  <a:pt x="2766" y="520"/>
                  <a:pt x="2766" y="520"/>
                </a:cubicBezTo>
                <a:cubicBezTo>
                  <a:pt x="2766" y="517"/>
                  <a:pt x="2766" y="517"/>
                  <a:pt x="2766" y="517"/>
                </a:cubicBezTo>
                <a:cubicBezTo>
                  <a:pt x="2769" y="516"/>
                  <a:pt x="2769" y="516"/>
                  <a:pt x="2769" y="516"/>
                </a:cubicBezTo>
                <a:cubicBezTo>
                  <a:pt x="2770" y="517"/>
                  <a:pt x="2770" y="517"/>
                  <a:pt x="2770" y="517"/>
                </a:cubicBezTo>
                <a:cubicBezTo>
                  <a:pt x="2771" y="514"/>
                  <a:pt x="2771" y="514"/>
                  <a:pt x="2771" y="514"/>
                </a:cubicBezTo>
                <a:cubicBezTo>
                  <a:pt x="2772" y="513"/>
                  <a:pt x="2772" y="513"/>
                  <a:pt x="2772" y="513"/>
                </a:cubicBezTo>
                <a:cubicBezTo>
                  <a:pt x="2772" y="509"/>
                  <a:pt x="2772" y="509"/>
                  <a:pt x="2772" y="509"/>
                </a:cubicBezTo>
                <a:cubicBezTo>
                  <a:pt x="2774" y="508"/>
                  <a:pt x="2774" y="508"/>
                  <a:pt x="2774" y="508"/>
                </a:cubicBezTo>
                <a:cubicBezTo>
                  <a:pt x="2774" y="506"/>
                  <a:pt x="2774" y="506"/>
                  <a:pt x="2774" y="506"/>
                </a:cubicBezTo>
                <a:cubicBezTo>
                  <a:pt x="2774" y="505"/>
                  <a:pt x="2774" y="505"/>
                  <a:pt x="2774" y="505"/>
                </a:cubicBezTo>
                <a:cubicBezTo>
                  <a:pt x="2777" y="506"/>
                  <a:pt x="2777" y="506"/>
                  <a:pt x="2777" y="506"/>
                </a:cubicBezTo>
                <a:cubicBezTo>
                  <a:pt x="2779" y="505"/>
                  <a:pt x="2779" y="505"/>
                  <a:pt x="2779" y="505"/>
                </a:cubicBezTo>
                <a:cubicBezTo>
                  <a:pt x="2780" y="506"/>
                  <a:pt x="2780" y="506"/>
                  <a:pt x="2780" y="506"/>
                </a:cubicBezTo>
                <a:cubicBezTo>
                  <a:pt x="2780" y="510"/>
                  <a:pt x="2780" y="510"/>
                  <a:pt x="2780" y="510"/>
                </a:cubicBezTo>
                <a:cubicBezTo>
                  <a:pt x="2784" y="511"/>
                  <a:pt x="2784" y="511"/>
                  <a:pt x="2784" y="511"/>
                </a:cubicBezTo>
                <a:cubicBezTo>
                  <a:pt x="2787" y="513"/>
                  <a:pt x="2787" y="513"/>
                  <a:pt x="2787" y="513"/>
                </a:cubicBezTo>
                <a:cubicBezTo>
                  <a:pt x="2788" y="512"/>
                  <a:pt x="2788" y="512"/>
                  <a:pt x="2788" y="512"/>
                </a:cubicBezTo>
                <a:cubicBezTo>
                  <a:pt x="2789" y="513"/>
                  <a:pt x="2789" y="513"/>
                  <a:pt x="2789" y="513"/>
                </a:cubicBezTo>
                <a:cubicBezTo>
                  <a:pt x="2791" y="511"/>
                  <a:pt x="2791" y="511"/>
                  <a:pt x="2791" y="511"/>
                </a:cubicBezTo>
                <a:cubicBezTo>
                  <a:pt x="2794" y="510"/>
                  <a:pt x="2794" y="510"/>
                  <a:pt x="2794" y="510"/>
                </a:cubicBezTo>
                <a:cubicBezTo>
                  <a:pt x="2795" y="509"/>
                  <a:pt x="2795" y="509"/>
                  <a:pt x="2795" y="509"/>
                </a:cubicBezTo>
                <a:cubicBezTo>
                  <a:pt x="2796" y="509"/>
                  <a:pt x="2796" y="509"/>
                  <a:pt x="2796" y="509"/>
                </a:cubicBezTo>
                <a:cubicBezTo>
                  <a:pt x="2798" y="506"/>
                  <a:pt x="2798" y="506"/>
                  <a:pt x="2798" y="506"/>
                </a:cubicBezTo>
                <a:cubicBezTo>
                  <a:pt x="2801" y="502"/>
                  <a:pt x="2801" y="502"/>
                  <a:pt x="2801" y="502"/>
                </a:cubicBezTo>
                <a:cubicBezTo>
                  <a:pt x="2800" y="501"/>
                  <a:pt x="2800" y="501"/>
                  <a:pt x="2800" y="501"/>
                </a:cubicBezTo>
                <a:cubicBezTo>
                  <a:pt x="2803" y="500"/>
                  <a:pt x="2803" y="500"/>
                  <a:pt x="2803" y="500"/>
                </a:cubicBezTo>
                <a:cubicBezTo>
                  <a:pt x="2803" y="497"/>
                  <a:pt x="2803" y="497"/>
                  <a:pt x="2803" y="497"/>
                </a:cubicBezTo>
                <a:cubicBezTo>
                  <a:pt x="2802" y="495"/>
                  <a:pt x="2802" y="495"/>
                  <a:pt x="2802" y="495"/>
                </a:cubicBezTo>
                <a:cubicBezTo>
                  <a:pt x="2803" y="496"/>
                  <a:pt x="2803" y="496"/>
                  <a:pt x="2803" y="496"/>
                </a:cubicBezTo>
                <a:cubicBezTo>
                  <a:pt x="2804" y="496"/>
                  <a:pt x="2804" y="496"/>
                  <a:pt x="2804" y="496"/>
                </a:cubicBezTo>
                <a:cubicBezTo>
                  <a:pt x="2806" y="493"/>
                  <a:pt x="2806" y="493"/>
                  <a:pt x="2806" y="493"/>
                </a:cubicBezTo>
                <a:cubicBezTo>
                  <a:pt x="2805" y="491"/>
                  <a:pt x="2805" y="491"/>
                  <a:pt x="2805" y="491"/>
                </a:cubicBezTo>
                <a:cubicBezTo>
                  <a:pt x="2806" y="491"/>
                  <a:pt x="2806" y="491"/>
                  <a:pt x="2806" y="491"/>
                </a:cubicBezTo>
                <a:cubicBezTo>
                  <a:pt x="2806" y="488"/>
                  <a:pt x="2806" y="488"/>
                  <a:pt x="2806" y="488"/>
                </a:cubicBezTo>
                <a:cubicBezTo>
                  <a:pt x="2808" y="487"/>
                  <a:pt x="2808" y="487"/>
                  <a:pt x="2808" y="487"/>
                </a:cubicBezTo>
                <a:cubicBezTo>
                  <a:pt x="2808" y="484"/>
                  <a:pt x="2808" y="484"/>
                  <a:pt x="2808" y="484"/>
                </a:cubicBezTo>
                <a:cubicBezTo>
                  <a:pt x="2810" y="483"/>
                  <a:pt x="2810" y="483"/>
                  <a:pt x="2810" y="483"/>
                </a:cubicBezTo>
                <a:cubicBezTo>
                  <a:pt x="2811" y="482"/>
                  <a:pt x="2811" y="482"/>
                  <a:pt x="2811" y="482"/>
                </a:cubicBezTo>
                <a:cubicBezTo>
                  <a:pt x="2810" y="481"/>
                  <a:pt x="2810" y="481"/>
                  <a:pt x="2810" y="481"/>
                </a:cubicBezTo>
                <a:cubicBezTo>
                  <a:pt x="2810" y="479"/>
                  <a:pt x="2810" y="479"/>
                  <a:pt x="2810" y="479"/>
                </a:cubicBezTo>
                <a:cubicBezTo>
                  <a:pt x="2812" y="478"/>
                  <a:pt x="2812" y="478"/>
                  <a:pt x="2812" y="478"/>
                </a:cubicBezTo>
                <a:cubicBezTo>
                  <a:pt x="2813" y="469"/>
                  <a:pt x="2813" y="469"/>
                  <a:pt x="2813" y="469"/>
                </a:cubicBezTo>
                <a:cubicBezTo>
                  <a:pt x="2816" y="466"/>
                  <a:pt x="2816" y="466"/>
                  <a:pt x="2816" y="466"/>
                </a:cubicBezTo>
                <a:cubicBezTo>
                  <a:pt x="2816" y="465"/>
                  <a:pt x="2816" y="465"/>
                  <a:pt x="2816" y="465"/>
                </a:cubicBezTo>
                <a:cubicBezTo>
                  <a:pt x="2818" y="463"/>
                  <a:pt x="2818" y="463"/>
                  <a:pt x="2818" y="463"/>
                </a:cubicBezTo>
                <a:cubicBezTo>
                  <a:pt x="2818" y="460"/>
                  <a:pt x="2818" y="460"/>
                  <a:pt x="2818" y="460"/>
                </a:cubicBezTo>
                <a:cubicBezTo>
                  <a:pt x="2821" y="457"/>
                  <a:pt x="2821" y="457"/>
                  <a:pt x="2821" y="457"/>
                </a:cubicBezTo>
                <a:cubicBezTo>
                  <a:pt x="2821" y="455"/>
                  <a:pt x="2821" y="455"/>
                  <a:pt x="2821" y="455"/>
                </a:cubicBezTo>
                <a:cubicBezTo>
                  <a:pt x="2820" y="455"/>
                  <a:pt x="2820" y="455"/>
                  <a:pt x="2820" y="455"/>
                </a:cubicBezTo>
                <a:cubicBezTo>
                  <a:pt x="2819" y="452"/>
                  <a:pt x="2819" y="452"/>
                  <a:pt x="2819" y="452"/>
                </a:cubicBezTo>
                <a:cubicBezTo>
                  <a:pt x="2821" y="450"/>
                  <a:pt x="2821" y="450"/>
                  <a:pt x="2821" y="450"/>
                </a:cubicBezTo>
                <a:cubicBezTo>
                  <a:pt x="2820" y="446"/>
                  <a:pt x="2820" y="446"/>
                  <a:pt x="2820" y="446"/>
                </a:cubicBezTo>
                <a:cubicBezTo>
                  <a:pt x="2822" y="444"/>
                  <a:pt x="2822" y="444"/>
                  <a:pt x="2822" y="444"/>
                </a:cubicBezTo>
                <a:cubicBezTo>
                  <a:pt x="2822" y="442"/>
                  <a:pt x="2822" y="442"/>
                  <a:pt x="2822" y="442"/>
                </a:cubicBezTo>
                <a:cubicBezTo>
                  <a:pt x="2821" y="442"/>
                  <a:pt x="2821" y="442"/>
                  <a:pt x="2821" y="442"/>
                </a:cubicBezTo>
                <a:cubicBezTo>
                  <a:pt x="2822" y="439"/>
                  <a:pt x="2822" y="439"/>
                  <a:pt x="2822" y="439"/>
                </a:cubicBezTo>
                <a:cubicBezTo>
                  <a:pt x="2822" y="436"/>
                  <a:pt x="2822" y="436"/>
                  <a:pt x="2822" y="436"/>
                </a:cubicBezTo>
                <a:cubicBezTo>
                  <a:pt x="2824" y="434"/>
                  <a:pt x="2824" y="434"/>
                  <a:pt x="2824" y="434"/>
                </a:cubicBezTo>
                <a:cubicBezTo>
                  <a:pt x="2824" y="431"/>
                  <a:pt x="2824" y="431"/>
                  <a:pt x="2824" y="431"/>
                </a:cubicBezTo>
                <a:cubicBezTo>
                  <a:pt x="2824" y="431"/>
                  <a:pt x="2824" y="431"/>
                  <a:pt x="2824" y="431"/>
                </a:cubicBezTo>
                <a:cubicBezTo>
                  <a:pt x="2824" y="428"/>
                  <a:pt x="2824" y="428"/>
                  <a:pt x="2824" y="428"/>
                </a:cubicBezTo>
                <a:cubicBezTo>
                  <a:pt x="2825" y="424"/>
                  <a:pt x="2825" y="424"/>
                  <a:pt x="2825" y="424"/>
                </a:cubicBezTo>
                <a:cubicBezTo>
                  <a:pt x="2825" y="421"/>
                  <a:pt x="2825" y="421"/>
                  <a:pt x="2825" y="421"/>
                </a:cubicBezTo>
                <a:cubicBezTo>
                  <a:pt x="2828" y="418"/>
                  <a:pt x="2828" y="418"/>
                  <a:pt x="2828" y="418"/>
                </a:cubicBezTo>
                <a:cubicBezTo>
                  <a:pt x="2828" y="416"/>
                  <a:pt x="2828" y="416"/>
                  <a:pt x="2828" y="416"/>
                </a:cubicBezTo>
                <a:cubicBezTo>
                  <a:pt x="2827" y="414"/>
                  <a:pt x="2827" y="414"/>
                  <a:pt x="2827" y="414"/>
                </a:cubicBezTo>
                <a:cubicBezTo>
                  <a:pt x="2827" y="411"/>
                  <a:pt x="2827" y="411"/>
                  <a:pt x="2827" y="411"/>
                </a:cubicBezTo>
                <a:cubicBezTo>
                  <a:pt x="2827" y="410"/>
                  <a:pt x="2827" y="410"/>
                  <a:pt x="2827" y="410"/>
                </a:cubicBezTo>
                <a:cubicBezTo>
                  <a:pt x="2827" y="408"/>
                  <a:pt x="2827" y="408"/>
                  <a:pt x="2827" y="408"/>
                </a:cubicBezTo>
                <a:cubicBezTo>
                  <a:pt x="2826" y="408"/>
                  <a:pt x="2826" y="408"/>
                  <a:pt x="2826" y="408"/>
                </a:cubicBezTo>
                <a:cubicBezTo>
                  <a:pt x="2825" y="403"/>
                  <a:pt x="2825" y="403"/>
                  <a:pt x="2825" y="403"/>
                </a:cubicBezTo>
                <a:cubicBezTo>
                  <a:pt x="2825" y="402"/>
                  <a:pt x="2825" y="402"/>
                  <a:pt x="2825" y="402"/>
                </a:cubicBezTo>
                <a:cubicBezTo>
                  <a:pt x="2825" y="400"/>
                  <a:pt x="2825" y="400"/>
                  <a:pt x="2825" y="400"/>
                </a:cubicBezTo>
                <a:cubicBezTo>
                  <a:pt x="2825" y="396"/>
                  <a:pt x="2825" y="396"/>
                  <a:pt x="2825" y="396"/>
                </a:cubicBezTo>
                <a:cubicBezTo>
                  <a:pt x="2822" y="393"/>
                  <a:pt x="2822" y="393"/>
                  <a:pt x="2822" y="393"/>
                </a:cubicBezTo>
                <a:cubicBezTo>
                  <a:pt x="2821" y="393"/>
                  <a:pt x="2821" y="393"/>
                  <a:pt x="2821" y="393"/>
                </a:cubicBezTo>
                <a:cubicBezTo>
                  <a:pt x="2820" y="391"/>
                  <a:pt x="2820" y="391"/>
                  <a:pt x="2820" y="391"/>
                </a:cubicBezTo>
                <a:cubicBezTo>
                  <a:pt x="2821" y="390"/>
                  <a:pt x="2821" y="390"/>
                  <a:pt x="2821" y="390"/>
                </a:cubicBezTo>
                <a:cubicBezTo>
                  <a:pt x="2823" y="388"/>
                  <a:pt x="2823" y="388"/>
                  <a:pt x="2823" y="388"/>
                </a:cubicBezTo>
                <a:cubicBezTo>
                  <a:pt x="2822" y="387"/>
                  <a:pt x="2822" y="387"/>
                  <a:pt x="2822" y="387"/>
                </a:cubicBezTo>
                <a:cubicBezTo>
                  <a:pt x="2821" y="388"/>
                  <a:pt x="2821" y="388"/>
                  <a:pt x="2821" y="388"/>
                </a:cubicBezTo>
                <a:cubicBezTo>
                  <a:pt x="2819" y="388"/>
                  <a:pt x="2819" y="388"/>
                  <a:pt x="2819" y="388"/>
                </a:cubicBezTo>
                <a:cubicBezTo>
                  <a:pt x="2817" y="381"/>
                  <a:pt x="2817" y="381"/>
                  <a:pt x="2817" y="381"/>
                </a:cubicBezTo>
                <a:cubicBezTo>
                  <a:pt x="2817" y="380"/>
                  <a:pt x="2817" y="380"/>
                  <a:pt x="2817" y="380"/>
                </a:cubicBezTo>
                <a:cubicBezTo>
                  <a:pt x="2817" y="378"/>
                  <a:pt x="2817" y="378"/>
                  <a:pt x="2817" y="378"/>
                </a:cubicBezTo>
                <a:cubicBezTo>
                  <a:pt x="2816" y="374"/>
                  <a:pt x="2816" y="374"/>
                  <a:pt x="2816" y="374"/>
                </a:cubicBezTo>
                <a:cubicBezTo>
                  <a:pt x="2817" y="373"/>
                  <a:pt x="2817" y="373"/>
                  <a:pt x="2817" y="373"/>
                </a:cubicBezTo>
                <a:cubicBezTo>
                  <a:pt x="2815" y="368"/>
                  <a:pt x="2815" y="368"/>
                  <a:pt x="2815" y="368"/>
                </a:cubicBezTo>
                <a:cubicBezTo>
                  <a:pt x="2817" y="367"/>
                  <a:pt x="2817" y="367"/>
                  <a:pt x="2817" y="367"/>
                </a:cubicBezTo>
                <a:cubicBezTo>
                  <a:pt x="2816" y="366"/>
                  <a:pt x="2816" y="366"/>
                  <a:pt x="2816" y="366"/>
                </a:cubicBezTo>
                <a:cubicBezTo>
                  <a:pt x="2816" y="365"/>
                  <a:pt x="2816" y="365"/>
                  <a:pt x="2816" y="365"/>
                </a:cubicBezTo>
                <a:cubicBezTo>
                  <a:pt x="2816" y="364"/>
                  <a:pt x="2816" y="364"/>
                  <a:pt x="2816" y="364"/>
                </a:cubicBezTo>
                <a:cubicBezTo>
                  <a:pt x="2815" y="363"/>
                  <a:pt x="2815" y="363"/>
                  <a:pt x="2815" y="363"/>
                </a:cubicBezTo>
                <a:cubicBezTo>
                  <a:pt x="2816" y="361"/>
                  <a:pt x="2816" y="361"/>
                  <a:pt x="2816" y="361"/>
                </a:cubicBezTo>
                <a:cubicBezTo>
                  <a:pt x="2816" y="359"/>
                  <a:pt x="2816" y="359"/>
                  <a:pt x="2816" y="359"/>
                </a:cubicBezTo>
                <a:cubicBezTo>
                  <a:pt x="2816" y="358"/>
                  <a:pt x="2816" y="358"/>
                  <a:pt x="2816" y="358"/>
                </a:cubicBezTo>
                <a:cubicBezTo>
                  <a:pt x="2817" y="357"/>
                  <a:pt x="2817" y="357"/>
                  <a:pt x="2817" y="357"/>
                </a:cubicBezTo>
                <a:cubicBezTo>
                  <a:pt x="2815" y="355"/>
                  <a:pt x="2815" y="355"/>
                  <a:pt x="2815" y="355"/>
                </a:cubicBezTo>
                <a:cubicBezTo>
                  <a:pt x="2815" y="353"/>
                  <a:pt x="2815" y="353"/>
                  <a:pt x="2815" y="353"/>
                </a:cubicBezTo>
                <a:cubicBezTo>
                  <a:pt x="2816" y="352"/>
                  <a:pt x="2816" y="352"/>
                  <a:pt x="2816" y="352"/>
                </a:cubicBezTo>
                <a:cubicBezTo>
                  <a:pt x="2816" y="350"/>
                  <a:pt x="2816" y="350"/>
                  <a:pt x="2816" y="350"/>
                </a:cubicBezTo>
                <a:cubicBezTo>
                  <a:pt x="2814" y="351"/>
                  <a:pt x="2814" y="351"/>
                  <a:pt x="2814" y="351"/>
                </a:cubicBezTo>
                <a:cubicBezTo>
                  <a:pt x="2813" y="351"/>
                  <a:pt x="2813" y="351"/>
                  <a:pt x="2813" y="351"/>
                </a:cubicBezTo>
                <a:cubicBezTo>
                  <a:pt x="2810" y="349"/>
                  <a:pt x="2810" y="349"/>
                  <a:pt x="2810" y="349"/>
                </a:cubicBezTo>
                <a:cubicBezTo>
                  <a:pt x="2811" y="347"/>
                  <a:pt x="2811" y="347"/>
                  <a:pt x="2811" y="347"/>
                </a:cubicBezTo>
                <a:cubicBezTo>
                  <a:pt x="2812" y="345"/>
                  <a:pt x="2812" y="345"/>
                  <a:pt x="2812" y="345"/>
                </a:cubicBezTo>
                <a:cubicBezTo>
                  <a:pt x="2812" y="343"/>
                  <a:pt x="2812" y="343"/>
                  <a:pt x="2812" y="343"/>
                </a:cubicBezTo>
                <a:cubicBezTo>
                  <a:pt x="2809" y="340"/>
                  <a:pt x="2809" y="340"/>
                  <a:pt x="2809" y="340"/>
                </a:cubicBezTo>
                <a:cubicBezTo>
                  <a:pt x="2807" y="340"/>
                  <a:pt x="2807" y="340"/>
                  <a:pt x="2807" y="340"/>
                </a:cubicBezTo>
                <a:cubicBezTo>
                  <a:pt x="2805" y="338"/>
                  <a:pt x="2805" y="338"/>
                  <a:pt x="2805" y="338"/>
                </a:cubicBezTo>
                <a:cubicBezTo>
                  <a:pt x="2807" y="337"/>
                  <a:pt x="2807" y="337"/>
                  <a:pt x="2807" y="337"/>
                </a:cubicBezTo>
                <a:cubicBezTo>
                  <a:pt x="2807" y="335"/>
                  <a:pt x="2807" y="335"/>
                  <a:pt x="2807" y="335"/>
                </a:cubicBezTo>
                <a:cubicBezTo>
                  <a:pt x="2808" y="334"/>
                  <a:pt x="2808" y="334"/>
                  <a:pt x="2808" y="334"/>
                </a:cubicBezTo>
                <a:cubicBezTo>
                  <a:pt x="2806" y="330"/>
                  <a:pt x="2806" y="330"/>
                  <a:pt x="2806" y="330"/>
                </a:cubicBezTo>
                <a:cubicBezTo>
                  <a:pt x="2805" y="330"/>
                  <a:pt x="2805" y="330"/>
                  <a:pt x="2805" y="330"/>
                </a:cubicBezTo>
                <a:cubicBezTo>
                  <a:pt x="2804" y="329"/>
                  <a:pt x="2804" y="329"/>
                  <a:pt x="2804" y="329"/>
                </a:cubicBezTo>
                <a:cubicBezTo>
                  <a:pt x="2802" y="329"/>
                  <a:pt x="2802" y="329"/>
                  <a:pt x="2802" y="329"/>
                </a:cubicBezTo>
                <a:cubicBezTo>
                  <a:pt x="2802" y="327"/>
                  <a:pt x="2802" y="327"/>
                  <a:pt x="2802" y="327"/>
                </a:cubicBezTo>
                <a:cubicBezTo>
                  <a:pt x="2797" y="326"/>
                  <a:pt x="2797" y="326"/>
                  <a:pt x="2797" y="326"/>
                </a:cubicBezTo>
                <a:cubicBezTo>
                  <a:pt x="2796" y="324"/>
                  <a:pt x="2796" y="324"/>
                  <a:pt x="2796" y="324"/>
                </a:cubicBezTo>
                <a:cubicBezTo>
                  <a:pt x="2793" y="324"/>
                  <a:pt x="2793" y="324"/>
                  <a:pt x="2793" y="324"/>
                </a:cubicBezTo>
                <a:cubicBezTo>
                  <a:pt x="2792" y="323"/>
                  <a:pt x="2792" y="323"/>
                  <a:pt x="2792" y="323"/>
                </a:cubicBezTo>
                <a:cubicBezTo>
                  <a:pt x="2791" y="321"/>
                  <a:pt x="2791" y="321"/>
                  <a:pt x="2791" y="321"/>
                </a:cubicBezTo>
                <a:cubicBezTo>
                  <a:pt x="2790" y="319"/>
                  <a:pt x="2790" y="319"/>
                  <a:pt x="2790" y="319"/>
                </a:cubicBezTo>
                <a:cubicBezTo>
                  <a:pt x="2787" y="319"/>
                  <a:pt x="2787" y="319"/>
                  <a:pt x="2787" y="319"/>
                </a:cubicBezTo>
                <a:cubicBezTo>
                  <a:pt x="2785" y="317"/>
                  <a:pt x="2785" y="317"/>
                  <a:pt x="2785" y="317"/>
                </a:cubicBezTo>
                <a:cubicBezTo>
                  <a:pt x="2783" y="319"/>
                  <a:pt x="2783" y="319"/>
                  <a:pt x="2783" y="319"/>
                </a:cubicBezTo>
                <a:cubicBezTo>
                  <a:pt x="2781" y="319"/>
                  <a:pt x="2781" y="319"/>
                  <a:pt x="2781" y="319"/>
                </a:cubicBezTo>
                <a:cubicBezTo>
                  <a:pt x="2780" y="320"/>
                  <a:pt x="2780" y="320"/>
                  <a:pt x="2780" y="320"/>
                </a:cubicBezTo>
                <a:cubicBezTo>
                  <a:pt x="2779" y="320"/>
                  <a:pt x="2779" y="320"/>
                  <a:pt x="2779" y="320"/>
                </a:cubicBezTo>
                <a:cubicBezTo>
                  <a:pt x="2778" y="320"/>
                  <a:pt x="2778" y="320"/>
                  <a:pt x="2778" y="320"/>
                </a:cubicBezTo>
                <a:cubicBezTo>
                  <a:pt x="2778" y="319"/>
                  <a:pt x="2778" y="319"/>
                  <a:pt x="2778" y="319"/>
                </a:cubicBezTo>
                <a:cubicBezTo>
                  <a:pt x="2776" y="317"/>
                  <a:pt x="2776" y="317"/>
                  <a:pt x="2776" y="317"/>
                </a:cubicBezTo>
                <a:cubicBezTo>
                  <a:pt x="2774" y="318"/>
                  <a:pt x="2774" y="318"/>
                  <a:pt x="2774" y="318"/>
                </a:cubicBezTo>
                <a:cubicBezTo>
                  <a:pt x="2775" y="321"/>
                  <a:pt x="2775" y="321"/>
                  <a:pt x="2775" y="321"/>
                </a:cubicBezTo>
                <a:cubicBezTo>
                  <a:pt x="2777" y="323"/>
                  <a:pt x="2777" y="323"/>
                  <a:pt x="2777" y="323"/>
                </a:cubicBezTo>
                <a:cubicBezTo>
                  <a:pt x="2776" y="325"/>
                  <a:pt x="2776" y="325"/>
                  <a:pt x="2776" y="325"/>
                </a:cubicBezTo>
                <a:cubicBezTo>
                  <a:pt x="2777" y="328"/>
                  <a:pt x="2777" y="328"/>
                  <a:pt x="2777" y="328"/>
                </a:cubicBezTo>
                <a:cubicBezTo>
                  <a:pt x="2776" y="331"/>
                  <a:pt x="2776" y="331"/>
                  <a:pt x="2776" y="331"/>
                </a:cubicBezTo>
                <a:cubicBezTo>
                  <a:pt x="2775" y="332"/>
                  <a:pt x="2775" y="332"/>
                  <a:pt x="2775" y="332"/>
                </a:cubicBezTo>
                <a:cubicBezTo>
                  <a:pt x="2775" y="329"/>
                  <a:pt x="2775" y="329"/>
                  <a:pt x="2775" y="329"/>
                </a:cubicBezTo>
                <a:cubicBezTo>
                  <a:pt x="2775" y="327"/>
                  <a:pt x="2775" y="327"/>
                  <a:pt x="2775" y="327"/>
                </a:cubicBezTo>
                <a:cubicBezTo>
                  <a:pt x="2774" y="324"/>
                  <a:pt x="2774" y="324"/>
                  <a:pt x="2774" y="324"/>
                </a:cubicBezTo>
                <a:cubicBezTo>
                  <a:pt x="2773" y="325"/>
                  <a:pt x="2773" y="325"/>
                  <a:pt x="2773" y="325"/>
                </a:cubicBezTo>
                <a:cubicBezTo>
                  <a:pt x="2774" y="327"/>
                  <a:pt x="2774" y="327"/>
                  <a:pt x="2774" y="327"/>
                </a:cubicBezTo>
                <a:cubicBezTo>
                  <a:pt x="2773" y="330"/>
                  <a:pt x="2773" y="330"/>
                  <a:pt x="2773" y="330"/>
                </a:cubicBezTo>
                <a:cubicBezTo>
                  <a:pt x="2771" y="332"/>
                  <a:pt x="2771" y="332"/>
                  <a:pt x="2771" y="332"/>
                </a:cubicBezTo>
                <a:cubicBezTo>
                  <a:pt x="2766" y="332"/>
                  <a:pt x="2766" y="332"/>
                  <a:pt x="2766" y="332"/>
                </a:cubicBezTo>
                <a:cubicBezTo>
                  <a:pt x="2765" y="332"/>
                  <a:pt x="2765" y="332"/>
                  <a:pt x="2765" y="332"/>
                </a:cubicBezTo>
                <a:cubicBezTo>
                  <a:pt x="2767" y="330"/>
                  <a:pt x="2767" y="330"/>
                  <a:pt x="2767" y="330"/>
                </a:cubicBezTo>
                <a:cubicBezTo>
                  <a:pt x="2768" y="330"/>
                  <a:pt x="2768" y="330"/>
                  <a:pt x="2768" y="330"/>
                </a:cubicBezTo>
                <a:cubicBezTo>
                  <a:pt x="2768" y="327"/>
                  <a:pt x="2768" y="327"/>
                  <a:pt x="2768" y="327"/>
                </a:cubicBezTo>
                <a:cubicBezTo>
                  <a:pt x="2769" y="326"/>
                  <a:pt x="2769" y="326"/>
                  <a:pt x="2769" y="326"/>
                </a:cubicBezTo>
                <a:cubicBezTo>
                  <a:pt x="2770" y="325"/>
                  <a:pt x="2770" y="325"/>
                  <a:pt x="2770" y="325"/>
                </a:cubicBezTo>
                <a:cubicBezTo>
                  <a:pt x="2767" y="325"/>
                  <a:pt x="2767" y="325"/>
                  <a:pt x="2767" y="325"/>
                </a:cubicBezTo>
                <a:cubicBezTo>
                  <a:pt x="2766" y="326"/>
                  <a:pt x="2766" y="326"/>
                  <a:pt x="2766" y="326"/>
                </a:cubicBezTo>
                <a:cubicBezTo>
                  <a:pt x="2766" y="324"/>
                  <a:pt x="2766" y="324"/>
                  <a:pt x="2766" y="324"/>
                </a:cubicBezTo>
                <a:cubicBezTo>
                  <a:pt x="2764" y="325"/>
                  <a:pt x="2764" y="325"/>
                  <a:pt x="2764" y="325"/>
                </a:cubicBezTo>
                <a:cubicBezTo>
                  <a:pt x="2763" y="327"/>
                  <a:pt x="2763" y="327"/>
                  <a:pt x="2763" y="327"/>
                </a:cubicBezTo>
                <a:cubicBezTo>
                  <a:pt x="2762" y="328"/>
                  <a:pt x="2762" y="328"/>
                  <a:pt x="2762" y="328"/>
                </a:cubicBezTo>
                <a:cubicBezTo>
                  <a:pt x="2761" y="328"/>
                  <a:pt x="2761" y="328"/>
                  <a:pt x="2761" y="328"/>
                </a:cubicBezTo>
                <a:cubicBezTo>
                  <a:pt x="2760" y="329"/>
                  <a:pt x="2760" y="329"/>
                  <a:pt x="2760" y="329"/>
                </a:cubicBezTo>
                <a:cubicBezTo>
                  <a:pt x="2758" y="327"/>
                  <a:pt x="2758" y="327"/>
                  <a:pt x="2758" y="327"/>
                </a:cubicBezTo>
                <a:cubicBezTo>
                  <a:pt x="2758" y="325"/>
                  <a:pt x="2758" y="325"/>
                  <a:pt x="2758" y="325"/>
                </a:cubicBezTo>
                <a:cubicBezTo>
                  <a:pt x="2757" y="321"/>
                  <a:pt x="2757" y="321"/>
                  <a:pt x="2757" y="321"/>
                </a:cubicBezTo>
                <a:cubicBezTo>
                  <a:pt x="2755" y="318"/>
                  <a:pt x="2755" y="318"/>
                  <a:pt x="2755" y="318"/>
                </a:cubicBezTo>
                <a:cubicBezTo>
                  <a:pt x="2755" y="313"/>
                  <a:pt x="2755" y="313"/>
                  <a:pt x="2755" y="313"/>
                </a:cubicBezTo>
                <a:cubicBezTo>
                  <a:pt x="2753" y="314"/>
                  <a:pt x="2753" y="314"/>
                  <a:pt x="2753" y="314"/>
                </a:cubicBezTo>
                <a:cubicBezTo>
                  <a:pt x="2752" y="313"/>
                  <a:pt x="2752" y="313"/>
                  <a:pt x="2752" y="313"/>
                </a:cubicBezTo>
                <a:cubicBezTo>
                  <a:pt x="2750" y="315"/>
                  <a:pt x="2750" y="315"/>
                  <a:pt x="2750" y="315"/>
                </a:cubicBezTo>
                <a:cubicBezTo>
                  <a:pt x="2748" y="315"/>
                  <a:pt x="2748" y="315"/>
                  <a:pt x="2748" y="315"/>
                </a:cubicBezTo>
                <a:cubicBezTo>
                  <a:pt x="2746" y="317"/>
                  <a:pt x="2746" y="317"/>
                  <a:pt x="2746" y="317"/>
                </a:cubicBezTo>
                <a:cubicBezTo>
                  <a:pt x="2744" y="317"/>
                  <a:pt x="2744" y="317"/>
                  <a:pt x="2744" y="317"/>
                </a:cubicBezTo>
                <a:cubicBezTo>
                  <a:pt x="2742" y="315"/>
                  <a:pt x="2742" y="315"/>
                  <a:pt x="2742" y="315"/>
                </a:cubicBezTo>
                <a:cubicBezTo>
                  <a:pt x="2740" y="316"/>
                  <a:pt x="2740" y="316"/>
                  <a:pt x="2740" y="316"/>
                </a:cubicBezTo>
                <a:cubicBezTo>
                  <a:pt x="2738" y="315"/>
                  <a:pt x="2738" y="315"/>
                  <a:pt x="2738" y="315"/>
                </a:cubicBezTo>
                <a:cubicBezTo>
                  <a:pt x="2737" y="313"/>
                  <a:pt x="2737" y="313"/>
                  <a:pt x="2737" y="313"/>
                </a:cubicBezTo>
                <a:cubicBezTo>
                  <a:pt x="2738" y="311"/>
                  <a:pt x="2738" y="311"/>
                  <a:pt x="2738" y="311"/>
                </a:cubicBezTo>
                <a:cubicBezTo>
                  <a:pt x="2739" y="309"/>
                  <a:pt x="2739" y="309"/>
                  <a:pt x="2739" y="309"/>
                </a:cubicBezTo>
                <a:cubicBezTo>
                  <a:pt x="2741" y="306"/>
                  <a:pt x="2741" y="306"/>
                  <a:pt x="2741" y="306"/>
                </a:cubicBezTo>
                <a:cubicBezTo>
                  <a:pt x="2741" y="304"/>
                  <a:pt x="2741" y="304"/>
                  <a:pt x="2741" y="304"/>
                </a:cubicBezTo>
                <a:cubicBezTo>
                  <a:pt x="2744" y="302"/>
                  <a:pt x="2744" y="302"/>
                  <a:pt x="2744" y="302"/>
                </a:cubicBezTo>
                <a:cubicBezTo>
                  <a:pt x="2744" y="298"/>
                  <a:pt x="2744" y="298"/>
                  <a:pt x="2744" y="298"/>
                </a:cubicBezTo>
                <a:cubicBezTo>
                  <a:pt x="2747" y="296"/>
                  <a:pt x="2747" y="296"/>
                  <a:pt x="2747" y="296"/>
                </a:cubicBezTo>
                <a:cubicBezTo>
                  <a:pt x="2747" y="293"/>
                  <a:pt x="2747" y="293"/>
                  <a:pt x="2747" y="293"/>
                </a:cubicBezTo>
                <a:cubicBezTo>
                  <a:pt x="2748" y="293"/>
                  <a:pt x="2748" y="293"/>
                  <a:pt x="2748" y="293"/>
                </a:cubicBezTo>
                <a:cubicBezTo>
                  <a:pt x="2748" y="292"/>
                  <a:pt x="2748" y="292"/>
                  <a:pt x="2748" y="292"/>
                </a:cubicBezTo>
                <a:cubicBezTo>
                  <a:pt x="2750" y="289"/>
                  <a:pt x="2750" y="289"/>
                  <a:pt x="2750" y="289"/>
                </a:cubicBezTo>
                <a:cubicBezTo>
                  <a:pt x="2750" y="287"/>
                  <a:pt x="2750" y="287"/>
                  <a:pt x="2750" y="287"/>
                </a:cubicBezTo>
                <a:cubicBezTo>
                  <a:pt x="2752" y="284"/>
                  <a:pt x="2752" y="284"/>
                  <a:pt x="2752" y="284"/>
                </a:cubicBezTo>
                <a:cubicBezTo>
                  <a:pt x="2751" y="282"/>
                  <a:pt x="2751" y="282"/>
                  <a:pt x="2751" y="282"/>
                </a:cubicBezTo>
                <a:cubicBezTo>
                  <a:pt x="2751" y="281"/>
                  <a:pt x="2751" y="281"/>
                  <a:pt x="2751" y="281"/>
                </a:cubicBezTo>
                <a:cubicBezTo>
                  <a:pt x="2751" y="277"/>
                  <a:pt x="2751" y="277"/>
                  <a:pt x="2751" y="277"/>
                </a:cubicBezTo>
                <a:cubicBezTo>
                  <a:pt x="2752" y="272"/>
                  <a:pt x="2752" y="272"/>
                  <a:pt x="2752" y="272"/>
                </a:cubicBezTo>
                <a:cubicBezTo>
                  <a:pt x="2753" y="272"/>
                  <a:pt x="2753" y="272"/>
                  <a:pt x="2753" y="272"/>
                </a:cubicBezTo>
                <a:cubicBezTo>
                  <a:pt x="2754" y="268"/>
                  <a:pt x="2754" y="268"/>
                  <a:pt x="2754" y="268"/>
                </a:cubicBezTo>
                <a:cubicBezTo>
                  <a:pt x="2755" y="268"/>
                  <a:pt x="2755" y="268"/>
                  <a:pt x="2755" y="268"/>
                </a:cubicBezTo>
                <a:cubicBezTo>
                  <a:pt x="2755" y="265"/>
                  <a:pt x="2755" y="265"/>
                  <a:pt x="2755" y="265"/>
                </a:cubicBezTo>
                <a:cubicBezTo>
                  <a:pt x="2758" y="262"/>
                  <a:pt x="2758" y="262"/>
                  <a:pt x="2758" y="262"/>
                </a:cubicBezTo>
                <a:cubicBezTo>
                  <a:pt x="2758" y="259"/>
                  <a:pt x="2758" y="259"/>
                  <a:pt x="2758" y="259"/>
                </a:cubicBezTo>
                <a:cubicBezTo>
                  <a:pt x="2760" y="258"/>
                  <a:pt x="2760" y="258"/>
                  <a:pt x="2760" y="258"/>
                </a:cubicBezTo>
                <a:cubicBezTo>
                  <a:pt x="2759" y="255"/>
                  <a:pt x="2759" y="255"/>
                  <a:pt x="2759" y="255"/>
                </a:cubicBezTo>
                <a:cubicBezTo>
                  <a:pt x="2760" y="254"/>
                  <a:pt x="2760" y="254"/>
                  <a:pt x="2760" y="254"/>
                </a:cubicBezTo>
                <a:cubicBezTo>
                  <a:pt x="2760" y="251"/>
                  <a:pt x="2760" y="251"/>
                  <a:pt x="2760" y="251"/>
                </a:cubicBezTo>
                <a:cubicBezTo>
                  <a:pt x="2761" y="251"/>
                  <a:pt x="2761" y="251"/>
                  <a:pt x="2761" y="251"/>
                </a:cubicBezTo>
                <a:cubicBezTo>
                  <a:pt x="2762" y="251"/>
                  <a:pt x="2762" y="251"/>
                  <a:pt x="2762" y="251"/>
                </a:cubicBezTo>
                <a:cubicBezTo>
                  <a:pt x="2762" y="249"/>
                  <a:pt x="2762" y="249"/>
                  <a:pt x="2762" y="249"/>
                </a:cubicBezTo>
                <a:cubicBezTo>
                  <a:pt x="2761" y="247"/>
                  <a:pt x="2761" y="247"/>
                  <a:pt x="2761" y="247"/>
                </a:cubicBezTo>
                <a:cubicBezTo>
                  <a:pt x="2761" y="243"/>
                  <a:pt x="2761" y="243"/>
                  <a:pt x="2761" y="243"/>
                </a:cubicBezTo>
                <a:cubicBezTo>
                  <a:pt x="2761" y="240"/>
                  <a:pt x="2761" y="240"/>
                  <a:pt x="2761" y="240"/>
                </a:cubicBezTo>
                <a:cubicBezTo>
                  <a:pt x="2762" y="237"/>
                  <a:pt x="2762" y="237"/>
                  <a:pt x="2762" y="237"/>
                </a:cubicBezTo>
                <a:cubicBezTo>
                  <a:pt x="2765" y="234"/>
                  <a:pt x="2765" y="234"/>
                  <a:pt x="2765" y="234"/>
                </a:cubicBezTo>
                <a:cubicBezTo>
                  <a:pt x="2766" y="230"/>
                  <a:pt x="2766" y="230"/>
                  <a:pt x="2766" y="230"/>
                </a:cubicBezTo>
                <a:cubicBezTo>
                  <a:pt x="2763" y="226"/>
                  <a:pt x="2763" y="226"/>
                  <a:pt x="2763" y="226"/>
                </a:cubicBezTo>
                <a:cubicBezTo>
                  <a:pt x="2763" y="224"/>
                  <a:pt x="2763" y="224"/>
                  <a:pt x="2763" y="224"/>
                </a:cubicBezTo>
                <a:cubicBezTo>
                  <a:pt x="2765" y="222"/>
                  <a:pt x="2765" y="222"/>
                  <a:pt x="2765" y="222"/>
                </a:cubicBezTo>
                <a:cubicBezTo>
                  <a:pt x="2766" y="220"/>
                  <a:pt x="2766" y="220"/>
                  <a:pt x="2766" y="220"/>
                </a:cubicBezTo>
                <a:cubicBezTo>
                  <a:pt x="2770" y="217"/>
                  <a:pt x="2770" y="217"/>
                  <a:pt x="2770" y="217"/>
                </a:cubicBezTo>
                <a:cubicBezTo>
                  <a:pt x="2770" y="215"/>
                  <a:pt x="2770" y="215"/>
                  <a:pt x="2770" y="215"/>
                </a:cubicBezTo>
                <a:cubicBezTo>
                  <a:pt x="2771" y="215"/>
                  <a:pt x="2771" y="215"/>
                  <a:pt x="2771" y="215"/>
                </a:cubicBezTo>
                <a:cubicBezTo>
                  <a:pt x="2773" y="216"/>
                  <a:pt x="2773" y="216"/>
                  <a:pt x="2773" y="216"/>
                </a:cubicBezTo>
                <a:cubicBezTo>
                  <a:pt x="2775" y="216"/>
                  <a:pt x="2775" y="216"/>
                  <a:pt x="2775" y="216"/>
                </a:cubicBezTo>
                <a:cubicBezTo>
                  <a:pt x="2778" y="213"/>
                  <a:pt x="2778" y="213"/>
                  <a:pt x="2778" y="213"/>
                </a:cubicBezTo>
                <a:cubicBezTo>
                  <a:pt x="2781" y="213"/>
                  <a:pt x="2781" y="213"/>
                  <a:pt x="2781" y="213"/>
                </a:cubicBezTo>
                <a:cubicBezTo>
                  <a:pt x="2784" y="211"/>
                  <a:pt x="2784" y="211"/>
                  <a:pt x="2784" y="211"/>
                </a:cubicBezTo>
                <a:cubicBezTo>
                  <a:pt x="2787" y="211"/>
                  <a:pt x="2787" y="211"/>
                  <a:pt x="2787" y="211"/>
                </a:cubicBezTo>
                <a:cubicBezTo>
                  <a:pt x="2789" y="210"/>
                  <a:pt x="2789" y="210"/>
                  <a:pt x="2789" y="210"/>
                </a:cubicBezTo>
                <a:cubicBezTo>
                  <a:pt x="2790" y="210"/>
                  <a:pt x="2790" y="210"/>
                  <a:pt x="2790" y="210"/>
                </a:cubicBezTo>
                <a:cubicBezTo>
                  <a:pt x="2792" y="210"/>
                  <a:pt x="2792" y="210"/>
                  <a:pt x="2792" y="210"/>
                </a:cubicBezTo>
                <a:cubicBezTo>
                  <a:pt x="2793" y="208"/>
                  <a:pt x="2793" y="208"/>
                  <a:pt x="2793" y="208"/>
                </a:cubicBezTo>
                <a:cubicBezTo>
                  <a:pt x="2795" y="209"/>
                  <a:pt x="2795" y="209"/>
                  <a:pt x="2795" y="209"/>
                </a:cubicBezTo>
                <a:cubicBezTo>
                  <a:pt x="2794" y="211"/>
                  <a:pt x="2794" y="211"/>
                  <a:pt x="2794" y="211"/>
                </a:cubicBezTo>
                <a:cubicBezTo>
                  <a:pt x="2795" y="212"/>
                  <a:pt x="2795" y="212"/>
                  <a:pt x="2795" y="212"/>
                </a:cubicBezTo>
                <a:cubicBezTo>
                  <a:pt x="2797" y="214"/>
                  <a:pt x="2797" y="214"/>
                  <a:pt x="2797" y="214"/>
                </a:cubicBezTo>
                <a:cubicBezTo>
                  <a:pt x="2798" y="212"/>
                  <a:pt x="2798" y="212"/>
                  <a:pt x="2798" y="212"/>
                </a:cubicBezTo>
                <a:cubicBezTo>
                  <a:pt x="2800" y="210"/>
                  <a:pt x="2800" y="210"/>
                  <a:pt x="2800" y="210"/>
                </a:cubicBezTo>
                <a:cubicBezTo>
                  <a:pt x="2797" y="208"/>
                  <a:pt x="2797" y="208"/>
                  <a:pt x="2797" y="208"/>
                </a:cubicBezTo>
                <a:cubicBezTo>
                  <a:pt x="2797" y="207"/>
                  <a:pt x="2797" y="207"/>
                  <a:pt x="2797" y="207"/>
                </a:cubicBezTo>
                <a:cubicBezTo>
                  <a:pt x="2799" y="206"/>
                  <a:pt x="2799" y="206"/>
                  <a:pt x="2799" y="206"/>
                </a:cubicBezTo>
                <a:cubicBezTo>
                  <a:pt x="2803" y="206"/>
                  <a:pt x="2803" y="206"/>
                  <a:pt x="2803" y="206"/>
                </a:cubicBezTo>
                <a:cubicBezTo>
                  <a:pt x="2805" y="205"/>
                  <a:pt x="2805" y="205"/>
                  <a:pt x="2805" y="205"/>
                </a:cubicBezTo>
                <a:cubicBezTo>
                  <a:pt x="2809" y="206"/>
                  <a:pt x="2809" y="206"/>
                  <a:pt x="2809" y="206"/>
                </a:cubicBezTo>
                <a:cubicBezTo>
                  <a:pt x="2810" y="207"/>
                  <a:pt x="2810" y="207"/>
                  <a:pt x="2810" y="207"/>
                </a:cubicBezTo>
                <a:cubicBezTo>
                  <a:pt x="2811" y="207"/>
                  <a:pt x="2811" y="207"/>
                  <a:pt x="2811" y="207"/>
                </a:cubicBezTo>
                <a:cubicBezTo>
                  <a:pt x="2812" y="206"/>
                  <a:pt x="2812" y="206"/>
                  <a:pt x="2812" y="206"/>
                </a:cubicBezTo>
                <a:cubicBezTo>
                  <a:pt x="2813" y="206"/>
                  <a:pt x="2813" y="206"/>
                  <a:pt x="2813" y="206"/>
                </a:cubicBezTo>
                <a:cubicBezTo>
                  <a:pt x="2813" y="204"/>
                  <a:pt x="2813" y="204"/>
                  <a:pt x="2813" y="204"/>
                </a:cubicBezTo>
                <a:cubicBezTo>
                  <a:pt x="2814" y="204"/>
                  <a:pt x="2814" y="204"/>
                  <a:pt x="2814" y="204"/>
                </a:cubicBezTo>
                <a:cubicBezTo>
                  <a:pt x="2817" y="204"/>
                  <a:pt x="2817" y="204"/>
                  <a:pt x="2817" y="204"/>
                </a:cubicBezTo>
                <a:cubicBezTo>
                  <a:pt x="2819" y="205"/>
                  <a:pt x="2819" y="205"/>
                  <a:pt x="2819" y="205"/>
                </a:cubicBezTo>
                <a:cubicBezTo>
                  <a:pt x="2823" y="204"/>
                  <a:pt x="2823" y="204"/>
                  <a:pt x="2823" y="204"/>
                </a:cubicBezTo>
                <a:cubicBezTo>
                  <a:pt x="2823" y="202"/>
                  <a:pt x="2823" y="202"/>
                  <a:pt x="2823" y="202"/>
                </a:cubicBezTo>
                <a:cubicBezTo>
                  <a:pt x="2821" y="202"/>
                  <a:pt x="2821" y="202"/>
                  <a:pt x="2821" y="202"/>
                </a:cubicBezTo>
                <a:cubicBezTo>
                  <a:pt x="2821" y="202"/>
                  <a:pt x="2821" y="202"/>
                  <a:pt x="2821" y="202"/>
                </a:cubicBezTo>
                <a:cubicBezTo>
                  <a:pt x="2818" y="201"/>
                  <a:pt x="2818" y="201"/>
                  <a:pt x="2818" y="201"/>
                </a:cubicBezTo>
                <a:cubicBezTo>
                  <a:pt x="2820" y="199"/>
                  <a:pt x="2820" y="199"/>
                  <a:pt x="2820" y="199"/>
                </a:cubicBezTo>
                <a:cubicBezTo>
                  <a:pt x="2820" y="200"/>
                  <a:pt x="2820" y="200"/>
                  <a:pt x="2820" y="200"/>
                </a:cubicBezTo>
                <a:cubicBezTo>
                  <a:pt x="2823" y="199"/>
                  <a:pt x="2823" y="199"/>
                  <a:pt x="2823" y="199"/>
                </a:cubicBezTo>
                <a:cubicBezTo>
                  <a:pt x="2820" y="197"/>
                  <a:pt x="2820" y="197"/>
                  <a:pt x="2820" y="197"/>
                </a:cubicBezTo>
                <a:cubicBezTo>
                  <a:pt x="2820" y="196"/>
                  <a:pt x="2820" y="196"/>
                  <a:pt x="2820" y="196"/>
                </a:cubicBezTo>
                <a:cubicBezTo>
                  <a:pt x="2822" y="196"/>
                  <a:pt x="2822" y="196"/>
                  <a:pt x="2822" y="196"/>
                </a:cubicBezTo>
                <a:cubicBezTo>
                  <a:pt x="2824" y="193"/>
                  <a:pt x="2824" y="193"/>
                  <a:pt x="2824" y="193"/>
                </a:cubicBezTo>
                <a:cubicBezTo>
                  <a:pt x="2827" y="193"/>
                  <a:pt x="2827" y="193"/>
                  <a:pt x="2827" y="193"/>
                </a:cubicBezTo>
                <a:cubicBezTo>
                  <a:pt x="2829" y="194"/>
                  <a:pt x="2829" y="194"/>
                  <a:pt x="2829" y="194"/>
                </a:cubicBezTo>
                <a:cubicBezTo>
                  <a:pt x="2830" y="193"/>
                  <a:pt x="2830" y="193"/>
                  <a:pt x="2830" y="193"/>
                </a:cubicBezTo>
                <a:cubicBezTo>
                  <a:pt x="2834" y="194"/>
                  <a:pt x="2834" y="194"/>
                  <a:pt x="2834" y="194"/>
                </a:cubicBezTo>
                <a:cubicBezTo>
                  <a:pt x="2837" y="194"/>
                  <a:pt x="2837" y="194"/>
                  <a:pt x="2837" y="194"/>
                </a:cubicBezTo>
                <a:cubicBezTo>
                  <a:pt x="2836" y="195"/>
                  <a:pt x="2836" y="195"/>
                  <a:pt x="2836" y="195"/>
                </a:cubicBezTo>
                <a:cubicBezTo>
                  <a:pt x="2838" y="196"/>
                  <a:pt x="2838" y="196"/>
                  <a:pt x="2838" y="196"/>
                </a:cubicBezTo>
                <a:cubicBezTo>
                  <a:pt x="2839" y="195"/>
                  <a:pt x="2839" y="195"/>
                  <a:pt x="2839" y="195"/>
                </a:cubicBezTo>
                <a:cubicBezTo>
                  <a:pt x="2838" y="194"/>
                  <a:pt x="2838" y="194"/>
                  <a:pt x="2838" y="194"/>
                </a:cubicBezTo>
                <a:cubicBezTo>
                  <a:pt x="2841" y="194"/>
                  <a:pt x="2841" y="194"/>
                  <a:pt x="2841" y="194"/>
                </a:cubicBezTo>
                <a:cubicBezTo>
                  <a:pt x="2844" y="194"/>
                  <a:pt x="2844" y="194"/>
                  <a:pt x="2844" y="194"/>
                </a:cubicBezTo>
                <a:cubicBezTo>
                  <a:pt x="2846" y="195"/>
                  <a:pt x="2846" y="195"/>
                  <a:pt x="2846" y="195"/>
                </a:cubicBezTo>
                <a:cubicBezTo>
                  <a:pt x="2848" y="196"/>
                  <a:pt x="2848" y="196"/>
                  <a:pt x="2848" y="196"/>
                </a:cubicBezTo>
                <a:cubicBezTo>
                  <a:pt x="2848" y="197"/>
                  <a:pt x="2848" y="197"/>
                  <a:pt x="2848" y="197"/>
                </a:cubicBezTo>
                <a:cubicBezTo>
                  <a:pt x="2851" y="197"/>
                  <a:pt x="2851" y="197"/>
                  <a:pt x="2851" y="197"/>
                </a:cubicBezTo>
                <a:cubicBezTo>
                  <a:pt x="2852" y="196"/>
                  <a:pt x="2852" y="196"/>
                  <a:pt x="2852" y="196"/>
                </a:cubicBezTo>
                <a:cubicBezTo>
                  <a:pt x="2854" y="196"/>
                  <a:pt x="2854" y="196"/>
                  <a:pt x="2854" y="196"/>
                </a:cubicBezTo>
                <a:cubicBezTo>
                  <a:pt x="2854" y="197"/>
                  <a:pt x="2854" y="197"/>
                  <a:pt x="2854" y="197"/>
                </a:cubicBezTo>
                <a:cubicBezTo>
                  <a:pt x="2851" y="200"/>
                  <a:pt x="2851" y="200"/>
                  <a:pt x="2851" y="200"/>
                </a:cubicBezTo>
                <a:cubicBezTo>
                  <a:pt x="2848" y="200"/>
                  <a:pt x="2848" y="200"/>
                  <a:pt x="2848" y="200"/>
                </a:cubicBezTo>
                <a:cubicBezTo>
                  <a:pt x="2847" y="201"/>
                  <a:pt x="2847" y="201"/>
                  <a:pt x="2847" y="201"/>
                </a:cubicBezTo>
                <a:cubicBezTo>
                  <a:pt x="2847" y="203"/>
                  <a:pt x="2847" y="203"/>
                  <a:pt x="2847" y="203"/>
                </a:cubicBezTo>
                <a:cubicBezTo>
                  <a:pt x="2846" y="203"/>
                  <a:pt x="2846" y="203"/>
                  <a:pt x="2846" y="203"/>
                </a:cubicBezTo>
                <a:cubicBezTo>
                  <a:pt x="2845" y="204"/>
                  <a:pt x="2845" y="204"/>
                  <a:pt x="2845" y="204"/>
                </a:cubicBezTo>
                <a:cubicBezTo>
                  <a:pt x="2846" y="204"/>
                  <a:pt x="2846" y="204"/>
                  <a:pt x="2846" y="204"/>
                </a:cubicBezTo>
                <a:cubicBezTo>
                  <a:pt x="2847" y="204"/>
                  <a:pt x="2847" y="204"/>
                  <a:pt x="2847" y="204"/>
                </a:cubicBezTo>
                <a:cubicBezTo>
                  <a:pt x="2850" y="208"/>
                  <a:pt x="2850" y="208"/>
                  <a:pt x="2850" y="208"/>
                </a:cubicBezTo>
                <a:cubicBezTo>
                  <a:pt x="2851" y="207"/>
                  <a:pt x="2851" y="207"/>
                  <a:pt x="2851" y="207"/>
                </a:cubicBezTo>
                <a:cubicBezTo>
                  <a:pt x="2854" y="206"/>
                  <a:pt x="2854" y="206"/>
                  <a:pt x="2854" y="206"/>
                </a:cubicBezTo>
                <a:cubicBezTo>
                  <a:pt x="2855" y="205"/>
                  <a:pt x="2855" y="205"/>
                  <a:pt x="2855" y="205"/>
                </a:cubicBezTo>
                <a:cubicBezTo>
                  <a:pt x="2855" y="204"/>
                  <a:pt x="2855" y="204"/>
                  <a:pt x="2855" y="204"/>
                </a:cubicBezTo>
                <a:cubicBezTo>
                  <a:pt x="2857" y="203"/>
                  <a:pt x="2857" y="203"/>
                  <a:pt x="2857" y="203"/>
                </a:cubicBezTo>
                <a:cubicBezTo>
                  <a:pt x="2855" y="201"/>
                  <a:pt x="2855" y="201"/>
                  <a:pt x="2855" y="201"/>
                </a:cubicBezTo>
                <a:cubicBezTo>
                  <a:pt x="2857" y="201"/>
                  <a:pt x="2857" y="201"/>
                  <a:pt x="2857" y="201"/>
                </a:cubicBezTo>
                <a:cubicBezTo>
                  <a:pt x="2859" y="203"/>
                  <a:pt x="2859" y="203"/>
                  <a:pt x="2859" y="203"/>
                </a:cubicBezTo>
                <a:cubicBezTo>
                  <a:pt x="2861" y="203"/>
                  <a:pt x="2861" y="203"/>
                  <a:pt x="2861" y="203"/>
                </a:cubicBezTo>
                <a:cubicBezTo>
                  <a:pt x="2862" y="202"/>
                  <a:pt x="2862" y="202"/>
                  <a:pt x="2862" y="202"/>
                </a:cubicBezTo>
                <a:cubicBezTo>
                  <a:pt x="2861" y="201"/>
                  <a:pt x="2861" y="201"/>
                  <a:pt x="2861" y="201"/>
                </a:cubicBezTo>
                <a:cubicBezTo>
                  <a:pt x="2862" y="200"/>
                  <a:pt x="2862" y="200"/>
                  <a:pt x="2862" y="200"/>
                </a:cubicBezTo>
                <a:cubicBezTo>
                  <a:pt x="2863" y="199"/>
                  <a:pt x="2863" y="199"/>
                  <a:pt x="2863" y="199"/>
                </a:cubicBezTo>
                <a:cubicBezTo>
                  <a:pt x="2864" y="199"/>
                  <a:pt x="2864" y="199"/>
                  <a:pt x="2864" y="199"/>
                </a:cubicBezTo>
                <a:cubicBezTo>
                  <a:pt x="2864" y="197"/>
                  <a:pt x="2864" y="197"/>
                  <a:pt x="2864" y="197"/>
                </a:cubicBezTo>
                <a:cubicBezTo>
                  <a:pt x="2863" y="196"/>
                  <a:pt x="2863" y="196"/>
                  <a:pt x="2863" y="196"/>
                </a:cubicBezTo>
                <a:cubicBezTo>
                  <a:pt x="2865" y="195"/>
                  <a:pt x="2865" y="195"/>
                  <a:pt x="2865" y="195"/>
                </a:cubicBezTo>
                <a:cubicBezTo>
                  <a:pt x="2866" y="196"/>
                  <a:pt x="2866" y="196"/>
                  <a:pt x="2866" y="196"/>
                </a:cubicBezTo>
                <a:cubicBezTo>
                  <a:pt x="2867" y="195"/>
                  <a:pt x="2867" y="195"/>
                  <a:pt x="2867" y="195"/>
                </a:cubicBezTo>
                <a:cubicBezTo>
                  <a:pt x="2868" y="196"/>
                  <a:pt x="2868" y="196"/>
                  <a:pt x="2868" y="196"/>
                </a:cubicBezTo>
                <a:cubicBezTo>
                  <a:pt x="2869" y="198"/>
                  <a:pt x="2869" y="198"/>
                  <a:pt x="2869" y="198"/>
                </a:cubicBezTo>
                <a:cubicBezTo>
                  <a:pt x="2870" y="199"/>
                  <a:pt x="2870" y="199"/>
                  <a:pt x="2870" y="199"/>
                </a:cubicBezTo>
                <a:cubicBezTo>
                  <a:pt x="2873" y="196"/>
                  <a:pt x="2873" y="196"/>
                  <a:pt x="2873" y="196"/>
                </a:cubicBezTo>
                <a:cubicBezTo>
                  <a:pt x="2871" y="195"/>
                  <a:pt x="2871" y="195"/>
                  <a:pt x="2871" y="195"/>
                </a:cubicBezTo>
                <a:cubicBezTo>
                  <a:pt x="2872" y="194"/>
                  <a:pt x="2872" y="194"/>
                  <a:pt x="2872" y="194"/>
                </a:cubicBezTo>
                <a:cubicBezTo>
                  <a:pt x="2873" y="193"/>
                  <a:pt x="2873" y="193"/>
                  <a:pt x="2873" y="193"/>
                </a:cubicBezTo>
                <a:cubicBezTo>
                  <a:pt x="2875" y="194"/>
                  <a:pt x="2875" y="194"/>
                  <a:pt x="2875" y="194"/>
                </a:cubicBezTo>
                <a:cubicBezTo>
                  <a:pt x="2876" y="193"/>
                  <a:pt x="2876" y="193"/>
                  <a:pt x="2876" y="193"/>
                </a:cubicBezTo>
                <a:cubicBezTo>
                  <a:pt x="2877" y="193"/>
                  <a:pt x="2877" y="193"/>
                  <a:pt x="2877" y="193"/>
                </a:cubicBezTo>
                <a:cubicBezTo>
                  <a:pt x="2878" y="192"/>
                  <a:pt x="2878" y="192"/>
                  <a:pt x="2878" y="192"/>
                </a:cubicBezTo>
                <a:cubicBezTo>
                  <a:pt x="2876" y="190"/>
                  <a:pt x="2876" y="190"/>
                  <a:pt x="2876" y="190"/>
                </a:cubicBezTo>
                <a:cubicBezTo>
                  <a:pt x="2876" y="190"/>
                  <a:pt x="2876" y="190"/>
                  <a:pt x="2876" y="190"/>
                </a:cubicBezTo>
                <a:cubicBezTo>
                  <a:pt x="2876" y="189"/>
                  <a:pt x="2876" y="189"/>
                  <a:pt x="2876" y="189"/>
                </a:cubicBezTo>
                <a:cubicBezTo>
                  <a:pt x="2874" y="188"/>
                  <a:pt x="2874" y="188"/>
                  <a:pt x="2874" y="188"/>
                </a:cubicBezTo>
                <a:cubicBezTo>
                  <a:pt x="2873" y="187"/>
                  <a:pt x="2873" y="187"/>
                  <a:pt x="2873" y="187"/>
                </a:cubicBezTo>
                <a:cubicBezTo>
                  <a:pt x="2873" y="187"/>
                  <a:pt x="2873" y="187"/>
                  <a:pt x="2873" y="187"/>
                </a:cubicBezTo>
                <a:cubicBezTo>
                  <a:pt x="2873" y="188"/>
                  <a:pt x="2873" y="188"/>
                  <a:pt x="2873" y="188"/>
                </a:cubicBezTo>
                <a:cubicBezTo>
                  <a:pt x="2872" y="188"/>
                  <a:pt x="2872" y="188"/>
                  <a:pt x="2872" y="188"/>
                </a:cubicBezTo>
                <a:cubicBezTo>
                  <a:pt x="2870" y="187"/>
                  <a:pt x="2870" y="187"/>
                  <a:pt x="2870" y="187"/>
                </a:cubicBezTo>
                <a:cubicBezTo>
                  <a:pt x="2869" y="188"/>
                  <a:pt x="2869" y="188"/>
                  <a:pt x="2869" y="188"/>
                </a:cubicBezTo>
                <a:cubicBezTo>
                  <a:pt x="2870" y="189"/>
                  <a:pt x="2870" y="189"/>
                  <a:pt x="2870" y="189"/>
                </a:cubicBezTo>
                <a:cubicBezTo>
                  <a:pt x="2868" y="189"/>
                  <a:pt x="2868" y="189"/>
                  <a:pt x="2868" y="189"/>
                </a:cubicBezTo>
                <a:cubicBezTo>
                  <a:pt x="2867" y="189"/>
                  <a:pt x="2867" y="189"/>
                  <a:pt x="2867" y="189"/>
                </a:cubicBezTo>
                <a:cubicBezTo>
                  <a:pt x="2865" y="188"/>
                  <a:pt x="2865" y="188"/>
                  <a:pt x="2865" y="188"/>
                </a:cubicBezTo>
                <a:cubicBezTo>
                  <a:pt x="2866" y="187"/>
                  <a:pt x="2866" y="187"/>
                  <a:pt x="2866" y="187"/>
                </a:cubicBezTo>
                <a:cubicBezTo>
                  <a:pt x="2867" y="186"/>
                  <a:pt x="2867" y="186"/>
                  <a:pt x="2867" y="186"/>
                </a:cubicBezTo>
                <a:cubicBezTo>
                  <a:pt x="2864" y="182"/>
                  <a:pt x="2864" y="182"/>
                  <a:pt x="2864" y="182"/>
                </a:cubicBezTo>
                <a:cubicBezTo>
                  <a:pt x="2866" y="181"/>
                  <a:pt x="2866" y="181"/>
                  <a:pt x="2866" y="181"/>
                </a:cubicBezTo>
                <a:cubicBezTo>
                  <a:pt x="2864" y="179"/>
                  <a:pt x="2864" y="179"/>
                  <a:pt x="2864" y="179"/>
                </a:cubicBezTo>
                <a:cubicBezTo>
                  <a:pt x="2865" y="175"/>
                  <a:pt x="2865" y="175"/>
                  <a:pt x="2865" y="175"/>
                </a:cubicBezTo>
                <a:cubicBezTo>
                  <a:pt x="2865" y="173"/>
                  <a:pt x="2865" y="173"/>
                  <a:pt x="2865" y="173"/>
                </a:cubicBezTo>
                <a:cubicBezTo>
                  <a:pt x="2866" y="171"/>
                  <a:pt x="2866" y="171"/>
                  <a:pt x="2866" y="171"/>
                </a:cubicBezTo>
                <a:cubicBezTo>
                  <a:pt x="2866" y="168"/>
                  <a:pt x="2866" y="168"/>
                  <a:pt x="2866" y="168"/>
                </a:cubicBezTo>
                <a:cubicBezTo>
                  <a:pt x="2868" y="166"/>
                  <a:pt x="2868" y="166"/>
                  <a:pt x="2868" y="166"/>
                </a:cubicBezTo>
                <a:cubicBezTo>
                  <a:pt x="2868" y="164"/>
                  <a:pt x="2868" y="164"/>
                  <a:pt x="2868" y="164"/>
                </a:cubicBezTo>
                <a:cubicBezTo>
                  <a:pt x="2868" y="163"/>
                  <a:pt x="2868" y="163"/>
                  <a:pt x="2868" y="163"/>
                </a:cubicBezTo>
                <a:cubicBezTo>
                  <a:pt x="2870" y="162"/>
                  <a:pt x="2870" y="162"/>
                  <a:pt x="2870" y="162"/>
                </a:cubicBezTo>
                <a:cubicBezTo>
                  <a:pt x="2867" y="160"/>
                  <a:pt x="2867" y="160"/>
                  <a:pt x="2867" y="160"/>
                </a:cubicBezTo>
                <a:cubicBezTo>
                  <a:pt x="2868" y="152"/>
                  <a:pt x="2868" y="152"/>
                  <a:pt x="2868" y="152"/>
                </a:cubicBezTo>
                <a:cubicBezTo>
                  <a:pt x="2870" y="151"/>
                  <a:pt x="2870" y="151"/>
                  <a:pt x="2870" y="151"/>
                </a:cubicBezTo>
                <a:cubicBezTo>
                  <a:pt x="2868" y="148"/>
                  <a:pt x="2868" y="148"/>
                  <a:pt x="2868" y="148"/>
                </a:cubicBezTo>
                <a:cubicBezTo>
                  <a:pt x="2868" y="146"/>
                  <a:pt x="2868" y="146"/>
                  <a:pt x="2868" y="146"/>
                </a:cubicBezTo>
                <a:cubicBezTo>
                  <a:pt x="2866" y="145"/>
                  <a:pt x="2866" y="145"/>
                  <a:pt x="2866" y="145"/>
                </a:cubicBezTo>
                <a:cubicBezTo>
                  <a:pt x="2866" y="144"/>
                  <a:pt x="2866" y="144"/>
                  <a:pt x="2866" y="144"/>
                </a:cubicBezTo>
                <a:cubicBezTo>
                  <a:pt x="2868" y="142"/>
                  <a:pt x="2868" y="142"/>
                  <a:pt x="2868" y="142"/>
                </a:cubicBezTo>
                <a:cubicBezTo>
                  <a:pt x="2868" y="139"/>
                  <a:pt x="2868" y="139"/>
                  <a:pt x="2868" y="139"/>
                </a:cubicBezTo>
                <a:cubicBezTo>
                  <a:pt x="2869" y="139"/>
                  <a:pt x="2869" y="139"/>
                  <a:pt x="2869" y="139"/>
                </a:cubicBezTo>
                <a:cubicBezTo>
                  <a:pt x="2871" y="135"/>
                  <a:pt x="2871" y="135"/>
                  <a:pt x="2871" y="135"/>
                </a:cubicBezTo>
                <a:cubicBezTo>
                  <a:pt x="2874" y="135"/>
                  <a:pt x="2874" y="135"/>
                  <a:pt x="2874" y="135"/>
                </a:cubicBezTo>
                <a:cubicBezTo>
                  <a:pt x="2875" y="135"/>
                  <a:pt x="2875" y="135"/>
                  <a:pt x="2875" y="135"/>
                </a:cubicBezTo>
                <a:cubicBezTo>
                  <a:pt x="2876" y="135"/>
                  <a:pt x="2876" y="135"/>
                  <a:pt x="2876" y="135"/>
                </a:cubicBezTo>
                <a:cubicBezTo>
                  <a:pt x="2877" y="134"/>
                  <a:pt x="2877" y="134"/>
                  <a:pt x="2877" y="134"/>
                </a:cubicBezTo>
                <a:cubicBezTo>
                  <a:pt x="2881" y="133"/>
                  <a:pt x="2881" y="133"/>
                  <a:pt x="2881" y="133"/>
                </a:cubicBezTo>
                <a:cubicBezTo>
                  <a:pt x="2881" y="132"/>
                  <a:pt x="2881" y="132"/>
                  <a:pt x="2881" y="132"/>
                </a:cubicBezTo>
                <a:cubicBezTo>
                  <a:pt x="2883" y="132"/>
                  <a:pt x="2883" y="132"/>
                  <a:pt x="2883" y="132"/>
                </a:cubicBezTo>
                <a:cubicBezTo>
                  <a:pt x="2883" y="130"/>
                  <a:pt x="2883" y="130"/>
                  <a:pt x="2883" y="130"/>
                </a:cubicBezTo>
                <a:cubicBezTo>
                  <a:pt x="2884" y="130"/>
                  <a:pt x="2884" y="130"/>
                  <a:pt x="2884" y="130"/>
                </a:cubicBezTo>
                <a:cubicBezTo>
                  <a:pt x="2885" y="129"/>
                  <a:pt x="2885" y="129"/>
                  <a:pt x="2885" y="129"/>
                </a:cubicBezTo>
                <a:cubicBezTo>
                  <a:pt x="2887" y="129"/>
                  <a:pt x="2887" y="129"/>
                  <a:pt x="2887" y="129"/>
                </a:cubicBezTo>
                <a:cubicBezTo>
                  <a:pt x="2888" y="131"/>
                  <a:pt x="2888" y="131"/>
                  <a:pt x="2888" y="131"/>
                </a:cubicBezTo>
                <a:cubicBezTo>
                  <a:pt x="2889" y="131"/>
                  <a:pt x="2889" y="131"/>
                  <a:pt x="2889" y="131"/>
                </a:cubicBezTo>
                <a:cubicBezTo>
                  <a:pt x="2889" y="131"/>
                  <a:pt x="2889" y="131"/>
                  <a:pt x="2889" y="131"/>
                </a:cubicBezTo>
                <a:cubicBezTo>
                  <a:pt x="2890" y="133"/>
                  <a:pt x="2890" y="133"/>
                  <a:pt x="2890" y="133"/>
                </a:cubicBezTo>
                <a:cubicBezTo>
                  <a:pt x="2891" y="133"/>
                  <a:pt x="2891" y="133"/>
                  <a:pt x="2891" y="133"/>
                </a:cubicBezTo>
                <a:cubicBezTo>
                  <a:pt x="2893" y="131"/>
                  <a:pt x="2893" y="131"/>
                  <a:pt x="2893" y="131"/>
                </a:cubicBezTo>
                <a:cubicBezTo>
                  <a:pt x="2893" y="129"/>
                  <a:pt x="2893" y="129"/>
                  <a:pt x="2893" y="129"/>
                </a:cubicBezTo>
                <a:cubicBezTo>
                  <a:pt x="2894" y="128"/>
                  <a:pt x="2894" y="128"/>
                  <a:pt x="2894" y="128"/>
                </a:cubicBezTo>
                <a:cubicBezTo>
                  <a:pt x="2894" y="126"/>
                  <a:pt x="2894" y="126"/>
                  <a:pt x="2894" y="126"/>
                </a:cubicBezTo>
                <a:cubicBezTo>
                  <a:pt x="2895" y="126"/>
                  <a:pt x="2895" y="126"/>
                  <a:pt x="2895" y="126"/>
                </a:cubicBezTo>
                <a:cubicBezTo>
                  <a:pt x="2896" y="127"/>
                  <a:pt x="2896" y="127"/>
                  <a:pt x="2896" y="127"/>
                </a:cubicBezTo>
                <a:cubicBezTo>
                  <a:pt x="2898" y="129"/>
                  <a:pt x="2898" y="129"/>
                  <a:pt x="2898" y="129"/>
                </a:cubicBezTo>
                <a:cubicBezTo>
                  <a:pt x="2898" y="131"/>
                  <a:pt x="2898" y="131"/>
                  <a:pt x="2898" y="131"/>
                </a:cubicBezTo>
                <a:cubicBezTo>
                  <a:pt x="2898" y="132"/>
                  <a:pt x="2898" y="132"/>
                  <a:pt x="2898" y="132"/>
                </a:cubicBezTo>
                <a:cubicBezTo>
                  <a:pt x="2899" y="133"/>
                  <a:pt x="2899" y="133"/>
                  <a:pt x="2899" y="133"/>
                </a:cubicBezTo>
                <a:cubicBezTo>
                  <a:pt x="2899" y="135"/>
                  <a:pt x="2899" y="135"/>
                  <a:pt x="2899" y="135"/>
                </a:cubicBezTo>
                <a:cubicBezTo>
                  <a:pt x="2898" y="137"/>
                  <a:pt x="2898" y="137"/>
                  <a:pt x="2898" y="137"/>
                </a:cubicBezTo>
                <a:cubicBezTo>
                  <a:pt x="2899" y="137"/>
                  <a:pt x="2899" y="137"/>
                  <a:pt x="2899" y="137"/>
                </a:cubicBezTo>
                <a:cubicBezTo>
                  <a:pt x="2899" y="139"/>
                  <a:pt x="2899" y="139"/>
                  <a:pt x="2899" y="139"/>
                </a:cubicBezTo>
                <a:cubicBezTo>
                  <a:pt x="2899" y="139"/>
                  <a:pt x="2899" y="139"/>
                  <a:pt x="2899" y="139"/>
                </a:cubicBezTo>
                <a:cubicBezTo>
                  <a:pt x="2899" y="141"/>
                  <a:pt x="2899" y="141"/>
                  <a:pt x="2899" y="141"/>
                </a:cubicBezTo>
                <a:cubicBezTo>
                  <a:pt x="2899" y="142"/>
                  <a:pt x="2899" y="142"/>
                  <a:pt x="2899" y="142"/>
                </a:cubicBezTo>
                <a:cubicBezTo>
                  <a:pt x="2898" y="143"/>
                  <a:pt x="2898" y="143"/>
                  <a:pt x="2898" y="143"/>
                </a:cubicBezTo>
                <a:cubicBezTo>
                  <a:pt x="2898" y="144"/>
                  <a:pt x="2898" y="144"/>
                  <a:pt x="2898" y="144"/>
                </a:cubicBezTo>
                <a:cubicBezTo>
                  <a:pt x="2899" y="145"/>
                  <a:pt x="2899" y="145"/>
                  <a:pt x="2899" y="145"/>
                </a:cubicBezTo>
                <a:cubicBezTo>
                  <a:pt x="2900" y="143"/>
                  <a:pt x="2900" y="143"/>
                  <a:pt x="2900" y="143"/>
                </a:cubicBezTo>
                <a:cubicBezTo>
                  <a:pt x="2901" y="145"/>
                  <a:pt x="2901" y="145"/>
                  <a:pt x="2901" y="145"/>
                </a:cubicBezTo>
                <a:cubicBezTo>
                  <a:pt x="2903" y="145"/>
                  <a:pt x="2903" y="145"/>
                  <a:pt x="2903" y="145"/>
                </a:cubicBezTo>
                <a:cubicBezTo>
                  <a:pt x="2903" y="149"/>
                  <a:pt x="2903" y="149"/>
                  <a:pt x="2903" y="149"/>
                </a:cubicBezTo>
                <a:cubicBezTo>
                  <a:pt x="2904" y="148"/>
                  <a:pt x="2904" y="148"/>
                  <a:pt x="2904" y="148"/>
                </a:cubicBezTo>
                <a:cubicBezTo>
                  <a:pt x="2904" y="146"/>
                  <a:pt x="2904" y="146"/>
                  <a:pt x="2904" y="146"/>
                </a:cubicBezTo>
                <a:cubicBezTo>
                  <a:pt x="2906" y="145"/>
                  <a:pt x="2906" y="145"/>
                  <a:pt x="2906" y="145"/>
                </a:cubicBezTo>
                <a:cubicBezTo>
                  <a:pt x="2908" y="145"/>
                  <a:pt x="2908" y="145"/>
                  <a:pt x="2908" y="145"/>
                </a:cubicBezTo>
                <a:cubicBezTo>
                  <a:pt x="2908" y="146"/>
                  <a:pt x="2908" y="146"/>
                  <a:pt x="2908" y="146"/>
                </a:cubicBezTo>
                <a:cubicBezTo>
                  <a:pt x="2907" y="149"/>
                  <a:pt x="2907" y="149"/>
                  <a:pt x="2907" y="149"/>
                </a:cubicBezTo>
                <a:cubicBezTo>
                  <a:pt x="2909" y="151"/>
                  <a:pt x="2909" y="151"/>
                  <a:pt x="2909" y="151"/>
                </a:cubicBezTo>
                <a:cubicBezTo>
                  <a:pt x="2909" y="153"/>
                  <a:pt x="2909" y="153"/>
                  <a:pt x="2909" y="153"/>
                </a:cubicBezTo>
                <a:cubicBezTo>
                  <a:pt x="2910" y="150"/>
                  <a:pt x="2910" y="150"/>
                  <a:pt x="2910" y="150"/>
                </a:cubicBezTo>
                <a:cubicBezTo>
                  <a:pt x="2912" y="149"/>
                  <a:pt x="2912" y="149"/>
                  <a:pt x="2912" y="149"/>
                </a:cubicBezTo>
                <a:cubicBezTo>
                  <a:pt x="2912" y="148"/>
                  <a:pt x="2912" y="148"/>
                  <a:pt x="2912" y="148"/>
                </a:cubicBezTo>
                <a:cubicBezTo>
                  <a:pt x="2913" y="146"/>
                  <a:pt x="2913" y="146"/>
                  <a:pt x="2913" y="146"/>
                </a:cubicBezTo>
                <a:cubicBezTo>
                  <a:pt x="2913" y="141"/>
                  <a:pt x="2913" y="141"/>
                  <a:pt x="2913" y="141"/>
                </a:cubicBezTo>
                <a:cubicBezTo>
                  <a:pt x="2914" y="140"/>
                  <a:pt x="2914" y="140"/>
                  <a:pt x="2914" y="140"/>
                </a:cubicBezTo>
                <a:cubicBezTo>
                  <a:pt x="2913" y="139"/>
                  <a:pt x="2913" y="139"/>
                  <a:pt x="2913" y="139"/>
                </a:cubicBezTo>
                <a:cubicBezTo>
                  <a:pt x="2914" y="137"/>
                  <a:pt x="2914" y="137"/>
                  <a:pt x="2914" y="137"/>
                </a:cubicBezTo>
                <a:cubicBezTo>
                  <a:pt x="2915" y="135"/>
                  <a:pt x="2915" y="135"/>
                  <a:pt x="2915" y="135"/>
                </a:cubicBezTo>
                <a:cubicBezTo>
                  <a:pt x="2914" y="135"/>
                  <a:pt x="2914" y="135"/>
                  <a:pt x="2914" y="135"/>
                </a:cubicBezTo>
                <a:cubicBezTo>
                  <a:pt x="2914" y="134"/>
                  <a:pt x="2914" y="134"/>
                  <a:pt x="2914" y="134"/>
                </a:cubicBezTo>
                <a:cubicBezTo>
                  <a:pt x="2915" y="134"/>
                  <a:pt x="2915" y="134"/>
                  <a:pt x="2915" y="134"/>
                </a:cubicBezTo>
                <a:cubicBezTo>
                  <a:pt x="2915" y="131"/>
                  <a:pt x="2915" y="131"/>
                  <a:pt x="2915" y="131"/>
                </a:cubicBezTo>
                <a:cubicBezTo>
                  <a:pt x="2914" y="129"/>
                  <a:pt x="2914" y="129"/>
                  <a:pt x="2914" y="129"/>
                </a:cubicBezTo>
                <a:cubicBezTo>
                  <a:pt x="2915" y="126"/>
                  <a:pt x="2915" y="126"/>
                  <a:pt x="2915" y="126"/>
                </a:cubicBezTo>
                <a:cubicBezTo>
                  <a:pt x="2917" y="125"/>
                  <a:pt x="2917" y="125"/>
                  <a:pt x="2917" y="125"/>
                </a:cubicBezTo>
                <a:cubicBezTo>
                  <a:pt x="2919" y="125"/>
                  <a:pt x="2919" y="125"/>
                  <a:pt x="2919" y="125"/>
                </a:cubicBezTo>
                <a:cubicBezTo>
                  <a:pt x="2920" y="126"/>
                  <a:pt x="2920" y="126"/>
                  <a:pt x="2920" y="126"/>
                </a:cubicBezTo>
                <a:cubicBezTo>
                  <a:pt x="2922" y="127"/>
                  <a:pt x="2922" y="127"/>
                  <a:pt x="2922" y="127"/>
                </a:cubicBezTo>
                <a:cubicBezTo>
                  <a:pt x="2922" y="126"/>
                  <a:pt x="2922" y="126"/>
                  <a:pt x="2922" y="126"/>
                </a:cubicBezTo>
                <a:cubicBezTo>
                  <a:pt x="2921" y="125"/>
                  <a:pt x="2921" y="125"/>
                  <a:pt x="2921" y="125"/>
                </a:cubicBezTo>
                <a:cubicBezTo>
                  <a:pt x="2921" y="123"/>
                  <a:pt x="2921" y="123"/>
                  <a:pt x="2921" y="123"/>
                </a:cubicBezTo>
                <a:cubicBezTo>
                  <a:pt x="2918" y="121"/>
                  <a:pt x="2918" y="121"/>
                  <a:pt x="2918" y="121"/>
                </a:cubicBezTo>
                <a:cubicBezTo>
                  <a:pt x="2917" y="117"/>
                  <a:pt x="2917" y="117"/>
                  <a:pt x="2917" y="117"/>
                </a:cubicBezTo>
                <a:cubicBezTo>
                  <a:pt x="2916" y="116"/>
                  <a:pt x="2916" y="116"/>
                  <a:pt x="2916" y="116"/>
                </a:cubicBezTo>
                <a:cubicBezTo>
                  <a:pt x="2916" y="115"/>
                  <a:pt x="2916" y="115"/>
                  <a:pt x="2916" y="115"/>
                </a:cubicBezTo>
                <a:cubicBezTo>
                  <a:pt x="2914" y="114"/>
                  <a:pt x="2914" y="114"/>
                  <a:pt x="2914" y="114"/>
                </a:cubicBezTo>
                <a:cubicBezTo>
                  <a:pt x="2913" y="111"/>
                  <a:pt x="2913" y="111"/>
                  <a:pt x="2913" y="111"/>
                </a:cubicBezTo>
                <a:cubicBezTo>
                  <a:pt x="2914" y="110"/>
                  <a:pt x="2914" y="110"/>
                  <a:pt x="2914" y="110"/>
                </a:cubicBezTo>
                <a:cubicBezTo>
                  <a:pt x="2914" y="108"/>
                  <a:pt x="2914" y="108"/>
                  <a:pt x="2914" y="108"/>
                </a:cubicBezTo>
                <a:cubicBezTo>
                  <a:pt x="2911" y="106"/>
                  <a:pt x="2911" y="106"/>
                  <a:pt x="2911" y="106"/>
                </a:cubicBezTo>
                <a:cubicBezTo>
                  <a:pt x="2912" y="104"/>
                  <a:pt x="2912" y="104"/>
                  <a:pt x="2912" y="104"/>
                </a:cubicBezTo>
                <a:cubicBezTo>
                  <a:pt x="2911" y="103"/>
                  <a:pt x="2911" y="103"/>
                  <a:pt x="2911" y="103"/>
                </a:cubicBezTo>
                <a:cubicBezTo>
                  <a:pt x="2914" y="101"/>
                  <a:pt x="2914" y="101"/>
                  <a:pt x="2914" y="101"/>
                </a:cubicBezTo>
                <a:cubicBezTo>
                  <a:pt x="2916" y="101"/>
                  <a:pt x="2916" y="101"/>
                  <a:pt x="2916" y="101"/>
                </a:cubicBezTo>
                <a:cubicBezTo>
                  <a:pt x="2917" y="99"/>
                  <a:pt x="2917" y="99"/>
                  <a:pt x="2917" y="99"/>
                </a:cubicBezTo>
                <a:cubicBezTo>
                  <a:pt x="2920" y="99"/>
                  <a:pt x="2920" y="99"/>
                  <a:pt x="2920" y="99"/>
                </a:cubicBezTo>
                <a:cubicBezTo>
                  <a:pt x="2921" y="98"/>
                  <a:pt x="2921" y="98"/>
                  <a:pt x="2921" y="98"/>
                </a:cubicBezTo>
                <a:cubicBezTo>
                  <a:pt x="2924" y="100"/>
                  <a:pt x="2924" y="100"/>
                  <a:pt x="2924" y="100"/>
                </a:cubicBezTo>
                <a:cubicBezTo>
                  <a:pt x="2927" y="100"/>
                  <a:pt x="2927" y="100"/>
                  <a:pt x="2927" y="100"/>
                </a:cubicBezTo>
                <a:cubicBezTo>
                  <a:pt x="2928" y="101"/>
                  <a:pt x="2928" y="101"/>
                  <a:pt x="2928" y="101"/>
                </a:cubicBezTo>
                <a:cubicBezTo>
                  <a:pt x="2930" y="101"/>
                  <a:pt x="2930" y="101"/>
                  <a:pt x="2930" y="101"/>
                </a:cubicBezTo>
                <a:cubicBezTo>
                  <a:pt x="2931" y="101"/>
                  <a:pt x="2931" y="101"/>
                  <a:pt x="2931" y="101"/>
                </a:cubicBezTo>
                <a:cubicBezTo>
                  <a:pt x="2928" y="102"/>
                  <a:pt x="2928" y="102"/>
                  <a:pt x="2928" y="102"/>
                </a:cubicBezTo>
                <a:cubicBezTo>
                  <a:pt x="2930" y="103"/>
                  <a:pt x="2930" y="103"/>
                  <a:pt x="2930" y="103"/>
                </a:cubicBezTo>
                <a:cubicBezTo>
                  <a:pt x="2928" y="104"/>
                  <a:pt x="2928" y="104"/>
                  <a:pt x="2928" y="104"/>
                </a:cubicBezTo>
                <a:cubicBezTo>
                  <a:pt x="2925" y="103"/>
                  <a:pt x="2925" y="103"/>
                  <a:pt x="2925" y="103"/>
                </a:cubicBezTo>
                <a:cubicBezTo>
                  <a:pt x="2923" y="106"/>
                  <a:pt x="2923" y="106"/>
                  <a:pt x="2923" y="106"/>
                </a:cubicBezTo>
                <a:cubicBezTo>
                  <a:pt x="2922" y="108"/>
                  <a:pt x="2922" y="108"/>
                  <a:pt x="2922" y="108"/>
                </a:cubicBezTo>
                <a:cubicBezTo>
                  <a:pt x="2923" y="110"/>
                  <a:pt x="2923" y="110"/>
                  <a:pt x="2923" y="110"/>
                </a:cubicBezTo>
                <a:cubicBezTo>
                  <a:pt x="2924" y="112"/>
                  <a:pt x="2924" y="112"/>
                  <a:pt x="2924" y="112"/>
                </a:cubicBezTo>
                <a:cubicBezTo>
                  <a:pt x="2925" y="113"/>
                  <a:pt x="2925" y="113"/>
                  <a:pt x="2925" y="113"/>
                </a:cubicBezTo>
                <a:cubicBezTo>
                  <a:pt x="2925" y="115"/>
                  <a:pt x="2925" y="115"/>
                  <a:pt x="2925" y="115"/>
                </a:cubicBezTo>
                <a:cubicBezTo>
                  <a:pt x="2927" y="118"/>
                  <a:pt x="2927" y="118"/>
                  <a:pt x="2927" y="118"/>
                </a:cubicBezTo>
                <a:cubicBezTo>
                  <a:pt x="2928" y="119"/>
                  <a:pt x="2928" y="119"/>
                  <a:pt x="2928" y="119"/>
                </a:cubicBezTo>
                <a:cubicBezTo>
                  <a:pt x="2928" y="119"/>
                  <a:pt x="2928" y="119"/>
                  <a:pt x="2928" y="119"/>
                </a:cubicBezTo>
                <a:cubicBezTo>
                  <a:pt x="2927" y="120"/>
                  <a:pt x="2927" y="120"/>
                  <a:pt x="2927" y="120"/>
                </a:cubicBezTo>
                <a:cubicBezTo>
                  <a:pt x="2929" y="121"/>
                  <a:pt x="2929" y="121"/>
                  <a:pt x="2929" y="121"/>
                </a:cubicBezTo>
                <a:cubicBezTo>
                  <a:pt x="2930" y="123"/>
                  <a:pt x="2930" y="123"/>
                  <a:pt x="2930" y="123"/>
                </a:cubicBezTo>
                <a:cubicBezTo>
                  <a:pt x="2930" y="124"/>
                  <a:pt x="2930" y="124"/>
                  <a:pt x="2930" y="124"/>
                </a:cubicBezTo>
                <a:cubicBezTo>
                  <a:pt x="2929" y="125"/>
                  <a:pt x="2929" y="125"/>
                  <a:pt x="2929" y="125"/>
                </a:cubicBezTo>
                <a:cubicBezTo>
                  <a:pt x="2930" y="130"/>
                  <a:pt x="2930" y="130"/>
                  <a:pt x="2930" y="130"/>
                </a:cubicBezTo>
                <a:cubicBezTo>
                  <a:pt x="2930" y="130"/>
                  <a:pt x="2930" y="130"/>
                  <a:pt x="2930" y="130"/>
                </a:cubicBezTo>
                <a:cubicBezTo>
                  <a:pt x="2931" y="129"/>
                  <a:pt x="2931" y="129"/>
                  <a:pt x="2931" y="129"/>
                </a:cubicBezTo>
                <a:cubicBezTo>
                  <a:pt x="2932" y="129"/>
                  <a:pt x="2932" y="129"/>
                  <a:pt x="2932" y="129"/>
                </a:cubicBezTo>
                <a:cubicBezTo>
                  <a:pt x="2933" y="131"/>
                  <a:pt x="2933" y="131"/>
                  <a:pt x="2933" y="131"/>
                </a:cubicBezTo>
                <a:cubicBezTo>
                  <a:pt x="2934" y="132"/>
                  <a:pt x="2934" y="132"/>
                  <a:pt x="2934" y="132"/>
                </a:cubicBezTo>
                <a:cubicBezTo>
                  <a:pt x="2932" y="135"/>
                  <a:pt x="2932" y="135"/>
                  <a:pt x="2932" y="135"/>
                </a:cubicBezTo>
                <a:cubicBezTo>
                  <a:pt x="2932" y="139"/>
                  <a:pt x="2932" y="139"/>
                  <a:pt x="2932" y="139"/>
                </a:cubicBezTo>
                <a:cubicBezTo>
                  <a:pt x="2934" y="140"/>
                  <a:pt x="2934" y="140"/>
                  <a:pt x="2934" y="140"/>
                </a:cubicBezTo>
                <a:cubicBezTo>
                  <a:pt x="2935" y="140"/>
                  <a:pt x="2935" y="140"/>
                  <a:pt x="2935" y="140"/>
                </a:cubicBezTo>
                <a:cubicBezTo>
                  <a:pt x="2937" y="140"/>
                  <a:pt x="2937" y="140"/>
                  <a:pt x="2937" y="140"/>
                </a:cubicBezTo>
                <a:cubicBezTo>
                  <a:pt x="2938" y="141"/>
                  <a:pt x="2938" y="141"/>
                  <a:pt x="2938" y="141"/>
                </a:cubicBezTo>
                <a:cubicBezTo>
                  <a:pt x="2937" y="142"/>
                  <a:pt x="2937" y="142"/>
                  <a:pt x="2937" y="142"/>
                </a:cubicBezTo>
                <a:cubicBezTo>
                  <a:pt x="2936" y="142"/>
                  <a:pt x="2936" y="142"/>
                  <a:pt x="2936" y="142"/>
                </a:cubicBezTo>
                <a:cubicBezTo>
                  <a:pt x="2934" y="143"/>
                  <a:pt x="2934" y="143"/>
                  <a:pt x="2934" y="143"/>
                </a:cubicBezTo>
                <a:cubicBezTo>
                  <a:pt x="2933" y="143"/>
                  <a:pt x="2933" y="143"/>
                  <a:pt x="2933" y="143"/>
                </a:cubicBezTo>
                <a:cubicBezTo>
                  <a:pt x="2931" y="146"/>
                  <a:pt x="2931" y="146"/>
                  <a:pt x="2931" y="146"/>
                </a:cubicBezTo>
                <a:cubicBezTo>
                  <a:pt x="2931" y="148"/>
                  <a:pt x="2931" y="148"/>
                  <a:pt x="2931" y="148"/>
                </a:cubicBezTo>
                <a:cubicBezTo>
                  <a:pt x="2928" y="149"/>
                  <a:pt x="2928" y="149"/>
                  <a:pt x="2928" y="149"/>
                </a:cubicBezTo>
                <a:cubicBezTo>
                  <a:pt x="2928" y="150"/>
                  <a:pt x="2928" y="150"/>
                  <a:pt x="2928" y="150"/>
                </a:cubicBezTo>
                <a:cubicBezTo>
                  <a:pt x="2926" y="151"/>
                  <a:pt x="2926" y="151"/>
                  <a:pt x="2926" y="151"/>
                </a:cubicBezTo>
                <a:cubicBezTo>
                  <a:pt x="2926" y="153"/>
                  <a:pt x="2926" y="153"/>
                  <a:pt x="2926" y="153"/>
                </a:cubicBezTo>
                <a:cubicBezTo>
                  <a:pt x="2925" y="154"/>
                  <a:pt x="2925" y="154"/>
                  <a:pt x="2925" y="154"/>
                </a:cubicBezTo>
                <a:cubicBezTo>
                  <a:pt x="2926" y="157"/>
                  <a:pt x="2926" y="157"/>
                  <a:pt x="2926" y="157"/>
                </a:cubicBezTo>
                <a:cubicBezTo>
                  <a:pt x="2927" y="156"/>
                  <a:pt x="2927" y="156"/>
                  <a:pt x="2927" y="156"/>
                </a:cubicBezTo>
                <a:cubicBezTo>
                  <a:pt x="2927" y="159"/>
                  <a:pt x="2927" y="159"/>
                  <a:pt x="2927" y="159"/>
                </a:cubicBezTo>
                <a:cubicBezTo>
                  <a:pt x="2925" y="162"/>
                  <a:pt x="2925" y="162"/>
                  <a:pt x="2925" y="162"/>
                </a:cubicBezTo>
                <a:cubicBezTo>
                  <a:pt x="2926" y="163"/>
                  <a:pt x="2926" y="163"/>
                  <a:pt x="2926" y="163"/>
                </a:cubicBezTo>
                <a:cubicBezTo>
                  <a:pt x="2927" y="164"/>
                  <a:pt x="2927" y="164"/>
                  <a:pt x="2927" y="164"/>
                </a:cubicBezTo>
                <a:cubicBezTo>
                  <a:pt x="2926" y="168"/>
                  <a:pt x="2926" y="168"/>
                  <a:pt x="2926" y="168"/>
                </a:cubicBezTo>
                <a:cubicBezTo>
                  <a:pt x="2927" y="172"/>
                  <a:pt x="2927" y="172"/>
                  <a:pt x="2927" y="172"/>
                </a:cubicBezTo>
                <a:cubicBezTo>
                  <a:pt x="2926" y="173"/>
                  <a:pt x="2926" y="173"/>
                  <a:pt x="2926" y="173"/>
                </a:cubicBezTo>
                <a:cubicBezTo>
                  <a:pt x="2924" y="174"/>
                  <a:pt x="2924" y="174"/>
                  <a:pt x="2924" y="174"/>
                </a:cubicBezTo>
                <a:cubicBezTo>
                  <a:pt x="2923" y="176"/>
                  <a:pt x="2923" y="176"/>
                  <a:pt x="2923" y="176"/>
                </a:cubicBezTo>
                <a:cubicBezTo>
                  <a:pt x="2924" y="177"/>
                  <a:pt x="2924" y="177"/>
                  <a:pt x="2924" y="177"/>
                </a:cubicBezTo>
                <a:cubicBezTo>
                  <a:pt x="2924" y="181"/>
                  <a:pt x="2924" y="181"/>
                  <a:pt x="2924" y="181"/>
                </a:cubicBezTo>
                <a:cubicBezTo>
                  <a:pt x="2923" y="182"/>
                  <a:pt x="2923" y="182"/>
                  <a:pt x="2923" y="182"/>
                </a:cubicBezTo>
                <a:cubicBezTo>
                  <a:pt x="2923" y="183"/>
                  <a:pt x="2923" y="183"/>
                  <a:pt x="2923" y="183"/>
                </a:cubicBezTo>
                <a:cubicBezTo>
                  <a:pt x="2925" y="185"/>
                  <a:pt x="2925" y="185"/>
                  <a:pt x="2925" y="185"/>
                </a:cubicBezTo>
                <a:cubicBezTo>
                  <a:pt x="2924" y="185"/>
                  <a:pt x="2924" y="185"/>
                  <a:pt x="2924" y="185"/>
                </a:cubicBezTo>
                <a:cubicBezTo>
                  <a:pt x="2923" y="188"/>
                  <a:pt x="2923" y="188"/>
                  <a:pt x="2923" y="188"/>
                </a:cubicBezTo>
                <a:cubicBezTo>
                  <a:pt x="2924" y="190"/>
                  <a:pt x="2924" y="190"/>
                  <a:pt x="2924" y="190"/>
                </a:cubicBezTo>
                <a:cubicBezTo>
                  <a:pt x="2924" y="192"/>
                  <a:pt x="2924" y="192"/>
                  <a:pt x="2924" y="192"/>
                </a:cubicBezTo>
                <a:cubicBezTo>
                  <a:pt x="2922" y="194"/>
                  <a:pt x="2922" y="194"/>
                  <a:pt x="2922" y="194"/>
                </a:cubicBezTo>
                <a:cubicBezTo>
                  <a:pt x="2923" y="196"/>
                  <a:pt x="2923" y="196"/>
                  <a:pt x="2923" y="196"/>
                </a:cubicBezTo>
                <a:cubicBezTo>
                  <a:pt x="2923" y="200"/>
                  <a:pt x="2923" y="200"/>
                  <a:pt x="2923" y="200"/>
                </a:cubicBezTo>
                <a:cubicBezTo>
                  <a:pt x="2925" y="204"/>
                  <a:pt x="2925" y="204"/>
                  <a:pt x="2925" y="204"/>
                </a:cubicBezTo>
                <a:cubicBezTo>
                  <a:pt x="2921" y="210"/>
                  <a:pt x="2921" y="210"/>
                  <a:pt x="2921" y="210"/>
                </a:cubicBezTo>
                <a:cubicBezTo>
                  <a:pt x="2923" y="212"/>
                  <a:pt x="2923" y="212"/>
                  <a:pt x="2923" y="212"/>
                </a:cubicBezTo>
                <a:cubicBezTo>
                  <a:pt x="2921" y="212"/>
                  <a:pt x="2921" y="212"/>
                  <a:pt x="2921" y="212"/>
                </a:cubicBezTo>
                <a:cubicBezTo>
                  <a:pt x="2918" y="212"/>
                  <a:pt x="2918" y="212"/>
                  <a:pt x="2918" y="212"/>
                </a:cubicBezTo>
                <a:cubicBezTo>
                  <a:pt x="2918" y="216"/>
                  <a:pt x="2918" y="216"/>
                  <a:pt x="2918" y="216"/>
                </a:cubicBezTo>
                <a:cubicBezTo>
                  <a:pt x="2918" y="218"/>
                  <a:pt x="2918" y="218"/>
                  <a:pt x="2918" y="218"/>
                </a:cubicBezTo>
                <a:cubicBezTo>
                  <a:pt x="2916" y="220"/>
                  <a:pt x="2916" y="220"/>
                  <a:pt x="2916" y="220"/>
                </a:cubicBezTo>
                <a:cubicBezTo>
                  <a:pt x="2912" y="218"/>
                  <a:pt x="2912" y="218"/>
                  <a:pt x="2912" y="218"/>
                </a:cubicBezTo>
                <a:cubicBezTo>
                  <a:pt x="2910" y="220"/>
                  <a:pt x="2910" y="220"/>
                  <a:pt x="2910" y="220"/>
                </a:cubicBezTo>
                <a:cubicBezTo>
                  <a:pt x="2910" y="221"/>
                  <a:pt x="2910" y="221"/>
                  <a:pt x="2910" y="221"/>
                </a:cubicBezTo>
                <a:cubicBezTo>
                  <a:pt x="2913" y="221"/>
                  <a:pt x="2913" y="221"/>
                  <a:pt x="2913" y="221"/>
                </a:cubicBezTo>
                <a:cubicBezTo>
                  <a:pt x="2917" y="227"/>
                  <a:pt x="2917" y="227"/>
                  <a:pt x="2917" y="227"/>
                </a:cubicBezTo>
                <a:cubicBezTo>
                  <a:pt x="2916" y="232"/>
                  <a:pt x="2916" y="232"/>
                  <a:pt x="2916" y="232"/>
                </a:cubicBezTo>
                <a:cubicBezTo>
                  <a:pt x="2916" y="233"/>
                  <a:pt x="2916" y="233"/>
                  <a:pt x="2916" y="233"/>
                </a:cubicBezTo>
                <a:cubicBezTo>
                  <a:pt x="2917" y="234"/>
                  <a:pt x="2917" y="234"/>
                  <a:pt x="2917" y="234"/>
                </a:cubicBezTo>
                <a:cubicBezTo>
                  <a:pt x="2915" y="235"/>
                  <a:pt x="2915" y="235"/>
                  <a:pt x="2915" y="235"/>
                </a:cubicBezTo>
                <a:cubicBezTo>
                  <a:pt x="2915" y="238"/>
                  <a:pt x="2915" y="238"/>
                  <a:pt x="2915" y="238"/>
                </a:cubicBezTo>
                <a:cubicBezTo>
                  <a:pt x="2912" y="241"/>
                  <a:pt x="2912" y="241"/>
                  <a:pt x="2912" y="241"/>
                </a:cubicBezTo>
                <a:cubicBezTo>
                  <a:pt x="2912" y="245"/>
                  <a:pt x="2912" y="245"/>
                  <a:pt x="2912" y="245"/>
                </a:cubicBezTo>
                <a:cubicBezTo>
                  <a:pt x="2914" y="249"/>
                  <a:pt x="2914" y="249"/>
                  <a:pt x="2914" y="249"/>
                </a:cubicBezTo>
                <a:cubicBezTo>
                  <a:pt x="2914" y="256"/>
                  <a:pt x="2914" y="256"/>
                  <a:pt x="2914" y="256"/>
                </a:cubicBezTo>
                <a:cubicBezTo>
                  <a:pt x="2917" y="260"/>
                  <a:pt x="2917" y="260"/>
                  <a:pt x="2917" y="260"/>
                </a:cubicBezTo>
                <a:cubicBezTo>
                  <a:pt x="2917" y="264"/>
                  <a:pt x="2917" y="264"/>
                  <a:pt x="2917" y="264"/>
                </a:cubicBezTo>
                <a:cubicBezTo>
                  <a:pt x="2922" y="274"/>
                  <a:pt x="2922" y="274"/>
                  <a:pt x="2922" y="274"/>
                </a:cubicBezTo>
                <a:cubicBezTo>
                  <a:pt x="2927" y="285"/>
                  <a:pt x="2927" y="285"/>
                  <a:pt x="2927" y="285"/>
                </a:cubicBezTo>
                <a:cubicBezTo>
                  <a:pt x="2933" y="294"/>
                  <a:pt x="2933" y="294"/>
                  <a:pt x="2933" y="294"/>
                </a:cubicBezTo>
                <a:cubicBezTo>
                  <a:pt x="2935" y="296"/>
                  <a:pt x="2935" y="296"/>
                  <a:pt x="2935" y="296"/>
                </a:cubicBezTo>
                <a:cubicBezTo>
                  <a:pt x="2935" y="299"/>
                  <a:pt x="2935" y="299"/>
                  <a:pt x="2935" y="299"/>
                </a:cubicBezTo>
                <a:cubicBezTo>
                  <a:pt x="2943" y="308"/>
                  <a:pt x="2943" y="308"/>
                  <a:pt x="2943" y="308"/>
                </a:cubicBezTo>
                <a:cubicBezTo>
                  <a:pt x="2950" y="322"/>
                  <a:pt x="2950" y="322"/>
                  <a:pt x="2950" y="322"/>
                </a:cubicBezTo>
                <a:cubicBezTo>
                  <a:pt x="2954" y="324"/>
                  <a:pt x="2954" y="324"/>
                  <a:pt x="2954" y="324"/>
                </a:cubicBezTo>
                <a:cubicBezTo>
                  <a:pt x="2957" y="324"/>
                  <a:pt x="2957" y="324"/>
                  <a:pt x="2957" y="324"/>
                </a:cubicBezTo>
                <a:cubicBezTo>
                  <a:pt x="2958" y="323"/>
                  <a:pt x="2958" y="323"/>
                  <a:pt x="2958" y="323"/>
                </a:cubicBezTo>
                <a:cubicBezTo>
                  <a:pt x="2957" y="325"/>
                  <a:pt x="2957" y="325"/>
                  <a:pt x="2957" y="325"/>
                </a:cubicBezTo>
                <a:cubicBezTo>
                  <a:pt x="2956" y="326"/>
                  <a:pt x="2956" y="326"/>
                  <a:pt x="2956" y="326"/>
                </a:cubicBezTo>
                <a:cubicBezTo>
                  <a:pt x="2954" y="326"/>
                  <a:pt x="2954" y="326"/>
                  <a:pt x="2954" y="326"/>
                </a:cubicBezTo>
                <a:cubicBezTo>
                  <a:pt x="2957" y="330"/>
                  <a:pt x="2957" y="330"/>
                  <a:pt x="2957" y="330"/>
                </a:cubicBezTo>
                <a:cubicBezTo>
                  <a:pt x="2961" y="338"/>
                  <a:pt x="2961" y="338"/>
                  <a:pt x="2961" y="338"/>
                </a:cubicBezTo>
                <a:cubicBezTo>
                  <a:pt x="2961" y="342"/>
                  <a:pt x="2961" y="342"/>
                  <a:pt x="2961" y="342"/>
                </a:cubicBezTo>
                <a:cubicBezTo>
                  <a:pt x="2963" y="345"/>
                  <a:pt x="2963" y="345"/>
                  <a:pt x="2963" y="345"/>
                </a:cubicBezTo>
                <a:cubicBezTo>
                  <a:pt x="2967" y="346"/>
                  <a:pt x="2967" y="346"/>
                  <a:pt x="2967" y="346"/>
                </a:cubicBezTo>
                <a:cubicBezTo>
                  <a:pt x="2968" y="347"/>
                  <a:pt x="2968" y="347"/>
                  <a:pt x="2968" y="347"/>
                </a:cubicBezTo>
                <a:cubicBezTo>
                  <a:pt x="2968" y="349"/>
                  <a:pt x="2968" y="349"/>
                  <a:pt x="2968" y="349"/>
                </a:cubicBezTo>
                <a:cubicBezTo>
                  <a:pt x="2968" y="351"/>
                  <a:pt x="2968" y="351"/>
                  <a:pt x="2968" y="351"/>
                </a:cubicBezTo>
                <a:cubicBezTo>
                  <a:pt x="2968" y="353"/>
                  <a:pt x="2968" y="353"/>
                  <a:pt x="2968" y="353"/>
                </a:cubicBezTo>
                <a:cubicBezTo>
                  <a:pt x="2970" y="348"/>
                  <a:pt x="2970" y="348"/>
                  <a:pt x="2970" y="348"/>
                </a:cubicBezTo>
                <a:cubicBezTo>
                  <a:pt x="2971" y="344"/>
                  <a:pt x="2971" y="344"/>
                  <a:pt x="2971" y="344"/>
                </a:cubicBezTo>
                <a:cubicBezTo>
                  <a:pt x="2972" y="343"/>
                  <a:pt x="2972" y="343"/>
                  <a:pt x="2972" y="343"/>
                </a:cubicBezTo>
                <a:cubicBezTo>
                  <a:pt x="2972" y="341"/>
                  <a:pt x="2972" y="341"/>
                  <a:pt x="2972" y="341"/>
                </a:cubicBezTo>
                <a:cubicBezTo>
                  <a:pt x="2975" y="339"/>
                  <a:pt x="2975" y="339"/>
                  <a:pt x="2975" y="339"/>
                </a:cubicBezTo>
                <a:cubicBezTo>
                  <a:pt x="2975" y="337"/>
                  <a:pt x="2975" y="337"/>
                  <a:pt x="2975" y="337"/>
                </a:cubicBezTo>
                <a:cubicBezTo>
                  <a:pt x="2975" y="336"/>
                  <a:pt x="2975" y="336"/>
                  <a:pt x="2975" y="336"/>
                </a:cubicBezTo>
                <a:cubicBezTo>
                  <a:pt x="2975" y="335"/>
                  <a:pt x="2975" y="335"/>
                  <a:pt x="2975" y="335"/>
                </a:cubicBezTo>
                <a:cubicBezTo>
                  <a:pt x="2976" y="330"/>
                  <a:pt x="2976" y="330"/>
                  <a:pt x="2976" y="330"/>
                </a:cubicBezTo>
                <a:cubicBezTo>
                  <a:pt x="2975" y="328"/>
                  <a:pt x="2975" y="328"/>
                  <a:pt x="2975" y="328"/>
                </a:cubicBezTo>
                <a:cubicBezTo>
                  <a:pt x="2975" y="325"/>
                  <a:pt x="2975" y="325"/>
                  <a:pt x="2975" y="325"/>
                </a:cubicBezTo>
                <a:cubicBezTo>
                  <a:pt x="2977" y="324"/>
                  <a:pt x="2977" y="324"/>
                  <a:pt x="2977" y="324"/>
                </a:cubicBezTo>
                <a:cubicBezTo>
                  <a:pt x="2975" y="322"/>
                  <a:pt x="2975" y="322"/>
                  <a:pt x="2975" y="322"/>
                </a:cubicBezTo>
                <a:cubicBezTo>
                  <a:pt x="2974" y="323"/>
                  <a:pt x="2974" y="323"/>
                  <a:pt x="2974" y="323"/>
                </a:cubicBezTo>
                <a:cubicBezTo>
                  <a:pt x="2973" y="322"/>
                  <a:pt x="2973" y="322"/>
                  <a:pt x="2973" y="322"/>
                </a:cubicBezTo>
                <a:cubicBezTo>
                  <a:pt x="2973" y="321"/>
                  <a:pt x="2973" y="321"/>
                  <a:pt x="2973" y="321"/>
                </a:cubicBezTo>
                <a:cubicBezTo>
                  <a:pt x="2972" y="318"/>
                  <a:pt x="2972" y="318"/>
                  <a:pt x="2972" y="318"/>
                </a:cubicBezTo>
                <a:cubicBezTo>
                  <a:pt x="2973" y="318"/>
                  <a:pt x="2973" y="318"/>
                  <a:pt x="2973" y="318"/>
                </a:cubicBezTo>
                <a:cubicBezTo>
                  <a:pt x="2974" y="317"/>
                  <a:pt x="2974" y="317"/>
                  <a:pt x="2974" y="317"/>
                </a:cubicBezTo>
                <a:cubicBezTo>
                  <a:pt x="2972" y="315"/>
                  <a:pt x="2972" y="315"/>
                  <a:pt x="2972" y="315"/>
                </a:cubicBezTo>
                <a:cubicBezTo>
                  <a:pt x="2972" y="314"/>
                  <a:pt x="2972" y="314"/>
                  <a:pt x="2972" y="314"/>
                </a:cubicBezTo>
                <a:cubicBezTo>
                  <a:pt x="2973" y="312"/>
                  <a:pt x="2973" y="312"/>
                  <a:pt x="2973" y="312"/>
                </a:cubicBezTo>
                <a:cubicBezTo>
                  <a:pt x="2971" y="312"/>
                  <a:pt x="2971" y="312"/>
                  <a:pt x="2971" y="312"/>
                </a:cubicBezTo>
                <a:cubicBezTo>
                  <a:pt x="2969" y="311"/>
                  <a:pt x="2969" y="311"/>
                  <a:pt x="2969" y="311"/>
                </a:cubicBezTo>
                <a:cubicBezTo>
                  <a:pt x="2971" y="309"/>
                  <a:pt x="2971" y="309"/>
                  <a:pt x="2971" y="309"/>
                </a:cubicBezTo>
                <a:cubicBezTo>
                  <a:pt x="2973" y="310"/>
                  <a:pt x="2973" y="310"/>
                  <a:pt x="2973" y="310"/>
                </a:cubicBezTo>
                <a:cubicBezTo>
                  <a:pt x="2975" y="308"/>
                  <a:pt x="2975" y="308"/>
                  <a:pt x="2975" y="308"/>
                </a:cubicBezTo>
                <a:cubicBezTo>
                  <a:pt x="2977" y="308"/>
                  <a:pt x="2977" y="308"/>
                  <a:pt x="2977" y="308"/>
                </a:cubicBezTo>
                <a:cubicBezTo>
                  <a:pt x="2979" y="306"/>
                  <a:pt x="2979" y="306"/>
                  <a:pt x="2979" y="306"/>
                </a:cubicBezTo>
                <a:cubicBezTo>
                  <a:pt x="2981" y="305"/>
                  <a:pt x="2981" y="305"/>
                  <a:pt x="2981" y="305"/>
                </a:cubicBezTo>
                <a:cubicBezTo>
                  <a:pt x="2981" y="306"/>
                  <a:pt x="2981" y="306"/>
                  <a:pt x="2981" y="306"/>
                </a:cubicBezTo>
                <a:cubicBezTo>
                  <a:pt x="2984" y="306"/>
                  <a:pt x="2984" y="306"/>
                  <a:pt x="2984" y="306"/>
                </a:cubicBezTo>
                <a:cubicBezTo>
                  <a:pt x="2982" y="304"/>
                  <a:pt x="2982" y="304"/>
                  <a:pt x="2982" y="304"/>
                </a:cubicBezTo>
                <a:cubicBezTo>
                  <a:pt x="2979" y="303"/>
                  <a:pt x="2979" y="303"/>
                  <a:pt x="2979" y="303"/>
                </a:cubicBezTo>
                <a:cubicBezTo>
                  <a:pt x="2979" y="300"/>
                  <a:pt x="2979" y="300"/>
                  <a:pt x="2979" y="300"/>
                </a:cubicBezTo>
                <a:cubicBezTo>
                  <a:pt x="2977" y="298"/>
                  <a:pt x="2977" y="298"/>
                  <a:pt x="2977" y="298"/>
                </a:cubicBezTo>
                <a:cubicBezTo>
                  <a:pt x="2975" y="293"/>
                  <a:pt x="2975" y="293"/>
                  <a:pt x="2975" y="293"/>
                </a:cubicBezTo>
                <a:cubicBezTo>
                  <a:pt x="2976" y="288"/>
                  <a:pt x="2976" y="288"/>
                  <a:pt x="2976" y="288"/>
                </a:cubicBezTo>
                <a:cubicBezTo>
                  <a:pt x="2974" y="286"/>
                  <a:pt x="2974" y="286"/>
                  <a:pt x="2974" y="286"/>
                </a:cubicBezTo>
                <a:cubicBezTo>
                  <a:pt x="2976" y="285"/>
                  <a:pt x="2976" y="285"/>
                  <a:pt x="2976" y="285"/>
                </a:cubicBezTo>
                <a:cubicBezTo>
                  <a:pt x="2976" y="282"/>
                  <a:pt x="2976" y="282"/>
                  <a:pt x="2976" y="282"/>
                </a:cubicBezTo>
                <a:cubicBezTo>
                  <a:pt x="2978" y="278"/>
                  <a:pt x="2978" y="278"/>
                  <a:pt x="2978" y="278"/>
                </a:cubicBezTo>
                <a:cubicBezTo>
                  <a:pt x="2977" y="277"/>
                  <a:pt x="2977" y="277"/>
                  <a:pt x="2977" y="277"/>
                </a:cubicBezTo>
                <a:cubicBezTo>
                  <a:pt x="2978" y="277"/>
                  <a:pt x="2978" y="277"/>
                  <a:pt x="2978" y="277"/>
                </a:cubicBezTo>
                <a:cubicBezTo>
                  <a:pt x="2982" y="275"/>
                  <a:pt x="2982" y="275"/>
                  <a:pt x="2982" y="275"/>
                </a:cubicBezTo>
                <a:cubicBezTo>
                  <a:pt x="2982" y="276"/>
                  <a:pt x="2982" y="276"/>
                  <a:pt x="2982" y="276"/>
                </a:cubicBezTo>
                <a:cubicBezTo>
                  <a:pt x="2988" y="274"/>
                  <a:pt x="2988" y="274"/>
                  <a:pt x="2988" y="274"/>
                </a:cubicBezTo>
                <a:cubicBezTo>
                  <a:pt x="2988" y="271"/>
                  <a:pt x="2988" y="271"/>
                  <a:pt x="2988" y="271"/>
                </a:cubicBezTo>
                <a:cubicBezTo>
                  <a:pt x="2989" y="270"/>
                  <a:pt x="2989" y="270"/>
                  <a:pt x="2989" y="270"/>
                </a:cubicBezTo>
                <a:cubicBezTo>
                  <a:pt x="2987" y="269"/>
                  <a:pt x="2987" y="269"/>
                  <a:pt x="2987" y="269"/>
                </a:cubicBezTo>
                <a:cubicBezTo>
                  <a:pt x="2984" y="264"/>
                  <a:pt x="2984" y="264"/>
                  <a:pt x="2984" y="264"/>
                </a:cubicBezTo>
                <a:cubicBezTo>
                  <a:pt x="2982" y="264"/>
                  <a:pt x="2982" y="264"/>
                  <a:pt x="2982" y="264"/>
                </a:cubicBezTo>
                <a:cubicBezTo>
                  <a:pt x="2977" y="256"/>
                  <a:pt x="2977" y="256"/>
                  <a:pt x="2977" y="256"/>
                </a:cubicBezTo>
                <a:cubicBezTo>
                  <a:pt x="2977" y="254"/>
                  <a:pt x="2977" y="254"/>
                  <a:pt x="2977" y="254"/>
                </a:cubicBezTo>
                <a:cubicBezTo>
                  <a:pt x="2976" y="253"/>
                  <a:pt x="2976" y="253"/>
                  <a:pt x="2976" y="253"/>
                </a:cubicBezTo>
                <a:cubicBezTo>
                  <a:pt x="2975" y="246"/>
                  <a:pt x="2975" y="246"/>
                  <a:pt x="2975" y="246"/>
                </a:cubicBezTo>
                <a:cubicBezTo>
                  <a:pt x="2976" y="245"/>
                  <a:pt x="2976" y="245"/>
                  <a:pt x="2976" y="245"/>
                </a:cubicBezTo>
                <a:cubicBezTo>
                  <a:pt x="2975" y="242"/>
                  <a:pt x="2975" y="242"/>
                  <a:pt x="2975" y="242"/>
                </a:cubicBezTo>
                <a:cubicBezTo>
                  <a:pt x="2976" y="239"/>
                  <a:pt x="2976" y="239"/>
                  <a:pt x="2976" y="239"/>
                </a:cubicBezTo>
                <a:cubicBezTo>
                  <a:pt x="2976" y="237"/>
                  <a:pt x="2976" y="237"/>
                  <a:pt x="2976" y="237"/>
                </a:cubicBezTo>
                <a:cubicBezTo>
                  <a:pt x="2974" y="238"/>
                  <a:pt x="2974" y="238"/>
                  <a:pt x="2974" y="238"/>
                </a:cubicBezTo>
                <a:cubicBezTo>
                  <a:pt x="2974" y="237"/>
                  <a:pt x="2974" y="237"/>
                  <a:pt x="2974" y="237"/>
                </a:cubicBezTo>
                <a:cubicBezTo>
                  <a:pt x="2975" y="234"/>
                  <a:pt x="2975" y="234"/>
                  <a:pt x="2975" y="234"/>
                </a:cubicBezTo>
                <a:cubicBezTo>
                  <a:pt x="2977" y="233"/>
                  <a:pt x="2977" y="233"/>
                  <a:pt x="2977" y="233"/>
                </a:cubicBezTo>
                <a:cubicBezTo>
                  <a:pt x="2977" y="232"/>
                  <a:pt x="2977" y="232"/>
                  <a:pt x="2977" y="232"/>
                </a:cubicBezTo>
                <a:cubicBezTo>
                  <a:pt x="2977" y="231"/>
                  <a:pt x="2977" y="231"/>
                  <a:pt x="2977" y="231"/>
                </a:cubicBezTo>
                <a:cubicBezTo>
                  <a:pt x="2978" y="230"/>
                  <a:pt x="2978" y="230"/>
                  <a:pt x="2978" y="230"/>
                </a:cubicBezTo>
                <a:cubicBezTo>
                  <a:pt x="2979" y="232"/>
                  <a:pt x="2979" y="232"/>
                  <a:pt x="2979" y="232"/>
                </a:cubicBezTo>
                <a:cubicBezTo>
                  <a:pt x="2978" y="234"/>
                  <a:pt x="2978" y="234"/>
                  <a:pt x="2978" y="234"/>
                </a:cubicBezTo>
                <a:cubicBezTo>
                  <a:pt x="2977" y="236"/>
                  <a:pt x="2977" y="236"/>
                  <a:pt x="2977" y="236"/>
                </a:cubicBezTo>
                <a:cubicBezTo>
                  <a:pt x="2978" y="239"/>
                  <a:pt x="2978" y="239"/>
                  <a:pt x="2978" y="239"/>
                </a:cubicBezTo>
                <a:cubicBezTo>
                  <a:pt x="2981" y="240"/>
                  <a:pt x="2981" y="240"/>
                  <a:pt x="2981" y="240"/>
                </a:cubicBezTo>
                <a:cubicBezTo>
                  <a:pt x="2983" y="242"/>
                  <a:pt x="2983" y="242"/>
                  <a:pt x="2983" y="242"/>
                </a:cubicBezTo>
                <a:cubicBezTo>
                  <a:pt x="2985" y="242"/>
                  <a:pt x="2985" y="242"/>
                  <a:pt x="2985" y="242"/>
                </a:cubicBezTo>
                <a:cubicBezTo>
                  <a:pt x="2985" y="239"/>
                  <a:pt x="2985" y="239"/>
                  <a:pt x="2985" y="239"/>
                </a:cubicBezTo>
                <a:cubicBezTo>
                  <a:pt x="2986" y="238"/>
                  <a:pt x="2986" y="238"/>
                  <a:pt x="2986" y="238"/>
                </a:cubicBezTo>
                <a:cubicBezTo>
                  <a:pt x="2984" y="234"/>
                  <a:pt x="2984" y="234"/>
                  <a:pt x="2984" y="234"/>
                </a:cubicBezTo>
                <a:cubicBezTo>
                  <a:pt x="2980" y="231"/>
                  <a:pt x="2980" y="231"/>
                  <a:pt x="2980" y="231"/>
                </a:cubicBezTo>
                <a:cubicBezTo>
                  <a:pt x="2980" y="226"/>
                  <a:pt x="2980" y="226"/>
                  <a:pt x="2980" y="226"/>
                </a:cubicBezTo>
                <a:cubicBezTo>
                  <a:pt x="2978" y="225"/>
                  <a:pt x="2978" y="225"/>
                  <a:pt x="2978" y="225"/>
                </a:cubicBezTo>
                <a:cubicBezTo>
                  <a:pt x="2977" y="224"/>
                  <a:pt x="2977" y="224"/>
                  <a:pt x="2977" y="224"/>
                </a:cubicBezTo>
                <a:cubicBezTo>
                  <a:pt x="2976" y="225"/>
                  <a:pt x="2976" y="225"/>
                  <a:pt x="2976" y="225"/>
                </a:cubicBezTo>
                <a:cubicBezTo>
                  <a:pt x="2975" y="226"/>
                  <a:pt x="2975" y="226"/>
                  <a:pt x="2975" y="226"/>
                </a:cubicBezTo>
                <a:cubicBezTo>
                  <a:pt x="2975" y="227"/>
                  <a:pt x="2975" y="227"/>
                  <a:pt x="2975" y="227"/>
                </a:cubicBezTo>
                <a:cubicBezTo>
                  <a:pt x="2974" y="228"/>
                  <a:pt x="2974" y="228"/>
                  <a:pt x="2974" y="228"/>
                </a:cubicBezTo>
                <a:cubicBezTo>
                  <a:pt x="2972" y="227"/>
                  <a:pt x="2972" y="227"/>
                  <a:pt x="2972" y="227"/>
                </a:cubicBezTo>
                <a:cubicBezTo>
                  <a:pt x="2972" y="223"/>
                  <a:pt x="2972" y="223"/>
                  <a:pt x="2972" y="223"/>
                </a:cubicBezTo>
                <a:cubicBezTo>
                  <a:pt x="2970" y="221"/>
                  <a:pt x="2970" y="221"/>
                  <a:pt x="2970" y="221"/>
                </a:cubicBezTo>
                <a:cubicBezTo>
                  <a:pt x="2968" y="217"/>
                  <a:pt x="2968" y="217"/>
                  <a:pt x="2968" y="217"/>
                </a:cubicBezTo>
                <a:cubicBezTo>
                  <a:pt x="2970" y="215"/>
                  <a:pt x="2970" y="215"/>
                  <a:pt x="2970" y="215"/>
                </a:cubicBezTo>
                <a:cubicBezTo>
                  <a:pt x="2971" y="215"/>
                  <a:pt x="2971" y="215"/>
                  <a:pt x="2971" y="215"/>
                </a:cubicBezTo>
                <a:cubicBezTo>
                  <a:pt x="2970" y="213"/>
                  <a:pt x="2970" y="213"/>
                  <a:pt x="2970" y="213"/>
                </a:cubicBezTo>
                <a:cubicBezTo>
                  <a:pt x="2971" y="211"/>
                  <a:pt x="2971" y="211"/>
                  <a:pt x="2971" y="211"/>
                </a:cubicBezTo>
                <a:cubicBezTo>
                  <a:pt x="2970" y="210"/>
                  <a:pt x="2970" y="210"/>
                  <a:pt x="2970" y="210"/>
                </a:cubicBezTo>
                <a:cubicBezTo>
                  <a:pt x="2971" y="208"/>
                  <a:pt x="2971" y="208"/>
                  <a:pt x="2971" y="208"/>
                </a:cubicBezTo>
                <a:cubicBezTo>
                  <a:pt x="2970" y="207"/>
                  <a:pt x="2970" y="207"/>
                  <a:pt x="2970" y="207"/>
                </a:cubicBezTo>
                <a:cubicBezTo>
                  <a:pt x="2969" y="206"/>
                  <a:pt x="2969" y="206"/>
                  <a:pt x="2969" y="206"/>
                </a:cubicBezTo>
                <a:cubicBezTo>
                  <a:pt x="2967" y="206"/>
                  <a:pt x="2967" y="206"/>
                  <a:pt x="2967" y="206"/>
                </a:cubicBezTo>
                <a:cubicBezTo>
                  <a:pt x="2964" y="204"/>
                  <a:pt x="2964" y="204"/>
                  <a:pt x="2964" y="204"/>
                </a:cubicBezTo>
                <a:cubicBezTo>
                  <a:pt x="2962" y="203"/>
                  <a:pt x="2962" y="203"/>
                  <a:pt x="2962" y="203"/>
                </a:cubicBezTo>
                <a:cubicBezTo>
                  <a:pt x="2960" y="205"/>
                  <a:pt x="2960" y="205"/>
                  <a:pt x="2960" y="205"/>
                </a:cubicBezTo>
                <a:cubicBezTo>
                  <a:pt x="2961" y="206"/>
                  <a:pt x="2961" y="206"/>
                  <a:pt x="2961" y="206"/>
                </a:cubicBezTo>
                <a:cubicBezTo>
                  <a:pt x="2963" y="209"/>
                  <a:pt x="2963" y="209"/>
                  <a:pt x="2963" y="209"/>
                </a:cubicBezTo>
                <a:cubicBezTo>
                  <a:pt x="2963" y="211"/>
                  <a:pt x="2963" y="211"/>
                  <a:pt x="2963" y="211"/>
                </a:cubicBezTo>
                <a:cubicBezTo>
                  <a:pt x="2962" y="211"/>
                  <a:pt x="2962" y="211"/>
                  <a:pt x="2962" y="211"/>
                </a:cubicBezTo>
                <a:cubicBezTo>
                  <a:pt x="2959" y="210"/>
                  <a:pt x="2959" y="210"/>
                  <a:pt x="2959" y="210"/>
                </a:cubicBezTo>
                <a:cubicBezTo>
                  <a:pt x="2957" y="207"/>
                  <a:pt x="2957" y="207"/>
                  <a:pt x="2957" y="207"/>
                </a:cubicBezTo>
                <a:cubicBezTo>
                  <a:pt x="2955" y="205"/>
                  <a:pt x="2955" y="205"/>
                  <a:pt x="2955" y="205"/>
                </a:cubicBezTo>
                <a:cubicBezTo>
                  <a:pt x="2953" y="204"/>
                  <a:pt x="2953" y="204"/>
                  <a:pt x="2953" y="204"/>
                </a:cubicBezTo>
                <a:cubicBezTo>
                  <a:pt x="2954" y="203"/>
                  <a:pt x="2954" y="203"/>
                  <a:pt x="2954" y="203"/>
                </a:cubicBezTo>
                <a:cubicBezTo>
                  <a:pt x="2952" y="199"/>
                  <a:pt x="2952" y="199"/>
                  <a:pt x="2952" y="199"/>
                </a:cubicBezTo>
                <a:cubicBezTo>
                  <a:pt x="2952" y="197"/>
                  <a:pt x="2952" y="197"/>
                  <a:pt x="2952" y="197"/>
                </a:cubicBezTo>
                <a:cubicBezTo>
                  <a:pt x="2953" y="196"/>
                  <a:pt x="2953" y="196"/>
                  <a:pt x="2953" y="196"/>
                </a:cubicBezTo>
                <a:cubicBezTo>
                  <a:pt x="2951" y="194"/>
                  <a:pt x="2951" y="194"/>
                  <a:pt x="2951" y="194"/>
                </a:cubicBezTo>
                <a:cubicBezTo>
                  <a:pt x="2952" y="192"/>
                  <a:pt x="2952" y="192"/>
                  <a:pt x="2952" y="192"/>
                </a:cubicBezTo>
                <a:cubicBezTo>
                  <a:pt x="2951" y="189"/>
                  <a:pt x="2951" y="189"/>
                  <a:pt x="2951" y="189"/>
                </a:cubicBezTo>
                <a:cubicBezTo>
                  <a:pt x="2952" y="188"/>
                  <a:pt x="2952" y="188"/>
                  <a:pt x="2952" y="188"/>
                </a:cubicBezTo>
                <a:cubicBezTo>
                  <a:pt x="2952" y="186"/>
                  <a:pt x="2952" y="186"/>
                  <a:pt x="2952" y="186"/>
                </a:cubicBezTo>
                <a:cubicBezTo>
                  <a:pt x="2953" y="184"/>
                  <a:pt x="2953" y="184"/>
                  <a:pt x="2953" y="184"/>
                </a:cubicBezTo>
                <a:cubicBezTo>
                  <a:pt x="2953" y="181"/>
                  <a:pt x="2953" y="181"/>
                  <a:pt x="2953" y="181"/>
                </a:cubicBezTo>
                <a:cubicBezTo>
                  <a:pt x="2952" y="182"/>
                  <a:pt x="2952" y="182"/>
                  <a:pt x="2952" y="182"/>
                </a:cubicBezTo>
                <a:cubicBezTo>
                  <a:pt x="2950" y="180"/>
                  <a:pt x="2950" y="180"/>
                  <a:pt x="2950" y="180"/>
                </a:cubicBezTo>
                <a:cubicBezTo>
                  <a:pt x="2950" y="179"/>
                  <a:pt x="2950" y="179"/>
                  <a:pt x="2950" y="179"/>
                </a:cubicBezTo>
                <a:cubicBezTo>
                  <a:pt x="2951" y="179"/>
                  <a:pt x="2951" y="179"/>
                  <a:pt x="2951" y="179"/>
                </a:cubicBezTo>
                <a:cubicBezTo>
                  <a:pt x="2953" y="180"/>
                  <a:pt x="2953" y="180"/>
                  <a:pt x="2953" y="180"/>
                </a:cubicBezTo>
                <a:cubicBezTo>
                  <a:pt x="2953" y="179"/>
                  <a:pt x="2953" y="179"/>
                  <a:pt x="2953" y="179"/>
                </a:cubicBezTo>
                <a:cubicBezTo>
                  <a:pt x="2952" y="178"/>
                  <a:pt x="2952" y="178"/>
                  <a:pt x="2952" y="178"/>
                </a:cubicBezTo>
                <a:cubicBezTo>
                  <a:pt x="2950" y="176"/>
                  <a:pt x="2950" y="176"/>
                  <a:pt x="2950" y="176"/>
                </a:cubicBezTo>
                <a:cubicBezTo>
                  <a:pt x="2951" y="175"/>
                  <a:pt x="2951" y="175"/>
                  <a:pt x="2951" y="175"/>
                </a:cubicBezTo>
                <a:cubicBezTo>
                  <a:pt x="2952" y="175"/>
                  <a:pt x="2952" y="175"/>
                  <a:pt x="2952" y="175"/>
                </a:cubicBezTo>
                <a:cubicBezTo>
                  <a:pt x="2951" y="174"/>
                  <a:pt x="2951" y="174"/>
                  <a:pt x="2951" y="174"/>
                </a:cubicBezTo>
                <a:cubicBezTo>
                  <a:pt x="2950" y="172"/>
                  <a:pt x="2950" y="172"/>
                  <a:pt x="2950" y="172"/>
                </a:cubicBezTo>
                <a:cubicBezTo>
                  <a:pt x="2948" y="171"/>
                  <a:pt x="2948" y="171"/>
                  <a:pt x="2948" y="171"/>
                </a:cubicBezTo>
                <a:cubicBezTo>
                  <a:pt x="2947" y="170"/>
                  <a:pt x="2947" y="170"/>
                  <a:pt x="2947" y="170"/>
                </a:cubicBezTo>
                <a:cubicBezTo>
                  <a:pt x="2948" y="170"/>
                  <a:pt x="2948" y="170"/>
                  <a:pt x="2948" y="170"/>
                </a:cubicBezTo>
                <a:cubicBezTo>
                  <a:pt x="2948" y="167"/>
                  <a:pt x="2948" y="167"/>
                  <a:pt x="2948" y="167"/>
                </a:cubicBezTo>
                <a:cubicBezTo>
                  <a:pt x="2946" y="165"/>
                  <a:pt x="2946" y="165"/>
                  <a:pt x="2946" y="165"/>
                </a:cubicBezTo>
                <a:cubicBezTo>
                  <a:pt x="2946" y="163"/>
                  <a:pt x="2946" y="163"/>
                  <a:pt x="2946" y="163"/>
                </a:cubicBezTo>
                <a:cubicBezTo>
                  <a:pt x="2947" y="162"/>
                  <a:pt x="2947" y="162"/>
                  <a:pt x="2947" y="162"/>
                </a:cubicBezTo>
                <a:cubicBezTo>
                  <a:pt x="2948" y="161"/>
                  <a:pt x="2948" y="161"/>
                  <a:pt x="2948" y="161"/>
                </a:cubicBezTo>
                <a:cubicBezTo>
                  <a:pt x="2946" y="159"/>
                  <a:pt x="2946" y="159"/>
                  <a:pt x="2946" y="159"/>
                </a:cubicBezTo>
                <a:cubicBezTo>
                  <a:pt x="2947" y="158"/>
                  <a:pt x="2947" y="158"/>
                  <a:pt x="2947" y="158"/>
                </a:cubicBezTo>
                <a:cubicBezTo>
                  <a:pt x="2948" y="158"/>
                  <a:pt x="2948" y="158"/>
                  <a:pt x="2948" y="158"/>
                </a:cubicBezTo>
                <a:cubicBezTo>
                  <a:pt x="2950" y="159"/>
                  <a:pt x="2950" y="159"/>
                  <a:pt x="2950" y="159"/>
                </a:cubicBezTo>
                <a:cubicBezTo>
                  <a:pt x="2951" y="158"/>
                  <a:pt x="2951" y="158"/>
                  <a:pt x="2951" y="158"/>
                </a:cubicBezTo>
                <a:cubicBezTo>
                  <a:pt x="2952" y="156"/>
                  <a:pt x="2952" y="156"/>
                  <a:pt x="2952" y="156"/>
                </a:cubicBezTo>
                <a:cubicBezTo>
                  <a:pt x="2954" y="155"/>
                  <a:pt x="2954" y="155"/>
                  <a:pt x="2954" y="155"/>
                </a:cubicBezTo>
                <a:cubicBezTo>
                  <a:pt x="2955" y="157"/>
                  <a:pt x="2955" y="157"/>
                  <a:pt x="2955" y="157"/>
                </a:cubicBezTo>
                <a:cubicBezTo>
                  <a:pt x="2956" y="157"/>
                  <a:pt x="2956" y="157"/>
                  <a:pt x="2956" y="157"/>
                </a:cubicBezTo>
                <a:cubicBezTo>
                  <a:pt x="2957" y="159"/>
                  <a:pt x="2957" y="159"/>
                  <a:pt x="2957" y="159"/>
                </a:cubicBezTo>
                <a:cubicBezTo>
                  <a:pt x="2960" y="155"/>
                  <a:pt x="2960" y="155"/>
                  <a:pt x="2960" y="155"/>
                </a:cubicBezTo>
                <a:cubicBezTo>
                  <a:pt x="2957" y="154"/>
                  <a:pt x="2957" y="154"/>
                  <a:pt x="2957" y="154"/>
                </a:cubicBezTo>
                <a:cubicBezTo>
                  <a:pt x="2958" y="152"/>
                  <a:pt x="2958" y="152"/>
                  <a:pt x="2958" y="152"/>
                </a:cubicBezTo>
                <a:cubicBezTo>
                  <a:pt x="2959" y="151"/>
                  <a:pt x="2959" y="151"/>
                  <a:pt x="2959" y="151"/>
                </a:cubicBezTo>
                <a:cubicBezTo>
                  <a:pt x="2962" y="146"/>
                  <a:pt x="2962" y="146"/>
                  <a:pt x="2962" y="146"/>
                </a:cubicBezTo>
                <a:cubicBezTo>
                  <a:pt x="2962" y="144"/>
                  <a:pt x="2962" y="144"/>
                  <a:pt x="2962" y="144"/>
                </a:cubicBezTo>
                <a:cubicBezTo>
                  <a:pt x="2963" y="146"/>
                  <a:pt x="2963" y="146"/>
                  <a:pt x="2963" y="146"/>
                </a:cubicBezTo>
                <a:cubicBezTo>
                  <a:pt x="2965" y="147"/>
                  <a:pt x="2965" y="147"/>
                  <a:pt x="2965" y="147"/>
                </a:cubicBezTo>
                <a:cubicBezTo>
                  <a:pt x="2965" y="149"/>
                  <a:pt x="2965" y="149"/>
                  <a:pt x="2965" y="149"/>
                </a:cubicBezTo>
                <a:cubicBezTo>
                  <a:pt x="2968" y="156"/>
                  <a:pt x="2968" y="156"/>
                  <a:pt x="2968" y="156"/>
                </a:cubicBezTo>
                <a:cubicBezTo>
                  <a:pt x="2969" y="157"/>
                  <a:pt x="2969" y="157"/>
                  <a:pt x="2969" y="157"/>
                </a:cubicBezTo>
                <a:cubicBezTo>
                  <a:pt x="2970" y="157"/>
                  <a:pt x="2970" y="157"/>
                  <a:pt x="2970" y="157"/>
                </a:cubicBezTo>
                <a:cubicBezTo>
                  <a:pt x="2971" y="151"/>
                  <a:pt x="2971" y="151"/>
                  <a:pt x="2971" y="151"/>
                </a:cubicBezTo>
                <a:cubicBezTo>
                  <a:pt x="2972" y="149"/>
                  <a:pt x="2972" y="149"/>
                  <a:pt x="2972" y="149"/>
                </a:cubicBezTo>
                <a:cubicBezTo>
                  <a:pt x="2971" y="147"/>
                  <a:pt x="2971" y="147"/>
                  <a:pt x="2971" y="147"/>
                </a:cubicBezTo>
                <a:cubicBezTo>
                  <a:pt x="2972" y="145"/>
                  <a:pt x="2972" y="145"/>
                  <a:pt x="2972" y="145"/>
                </a:cubicBezTo>
                <a:cubicBezTo>
                  <a:pt x="2971" y="143"/>
                  <a:pt x="2971" y="143"/>
                  <a:pt x="2971" y="143"/>
                </a:cubicBezTo>
                <a:cubicBezTo>
                  <a:pt x="2973" y="144"/>
                  <a:pt x="2973" y="144"/>
                  <a:pt x="2973" y="144"/>
                </a:cubicBezTo>
                <a:cubicBezTo>
                  <a:pt x="2974" y="143"/>
                  <a:pt x="2974" y="143"/>
                  <a:pt x="2974" y="143"/>
                </a:cubicBezTo>
                <a:cubicBezTo>
                  <a:pt x="2975" y="139"/>
                  <a:pt x="2975" y="139"/>
                  <a:pt x="2975" y="139"/>
                </a:cubicBezTo>
                <a:cubicBezTo>
                  <a:pt x="2977" y="139"/>
                  <a:pt x="2977" y="139"/>
                  <a:pt x="2977" y="139"/>
                </a:cubicBezTo>
                <a:cubicBezTo>
                  <a:pt x="2979" y="136"/>
                  <a:pt x="2979" y="136"/>
                  <a:pt x="2979" y="136"/>
                </a:cubicBezTo>
                <a:cubicBezTo>
                  <a:pt x="2981" y="135"/>
                  <a:pt x="2981" y="135"/>
                  <a:pt x="2981" y="135"/>
                </a:cubicBezTo>
                <a:cubicBezTo>
                  <a:pt x="2982" y="136"/>
                  <a:pt x="2982" y="136"/>
                  <a:pt x="2982" y="136"/>
                </a:cubicBezTo>
                <a:cubicBezTo>
                  <a:pt x="2986" y="134"/>
                  <a:pt x="2986" y="134"/>
                  <a:pt x="2986" y="134"/>
                </a:cubicBezTo>
                <a:cubicBezTo>
                  <a:pt x="2989" y="135"/>
                  <a:pt x="2989" y="135"/>
                  <a:pt x="2989" y="135"/>
                </a:cubicBezTo>
                <a:cubicBezTo>
                  <a:pt x="2994" y="138"/>
                  <a:pt x="2994" y="138"/>
                  <a:pt x="2994" y="138"/>
                </a:cubicBezTo>
                <a:cubicBezTo>
                  <a:pt x="2994" y="139"/>
                  <a:pt x="2994" y="139"/>
                  <a:pt x="2994" y="139"/>
                </a:cubicBezTo>
                <a:cubicBezTo>
                  <a:pt x="2996" y="140"/>
                  <a:pt x="2996" y="140"/>
                  <a:pt x="2996" y="140"/>
                </a:cubicBezTo>
                <a:cubicBezTo>
                  <a:pt x="2998" y="139"/>
                  <a:pt x="2998" y="139"/>
                  <a:pt x="2998" y="139"/>
                </a:cubicBezTo>
                <a:cubicBezTo>
                  <a:pt x="2999" y="140"/>
                  <a:pt x="2999" y="140"/>
                  <a:pt x="2999" y="140"/>
                </a:cubicBezTo>
                <a:cubicBezTo>
                  <a:pt x="2998" y="141"/>
                  <a:pt x="2998" y="141"/>
                  <a:pt x="2998" y="141"/>
                </a:cubicBezTo>
                <a:cubicBezTo>
                  <a:pt x="3001" y="144"/>
                  <a:pt x="3001" y="144"/>
                  <a:pt x="3001" y="144"/>
                </a:cubicBezTo>
                <a:cubicBezTo>
                  <a:pt x="3002" y="143"/>
                  <a:pt x="3002" y="143"/>
                  <a:pt x="3002" y="143"/>
                </a:cubicBezTo>
                <a:cubicBezTo>
                  <a:pt x="3004" y="145"/>
                  <a:pt x="3004" y="145"/>
                  <a:pt x="3004" y="145"/>
                </a:cubicBezTo>
                <a:cubicBezTo>
                  <a:pt x="3006" y="144"/>
                  <a:pt x="3006" y="144"/>
                  <a:pt x="3006" y="144"/>
                </a:cubicBezTo>
                <a:cubicBezTo>
                  <a:pt x="3007" y="145"/>
                  <a:pt x="3007" y="145"/>
                  <a:pt x="3007" y="145"/>
                </a:cubicBezTo>
                <a:cubicBezTo>
                  <a:pt x="3007" y="143"/>
                  <a:pt x="3007" y="143"/>
                  <a:pt x="3007" y="143"/>
                </a:cubicBezTo>
                <a:cubicBezTo>
                  <a:pt x="3004" y="139"/>
                  <a:pt x="3004" y="139"/>
                  <a:pt x="3004" y="139"/>
                </a:cubicBezTo>
                <a:cubicBezTo>
                  <a:pt x="3005" y="138"/>
                  <a:pt x="3005" y="138"/>
                  <a:pt x="3005" y="138"/>
                </a:cubicBezTo>
                <a:cubicBezTo>
                  <a:pt x="3005" y="137"/>
                  <a:pt x="3005" y="137"/>
                  <a:pt x="3005" y="137"/>
                </a:cubicBezTo>
                <a:cubicBezTo>
                  <a:pt x="3003" y="136"/>
                  <a:pt x="3003" y="136"/>
                  <a:pt x="3003" y="136"/>
                </a:cubicBezTo>
                <a:cubicBezTo>
                  <a:pt x="3004" y="134"/>
                  <a:pt x="3004" y="134"/>
                  <a:pt x="3004" y="134"/>
                </a:cubicBezTo>
                <a:cubicBezTo>
                  <a:pt x="3005" y="133"/>
                  <a:pt x="3005" y="133"/>
                  <a:pt x="3005" y="133"/>
                </a:cubicBezTo>
                <a:cubicBezTo>
                  <a:pt x="3005" y="128"/>
                  <a:pt x="3005" y="128"/>
                  <a:pt x="3005" y="128"/>
                </a:cubicBezTo>
                <a:cubicBezTo>
                  <a:pt x="3007" y="124"/>
                  <a:pt x="3007" y="124"/>
                  <a:pt x="3007" y="124"/>
                </a:cubicBezTo>
                <a:cubicBezTo>
                  <a:pt x="3006" y="123"/>
                  <a:pt x="3006" y="123"/>
                  <a:pt x="3006" y="123"/>
                </a:cubicBezTo>
                <a:cubicBezTo>
                  <a:pt x="3008" y="120"/>
                  <a:pt x="3008" y="120"/>
                  <a:pt x="3008" y="120"/>
                </a:cubicBezTo>
                <a:cubicBezTo>
                  <a:pt x="3008" y="118"/>
                  <a:pt x="3008" y="118"/>
                  <a:pt x="3008" y="118"/>
                </a:cubicBezTo>
                <a:cubicBezTo>
                  <a:pt x="3009" y="117"/>
                  <a:pt x="3009" y="117"/>
                  <a:pt x="3009" y="117"/>
                </a:cubicBezTo>
                <a:cubicBezTo>
                  <a:pt x="3007" y="114"/>
                  <a:pt x="3007" y="114"/>
                  <a:pt x="3007" y="114"/>
                </a:cubicBezTo>
                <a:cubicBezTo>
                  <a:pt x="3006" y="113"/>
                  <a:pt x="3006" y="113"/>
                  <a:pt x="3006" y="113"/>
                </a:cubicBezTo>
                <a:cubicBezTo>
                  <a:pt x="3006" y="112"/>
                  <a:pt x="3006" y="112"/>
                  <a:pt x="3006" y="112"/>
                </a:cubicBezTo>
                <a:cubicBezTo>
                  <a:pt x="3009" y="112"/>
                  <a:pt x="3009" y="112"/>
                  <a:pt x="3009" y="112"/>
                </a:cubicBezTo>
                <a:cubicBezTo>
                  <a:pt x="3010" y="110"/>
                  <a:pt x="3010" y="110"/>
                  <a:pt x="3010" y="110"/>
                </a:cubicBezTo>
                <a:cubicBezTo>
                  <a:pt x="3007" y="108"/>
                  <a:pt x="3007" y="108"/>
                  <a:pt x="3007" y="108"/>
                </a:cubicBezTo>
                <a:cubicBezTo>
                  <a:pt x="3006" y="107"/>
                  <a:pt x="3006" y="107"/>
                  <a:pt x="3006" y="107"/>
                </a:cubicBezTo>
                <a:cubicBezTo>
                  <a:pt x="3007" y="106"/>
                  <a:pt x="3007" y="106"/>
                  <a:pt x="3007" y="106"/>
                </a:cubicBezTo>
                <a:cubicBezTo>
                  <a:pt x="3008" y="107"/>
                  <a:pt x="3008" y="107"/>
                  <a:pt x="3008" y="107"/>
                </a:cubicBezTo>
                <a:cubicBezTo>
                  <a:pt x="3010" y="107"/>
                  <a:pt x="3010" y="107"/>
                  <a:pt x="3010" y="107"/>
                </a:cubicBezTo>
                <a:cubicBezTo>
                  <a:pt x="3010" y="105"/>
                  <a:pt x="3010" y="105"/>
                  <a:pt x="3010" y="105"/>
                </a:cubicBezTo>
                <a:cubicBezTo>
                  <a:pt x="3009" y="104"/>
                  <a:pt x="3009" y="104"/>
                  <a:pt x="3009" y="104"/>
                </a:cubicBezTo>
                <a:cubicBezTo>
                  <a:pt x="3011" y="102"/>
                  <a:pt x="3011" y="102"/>
                  <a:pt x="3011" y="102"/>
                </a:cubicBezTo>
                <a:cubicBezTo>
                  <a:pt x="3011" y="101"/>
                  <a:pt x="3011" y="101"/>
                  <a:pt x="3011" y="101"/>
                </a:cubicBezTo>
                <a:cubicBezTo>
                  <a:pt x="3010" y="99"/>
                  <a:pt x="3010" y="99"/>
                  <a:pt x="3010" y="99"/>
                </a:cubicBezTo>
                <a:cubicBezTo>
                  <a:pt x="3011" y="99"/>
                  <a:pt x="3011" y="99"/>
                  <a:pt x="3011" y="99"/>
                </a:cubicBezTo>
                <a:cubicBezTo>
                  <a:pt x="3012" y="99"/>
                  <a:pt x="3012" y="99"/>
                  <a:pt x="3012" y="99"/>
                </a:cubicBezTo>
                <a:cubicBezTo>
                  <a:pt x="3013" y="97"/>
                  <a:pt x="3013" y="97"/>
                  <a:pt x="3013" y="97"/>
                </a:cubicBezTo>
                <a:cubicBezTo>
                  <a:pt x="3014" y="96"/>
                  <a:pt x="3014" y="96"/>
                  <a:pt x="3014" y="96"/>
                </a:cubicBezTo>
                <a:cubicBezTo>
                  <a:pt x="3013" y="95"/>
                  <a:pt x="3013" y="95"/>
                  <a:pt x="3013" y="95"/>
                </a:cubicBezTo>
                <a:cubicBezTo>
                  <a:pt x="3014" y="95"/>
                  <a:pt x="3014" y="95"/>
                  <a:pt x="3014" y="95"/>
                </a:cubicBezTo>
                <a:cubicBezTo>
                  <a:pt x="3017" y="93"/>
                  <a:pt x="3017" y="93"/>
                  <a:pt x="3017" y="93"/>
                </a:cubicBezTo>
                <a:cubicBezTo>
                  <a:pt x="3016" y="91"/>
                  <a:pt x="3016" y="91"/>
                  <a:pt x="3016" y="91"/>
                </a:cubicBezTo>
                <a:cubicBezTo>
                  <a:pt x="3016" y="89"/>
                  <a:pt x="3016" y="89"/>
                  <a:pt x="3016" y="89"/>
                </a:cubicBezTo>
                <a:cubicBezTo>
                  <a:pt x="3017" y="90"/>
                  <a:pt x="3017" y="90"/>
                  <a:pt x="3017" y="90"/>
                </a:cubicBezTo>
                <a:cubicBezTo>
                  <a:pt x="3019" y="88"/>
                  <a:pt x="3019" y="88"/>
                  <a:pt x="3019" y="88"/>
                </a:cubicBezTo>
                <a:cubicBezTo>
                  <a:pt x="3018" y="85"/>
                  <a:pt x="3018" y="85"/>
                  <a:pt x="3018" y="85"/>
                </a:cubicBezTo>
                <a:cubicBezTo>
                  <a:pt x="3018" y="82"/>
                  <a:pt x="3018" y="82"/>
                  <a:pt x="3018" y="82"/>
                </a:cubicBezTo>
                <a:cubicBezTo>
                  <a:pt x="3020" y="82"/>
                  <a:pt x="3020" y="82"/>
                  <a:pt x="3020" y="82"/>
                </a:cubicBezTo>
                <a:cubicBezTo>
                  <a:pt x="3020" y="83"/>
                  <a:pt x="3020" y="83"/>
                  <a:pt x="3020" y="83"/>
                </a:cubicBezTo>
                <a:cubicBezTo>
                  <a:pt x="3021" y="82"/>
                  <a:pt x="3021" y="82"/>
                  <a:pt x="3021" y="82"/>
                </a:cubicBezTo>
                <a:cubicBezTo>
                  <a:pt x="3024" y="78"/>
                  <a:pt x="3024" y="78"/>
                  <a:pt x="3024" y="78"/>
                </a:cubicBezTo>
                <a:cubicBezTo>
                  <a:pt x="3023" y="78"/>
                  <a:pt x="3023" y="78"/>
                  <a:pt x="3023" y="78"/>
                </a:cubicBezTo>
                <a:cubicBezTo>
                  <a:pt x="3023" y="76"/>
                  <a:pt x="3023" y="76"/>
                  <a:pt x="3023" y="76"/>
                </a:cubicBezTo>
                <a:cubicBezTo>
                  <a:pt x="3025" y="76"/>
                  <a:pt x="3025" y="76"/>
                  <a:pt x="3025" y="76"/>
                </a:cubicBezTo>
                <a:cubicBezTo>
                  <a:pt x="3028" y="72"/>
                  <a:pt x="3028" y="72"/>
                  <a:pt x="3028" y="72"/>
                </a:cubicBezTo>
                <a:cubicBezTo>
                  <a:pt x="3027" y="72"/>
                  <a:pt x="3027" y="72"/>
                  <a:pt x="3027" y="72"/>
                </a:cubicBezTo>
                <a:cubicBezTo>
                  <a:pt x="3028" y="71"/>
                  <a:pt x="3028" y="71"/>
                  <a:pt x="3028" y="71"/>
                </a:cubicBezTo>
                <a:cubicBezTo>
                  <a:pt x="3030" y="71"/>
                  <a:pt x="3030" y="71"/>
                  <a:pt x="3030" y="71"/>
                </a:cubicBezTo>
                <a:cubicBezTo>
                  <a:pt x="3033" y="69"/>
                  <a:pt x="3033" y="69"/>
                  <a:pt x="3033" y="69"/>
                </a:cubicBezTo>
                <a:cubicBezTo>
                  <a:pt x="3032" y="67"/>
                  <a:pt x="3032" y="67"/>
                  <a:pt x="3032" y="67"/>
                </a:cubicBezTo>
                <a:cubicBezTo>
                  <a:pt x="3033" y="66"/>
                  <a:pt x="3033" y="66"/>
                  <a:pt x="3033" y="66"/>
                </a:cubicBezTo>
                <a:cubicBezTo>
                  <a:pt x="3034" y="67"/>
                  <a:pt x="3034" y="67"/>
                  <a:pt x="3034" y="67"/>
                </a:cubicBezTo>
                <a:cubicBezTo>
                  <a:pt x="3035" y="69"/>
                  <a:pt x="3035" y="69"/>
                  <a:pt x="3035" y="69"/>
                </a:cubicBezTo>
                <a:cubicBezTo>
                  <a:pt x="3036" y="69"/>
                  <a:pt x="3036" y="69"/>
                  <a:pt x="3036" y="69"/>
                </a:cubicBezTo>
                <a:cubicBezTo>
                  <a:pt x="3038" y="69"/>
                  <a:pt x="3038" y="69"/>
                  <a:pt x="3038" y="69"/>
                </a:cubicBezTo>
                <a:cubicBezTo>
                  <a:pt x="3040" y="70"/>
                  <a:pt x="3040" y="70"/>
                  <a:pt x="3040" y="70"/>
                </a:cubicBezTo>
                <a:cubicBezTo>
                  <a:pt x="3047" y="70"/>
                  <a:pt x="3047" y="70"/>
                  <a:pt x="3047" y="70"/>
                </a:cubicBezTo>
                <a:cubicBezTo>
                  <a:pt x="3049" y="71"/>
                  <a:pt x="3049" y="71"/>
                  <a:pt x="3049" y="71"/>
                </a:cubicBezTo>
                <a:cubicBezTo>
                  <a:pt x="3050" y="71"/>
                  <a:pt x="3050" y="71"/>
                  <a:pt x="3050" y="71"/>
                </a:cubicBezTo>
                <a:cubicBezTo>
                  <a:pt x="3049" y="68"/>
                  <a:pt x="3049" y="68"/>
                  <a:pt x="3049" y="68"/>
                </a:cubicBezTo>
                <a:cubicBezTo>
                  <a:pt x="3047" y="67"/>
                  <a:pt x="3047" y="67"/>
                  <a:pt x="3047" y="67"/>
                </a:cubicBezTo>
                <a:cubicBezTo>
                  <a:pt x="3047" y="66"/>
                  <a:pt x="3047" y="66"/>
                  <a:pt x="3047" y="66"/>
                </a:cubicBezTo>
                <a:cubicBezTo>
                  <a:pt x="3048" y="65"/>
                  <a:pt x="3048" y="65"/>
                  <a:pt x="3048" y="65"/>
                </a:cubicBezTo>
                <a:cubicBezTo>
                  <a:pt x="3048" y="59"/>
                  <a:pt x="3048" y="59"/>
                  <a:pt x="3048" y="59"/>
                </a:cubicBezTo>
                <a:cubicBezTo>
                  <a:pt x="3045" y="55"/>
                  <a:pt x="3045" y="55"/>
                  <a:pt x="3045" y="55"/>
                </a:cubicBezTo>
                <a:cubicBezTo>
                  <a:pt x="3043" y="55"/>
                  <a:pt x="3043" y="55"/>
                  <a:pt x="3043" y="55"/>
                </a:cubicBezTo>
                <a:cubicBezTo>
                  <a:pt x="3040" y="51"/>
                  <a:pt x="3040" y="51"/>
                  <a:pt x="3040" y="51"/>
                </a:cubicBezTo>
                <a:cubicBezTo>
                  <a:pt x="3042" y="50"/>
                  <a:pt x="3042" y="50"/>
                  <a:pt x="3042" y="50"/>
                </a:cubicBezTo>
                <a:cubicBezTo>
                  <a:pt x="3039" y="47"/>
                  <a:pt x="3039" y="47"/>
                  <a:pt x="3039" y="47"/>
                </a:cubicBezTo>
                <a:cubicBezTo>
                  <a:pt x="3035" y="46"/>
                  <a:pt x="3035" y="46"/>
                  <a:pt x="3035" y="46"/>
                </a:cubicBezTo>
                <a:cubicBezTo>
                  <a:pt x="3030" y="43"/>
                  <a:pt x="3030" y="43"/>
                  <a:pt x="3030" y="43"/>
                </a:cubicBezTo>
                <a:cubicBezTo>
                  <a:pt x="3028" y="40"/>
                  <a:pt x="3028" y="40"/>
                  <a:pt x="3028" y="40"/>
                </a:cubicBezTo>
                <a:cubicBezTo>
                  <a:pt x="3028" y="42"/>
                  <a:pt x="3028" y="42"/>
                  <a:pt x="3028" y="42"/>
                </a:cubicBezTo>
                <a:cubicBezTo>
                  <a:pt x="3026" y="41"/>
                  <a:pt x="3026" y="41"/>
                  <a:pt x="3026" y="41"/>
                </a:cubicBezTo>
                <a:cubicBezTo>
                  <a:pt x="3026" y="42"/>
                  <a:pt x="3026" y="42"/>
                  <a:pt x="3026" y="42"/>
                </a:cubicBezTo>
                <a:cubicBezTo>
                  <a:pt x="3025" y="44"/>
                  <a:pt x="3025" y="44"/>
                  <a:pt x="3025" y="44"/>
                </a:cubicBezTo>
                <a:cubicBezTo>
                  <a:pt x="3023" y="45"/>
                  <a:pt x="3023" y="45"/>
                  <a:pt x="3023" y="45"/>
                </a:cubicBezTo>
                <a:cubicBezTo>
                  <a:pt x="3022" y="44"/>
                  <a:pt x="3022" y="44"/>
                  <a:pt x="3022" y="44"/>
                </a:cubicBezTo>
                <a:cubicBezTo>
                  <a:pt x="3023" y="41"/>
                  <a:pt x="3023" y="41"/>
                  <a:pt x="3023" y="41"/>
                </a:cubicBezTo>
                <a:cubicBezTo>
                  <a:pt x="3025" y="40"/>
                  <a:pt x="3025" y="40"/>
                  <a:pt x="3025" y="40"/>
                </a:cubicBezTo>
                <a:cubicBezTo>
                  <a:pt x="3023" y="38"/>
                  <a:pt x="3023" y="38"/>
                  <a:pt x="3023" y="38"/>
                </a:cubicBezTo>
                <a:cubicBezTo>
                  <a:pt x="3024" y="37"/>
                  <a:pt x="3024" y="37"/>
                  <a:pt x="3024" y="37"/>
                </a:cubicBezTo>
                <a:cubicBezTo>
                  <a:pt x="3025" y="37"/>
                  <a:pt x="3025" y="37"/>
                  <a:pt x="3025" y="37"/>
                </a:cubicBezTo>
                <a:cubicBezTo>
                  <a:pt x="3026" y="39"/>
                  <a:pt x="3026" y="39"/>
                  <a:pt x="3026" y="39"/>
                </a:cubicBezTo>
                <a:cubicBezTo>
                  <a:pt x="3022" y="32"/>
                  <a:pt x="3022" y="32"/>
                  <a:pt x="3022" y="32"/>
                </a:cubicBezTo>
                <a:cubicBezTo>
                  <a:pt x="3019" y="30"/>
                  <a:pt x="3019" y="30"/>
                  <a:pt x="3019" y="30"/>
                </a:cubicBezTo>
                <a:cubicBezTo>
                  <a:pt x="3019" y="33"/>
                  <a:pt x="3019" y="33"/>
                  <a:pt x="3019" y="33"/>
                </a:cubicBezTo>
                <a:cubicBezTo>
                  <a:pt x="3019" y="34"/>
                  <a:pt x="3019" y="34"/>
                  <a:pt x="3019" y="34"/>
                </a:cubicBezTo>
                <a:cubicBezTo>
                  <a:pt x="3018" y="34"/>
                  <a:pt x="3018" y="34"/>
                  <a:pt x="3018" y="34"/>
                </a:cubicBezTo>
                <a:cubicBezTo>
                  <a:pt x="3014" y="30"/>
                  <a:pt x="3014" y="30"/>
                  <a:pt x="3014" y="30"/>
                </a:cubicBezTo>
                <a:cubicBezTo>
                  <a:pt x="3015" y="29"/>
                  <a:pt x="3015" y="29"/>
                  <a:pt x="3015" y="29"/>
                </a:cubicBezTo>
                <a:cubicBezTo>
                  <a:pt x="3017" y="29"/>
                  <a:pt x="3017" y="29"/>
                  <a:pt x="3017" y="29"/>
                </a:cubicBezTo>
                <a:cubicBezTo>
                  <a:pt x="3016" y="27"/>
                  <a:pt x="3016" y="27"/>
                  <a:pt x="3016" y="27"/>
                </a:cubicBezTo>
                <a:cubicBezTo>
                  <a:pt x="3010" y="23"/>
                  <a:pt x="3010" y="23"/>
                  <a:pt x="3010" y="23"/>
                </a:cubicBezTo>
                <a:cubicBezTo>
                  <a:pt x="3009" y="23"/>
                  <a:pt x="3009" y="23"/>
                  <a:pt x="3009" y="23"/>
                </a:cubicBezTo>
                <a:cubicBezTo>
                  <a:pt x="3010" y="24"/>
                  <a:pt x="3010" y="24"/>
                  <a:pt x="3010" y="24"/>
                </a:cubicBezTo>
                <a:cubicBezTo>
                  <a:pt x="3009" y="26"/>
                  <a:pt x="3009" y="26"/>
                  <a:pt x="3009" y="26"/>
                </a:cubicBezTo>
                <a:cubicBezTo>
                  <a:pt x="3006" y="26"/>
                  <a:pt x="3006" y="26"/>
                  <a:pt x="3006" y="26"/>
                </a:cubicBezTo>
                <a:cubicBezTo>
                  <a:pt x="3004" y="24"/>
                  <a:pt x="3004" y="24"/>
                  <a:pt x="3004" y="24"/>
                </a:cubicBezTo>
                <a:cubicBezTo>
                  <a:pt x="3001" y="23"/>
                  <a:pt x="3001" y="23"/>
                  <a:pt x="3001" y="23"/>
                </a:cubicBezTo>
                <a:cubicBezTo>
                  <a:pt x="2999" y="19"/>
                  <a:pt x="2999" y="19"/>
                  <a:pt x="2999" y="19"/>
                </a:cubicBezTo>
                <a:cubicBezTo>
                  <a:pt x="2999" y="18"/>
                  <a:pt x="2999" y="18"/>
                  <a:pt x="2999" y="18"/>
                </a:cubicBezTo>
                <a:cubicBezTo>
                  <a:pt x="2997" y="17"/>
                  <a:pt x="2997" y="17"/>
                  <a:pt x="2997" y="17"/>
                </a:cubicBezTo>
                <a:cubicBezTo>
                  <a:pt x="2996" y="17"/>
                  <a:pt x="2996" y="17"/>
                  <a:pt x="2996" y="17"/>
                </a:cubicBezTo>
                <a:cubicBezTo>
                  <a:pt x="2993" y="20"/>
                  <a:pt x="2993" y="20"/>
                  <a:pt x="2993" y="20"/>
                </a:cubicBezTo>
                <a:cubicBezTo>
                  <a:pt x="2993" y="21"/>
                  <a:pt x="2993" y="21"/>
                  <a:pt x="2993" y="21"/>
                </a:cubicBezTo>
                <a:cubicBezTo>
                  <a:pt x="2991" y="21"/>
                  <a:pt x="2991" y="21"/>
                  <a:pt x="2991" y="21"/>
                </a:cubicBezTo>
                <a:cubicBezTo>
                  <a:pt x="2990" y="22"/>
                  <a:pt x="2990" y="22"/>
                  <a:pt x="2990" y="22"/>
                </a:cubicBezTo>
                <a:cubicBezTo>
                  <a:pt x="2989" y="26"/>
                  <a:pt x="2989" y="26"/>
                  <a:pt x="2989" y="26"/>
                </a:cubicBezTo>
                <a:cubicBezTo>
                  <a:pt x="2990" y="27"/>
                  <a:pt x="2990" y="27"/>
                  <a:pt x="2990" y="27"/>
                </a:cubicBezTo>
                <a:cubicBezTo>
                  <a:pt x="2989" y="26"/>
                  <a:pt x="2989" y="26"/>
                  <a:pt x="2989" y="26"/>
                </a:cubicBezTo>
                <a:cubicBezTo>
                  <a:pt x="2987" y="22"/>
                  <a:pt x="2987" y="22"/>
                  <a:pt x="2987" y="22"/>
                </a:cubicBezTo>
                <a:cubicBezTo>
                  <a:pt x="2988" y="20"/>
                  <a:pt x="2988" y="20"/>
                  <a:pt x="2988" y="20"/>
                </a:cubicBezTo>
                <a:cubicBezTo>
                  <a:pt x="2985" y="18"/>
                  <a:pt x="2985" y="18"/>
                  <a:pt x="2985" y="18"/>
                </a:cubicBezTo>
                <a:cubicBezTo>
                  <a:pt x="2984" y="15"/>
                  <a:pt x="2984" y="15"/>
                  <a:pt x="2984" y="15"/>
                </a:cubicBezTo>
                <a:cubicBezTo>
                  <a:pt x="2983" y="15"/>
                  <a:pt x="2983" y="15"/>
                  <a:pt x="2983" y="15"/>
                </a:cubicBezTo>
                <a:cubicBezTo>
                  <a:pt x="2985" y="15"/>
                  <a:pt x="2985" y="15"/>
                  <a:pt x="2985" y="15"/>
                </a:cubicBezTo>
                <a:cubicBezTo>
                  <a:pt x="2987" y="17"/>
                  <a:pt x="2987" y="17"/>
                  <a:pt x="2987" y="17"/>
                </a:cubicBezTo>
                <a:cubicBezTo>
                  <a:pt x="2987" y="15"/>
                  <a:pt x="2987" y="15"/>
                  <a:pt x="2987" y="15"/>
                </a:cubicBezTo>
                <a:cubicBezTo>
                  <a:pt x="2989" y="15"/>
                  <a:pt x="2989" y="15"/>
                  <a:pt x="2989" y="15"/>
                </a:cubicBezTo>
                <a:cubicBezTo>
                  <a:pt x="2991" y="16"/>
                  <a:pt x="2991" y="16"/>
                  <a:pt x="2991" y="16"/>
                </a:cubicBezTo>
                <a:cubicBezTo>
                  <a:pt x="2994" y="14"/>
                  <a:pt x="2994" y="14"/>
                  <a:pt x="2994" y="14"/>
                </a:cubicBezTo>
                <a:cubicBezTo>
                  <a:pt x="2993" y="12"/>
                  <a:pt x="2993" y="12"/>
                  <a:pt x="2993" y="12"/>
                </a:cubicBezTo>
                <a:cubicBezTo>
                  <a:pt x="2987" y="10"/>
                  <a:pt x="2987" y="10"/>
                  <a:pt x="2987" y="10"/>
                </a:cubicBezTo>
                <a:cubicBezTo>
                  <a:pt x="2986" y="12"/>
                  <a:pt x="2986" y="12"/>
                  <a:pt x="2986" y="12"/>
                </a:cubicBezTo>
                <a:cubicBezTo>
                  <a:pt x="2983" y="12"/>
                  <a:pt x="2983" y="12"/>
                  <a:pt x="2983" y="12"/>
                </a:cubicBezTo>
                <a:cubicBezTo>
                  <a:pt x="2981" y="11"/>
                  <a:pt x="2981" y="11"/>
                  <a:pt x="2981" y="11"/>
                </a:cubicBezTo>
                <a:cubicBezTo>
                  <a:pt x="2983" y="11"/>
                  <a:pt x="2983" y="11"/>
                  <a:pt x="2983" y="11"/>
                </a:cubicBezTo>
                <a:cubicBezTo>
                  <a:pt x="2985" y="9"/>
                  <a:pt x="2985" y="9"/>
                  <a:pt x="2985" y="9"/>
                </a:cubicBezTo>
                <a:cubicBezTo>
                  <a:pt x="2987" y="8"/>
                  <a:pt x="2987" y="8"/>
                  <a:pt x="2987" y="8"/>
                </a:cubicBezTo>
                <a:cubicBezTo>
                  <a:pt x="2988" y="9"/>
                  <a:pt x="2988" y="9"/>
                  <a:pt x="2988" y="9"/>
                </a:cubicBezTo>
                <a:cubicBezTo>
                  <a:pt x="2991" y="10"/>
                  <a:pt x="2991" y="10"/>
                  <a:pt x="2991" y="10"/>
                </a:cubicBezTo>
                <a:cubicBezTo>
                  <a:pt x="2993" y="11"/>
                  <a:pt x="2993" y="11"/>
                  <a:pt x="2993" y="11"/>
                </a:cubicBezTo>
                <a:cubicBezTo>
                  <a:pt x="2996" y="14"/>
                  <a:pt x="2996" y="14"/>
                  <a:pt x="2996" y="14"/>
                </a:cubicBezTo>
                <a:cubicBezTo>
                  <a:pt x="2998" y="15"/>
                  <a:pt x="2998" y="15"/>
                  <a:pt x="2998" y="15"/>
                </a:cubicBezTo>
                <a:cubicBezTo>
                  <a:pt x="2999" y="17"/>
                  <a:pt x="2999" y="17"/>
                  <a:pt x="2999" y="17"/>
                </a:cubicBezTo>
                <a:cubicBezTo>
                  <a:pt x="3001" y="17"/>
                  <a:pt x="3001" y="17"/>
                  <a:pt x="3001" y="17"/>
                </a:cubicBezTo>
                <a:cubicBezTo>
                  <a:pt x="3003" y="15"/>
                  <a:pt x="3003" y="15"/>
                  <a:pt x="3003" y="15"/>
                </a:cubicBezTo>
                <a:cubicBezTo>
                  <a:pt x="3004" y="17"/>
                  <a:pt x="3004" y="17"/>
                  <a:pt x="3004" y="17"/>
                </a:cubicBezTo>
                <a:cubicBezTo>
                  <a:pt x="3009" y="13"/>
                  <a:pt x="3009" y="13"/>
                  <a:pt x="3009" y="13"/>
                </a:cubicBezTo>
                <a:cubicBezTo>
                  <a:pt x="3009" y="14"/>
                  <a:pt x="3009" y="14"/>
                  <a:pt x="3009" y="14"/>
                </a:cubicBezTo>
                <a:cubicBezTo>
                  <a:pt x="3009" y="16"/>
                  <a:pt x="3009" y="16"/>
                  <a:pt x="3009" y="16"/>
                </a:cubicBezTo>
                <a:cubicBezTo>
                  <a:pt x="3011" y="15"/>
                  <a:pt x="3011" y="15"/>
                  <a:pt x="3011" y="15"/>
                </a:cubicBezTo>
                <a:cubicBezTo>
                  <a:pt x="3011" y="12"/>
                  <a:pt x="3011" y="12"/>
                  <a:pt x="3011" y="12"/>
                </a:cubicBezTo>
                <a:cubicBezTo>
                  <a:pt x="3013" y="8"/>
                  <a:pt x="3013" y="8"/>
                  <a:pt x="3013" y="8"/>
                </a:cubicBezTo>
                <a:cubicBezTo>
                  <a:pt x="3013" y="7"/>
                  <a:pt x="3013" y="7"/>
                  <a:pt x="3013" y="7"/>
                </a:cubicBezTo>
                <a:cubicBezTo>
                  <a:pt x="3013" y="4"/>
                  <a:pt x="3013" y="4"/>
                  <a:pt x="3013" y="4"/>
                </a:cubicBezTo>
                <a:cubicBezTo>
                  <a:pt x="3012" y="0"/>
                  <a:pt x="3012" y="0"/>
                  <a:pt x="3012" y="0"/>
                </a:cubicBezTo>
                <a:cubicBezTo>
                  <a:pt x="3012" y="0"/>
                  <a:pt x="3012" y="0"/>
                  <a:pt x="3012" y="0"/>
                </a:cubicBezTo>
                <a:cubicBezTo>
                  <a:pt x="2304" y="0"/>
                  <a:pt x="2304" y="0"/>
                  <a:pt x="2304" y="0"/>
                </a:cubicBezTo>
                <a:cubicBezTo>
                  <a:pt x="2303" y="1"/>
                  <a:pt x="2303" y="1"/>
                  <a:pt x="2303" y="1"/>
                </a:cubicBezTo>
                <a:cubicBezTo>
                  <a:pt x="2302" y="3"/>
                  <a:pt x="2302" y="3"/>
                  <a:pt x="2302" y="3"/>
                </a:cubicBezTo>
                <a:cubicBezTo>
                  <a:pt x="2300" y="3"/>
                  <a:pt x="2300" y="3"/>
                  <a:pt x="2300" y="3"/>
                </a:cubicBezTo>
                <a:cubicBezTo>
                  <a:pt x="2299" y="4"/>
                  <a:pt x="2299" y="4"/>
                  <a:pt x="2299" y="4"/>
                </a:cubicBezTo>
                <a:cubicBezTo>
                  <a:pt x="2299" y="2"/>
                  <a:pt x="2299" y="2"/>
                  <a:pt x="2299" y="2"/>
                </a:cubicBezTo>
                <a:cubicBezTo>
                  <a:pt x="2301" y="1"/>
                  <a:pt x="2301" y="1"/>
                  <a:pt x="2301" y="1"/>
                </a:cubicBezTo>
                <a:cubicBezTo>
                  <a:pt x="2301" y="0"/>
                  <a:pt x="2301" y="0"/>
                  <a:pt x="2301" y="0"/>
                </a:cubicBezTo>
                <a:cubicBezTo>
                  <a:pt x="2143" y="0"/>
                  <a:pt x="2143" y="0"/>
                  <a:pt x="2143" y="0"/>
                </a:cubicBezTo>
                <a:cubicBezTo>
                  <a:pt x="2143" y="1"/>
                  <a:pt x="2143" y="1"/>
                  <a:pt x="2143" y="1"/>
                </a:cubicBezTo>
                <a:cubicBezTo>
                  <a:pt x="2144" y="2"/>
                  <a:pt x="2144" y="2"/>
                  <a:pt x="2144" y="2"/>
                </a:cubicBezTo>
                <a:cubicBezTo>
                  <a:pt x="2145" y="1"/>
                  <a:pt x="2145" y="1"/>
                  <a:pt x="2145" y="1"/>
                </a:cubicBezTo>
                <a:cubicBezTo>
                  <a:pt x="2148" y="1"/>
                  <a:pt x="2148" y="1"/>
                  <a:pt x="2148" y="1"/>
                </a:cubicBezTo>
                <a:cubicBezTo>
                  <a:pt x="2148" y="3"/>
                  <a:pt x="2148" y="3"/>
                  <a:pt x="2148" y="3"/>
                </a:cubicBezTo>
                <a:cubicBezTo>
                  <a:pt x="2151" y="5"/>
                  <a:pt x="2151" y="5"/>
                  <a:pt x="2151" y="5"/>
                </a:cubicBezTo>
                <a:cubicBezTo>
                  <a:pt x="2153" y="5"/>
                  <a:pt x="2153" y="5"/>
                  <a:pt x="2153" y="5"/>
                </a:cubicBezTo>
                <a:cubicBezTo>
                  <a:pt x="2154" y="8"/>
                  <a:pt x="2154" y="8"/>
                  <a:pt x="2154" y="8"/>
                </a:cubicBezTo>
                <a:cubicBezTo>
                  <a:pt x="2153" y="11"/>
                  <a:pt x="2153" y="11"/>
                  <a:pt x="2153" y="11"/>
                </a:cubicBezTo>
                <a:cubicBezTo>
                  <a:pt x="2149" y="14"/>
                  <a:pt x="2149" y="14"/>
                  <a:pt x="2149" y="14"/>
                </a:cubicBezTo>
                <a:cubicBezTo>
                  <a:pt x="2147" y="16"/>
                  <a:pt x="2147" y="16"/>
                  <a:pt x="2147" y="16"/>
                </a:cubicBezTo>
                <a:cubicBezTo>
                  <a:pt x="2147" y="17"/>
                  <a:pt x="2147" y="17"/>
                  <a:pt x="2147" y="17"/>
                </a:cubicBezTo>
                <a:cubicBezTo>
                  <a:pt x="2151" y="21"/>
                  <a:pt x="2151" y="21"/>
                  <a:pt x="2151" y="21"/>
                </a:cubicBezTo>
                <a:cubicBezTo>
                  <a:pt x="2153" y="22"/>
                  <a:pt x="2153" y="22"/>
                  <a:pt x="2153" y="22"/>
                </a:cubicBezTo>
                <a:cubicBezTo>
                  <a:pt x="2149" y="22"/>
                  <a:pt x="2149" y="22"/>
                  <a:pt x="2149" y="22"/>
                </a:cubicBezTo>
                <a:cubicBezTo>
                  <a:pt x="2145" y="18"/>
                  <a:pt x="2145" y="18"/>
                  <a:pt x="2145" y="18"/>
                </a:cubicBezTo>
                <a:cubicBezTo>
                  <a:pt x="2145" y="16"/>
                  <a:pt x="2145" y="16"/>
                  <a:pt x="2145" y="16"/>
                </a:cubicBezTo>
                <a:cubicBezTo>
                  <a:pt x="2147" y="12"/>
                  <a:pt x="2147" y="12"/>
                  <a:pt x="2147" y="12"/>
                </a:cubicBezTo>
                <a:cubicBezTo>
                  <a:pt x="2149" y="11"/>
                  <a:pt x="2149" y="11"/>
                  <a:pt x="2149" y="11"/>
                </a:cubicBezTo>
                <a:cubicBezTo>
                  <a:pt x="2148" y="10"/>
                  <a:pt x="2148" y="10"/>
                  <a:pt x="2148" y="10"/>
                </a:cubicBezTo>
                <a:cubicBezTo>
                  <a:pt x="2149" y="7"/>
                  <a:pt x="2149" y="7"/>
                  <a:pt x="2149" y="7"/>
                </a:cubicBezTo>
                <a:cubicBezTo>
                  <a:pt x="2149" y="7"/>
                  <a:pt x="2149" y="7"/>
                  <a:pt x="2149" y="7"/>
                </a:cubicBezTo>
                <a:cubicBezTo>
                  <a:pt x="2142" y="10"/>
                  <a:pt x="2142" y="10"/>
                  <a:pt x="2142" y="10"/>
                </a:cubicBezTo>
                <a:cubicBezTo>
                  <a:pt x="2138" y="11"/>
                  <a:pt x="2138" y="11"/>
                  <a:pt x="2138" y="11"/>
                </a:cubicBezTo>
                <a:cubicBezTo>
                  <a:pt x="2137" y="13"/>
                  <a:pt x="2137" y="13"/>
                  <a:pt x="2137" y="13"/>
                </a:cubicBezTo>
                <a:cubicBezTo>
                  <a:pt x="2135" y="14"/>
                  <a:pt x="2135" y="14"/>
                  <a:pt x="2135" y="14"/>
                </a:cubicBezTo>
                <a:cubicBezTo>
                  <a:pt x="2133" y="14"/>
                  <a:pt x="2133" y="14"/>
                  <a:pt x="2133" y="14"/>
                </a:cubicBezTo>
                <a:cubicBezTo>
                  <a:pt x="2130" y="14"/>
                  <a:pt x="2130" y="14"/>
                  <a:pt x="2130" y="14"/>
                </a:cubicBezTo>
                <a:cubicBezTo>
                  <a:pt x="2127" y="17"/>
                  <a:pt x="2127" y="17"/>
                  <a:pt x="2127" y="17"/>
                </a:cubicBezTo>
                <a:cubicBezTo>
                  <a:pt x="2119" y="19"/>
                  <a:pt x="2119" y="19"/>
                  <a:pt x="2119" y="19"/>
                </a:cubicBezTo>
                <a:cubicBezTo>
                  <a:pt x="2114" y="21"/>
                  <a:pt x="2114" y="21"/>
                  <a:pt x="2114" y="21"/>
                </a:cubicBezTo>
                <a:cubicBezTo>
                  <a:pt x="2112" y="21"/>
                  <a:pt x="2112" y="21"/>
                  <a:pt x="2112" y="21"/>
                </a:cubicBezTo>
                <a:cubicBezTo>
                  <a:pt x="2109" y="23"/>
                  <a:pt x="2109" y="23"/>
                  <a:pt x="2109" y="23"/>
                </a:cubicBezTo>
                <a:cubicBezTo>
                  <a:pt x="2106" y="23"/>
                  <a:pt x="2106" y="23"/>
                  <a:pt x="2106" y="23"/>
                </a:cubicBezTo>
                <a:cubicBezTo>
                  <a:pt x="2105" y="25"/>
                  <a:pt x="2105" y="25"/>
                  <a:pt x="2105" y="25"/>
                </a:cubicBezTo>
                <a:cubicBezTo>
                  <a:pt x="2107" y="26"/>
                  <a:pt x="2107" y="26"/>
                  <a:pt x="2107" y="26"/>
                </a:cubicBezTo>
                <a:cubicBezTo>
                  <a:pt x="2107" y="29"/>
                  <a:pt x="2107" y="29"/>
                  <a:pt x="2107" y="29"/>
                </a:cubicBezTo>
                <a:cubicBezTo>
                  <a:pt x="2106" y="31"/>
                  <a:pt x="2106" y="31"/>
                  <a:pt x="2106" y="31"/>
                </a:cubicBezTo>
                <a:cubicBezTo>
                  <a:pt x="2108" y="32"/>
                  <a:pt x="2108" y="32"/>
                  <a:pt x="2108" y="32"/>
                </a:cubicBezTo>
                <a:cubicBezTo>
                  <a:pt x="2109" y="32"/>
                  <a:pt x="2109" y="32"/>
                  <a:pt x="2109" y="32"/>
                </a:cubicBezTo>
                <a:cubicBezTo>
                  <a:pt x="2110" y="33"/>
                  <a:pt x="2110" y="33"/>
                  <a:pt x="2110" y="33"/>
                </a:cubicBezTo>
                <a:cubicBezTo>
                  <a:pt x="2109" y="35"/>
                  <a:pt x="2109" y="35"/>
                  <a:pt x="2109" y="35"/>
                </a:cubicBezTo>
                <a:cubicBezTo>
                  <a:pt x="2112" y="37"/>
                  <a:pt x="2112" y="37"/>
                  <a:pt x="2112" y="37"/>
                </a:cubicBezTo>
                <a:cubicBezTo>
                  <a:pt x="2115" y="41"/>
                  <a:pt x="2115" y="41"/>
                  <a:pt x="2115" y="41"/>
                </a:cubicBezTo>
                <a:cubicBezTo>
                  <a:pt x="2115" y="45"/>
                  <a:pt x="2115" y="45"/>
                  <a:pt x="2115" y="45"/>
                </a:cubicBezTo>
                <a:cubicBezTo>
                  <a:pt x="2116" y="47"/>
                  <a:pt x="2116" y="47"/>
                  <a:pt x="2116" y="47"/>
                </a:cubicBezTo>
                <a:cubicBezTo>
                  <a:pt x="2117" y="47"/>
                  <a:pt x="2117" y="47"/>
                  <a:pt x="2117" y="47"/>
                </a:cubicBezTo>
                <a:cubicBezTo>
                  <a:pt x="2117" y="50"/>
                  <a:pt x="2117" y="50"/>
                  <a:pt x="2117" y="50"/>
                </a:cubicBezTo>
                <a:cubicBezTo>
                  <a:pt x="2120" y="51"/>
                  <a:pt x="2120" y="51"/>
                  <a:pt x="2120" y="51"/>
                </a:cubicBezTo>
                <a:cubicBezTo>
                  <a:pt x="2122" y="51"/>
                  <a:pt x="2122" y="51"/>
                  <a:pt x="2122" y="51"/>
                </a:cubicBezTo>
                <a:cubicBezTo>
                  <a:pt x="2129" y="52"/>
                  <a:pt x="2129" y="52"/>
                  <a:pt x="2129" y="52"/>
                </a:cubicBezTo>
                <a:cubicBezTo>
                  <a:pt x="2132" y="50"/>
                  <a:pt x="2132" y="50"/>
                  <a:pt x="2132" y="50"/>
                </a:cubicBezTo>
                <a:cubicBezTo>
                  <a:pt x="2132" y="52"/>
                  <a:pt x="2132" y="52"/>
                  <a:pt x="2132" y="52"/>
                </a:cubicBezTo>
                <a:cubicBezTo>
                  <a:pt x="2133" y="53"/>
                  <a:pt x="2133" y="53"/>
                  <a:pt x="2133" y="53"/>
                </a:cubicBezTo>
                <a:cubicBezTo>
                  <a:pt x="2132" y="56"/>
                  <a:pt x="2132" y="56"/>
                  <a:pt x="2132" y="56"/>
                </a:cubicBezTo>
                <a:cubicBezTo>
                  <a:pt x="2136" y="57"/>
                  <a:pt x="2136" y="57"/>
                  <a:pt x="2136" y="57"/>
                </a:cubicBezTo>
                <a:cubicBezTo>
                  <a:pt x="2137" y="60"/>
                  <a:pt x="2137" y="60"/>
                  <a:pt x="2137" y="60"/>
                </a:cubicBezTo>
                <a:cubicBezTo>
                  <a:pt x="2142" y="60"/>
                  <a:pt x="2142" y="60"/>
                  <a:pt x="2142" y="60"/>
                </a:cubicBezTo>
                <a:cubicBezTo>
                  <a:pt x="2146" y="63"/>
                  <a:pt x="2146" y="63"/>
                  <a:pt x="2146" y="63"/>
                </a:cubicBezTo>
                <a:cubicBezTo>
                  <a:pt x="2147" y="63"/>
                  <a:pt x="2147" y="63"/>
                  <a:pt x="2147" y="63"/>
                </a:cubicBezTo>
                <a:cubicBezTo>
                  <a:pt x="2149" y="65"/>
                  <a:pt x="2149" y="65"/>
                  <a:pt x="2149" y="65"/>
                </a:cubicBezTo>
                <a:cubicBezTo>
                  <a:pt x="2150" y="70"/>
                  <a:pt x="2150" y="70"/>
                  <a:pt x="2150" y="70"/>
                </a:cubicBezTo>
                <a:cubicBezTo>
                  <a:pt x="2151" y="72"/>
                  <a:pt x="2151" y="72"/>
                  <a:pt x="2151" y="72"/>
                </a:cubicBezTo>
                <a:cubicBezTo>
                  <a:pt x="2150" y="75"/>
                  <a:pt x="2150" y="75"/>
                  <a:pt x="2150" y="75"/>
                </a:cubicBezTo>
                <a:cubicBezTo>
                  <a:pt x="2152" y="78"/>
                  <a:pt x="2152" y="78"/>
                  <a:pt x="2152" y="78"/>
                </a:cubicBezTo>
                <a:cubicBezTo>
                  <a:pt x="2154" y="79"/>
                  <a:pt x="2154" y="79"/>
                  <a:pt x="2154" y="79"/>
                </a:cubicBezTo>
                <a:cubicBezTo>
                  <a:pt x="2158" y="84"/>
                  <a:pt x="2158" y="84"/>
                  <a:pt x="2158" y="84"/>
                </a:cubicBezTo>
                <a:cubicBezTo>
                  <a:pt x="2159" y="88"/>
                  <a:pt x="2159" y="88"/>
                  <a:pt x="2159" y="88"/>
                </a:cubicBezTo>
                <a:cubicBezTo>
                  <a:pt x="2162" y="91"/>
                  <a:pt x="2162" y="91"/>
                  <a:pt x="2162" y="91"/>
                </a:cubicBezTo>
                <a:cubicBezTo>
                  <a:pt x="2162" y="93"/>
                  <a:pt x="2162" y="93"/>
                  <a:pt x="2162" y="93"/>
                </a:cubicBezTo>
                <a:cubicBezTo>
                  <a:pt x="2160" y="97"/>
                  <a:pt x="2160" y="97"/>
                  <a:pt x="2160" y="97"/>
                </a:cubicBezTo>
                <a:cubicBezTo>
                  <a:pt x="2159" y="97"/>
                  <a:pt x="2159" y="97"/>
                  <a:pt x="2159" y="97"/>
                </a:cubicBezTo>
                <a:cubicBezTo>
                  <a:pt x="2157" y="97"/>
                  <a:pt x="2157" y="97"/>
                  <a:pt x="2157" y="97"/>
                </a:cubicBezTo>
                <a:cubicBezTo>
                  <a:pt x="2159" y="100"/>
                  <a:pt x="2159" y="100"/>
                  <a:pt x="2159" y="100"/>
                </a:cubicBezTo>
                <a:cubicBezTo>
                  <a:pt x="2162" y="100"/>
                  <a:pt x="2162" y="100"/>
                  <a:pt x="2162" y="100"/>
                </a:cubicBezTo>
                <a:cubicBezTo>
                  <a:pt x="2164" y="102"/>
                  <a:pt x="2164" y="102"/>
                  <a:pt x="2164" y="102"/>
                </a:cubicBezTo>
                <a:cubicBezTo>
                  <a:pt x="2168" y="106"/>
                  <a:pt x="2168" y="106"/>
                  <a:pt x="2168" y="106"/>
                </a:cubicBezTo>
                <a:cubicBezTo>
                  <a:pt x="2172" y="107"/>
                  <a:pt x="2172" y="107"/>
                  <a:pt x="2172" y="107"/>
                </a:cubicBezTo>
                <a:cubicBezTo>
                  <a:pt x="2172" y="107"/>
                  <a:pt x="2172" y="107"/>
                  <a:pt x="2172" y="107"/>
                </a:cubicBezTo>
                <a:cubicBezTo>
                  <a:pt x="2174" y="107"/>
                  <a:pt x="2174" y="107"/>
                  <a:pt x="2174" y="107"/>
                </a:cubicBezTo>
                <a:cubicBezTo>
                  <a:pt x="2177" y="105"/>
                  <a:pt x="2177" y="105"/>
                  <a:pt x="2177" y="105"/>
                </a:cubicBezTo>
                <a:cubicBezTo>
                  <a:pt x="2180" y="104"/>
                  <a:pt x="2180" y="104"/>
                  <a:pt x="2180" y="104"/>
                </a:cubicBezTo>
                <a:cubicBezTo>
                  <a:pt x="2184" y="106"/>
                  <a:pt x="2184" y="106"/>
                  <a:pt x="2184" y="106"/>
                </a:cubicBezTo>
                <a:cubicBezTo>
                  <a:pt x="2187" y="107"/>
                  <a:pt x="2187" y="107"/>
                  <a:pt x="2187" y="107"/>
                </a:cubicBezTo>
                <a:cubicBezTo>
                  <a:pt x="2189" y="108"/>
                  <a:pt x="2189" y="108"/>
                  <a:pt x="2189" y="108"/>
                </a:cubicBezTo>
                <a:cubicBezTo>
                  <a:pt x="2190" y="110"/>
                  <a:pt x="2190" y="110"/>
                  <a:pt x="2190" y="110"/>
                </a:cubicBezTo>
                <a:cubicBezTo>
                  <a:pt x="2190" y="114"/>
                  <a:pt x="2190" y="114"/>
                  <a:pt x="2190" y="114"/>
                </a:cubicBezTo>
                <a:cubicBezTo>
                  <a:pt x="2189" y="110"/>
                  <a:pt x="2189" y="110"/>
                  <a:pt x="2189" y="110"/>
                </a:cubicBezTo>
                <a:cubicBezTo>
                  <a:pt x="2188" y="108"/>
                  <a:pt x="2188" y="108"/>
                  <a:pt x="2188" y="108"/>
                </a:cubicBezTo>
                <a:cubicBezTo>
                  <a:pt x="2185" y="108"/>
                  <a:pt x="2185" y="108"/>
                  <a:pt x="2185" y="108"/>
                </a:cubicBezTo>
                <a:cubicBezTo>
                  <a:pt x="2180" y="105"/>
                  <a:pt x="2180" y="105"/>
                  <a:pt x="2180" y="105"/>
                </a:cubicBezTo>
                <a:cubicBezTo>
                  <a:pt x="2178" y="105"/>
                  <a:pt x="2178" y="105"/>
                  <a:pt x="2178" y="105"/>
                </a:cubicBezTo>
                <a:cubicBezTo>
                  <a:pt x="2175" y="108"/>
                  <a:pt x="2175" y="108"/>
                  <a:pt x="2175" y="108"/>
                </a:cubicBezTo>
                <a:cubicBezTo>
                  <a:pt x="2175" y="111"/>
                  <a:pt x="2175" y="111"/>
                  <a:pt x="2175" y="111"/>
                </a:cubicBezTo>
                <a:cubicBezTo>
                  <a:pt x="2175" y="113"/>
                  <a:pt x="2175" y="113"/>
                  <a:pt x="2175" y="113"/>
                </a:cubicBezTo>
                <a:cubicBezTo>
                  <a:pt x="2171" y="108"/>
                  <a:pt x="2171" y="108"/>
                  <a:pt x="2171" y="108"/>
                </a:cubicBezTo>
                <a:cubicBezTo>
                  <a:pt x="2167" y="108"/>
                  <a:pt x="2167" y="108"/>
                  <a:pt x="2167" y="108"/>
                </a:cubicBezTo>
                <a:cubicBezTo>
                  <a:pt x="2165" y="107"/>
                  <a:pt x="2165" y="107"/>
                  <a:pt x="2165" y="107"/>
                </a:cubicBezTo>
                <a:cubicBezTo>
                  <a:pt x="2165" y="104"/>
                  <a:pt x="2165" y="104"/>
                  <a:pt x="2165" y="104"/>
                </a:cubicBezTo>
                <a:cubicBezTo>
                  <a:pt x="2163" y="102"/>
                  <a:pt x="2163" y="102"/>
                  <a:pt x="2163" y="102"/>
                </a:cubicBezTo>
                <a:cubicBezTo>
                  <a:pt x="2160" y="101"/>
                  <a:pt x="2160" y="101"/>
                  <a:pt x="2160" y="101"/>
                </a:cubicBezTo>
                <a:cubicBezTo>
                  <a:pt x="2157" y="101"/>
                  <a:pt x="2157" y="101"/>
                  <a:pt x="2157" y="101"/>
                </a:cubicBezTo>
                <a:cubicBezTo>
                  <a:pt x="2153" y="99"/>
                  <a:pt x="2153" y="99"/>
                  <a:pt x="2153" y="99"/>
                </a:cubicBezTo>
                <a:cubicBezTo>
                  <a:pt x="2154" y="98"/>
                  <a:pt x="2154" y="98"/>
                  <a:pt x="2154" y="98"/>
                </a:cubicBezTo>
                <a:cubicBezTo>
                  <a:pt x="2154" y="96"/>
                  <a:pt x="2154" y="96"/>
                  <a:pt x="2154" y="96"/>
                </a:cubicBezTo>
                <a:cubicBezTo>
                  <a:pt x="2155" y="95"/>
                  <a:pt x="2155" y="95"/>
                  <a:pt x="2155" y="95"/>
                </a:cubicBezTo>
                <a:cubicBezTo>
                  <a:pt x="2155" y="93"/>
                  <a:pt x="2155" y="93"/>
                  <a:pt x="2155" y="93"/>
                </a:cubicBezTo>
                <a:cubicBezTo>
                  <a:pt x="2155" y="88"/>
                  <a:pt x="2155" y="88"/>
                  <a:pt x="2155" y="88"/>
                </a:cubicBezTo>
                <a:cubicBezTo>
                  <a:pt x="2153" y="85"/>
                  <a:pt x="2153" y="85"/>
                  <a:pt x="2153" y="85"/>
                </a:cubicBezTo>
                <a:cubicBezTo>
                  <a:pt x="2152" y="84"/>
                  <a:pt x="2152" y="84"/>
                  <a:pt x="2152" y="84"/>
                </a:cubicBezTo>
                <a:cubicBezTo>
                  <a:pt x="2151" y="87"/>
                  <a:pt x="2151" y="87"/>
                  <a:pt x="2151" y="87"/>
                </a:cubicBezTo>
                <a:cubicBezTo>
                  <a:pt x="2149" y="88"/>
                  <a:pt x="2149" y="88"/>
                  <a:pt x="2149" y="88"/>
                </a:cubicBezTo>
                <a:cubicBezTo>
                  <a:pt x="2149" y="90"/>
                  <a:pt x="2149" y="90"/>
                  <a:pt x="2149" y="90"/>
                </a:cubicBezTo>
                <a:cubicBezTo>
                  <a:pt x="2148" y="92"/>
                  <a:pt x="2148" y="92"/>
                  <a:pt x="2148" y="92"/>
                </a:cubicBezTo>
                <a:cubicBezTo>
                  <a:pt x="2149" y="93"/>
                  <a:pt x="2149" y="93"/>
                  <a:pt x="2149" y="93"/>
                </a:cubicBezTo>
                <a:cubicBezTo>
                  <a:pt x="2148" y="95"/>
                  <a:pt x="2148" y="95"/>
                  <a:pt x="2148" y="95"/>
                </a:cubicBezTo>
                <a:cubicBezTo>
                  <a:pt x="2147" y="95"/>
                  <a:pt x="2147" y="95"/>
                  <a:pt x="2147" y="95"/>
                </a:cubicBezTo>
                <a:cubicBezTo>
                  <a:pt x="2146" y="89"/>
                  <a:pt x="2146" y="89"/>
                  <a:pt x="2146" y="89"/>
                </a:cubicBezTo>
                <a:cubicBezTo>
                  <a:pt x="2147" y="87"/>
                  <a:pt x="2147" y="87"/>
                  <a:pt x="2147" y="87"/>
                </a:cubicBezTo>
                <a:cubicBezTo>
                  <a:pt x="2147" y="85"/>
                  <a:pt x="2147" y="85"/>
                  <a:pt x="2147" y="85"/>
                </a:cubicBezTo>
                <a:cubicBezTo>
                  <a:pt x="2144" y="82"/>
                  <a:pt x="2144" y="82"/>
                  <a:pt x="2144" y="82"/>
                </a:cubicBezTo>
                <a:cubicBezTo>
                  <a:pt x="2144" y="79"/>
                  <a:pt x="2144" y="79"/>
                  <a:pt x="2144" y="79"/>
                </a:cubicBezTo>
                <a:cubicBezTo>
                  <a:pt x="2142" y="77"/>
                  <a:pt x="2142" y="77"/>
                  <a:pt x="2142" y="77"/>
                </a:cubicBezTo>
                <a:cubicBezTo>
                  <a:pt x="2143" y="74"/>
                  <a:pt x="2143" y="74"/>
                  <a:pt x="2143" y="74"/>
                </a:cubicBezTo>
                <a:cubicBezTo>
                  <a:pt x="2145" y="72"/>
                  <a:pt x="2145" y="72"/>
                  <a:pt x="2145" y="72"/>
                </a:cubicBezTo>
                <a:cubicBezTo>
                  <a:pt x="2146" y="71"/>
                  <a:pt x="2146" y="71"/>
                  <a:pt x="2146" y="71"/>
                </a:cubicBezTo>
                <a:cubicBezTo>
                  <a:pt x="2145" y="69"/>
                  <a:pt x="2145" y="69"/>
                  <a:pt x="2145" y="69"/>
                </a:cubicBezTo>
                <a:cubicBezTo>
                  <a:pt x="2146" y="65"/>
                  <a:pt x="2146" y="65"/>
                  <a:pt x="2146" y="65"/>
                </a:cubicBezTo>
                <a:cubicBezTo>
                  <a:pt x="2143" y="65"/>
                  <a:pt x="2143" y="65"/>
                  <a:pt x="2143" y="65"/>
                </a:cubicBezTo>
                <a:cubicBezTo>
                  <a:pt x="2143" y="65"/>
                  <a:pt x="2143" y="65"/>
                  <a:pt x="2143" y="65"/>
                </a:cubicBezTo>
                <a:cubicBezTo>
                  <a:pt x="2141" y="64"/>
                  <a:pt x="2141" y="64"/>
                  <a:pt x="2141" y="64"/>
                </a:cubicBezTo>
                <a:cubicBezTo>
                  <a:pt x="2137" y="66"/>
                  <a:pt x="2137" y="66"/>
                  <a:pt x="2137" y="66"/>
                </a:cubicBezTo>
                <a:cubicBezTo>
                  <a:pt x="2131" y="67"/>
                  <a:pt x="2131" y="67"/>
                  <a:pt x="2131" y="67"/>
                </a:cubicBezTo>
                <a:cubicBezTo>
                  <a:pt x="2128" y="67"/>
                  <a:pt x="2128" y="67"/>
                  <a:pt x="2128" y="67"/>
                </a:cubicBezTo>
                <a:cubicBezTo>
                  <a:pt x="2124" y="62"/>
                  <a:pt x="2124" y="62"/>
                  <a:pt x="2124" y="62"/>
                </a:cubicBezTo>
                <a:cubicBezTo>
                  <a:pt x="2122" y="61"/>
                  <a:pt x="2122" y="61"/>
                  <a:pt x="2122" y="61"/>
                </a:cubicBezTo>
                <a:cubicBezTo>
                  <a:pt x="2121" y="59"/>
                  <a:pt x="2121" y="59"/>
                  <a:pt x="2121" y="59"/>
                </a:cubicBezTo>
                <a:cubicBezTo>
                  <a:pt x="2116" y="59"/>
                  <a:pt x="2116" y="59"/>
                  <a:pt x="2116" y="59"/>
                </a:cubicBezTo>
                <a:cubicBezTo>
                  <a:pt x="2113" y="57"/>
                  <a:pt x="2113" y="57"/>
                  <a:pt x="2113" y="57"/>
                </a:cubicBezTo>
                <a:cubicBezTo>
                  <a:pt x="2111" y="54"/>
                  <a:pt x="2111" y="54"/>
                  <a:pt x="2111" y="54"/>
                </a:cubicBezTo>
                <a:cubicBezTo>
                  <a:pt x="2104" y="54"/>
                  <a:pt x="2104" y="54"/>
                  <a:pt x="2104" y="54"/>
                </a:cubicBezTo>
                <a:cubicBezTo>
                  <a:pt x="2102" y="54"/>
                  <a:pt x="2102" y="54"/>
                  <a:pt x="2102" y="54"/>
                </a:cubicBezTo>
                <a:cubicBezTo>
                  <a:pt x="2099" y="55"/>
                  <a:pt x="2099" y="55"/>
                  <a:pt x="2099" y="55"/>
                </a:cubicBezTo>
                <a:cubicBezTo>
                  <a:pt x="2097" y="59"/>
                  <a:pt x="2097" y="59"/>
                  <a:pt x="2097" y="59"/>
                </a:cubicBezTo>
                <a:cubicBezTo>
                  <a:pt x="2097" y="61"/>
                  <a:pt x="2097" y="61"/>
                  <a:pt x="2097" y="61"/>
                </a:cubicBezTo>
                <a:cubicBezTo>
                  <a:pt x="2095" y="62"/>
                  <a:pt x="2095" y="62"/>
                  <a:pt x="2095" y="62"/>
                </a:cubicBezTo>
                <a:cubicBezTo>
                  <a:pt x="2094" y="61"/>
                  <a:pt x="2094" y="61"/>
                  <a:pt x="2094" y="61"/>
                </a:cubicBezTo>
                <a:cubicBezTo>
                  <a:pt x="2094" y="62"/>
                  <a:pt x="2094" y="62"/>
                  <a:pt x="2094" y="62"/>
                </a:cubicBezTo>
                <a:cubicBezTo>
                  <a:pt x="2095" y="64"/>
                  <a:pt x="2095" y="64"/>
                  <a:pt x="2095" y="64"/>
                </a:cubicBezTo>
                <a:cubicBezTo>
                  <a:pt x="2099" y="62"/>
                  <a:pt x="2099" y="62"/>
                  <a:pt x="2099" y="62"/>
                </a:cubicBezTo>
                <a:cubicBezTo>
                  <a:pt x="2102" y="63"/>
                  <a:pt x="2102" y="63"/>
                  <a:pt x="2102" y="63"/>
                </a:cubicBezTo>
                <a:cubicBezTo>
                  <a:pt x="2104" y="66"/>
                  <a:pt x="2104" y="66"/>
                  <a:pt x="2104" y="66"/>
                </a:cubicBezTo>
                <a:cubicBezTo>
                  <a:pt x="2102" y="70"/>
                  <a:pt x="2102" y="70"/>
                  <a:pt x="2102" y="70"/>
                </a:cubicBezTo>
                <a:cubicBezTo>
                  <a:pt x="2099" y="71"/>
                  <a:pt x="2099" y="71"/>
                  <a:pt x="2099" y="71"/>
                </a:cubicBezTo>
                <a:cubicBezTo>
                  <a:pt x="2095" y="69"/>
                  <a:pt x="2095" y="69"/>
                  <a:pt x="2095" y="69"/>
                </a:cubicBezTo>
                <a:cubicBezTo>
                  <a:pt x="2092" y="66"/>
                  <a:pt x="2092" y="66"/>
                  <a:pt x="2092" y="66"/>
                </a:cubicBezTo>
                <a:cubicBezTo>
                  <a:pt x="2090" y="66"/>
                  <a:pt x="2090" y="66"/>
                  <a:pt x="2090" y="66"/>
                </a:cubicBezTo>
                <a:cubicBezTo>
                  <a:pt x="2087" y="68"/>
                  <a:pt x="2087" y="68"/>
                  <a:pt x="2087" y="68"/>
                </a:cubicBezTo>
                <a:cubicBezTo>
                  <a:pt x="2086" y="69"/>
                  <a:pt x="2086" y="69"/>
                  <a:pt x="2086" y="69"/>
                </a:cubicBezTo>
                <a:cubicBezTo>
                  <a:pt x="2085" y="70"/>
                  <a:pt x="2085" y="70"/>
                  <a:pt x="2085" y="70"/>
                </a:cubicBezTo>
                <a:cubicBezTo>
                  <a:pt x="2088" y="74"/>
                  <a:pt x="2088" y="74"/>
                  <a:pt x="2088" y="74"/>
                </a:cubicBezTo>
                <a:cubicBezTo>
                  <a:pt x="2089" y="74"/>
                  <a:pt x="2089" y="74"/>
                  <a:pt x="2089" y="74"/>
                </a:cubicBezTo>
                <a:cubicBezTo>
                  <a:pt x="2090" y="77"/>
                  <a:pt x="2090" y="77"/>
                  <a:pt x="2090" y="77"/>
                </a:cubicBezTo>
                <a:cubicBezTo>
                  <a:pt x="2094" y="80"/>
                  <a:pt x="2094" y="80"/>
                  <a:pt x="2094" y="80"/>
                </a:cubicBezTo>
                <a:cubicBezTo>
                  <a:pt x="2097" y="80"/>
                  <a:pt x="2097" y="80"/>
                  <a:pt x="2097" y="80"/>
                </a:cubicBezTo>
                <a:cubicBezTo>
                  <a:pt x="2099" y="82"/>
                  <a:pt x="2099" y="82"/>
                  <a:pt x="2099" y="82"/>
                </a:cubicBezTo>
                <a:cubicBezTo>
                  <a:pt x="2104" y="82"/>
                  <a:pt x="2104" y="82"/>
                  <a:pt x="2104" y="82"/>
                </a:cubicBezTo>
                <a:cubicBezTo>
                  <a:pt x="2105" y="81"/>
                  <a:pt x="2105" y="81"/>
                  <a:pt x="2105" y="81"/>
                </a:cubicBezTo>
                <a:cubicBezTo>
                  <a:pt x="2106" y="81"/>
                  <a:pt x="2106" y="81"/>
                  <a:pt x="2106" y="81"/>
                </a:cubicBezTo>
                <a:cubicBezTo>
                  <a:pt x="2106" y="82"/>
                  <a:pt x="2106" y="82"/>
                  <a:pt x="2106" y="82"/>
                </a:cubicBezTo>
                <a:cubicBezTo>
                  <a:pt x="2110" y="82"/>
                  <a:pt x="2110" y="82"/>
                  <a:pt x="2110" y="82"/>
                </a:cubicBezTo>
                <a:cubicBezTo>
                  <a:pt x="2111" y="85"/>
                  <a:pt x="2111" y="85"/>
                  <a:pt x="2111" y="85"/>
                </a:cubicBezTo>
                <a:cubicBezTo>
                  <a:pt x="2112" y="86"/>
                  <a:pt x="2112" y="86"/>
                  <a:pt x="2112" y="86"/>
                </a:cubicBezTo>
                <a:cubicBezTo>
                  <a:pt x="2113" y="88"/>
                  <a:pt x="2113" y="88"/>
                  <a:pt x="2113" y="88"/>
                </a:cubicBezTo>
                <a:cubicBezTo>
                  <a:pt x="2117" y="88"/>
                  <a:pt x="2117" y="88"/>
                  <a:pt x="2117" y="88"/>
                </a:cubicBezTo>
                <a:cubicBezTo>
                  <a:pt x="2119" y="87"/>
                  <a:pt x="2119" y="87"/>
                  <a:pt x="2119" y="87"/>
                </a:cubicBezTo>
                <a:cubicBezTo>
                  <a:pt x="2117" y="89"/>
                  <a:pt x="2117" y="89"/>
                  <a:pt x="2117" y="89"/>
                </a:cubicBezTo>
                <a:cubicBezTo>
                  <a:pt x="2113" y="90"/>
                  <a:pt x="2113" y="90"/>
                  <a:pt x="2113" y="90"/>
                </a:cubicBezTo>
                <a:cubicBezTo>
                  <a:pt x="2110" y="88"/>
                  <a:pt x="2110" y="88"/>
                  <a:pt x="2110" y="88"/>
                </a:cubicBezTo>
                <a:cubicBezTo>
                  <a:pt x="2108" y="88"/>
                  <a:pt x="2108" y="88"/>
                  <a:pt x="2108" y="88"/>
                </a:cubicBezTo>
                <a:cubicBezTo>
                  <a:pt x="2106" y="85"/>
                  <a:pt x="2106" y="85"/>
                  <a:pt x="2106" y="85"/>
                </a:cubicBezTo>
                <a:cubicBezTo>
                  <a:pt x="2104" y="84"/>
                  <a:pt x="2104" y="84"/>
                  <a:pt x="2104" y="84"/>
                </a:cubicBezTo>
                <a:cubicBezTo>
                  <a:pt x="2102" y="85"/>
                  <a:pt x="2102" y="85"/>
                  <a:pt x="2102" y="85"/>
                </a:cubicBezTo>
                <a:cubicBezTo>
                  <a:pt x="2100" y="85"/>
                  <a:pt x="2100" y="85"/>
                  <a:pt x="2100" y="85"/>
                </a:cubicBezTo>
                <a:cubicBezTo>
                  <a:pt x="2098" y="88"/>
                  <a:pt x="2098" y="88"/>
                  <a:pt x="2098" y="88"/>
                </a:cubicBezTo>
                <a:cubicBezTo>
                  <a:pt x="2097" y="86"/>
                  <a:pt x="2097" y="86"/>
                  <a:pt x="2097" y="86"/>
                </a:cubicBezTo>
                <a:cubicBezTo>
                  <a:pt x="2095" y="85"/>
                  <a:pt x="2095" y="85"/>
                  <a:pt x="2095" y="85"/>
                </a:cubicBezTo>
                <a:cubicBezTo>
                  <a:pt x="2093" y="86"/>
                  <a:pt x="2093" y="86"/>
                  <a:pt x="2093" y="86"/>
                </a:cubicBezTo>
                <a:cubicBezTo>
                  <a:pt x="2090" y="86"/>
                  <a:pt x="2090" y="86"/>
                  <a:pt x="2090" y="86"/>
                </a:cubicBezTo>
                <a:cubicBezTo>
                  <a:pt x="2087" y="84"/>
                  <a:pt x="2087" y="84"/>
                  <a:pt x="2087" y="84"/>
                </a:cubicBezTo>
                <a:cubicBezTo>
                  <a:pt x="2085" y="84"/>
                  <a:pt x="2085" y="84"/>
                  <a:pt x="2085" y="84"/>
                </a:cubicBezTo>
                <a:cubicBezTo>
                  <a:pt x="2084" y="83"/>
                  <a:pt x="2084" y="83"/>
                  <a:pt x="2084" y="83"/>
                </a:cubicBezTo>
                <a:cubicBezTo>
                  <a:pt x="2085" y="82"/>
                  <a:pt x="2085" y="82"/>
                  <a:pt x="2085" y="82"/>
                </a:cubicBezTo>
                <a:cubicBezTo>
                  <a:pt x="2085" y="80"/>
                  <a:pt x="2085" y="80"/>
                  <a:pt x="2085" y="80"/>
                </a:cubicBezTo>
                <a:cubicBezTo>
                  <a:pt x="2084" y="79"/>
                  <a:pt x="2084" y="79"/>
                  <a:pt x="2084" y="79"/>
                </a:cubicBezTo>
                <a:cubicBezTo>
                  <a:pt x="2084" y="77"/>
                  <a:pt x="2084" y="77"/>
                  <a:pt x="2084" y="77"/>
                </a:cubicBezTo>
                <a:cubicBezTo>
                  <a:pt x="2081" y="74"/>
                  <a:pt x="2081" y="74"/>
                  <a:pt x="2081" y="74"/>
                </a:cubicBezTo>
                <a:cubicBezTo>
                  <a:pt x="2079" y="72"/>
                  <a:pt x="2079" y="72"/>
                  <a:pt x="2079" y="72"/>
                </a:cubicBezTo>
                <a:cubicBezTo>
                  <a:pt x="2080" y="70"/>
                  <a:pt x="2080" y="70"/>
                  <a:pt x="2080" y="70"/>
                </a:cubicBezTo>
                <a:cubicBezTo>
                  <a:pt x="2079" y="67"/>
                  <a:pt x="2079" y="67"/>
                  <a:pt x="2079" y="67"/>
                </a:cubicBezTo>
                <a:cubicBezTo>
                  <a:pt x="2079" y="62"/>
                  <a:pt x="2079" y="62"/>
                  <a:pt x="2079" y="62"/>
                </a:cubicBezTo>
                <a:cubicBezTo>
                  <a:pt x="2077" y="60"/>
                  <a:pt x="2077" y="60"/>
                  <a:pt x="2077" y="60"/>
                </a:cubicBezTo>
                <a:cubicBezTo>
                  <a:pt x="2076" y="57"/>
                  <a:pt x="2076" y="57"/>
                  <a:pt x="2076" y="57"/>
                </a:cubicBezTo>
                <a:cubicBezTo>
                  <a:pt x="2076" y="56"/>
                  <a:pt x="2076" y="56"/>
                  <a:pt x="2076" y="56"/>
                </a:cubicBezTo>
                <a:cubicBezTo>
                  <a:pt x="2074" y="56"/>
                  <a:pt x="2074" y="56"/>
                  <a:pt x="2074" y="56"/>
                </a:cubicBezTo>
                <a:cubicBezTo>
                  <a:pt x="2074" y="53"/>
                  <a:pt x="2074" y="53"/>
                  <a:pt x="2074" y="53"/>
                </a:cubicBezTo>
                <a:cubicBezTo>
                  <a:pt x="2071" y="51"/>
                  <a:pt x="2071" y="51"/>
                  <a:pt x="2071" y="51"/>
                </a:cubicBezTo>
                <a:cubicBezTo>
                  <a:pt x="2069" y="52"/>
                  <a:pt x="2069" y="52"/>
                  <a:pt x="2069" y="52"/>
                </a:cubicBezTo>
                <a:cubicBezTo>
                  <a:pt x="2074" y="60"/>
                  <a:pt x="2074" y="60"/>
                  <a:pt x="2074" y="60"/>
                </a:cubicBezTo>
                <a:cubicBezTo>
                  <a:pt x="2075" y="65"/>
                  <a:pt x="2075" y="65"/>
                  <a:pt x="2075" y="65"/>
                </a:cubicBezTo>
                <a:cubicBezTo>
                  <a:pt x="2074" y="70"/>
                  <a:pt x="2074" y="70"/>
                  <a:pt x="2074" y="70"/>
                </a:cubicBezTo>
                <a:cubicBezTo>
                  <a:pt x="2071" y="73"/>
                  <a:pt x="2071" y="73"/>
                  <a:pt x="2071" y="73"/>
                </a:cubicBezTo>
                <a:cubicBezTo>
                  <a:pt x="2069" y="76"/>
                  <a:pt x="2069" y="76"/>
                  <a:pt x="2069" y="76"/>
                </a:cubicBezTo>
                <a:cubicBezTo>
                  <a:pt x="2069" y="77"/>
                  <a:pt x="2069" y="77"/>
                  <a:pt x="2069" y="77"/>
                </a:cubicBezTo>
                <a:cubicBezTo>
                  <a:pt x="2070" y="78"/>
                  <a:pt x="2070" y="78"/>
                  <a:pt x="2070" y="78"/>
                </a:cubicBezTo>
                <a:cubicBezTo>
                  <a:pt x="2071" y="81"/>
                  <a:pt x="2071" y="81"/>
                  <a:pt x="2071" y="81"/>
                </a:cubicBezTo>
                <a:cubicBezTo>
                  <a:pt x="2069" y="85"/>
                  <a:pt x="2069" y="85"/>
                  <a:pt x="2069" y="85"/>
                </a:cubicBezTo>
                <a:cubicBezTo>
                  <a:pt x="2069" y="88"/>
                  <a:pt x="2069" y="88"/>
                  <a:pt x="2069" y="88"/>
                </a:cubicBezTo>
                <a:cubicBezTo>
                  <a:pt x="2073" y="90"/>
                  <a:pt x="2073" y="90"/>
                  <a:pt x="2073" y="90"/>
                </a:cubicBezTo>
                <a:cubicBezTo>
                  <a:pt x="2078" y="94"/>
                  <a:pt x="2078" y="94"/>
                  <a:pt x="2078" y="94"/>
                </a:cubicBezTo>
                <a:cubicBezTo>
                  <a:pt x="2079" y="97"/>
                  <a:pt x="2079" y="97"/>
                  <a:pt x="2079" y="97"/>
                </a:cubicBezTo>
                <a:cubicBezTo>
                  <a:pt x="2082" y="97"/>
                  <a:pt x="2082" y="97"/>
                  <a:pt x="2082" y="97"/>
                </a:cubicBezTo>
                <a:cubicBezTo>
                  <a:pt x="2084" y="99"/>
                  <a:pt x="2084" y="99"/>
                  <a:pt x="2084" y="99"/>
                </a:cubicBezTo>
                <a:cubicBezTo>
                  <a:pt x="2086" y="103"/>
                  <a:pt x="2086" y="103"/>
                  <a:pt x="2086" y="103"/>
                </a:cubicBezTo>
                <a:cubicBezTo>
                  <a:pt x="2085" y="110"/>
                  <a:pt x="2085" y="110"/>
                  <a:pt x="2085" y="110"/>
                </a:cubicBezTo>
                <a:cubicBezTo>
                  <a:pt x="2084" y="112"/>
                  <a:pt x="2084" y="112"/>
                  <a:pt x="2084" y="112"/>
                </a:cubicBezTo>
                <a:cubicBezTo>
                  <a:pt x="2087" y="116"/>
                  <a:pt x="2087" y="116"/>
                  <a:pt x="2087" y="116"/>
                </a:cubicBezTo>
                <a:cubicBezTo>
                  <a:pt x="2086" y="120"/>
                  <a:pt x="2086" y="120"/>
                  <a:pt x="2086" y="120"/>
                </a:cubicBezTo>
                <a:cubicBezTo>
                  <a:pt x="2088" y="123"/>
                  <a:pt x="2088" y="123"/>
                  <a:pt x="2088" y="123"/>
                </a:cubicBezTo>
                <a:cubicBezTo>
                  <a:pt x="2091" y="127"/>
                  <a:pt x="2091" y="127"/>
                  <a:pt x="2091" y="127"/>
                </a:cubicBezTo>
                <a:cubicBezTo>
                  <a:pt x="2092" y="129"/>
                  <a:pt x="2092" y="129"/>
                  <a:pt x="2092" y="129"/>
                </a:cubicBezTo>
                <a:cubicBezTo>
                  <a:pt x="2091" y="132"/>
                  <a:pt x="2091" y="132"/>
                  <a:pt x="2091" y="132"/>
                </a:cubicBezTo>
                <a:cubicBezTo>
                  <a:pt x="2092" y="133"/>
                  <a:pt x="2092" y="133"/>
                  <a:pt x="2092" y="133"/>
                </a:cubicBezTo>
                <a:cubicBezTo>
                  <a:pt x="2095" y="134"/>
                  <a:pt x="2095" y="134"/>
                  <a:pt x="2095" y="134"/>
                </a:cubicBezTo>
                <a:cubicBezTo>
                  <a:pt x="2098" y="132"/>
                  <a:pt x="2098" y="132"/>
                  <a:pt x="2098" y="132"/>
                </a:cubicBezTo>
                <a:cubicBezTo>
                  <a:pt x="2102" y="133"/>
                  <a:pt x="2102" y="133"/>
                  <a:pt x="2102" y="133"/>
                </a:cubicBezTo>
                <a:cubicBezTo>
                  <a:pt x="2103" y="132"/>
                  <a:pt x="2103" y="132"/>
                  <a:pt x="2103" y="132"/>
                </a:cubicBezTo>
                <a:cubicBezTo>
                  <a:pt x="2104" y="129"/>
                  <a:pt x="2104" y="129"/>
                  <a:pt x="2104" y="129"/>
                </a:cubicBezTo>
                <a:cubicBezTo>
                  <a:pt x="2106" y="127"/>
                  <a:pt x="2106" y="127"/>
                  <a:pt x="2106" y="127"/>
                </a:cubicBezTo>
                <a:cubicBezTo>
                  <a:pt x="2109" y="127"/>
                  <a:pt x="2109" y="127"/>
                  <a:pt x="2109" y="127"/>
                </a:cubicBezTo>
                <a:cubicBezTo>
                  <a:pt x="2111" y="127"/>
                  <a:pt x="2111" y="127"/>
                  <a:pt x="2111" y="127"/>
                </a:cubicBezTo>
                <a:cubicBezTo>
                  <a:pt x="2114" y="129"/>
                  <a:pt x="2114" y="129"/>
                  <a:pt x="2114" y="129"/>
                </a:cubicBezTo>
                <a:cubicBezTo>
                  <a:pt x="2116" y="128"/>
                  <a:pt x="2116" y="128"/>
                  <a:pt x="2116" y="128"/>
                </a:cubicBezTo>
                <a:cubicBezTo>
                  <a:pt x="2118" y="131"/>
                  <a:pt x="2118" y="131"/>
                  <a:pt x="2118" y="131"/>
                </a:cubicBezTo>
                <a:cubicBezTo>
                  <a:pt x="2123" y="133"/>
                  <a:pt x="2123" y="133"/>
                  <a:pt x="2123" y="133"/>
                </a:cubicBezTo>
                <a:cubicBezTo>
                  <a:pt x="2126" y="132"/>
                  <a:pt x="2126" y="132"/>
                  <a:pt x="2126" y="132"/>
                </a:cubicBezTo>
                <a:cubicBezTo>
                  <a:pt x="2128" y="135"/>
                  <a:pt x="2128" y="135"/>
                  <a:pt x="2128" y="135"/>
                </a:cubicBezTo>
                <a:cubicBezTo>
                  <a:pt x="2128" y="137"/>
                  <a:pt x="2128" y="137"/>
                  <a:pt x="2128" y="137"/>
                </a:cubicBezTo>
                <a:cubicBezTo>
                  <a:pt x="2131" y="139"/>
                  <a:pt x="2131" y="139"/>
                  <a:pt x="2131" y="139"/>
                </a:cubicBezTo>
                <a:cubicBezTo>
                  <a:pt x="2132" y="140"/>
                  <a:pt x="2132" y="140"/>
                  <a:pt x="2132" y="140"/>
                </a:cubicBezTo>
                <a:cubicBezTo>
                  <a:pt x="2133" y="141"/>
                  <a:pt x="2133" y="141"/>
                  <a:pt x="2133" y="141"/>
                </a:cubicBezTo>
                <a:cubicBezTo>
                  <a:pt x="2133" y="142"/>
                  <a:pt x="2133" y="142"/>
                  <a:pt x="2133" y="142"/>
                </a:cubicBezTo>
                <a:cubicBezTo>
                  <a:pt x="2135" y="144"/>
                  <a:pt x="2135" y="144"/>
                  <a:pt x="2135" y="144"/>
                </a:cubicBezTo>
                <a:cubicBezTo>
                  <a:pt x="2133" y="145"/>
                  <a:pt x="2133" y="145"/>
                  <a:pt x="2133" y="145"/>
                </a:cubicBezTo>
                <a:cubicBezTo>
                  <a:pt x="2131" y="146"/>
                  <a:pt x="2131" y="146"/>
                  <a:pt x="2131" y="146"/>
                </a:cubicBezTo>
                <a:cubicBezTo>
                  <a:pt x="2131" y="149"/>
                  <a:pt x="2131" y="149"/>
                  <a:pt x="2131" y="149"/>
                </a:cubicBezTo>
                <a:cubicBezTo>
                  <a:pt x="2132" y="152"/>
                  <a:pt x="2132" y="152"/>
                  <a:pt x="2132" y="152"/>
                </a:cubicBezTo>
                <a:cubicBezTo>
                  <a:pt x="2134" y="153"/>
                  <a:pt x="2134" y="153"/>
                  <a:pt x="2134" y="153"/>
                </a:cubicBezTo>
                <a:cubicBezTo>
                  <a:pt x="2133" y="154"/>
                  <a:pt x="2133" y="154"/>
                  <a:pt x="2133" y="154"/>
                </a:cubicBezTo>
                <a:cubicBezTo>
                  <a:pt x="2134" y="156"/>
                  <a:pt x="2134" y="156"/>
                  <a:pt x="2134" y="156"/>
                </a:cubicBezTo>
                <a:cubicBezTo>
                  <a:pt x="2136" y="156"/>
                  <a:pt x="2136" y="156"/>
                  <a:pt x="2136" y="156"/>
                </a:cubicBezTo>
                <a:cubicBezTo>
                  <a:pt x="2138" y="158"/>
                  <a:pt x="2138" y="158"/>
                  <a:pt x="2138" y="158"/>
                </a:cubicBezTo>
                <a:cubicBezTo>
                  <a:pt x="2141" y="158"/>
                  <a:pt x="2141" y="158"/>
                  <a:pt x="2141" y="158"/>
                </a:cubicBezTo>
                <a:cubicBezTo>
                  <a:pt x="2142" y="155"/>
                  <a:pt x="2142" y="155"/>
                  <a:pt x="2142" y="155"/>
                </a:cubicBezTo>
                <a:cubicBezTo>
                  <a:pt x="2143" y="157"/>
                  <a:pt x="2143" y="157"/>
                  <a:pt x="2143" y="157"/>
                </a:cubicBezTo>
                <a:cubicBezTo>
                  <a:pt x="2145" y="156"/>
                  <a:pt x="2145" y="156"/>
                  <a:pt x="2145" y="156"/>
                </a:cubicBezTo>
                <a:cubicBezTo>
                  <a:pt x="2146" y="157"/>
                  <a:pt x="2146" y="157"/>
                  <a:pt x="2146" y="157"/>
                </a:cubicBezTo>
                <a:cubicBezTo>
                  <a:pt x="2145" y="157"/>
                  <a:pt x="2145" y="157"/>
                  <a:pt x="2145" y="157"/>
                </a:cubicBezTo>
                <a:cubicBezTo>
                  <a:pt x="2144" y="159"/>
                  <a:pt x="2144" y="159"/>
                  <a:pt x="2144" y="159"/>
                </a:cubicBezTo>
                <a:cubicBezTo>
                  <a:pt x="2141" y="159"/>
                  <a:pt x="2141" y="159"/>
                  <a:pt x="2141" y="159"/>
                </a:cubicBezTo>
                <a:cubicBezTo>
                  <a:pt x="2140" y="159"/>
                  <a:pt x="2140" y="159"/>
                  <a:pt x="2140" y="159"/>
                </a:cubicBezTo>
                <a:cubicBezTo>
                  <a:pt x="2137" y="160"/>
                  <a:pt x="2137" y="160"/>
                  <a:pt x="2137" y="160"/>
                </a:cubicBezTo>
                <a:cubicBezTo>
                  <a:pt x="2134" y="158"/>
                  <a:pt x="2134" y="158"/>
                  <a:pt x="2134" y="158"/>
                </a:cubicBezTo>
                <a:cubicBezTo>
                  <a:pt x="2132" y="158"/>
                  <a:pt x="2132" y="158"/>
                  <a:pt x="2132" y="158"/>
                </a:cubicBezTo>
                <a:cubicBezTo>
                  <a:pt x="2130" y="156"/>
                  <a:pt x="2130" y="156"/>
                  <a:pt x="2130" y="156"/>
                </a:cubicBezTo>
                <a:cubicBezTo>
                  <a:pt x="2131" y="155"/>
                  <a:pt x="2131" y="155"/>
                  <a:pt x="2131" y="155"/>
                </a:cubicBezTo>
                <a:cubicBezTo>
                  <a:pt x="2131" y="152"/>
                  <a:pt x="2131" y="152"/>
                  <a:pt x="2131" y="152"/>
                </a:cubicBezTo>
                <a:cubicBezTo>
                  <a:pt x="2129" y="150"/>
                  <a:pt x="2129" y="150"/>
                  <a:pt x="2129" y="150"/>
                </a:cubicBezTo>
                <a:cubicBezTo>
                  <a:pt x="2128" y="148"/>
                  <a:pt x="2128" y="148"/>
                  <a:pt x="2128" y="148"/>
                </a:cubicBezTo>
                <a:cubicBezTo>
                  <a:pt x="2127" y="146"/>
                  <a:pt x="2127" y="146"/>
                  <a:pt x="2127" y="146"/>
                </a:cubicBezTo>
                <a:cubicBezTo>
                  <a:pt x="2127" y="144"/>
                  <a:pt x="2127" y="144"/>
                  <a:pt x="2127" y="144"/>
                </a:cubicBezTo>
                <a:cubicBezTo>
                  <a:pt x="2124" y="141"/>
                  <a:pt x="2124" y="141"/>
                  <a:pt x="2124" y="141"/>
                </a:cubicBezTo>
                <a:cubicBezTo>
                  <a:pt x="2124" y="141"/>
                  <a:pt x="2124" y="141"/>
                  <a:pt x="2124" y="141"/>
                </a:cubicBezTo>
                <a:cubicBezTo>
                  <a:pt x="2123" y="139"/>
                  <a:pt x="2123" y="139"/>
                  <a:pt x="2123" y="139"/>
                </a:cubicBezTo>
                <a:cubicBezTo>
                  <a:pt x="2119" y="138"/>
                  <a:pt x="2119" y="138"/>
                  <a:pt x="2119" y="138"/>
                </a:cubicBezTo>
                <a:cubicBezTo>
                  <a:pt x="2119" y="135"/>
                  <a:pt x="2119" y="135"/>
                  <a:pt x="2119" y="135"/>
                </a:cubicBezTo>
                <a:cubicBezTo>
                  <a:pt x="2116" y="132"/>
                  <a:pt x="2116" y="132"/>
                  <a:pt x="2116" y="132"/>
                </a:cubicBezTo>
                <a:cubicBezTo>
                  <a:pt x="2113" y="132"/>
                  <a:pt x="2113" y="132"/>
                  <a:pt x="2113" y="132"/>
                </a:cubicBezTo>
                <a:cubicBezTo>
                  <a:pt x="2109" y="136"/>
                  <a:pt x="2109" y="136"/>
                  <a:pt x="2109" y="136"/>
                </a:cubicBezTo>
                <a:cubicBezTo>
                  <a:pt x="2107" y="136"/>
                  <a:pt x="2107" y="136"/>
                  <a:pt x="2107" y="136"/>
                </a:cubicBezTo>
                <a:cubicBezTo>
                  <a:pt x="2105" y="139"/>
                  <a:pt x="2105" y="139"/>
                  <a:pt x="2105" y="139"/>
                </a:cubicBezTo>
                <a:cubicBezTo>
                  <a:pt x="2102" y="141"/>
                  <a:pt x="2102" y="141"/>
                  <a:pt x="2102" y="141"/>
                </a:cubicBezTo>
                <a:cubicBezTo>
                  <a:pt x="2102" y="147"/>
                  <a:pt x="2102" y="147"/>
                  <a:pt x="2102" y="147"/>
                </a:cubicBezTo>
                <a:cubicBezTo>
                  <a:pt x="2103" y="149"/>
                  <a:pt x="2103" y="149"/>
                  <a:pt x="2103" y="149"/>
                </a:cubicBezTo>
                <a:cubicBezTo>
                  <a:pt x="2108" y="151"/>
                  <a:pt x="2108" y="151"/>
                  <a:pt x="2108" y="151"/>
                </a:cubicBezTo>
                <a:cubicBezTo>
                  <a:pt x="2111" y="159"/>
                  <a:pt x="2111" y="159"/>
                  <a:pt x="2111" y="159"/>
                </a:cubicBezTo>
                <a:cubicBezTo>
                  <a:pt x="2110" y="160"/>
                  <a:pt x="2110" y="160"/>
                  <a:pt x="2110" y="160"/>
                </a:cubicBezTo>
                <a:cubicBezTo>
                  <a:pt x="2107" y="166"/>
                  <a:pt x="2107" y="166"/>
                  <a:pt x="2107" y="166"/>
                </a:cubicBezTo>
                <a:cubicBezTo>
                  <a:pt x="2107" y="169"/>
                  <a:pt x="2107" y="169"/>
                  <a:pt x="2107" y="169"/>
                </a:cubicBezTo>
                <a:cubicBezTo>
                  <a:pt x="2108" y="172"/>
                  <a:pt x="2108" y="172"/>
                  <a:pt x="2108" y="172"/>
                </a:cubicBezTo>
                <a:cubicBezTo>
                  <a:pt x="2107" y="177"/>
                  <a:pt x="2107" y="177"/>
                  <a:pt x="2107" y="177"/>
                </a:cubicBezTo>
                <a:cubicBezTo>
                  <a:pt x="2106" y="179"/>
                  <a:pt x="2106" y="179"/>
                  <a:pt x="2106" y="179"/>
                </a:cubicBezTo>
                <a:cubicBezTo>
                  <a:pt x="2104" y="182"/>
                  <a:pt x="2104" y="182"/>
                  <a:pt x="2104" y="182"/>
                </a:cubicBezTo>
                <a:cubicBezTo>
                  <a:pt x="2103" y="183"/>
                  <a:pt x="2103" y="183"/>
                  <a:pt x="2103" y="183"/>
                </a:cubicBezTo>
                <a:cubicBezTo>
                  <a:pt x="2102" y="184"/>
                  <a:pt x="2102" y="184"/>
                  <a:pt x="2102" y="184"/>
                </a:cubicBezTo>
                <a:cubicBezTo>
                  <a:pt x="2100" y="186"/>
                  <a:pt x="2100" y="186"/>
                  <a:pt x="2100" y="186"/>
                </a:cubicBezTo>
                <a:cubicBezTo>
                  <a:pt x="2100" y="188"/>
                  <a:pt x="2100" y="188"/>
                  <a:pt x="2100" y="188"/>
                </a:cubicBezTo>
                <a:cubicBezTo>
                  <a:pt x="2101" y="190"/>
                  <a:pt x="2101" y="190"/>
                  <a:pt x="2101" y="190"/>
                </a:cubicBezTo>
                <a:cubicBezTo>
                  <a:pt x="2102" y="192"/>
                  <a:pt x="2102" y="192"/>
                  <a:pt x="2102" y="192"/>
                </a:cubicBezTo>
                <a:cubicBezTo>
                  <a:pt x="2099" y="194"/>
                  <a:pt x="2099" y="194"/>
                  <a:pt x="2099" y="194"/>
                </a:cubicBezTo>
                <a:cubicBezTo>
                  <a:pt x="2095" y="193"/>
                  <a:pt x="2095" y="193"/>
                  <a:pt x="2095" y="193"/>
                </a:cubicBezTo>
                <a:cubicBezTo>
                  <a:pt x="2094" y="192"/>
                  <a:pt x="2094" y="192"/>
                  <a:pt x="2094" y="192"/>
                </a:cubicBezTo>
                <a:cubicBezTo>
                  <a:pt x="2090" y="192"/>
                  <a:pt x="2090" y="192"/>
                  <a:pt x="2090" y="192"/>
                </a:cubicBezTo>
                <a:cubicBezTo>
                  <a:pt x="2087" y="192"/>
                  <a:pt x="2087" y="192"/>
                  <a:pt x="2087" y="192"/>
                </a:cubicBezTo>
                <a:cubicBezTo>
                  <a:pt x="2083" y="191"/>
                  <a:pt x="2083" y="191"/>
                  <a:pt x="2083" y="191"/>
                </a:cubicBezTo>
                <a:cubicBezTo>
                  <a:pt x="2076" y="190"/>
                  <a:pt x="2076" y="190"/>
                  <a:pt x="2076" y="190"/>
                </a:cubicBezTo>
                <a:cubicBezTo>
                  <a:pt x="2073" y="188"/>
                  <a:pt x="2073" y="188"/>
                  <a:pt x="2073" y="188"/>
                </a:cubicBezTo>
                <a:cubicBezTo>
                  <a:pt x="2072" y="186"/>
                  <a:pt x="2072" y="186"/>
                  <a:pt x="2072" y="186"/>
                </a:cubicBezTo>
                <a:cubicBezTo>
                  <a:pt x="2069" y="186"/>
                  <a:pt x="2069" y="186"/>
                  <a:pt x="2069" y="186"/>
                </a:cubicBezTo>
                <a:cubicBezTo>
                  <a:pt x="2068" y="188"/>
                  <a:pt x="2068" y="188"/>
                  <a:pt x="2068" y="188"/>
                </a:cubicBezTo>
                <a:cubicBezTo>
                  <a:pt x="2067" y="187"/>
                  <a:pt x="2067" y="187"/>
                  <a:pt x="2067" y="187"/>
                </a:cubicBezTo>
                <a:cubicBezTo>
                  <a:pt x="2066" y="187"/>
                  <a:pt x="2066" y="187"/>
                  <a:pt x="2066" y="187"/>
                </a:cubicBezTo>
                <a:cubicBezTo>
                  <a:pt x="2067" y="185"/>
                  <a:pt x="2067" y="185"/>
                  <a:pt x="2067" y="185"/>
                </a:cubicBezTo>
                <a:cubicBezTo>
                  <a:pt x="2070" y="184"/>
                  <a:pt x="2070" y="184"/>
                  <a:pt x="2070" y="184"/>
                </a:cubicBezTo>
                <a:cubicBezTo>
                  <a:pt x="2076" y="184"/>
                  <a:pt x="2076" y="184"/>
                  <a:pt x="2076" y="184"/>
                </a:cubicBezTo>
                <a:cubicBezTo>
                  <a:pt x="2077" y="182"/>
                  <a:pt x="2077" y="182"/>
                  <a:pt x="2077" y="182"/>
                </a:cubicBezTo>
                <a:cubicBezTo>
                  <a:pt x="2082" y="185"/>
                  <a:pt x="2082" y="185"/>
                  <a:pt x="2082" y="185"/>
                </a:cubicBezTo>
                <a:cubicBezTo>
                  <a:pt x="2083" y="185"/>
                  <a:pt x="2083" y="185"/>
                  <a:pt x="2083" y="185"/>
                </a:cubicBezTo>
                <a:cubicBezTo>
                  <a:pt x="2084" y="183"/>
                  <a:pt x="2084" y="183"/>
                  <a:pt x="2084" y="183"/>
                </a:cubicBezTo>
                <a:cubicBezTo>
                  <a:pt x="2086" y="183"/>
                  <a:pt x="2086" y="183"/>
                  <a:pt x="2086" y="183"/>
                </a:cubicBezTo>
                <a:cubicBezTo>
                  <a:pt x="2086" y="185"/>
                  <a:pt x="2086" y="185"/>
                  <a:pt x="2086" y="185"/>
                </a:cubicBezTo>
                <a:cubicBezTo>
                  <a:pt x="2083" y="187"/>
                  <a:pt x="2083" y="187"/>
                  <a:pt x="2083" y="187"/>
                </a:cubicBezTo>
                <a:cubicBezTo>
                  <a:pt x="2085" y="188"/>
                  <a:pt x="2085" y="188"/>
                  <a:pt x="2085" y="188"/>
                </a:cubicBezTo>
                <a:cubicBezTo>
                  <a:pt x="2088" y="188"/>
                  <a:pt x="2088" y="188"/>
                  <a:pt x="2088" y="188"/>
                </a:cubicBezTo>
                <a:cubicBezTo>
                  <a:pt x="2090" y="186"/>
                  <a:pt x="2090" y="186"/>
                  <a:pt x="2090" y="186"/>
                </a:cubicBezTo>
                <a:cubicBezTo>
                  <a:pt x="2092" y="185"/>
                  <a:pt x="2092" y="185"/>
                  <a:pt x="2092" y="185"/>
                </a:cubicBezTo>
                <a:cubicBezTo>
                  <a:pt x="2092" y="183"/>
                  <a:pt x="2092" y="183"/>
                  <a:pt x="2092" y="183"/>
                </a:cubicBezTo>
                <a:cubicBezTo>
                  <a:pt x="2090" y="181"/>
                  <a:pt x="2090" y="181"/>
                  <a:pt x="2090" y="181"/>
                </a:cubicBezTo>
                <a:cubicBezTo>
                  <a:pt x="2090" y="180"/>
                  <a:pt x="2090" y="180"/>
                  <a:pt x="2090" y="180"/>
                </a:cubicBezTo>
                <a:cubicBezTo>
                  <a:pt x="2092" y="181"/>
                  <a:pt x="2092" y="181"/>
                  <a:pt x="2092" y="181"/>
                </a:cubicBezTo>
                <a:cubicBezTo>
                  <a:pt x="2093" y="180"/>
                  <a:pt x="2093" y="180"/>
                  <a:pt x="2093" y="180"/>
                </a:cubicBezTo>
                <a:cubicBezTo>
                  <a:pt x="2093" y="176"/>
                  <a:pt x="2093" y="176"/>
                  <a:pt x="2093" y="176"/>
                </a:cubicBezTo>
                <a:cubicBezTo>
                  <a:pt x="2096" y="174"/>
                  <a:pt x="2096" y="174"/>
                  <a:pt x="2096" y="174"/>
                </a:cubicBezTo>
                <a:cubicBezTo>
                  <a:pt x="2095" y="173"/>
                  <a:pt x="2095" y="173"/>
                  <a:pt x="2095" y="173"/>
                </a:cubicBezTo>
                <a:cubicBezTo>
                  <a:pt x="2094" y="173"/>
                  <a:pt x="2094" y="173"/>
                  <a:pt x="2094" y="173"/>
                </a:cubicBezTo>
                <a:cubicBezTo>
                  <a:pt x="2093" y="173"/>
                  <a:pt x="2093" y="173"/>
                  <a:pt x="2093" y="173"/>
                </a:cubicBezTo>
                <a:cubicBezTo>
                  <a:pt x="2096" y="171"/>
                  <a:pt x="2096" y="171"/>
                  <a:pt x="2096" y="171"/>
                </a:cubicBezTo>
                <a:cubicBezTo>
                  <a:pt x="2096" y="167"/>
                  <a:pt x="2096" y="167"/>
                  <a:pt x="2096" y="167"/>
                </a:cubicBezTo>
                <a:cubicBezTo>
                  <a:pt x="2095" y="166"/>
                  <a:pt x="2095" y="166"/>
                  <a:pt x="2095" y="166"/>
                </a:cubicBezTo>
                <a:cubicBezTo>
                  <a:pt x="2096" y="164"/>
                  <a:pt x="2096" y="164"/>
                  <a:pt x="2096" y="164"/>
                </a:cubicBezTo>
                <a:cubicBezTo>
                  <a:pt x="2096" y="163"/>
                  <a:pt x="2096" y="163"/>
                  <a:pt x="2096" y="163"/>
                </a:cubicBezTo>
                <a:cubicBezTo>
                  <a:pt x="2098" y="162"/>
                  <a:pt x="2098" y="162"/>
                  <a:pt x="2098" y="162"/>
                </a:cubicBezTo>
                <a:cubicBezTo>
                  <a:pt x="2098" y="158"/>
                  <a:pt x="2098" y="158"/>
                  <a:pt x="2098" y="158"/>
                </a:cubicBezTo>
                <a:cubicBezTo>
                  <a:pt x="2095" y="156"/>
                  <a:pt x="2095" y="156"/>
                  <a:pt x="2095" y="156"/>
                </a:cubicBezTo>
                <a:cubicBezTo>
                  <a:pt x="2094" y="152"/>
                  <a:pt x="2094" y="152"/>
                  <a:pt x="2094" y="152"/>
                </a:cubicBezTo>
                <a:cubicBezTo>
                  <a:pt x="2095" y="150"/>
                  <a:pt x="2095" y="150"/>
                  <a:pt x="2095" y="150"/>
                </a:cubicBezTo>
                <a:cubicBezTo>
                  <a:pt x="2095" y="147"/>
                  <a:pt x="2095" y="147"/>
                  <a:pt x="2095" y="147"/>
                </a:cubicBezTo>
                <a:cubicBezTo>
                  <a:pt x="2096" y="148"/>
                  <a:pt x="2096" y="148"/>
                  <a:pt x="2096" y="148"/>
                </a:cubicBezTo>
                <a:cubicBezTo>
                  <a:pt x="2096" y="146"/>
                  <a:pt x="2096" y="146"/>
                  <a:pt x="2096" y="146"/>
                </a:cubicBezTo>
                <a:cubicBezTo>
                  <a:pt x="2093" y="143"/>
                  <a:pt x="2093" y="143"/>
                  <a:pt x="2093" y="143"/>
                </a:cubicBezTo>
                <a:cubicBezTo>
                  <a:pt x="2091" y="143"/>
                  <a:pt x="2091" y="143"/>
                  <a:pt x="2091" y="143"/>
                </a:cubicBezTo>
                <a:cubicBezTo>
                  <a:pt x="2090" y="141"/>
                  <a:pt x="2090" y="141"/>
                  <a:pt x="2090" y="141"/>
                </a:cubicBezTo>
                <a:cubicBezTo>
                  <a:pt x="2087" y="140"/>
                  <a:pt x="2087" y="140"/>
                  <a:pt x="2087" y="140"/>
                </a:cubicBezTo>
                <a:cubicBezTo>
                  <a:pt x="2083" y="135"/>
                  <a:pt x="2083" y="135"/>
                  <a:pt x="2083" y="135"/>
                </a:cubicBezTo>
                <a:cubicBezTo>
                  <a:pt x="2082" y="131"/>
                  <a:pt x="2082" y="131"/>
                  <a:pt x="2082" y="131"/>
                </a:cubicBezTo>
                <a:cubicBezTo>
                  <a:pt x="2081" y="130"/>
                  <a:pt x="2081" y="130"/>
                  <a:pt x="2081" y="130"/>
                </a:cubicBezTo>
                <a:cubicBezTo>
                  <a:pt x="2082" y="128"/>
                  <a:pt x="2082" y="128"/>
                  <a:pt x="2082" y="128"/>
                </a:cubicBezTo>
                <a:cubicBezTo>
                  <a:pt x="2079" y="126"/>
                  <a:pt x="2079" y="126"/>
                  <a:pt x="2079" y="126"/>
                </a:cubicBezTo>
                <a:cubicBezTo>
                  <a:pt x="2078" y="124"/>
                  <a:pt x="2078" y="124"/>
                  <a:pt x="2078" y="124"/>
                </a:cubicBezTo>
                <a:cubicBezTo>
                  <a:pt x="2079" y="122"/>
                  <a:pt x="2079" y="122"/>
                  <a:pt x="2079" y="122"/>
                </a:cubicBezTo>
                <a:cubicBezTo>
                  <a:pt x="2076" y="117"/>
                  <a:pt x="2076" y="117"/>
                  <a:pt x="2076" y="117"/>
                </a:cubicBezTo>
                <a:cubicBezTo>
                  <a:pt x="2076" y="114"/>
                  <a:pt x="2076" y="114"/>
                  <a:pt x="2076" y="114"/>
                </a:cubicBezTo>
                <a:cubicBezTo>
                  <a:pt x="2074" y="112"/>
                  <a:pt x="2074" y="112"/>
                  <a:pt x="2074" y="112"/>
                </a:cubicBezTo>
                <a:cubicBezTo>
                  <a:pt x="2074" y="110"/>
                  <a:pt x="2074" y="110"/>
                  <a:pt x="2074" y="110"/>
                </a:cubicBezTo>
                <a:cubicBezTo>
                  <a:pt x="2074" y="109"/>
                  <a:pt x="2074" y="109"/>
                  <a:pt x="2074" y="109"/>
                </a:cubicBezTo>
                <a:cubicBezTo>
                  <a:pt x="2073" y="107"/>
                  <a:pt x="2073" y="107"/>
                  <a:pt x="2073" y="107"/>
                </a:cubicBezTo>
                <a:cubicBezTo>
                  <a:pt x="2072" y="101"/>
                  <a:pt x="2072" y="101"/>
                  <a:pt x="2072" y="101"/>
                </a:cubicBezTo>
                <a:cubicBezTo>
                  <a:pt x="2071" y="99"/>
                  <a:pt x="2071" y="99"/>
                  <a:pt x="2071" y="99"/>
                </a:cubicBezTo>
                <a:cubicBezTo>
                  <a:pt x="2068" y="97"/>
                  <a:pt x="2068" y="97"/>
                  <a:pt x="2068" y="97"/>
                </a:cubicBezTo>
                <a:cubicBezTo>
                  <a:pt x="2067" y="93"/>
                  <a:pt x="2067" y="93"/>
                  <a:pt x="2067" y="93"/>
                </a:cubicBezTo>
                <a:cubicBezTo>
                  <a:pt x="2066" y="92"/>
                  <a:pt x="2066" y="92"/>
                  <a:pt x="2066" y="92"/>
                </a:cubicBezTo>
                <a:cubicBezTo>
                  <a:pt x="2065" y="93"/>
                  <a:pt x="2065" y="93"/>
                  <a:pt x="2065" y="93"/>
                </a:cubicBezTo>
                <a:cubicBezTo>
                  <a:pt x="2065" y="92"/>
                  <a:pt x="2065" y="92"/>
                  <a:pt x="2065" y="92"/>
                </a:cubicBezTo>
                <a:cubicBezTo>
                  <a:pt x="2062" y="92"/>
                  <a:pt x="2062" y="92"/>
                  <a:pt x="2062" y="92"/>
                </a:cubicBezTo>
                <a:cubicBezTo>
                  <a:pt x="2061" y="89"/>
                  <a:pt x="2061" y="89"/>
                  <a:pt x="2061" y="89"/>
                </a:cubicBezTo>
                <a:cubicBezTo>
                  <a:pt x="2059" y="87"/>
                  <a:pt x="2059" y="87"/>
                  <a:pt x="2059" y="87"/>
                </a:cubicBezTo>
                <a:cubicBezTo>
                  <a:pt x="2058" y="85"/>
                  <a:pt x="2058" y="85"/>
                  <a:pt x="2058" y="85"/>
                </a:cubicBezTo>
                <a:cubicBezTo>
                  <a:pt x="2059" y="84"/>
                  <a:pt x="2059" y="84"/>
                  <a:pt x="2059" y="84"/>
                </a:cubicBezTo>
                <a:cubicBezTo>
                  <a:pt x="2060" y="82"/>
                  <a:pt x="2060" y="82"/>
                  <a:pt x="2060" y="82"/>
                </a:cubicBezTo>
                <a:cubicBezTo>
                  <a:pt x="2059" y="80"/>
                  <a:pt x="2059" y="80"/>
                  <a:pt x="2059" y="80"/>
                </a:cubicBezTo>
                <a:cubicBezTo>
                  <a:pt x="2059" y="79"/>
                  <a:pt x="2059" y="79"/>
                  <a:pt x="2059" y="79"/>
                </a:cubicBezTo>
                <a:cubicBezTo>
                  <a:pt x="2058" y="77"/>
                  <a:pt x="2058" y="77"/>
                  <a:pt x="2058" y="77"/>
                </a:cubicBezTo>
                <a:cubicBezTo>
                  <a:pt x="2059" y="72"/>
                  <a:pt x="2059" y="72"/>
                  <a:pt x="2059" y="72"/>
                </a:cubicBezTo>
                <a:cubicBezTo>
                  <a:pt x="2058" y="69"/>
                  <a:pt x="2058" y="69"/>
                  <a:pt x="2058" y="69"/>
                </a:cubicBezTo>
                <a:cubicBezTo>
                  <a:pt x="2058" y="65"/>
                  <a:pt x="2058" y="65"/>
                  <a:pt x="2058" y="65"/>
                </a:cubicBezTo>
                <a:cubicBezTo>
                  <a:pt x="2057" y="64"/>
                  <a:pt x="2057" y="64"/>
                  <a:pt x="2057" y="64"/>
                </a:cubicBezTo>
                <a:cubicBezTo>
                  <a:pt x="2057" y="62"/>
                  <a:pt x="2057" y="62"/>
                  <a:pt x="2057" y="62"/>
                </a:cubicBezTo>
                <a:cubicBezTo>
                  <a:pt x="2055" y="59"/>
                  <a:pt x="2055" y="59"/>
                  <a:pt x="2055" y="59"/>
                </a:cubicBezTo>
                <a:cubicBezTo>
                  <a:pt x="2057" y="59"/>
                  <a:pt x="2057" y="59"/>
                  <a:pt x="2057" y="59"/>
                </a:cubicBezTo>
                <a:cubicBezTo>
                  <a:pt x="2056" y="57"/>
                  <a:pt x="2056" y="57"/>
                  <a:pt x="2056" y="57"/>
                </a:cubicBezTo>
                <a:cubicBezTo>
                  <a:pt x="2054" y="56"/>
                  <a:pt x="2054" y="56"/>
                  <a:pt x="2054" y="56"/>
                </a:cubicBezTo>
                <a:cubicBezTo>
                  <a:pt x="2051" y="56"/>
                  <a:pt x="2051" y="56"/>
                  <a:pt x="2051" y="56"/>
                </a:cubicBezTo>
                <a:cubicBezTo>
                  <a:pt x="2045" y="54"/>
                  <a:pt x="2045" y="54"/>
                  <a:pt x="2045" y="54"/>
                </a:cubicBezTo>
                <a:cubicBezTo>
                  <a:pt x="2043" y="54"/>
                  <a:pt x="2043" y="54"/>
                  <a:pt x="2043" y="54"/>
                </a:cubicBezTo>
                <a:cubicBezTo>
                  <a:pt x="2042" y="55"/>
                  <a:pt x="2042" y="55"/>
                  <a:pt x="2042" y="55"/>
                </a:cubicBezTo>
                <a:cubicBezTo>
                  <a:pt x="2040" y="54"/>
                  <a:pt x="2040" y="54"/>
                  <a:pt x="2040" y="54"/>
                </a:cubicBezTo>
                <a:cubicBezTo>
                  <a:pt x="2038" y="54"/>
                  <a:pt x="2038" y="54"/>
                  <a:pt x="2038" y="54"/>
                </a:cubicBezTo>
                <a:cubicBezTo>
                  <a:pt x="2036" y="55"/>
                  <a:pt x="2036" y="55"/>
                  <a:pt x="2036" y="55"/>
                </a:cubicBezTo>
                <a:cubicBezTo>
                  <a:pt x="2033" y="55"/>
                  <a:pt x="2033" y="55"/>
                  <a:pt x="2033" y="55"/>
                </a:cubicBezTo>
                <a:cubicBezTo>
                  <a:pt x="2031" y="56"/>
                  <a:pt x="2031" y="56"/>
                  <a:pt x="2031" y="56"/>
                </a:cubicBezTo>
                <a:cubicBezTo>
                  <a:pt x="2030" y="55"/>
                  <a:pt x="2030" y="55"/>
                  <a:pt x="2030" y="55"/>
                </a:cubicBezTo>
                <a:cubicBezTo>
                  <a:pt x="2031" y="54"/>
                  <a:pt x="2031" y="54"/>
                  <a:pt x="2031" y="54"/>
                </a:cubicBezTo>
                <a:cubicBezTo>
                  <a:pt x="2029" y="54"/>
                  <a:pt x="2029" y="54"/>
                  <a:pt x="2029" y="54"/>
                </a:cubicBezTo>
                <a:cubicBezTo>
                  <a:pt x="2027" y="54"/>
                  <a:pt x="2027" y="54"/>
                  <a:pt x="2027" y="54"/>
                </a:cubicBezTo>
                <a:cubicBezTo>
                  <a:pt x="2028" y="58"/>
                  <a:pt x="2028" y="58"/>
                  <a:pt x="2028" y="58"/>
                </a:cubicBezTo>
                <a:cubicBezTo>
                  <a:pt x="2027" y="62"/>
                  <a:pt x="2027" y="62"/>
                  <a:pt x="2027" y="62"/>
                </a:cubicBezTo>
                <a:cubicBezTo>
                  <a:pt x="2029" y="64"/>
                  <a:pt x="2029" y="64"/>
                  <a:pt x="2029" y="64"/>
                </a:cubicBezTo>
                <a:cubicBezTo>
                  <a:pt x="2028" y="65"/>
                  <a:pt x="2028" y="65"/>
                  <a:pt x="2028" y="65"/>
                </a:cubicBezTo>
                <a:cubicBezTo>
                  <a:pt x="2027" y="69"/>
                  <a:pt x="2027" y="69"/>
                  <a:pt x="2027" y="69"/>
                </a:cubicBezTo>
                <a:cubicBezTo>
                  <a:pt x="2028" y="70"/>
                  <a:pt x="2028" y="70"/>
                  <a:pt x="2028" y="70"/>
                </a:cubicBezTo>
                <a:cubicBezTo>
                  <a:pt x="2028" y="72"/>
                  <a:pt x="2028" y="72"/>
                  <a:pt x="2028" y="72"/>
                </a:cubicBezTo>
                <a:cubicBezTo>
                  <a:pt x="2029" y="74"/>
                  <a:pt x="2029" y="74"/>
                  <a:pt x="2029" y="74"/>
                </a:cubicBezTo>
                <a:cubicBezTo>
                  <a:pt x="2028" y="75"/>
                  <a:pt x="2028" y="75"/>
                  <a:pt x="2028" y="75"/>
                </a:cubicBezTo>
                <a:cubicBezTo>
                  <a:pt x="2028" y="78"/>
                  <a:pt x="2028" y="78"/>
                  <a:pt x="2028" y="78"/>
                </a:cubicBezTo>
                <a:cubicBezTo>
                  <a:pt x="2030" y="81"/>
                  <a:pt x="2030" y="81"/>
                  <a:pt x="2030" y="81"/>
                </a:cubicBezTo>
                <a:cubicBezTo>
                  <a:pt x="2029" y="83"/>
                  <a:pt x="2029" y="83"/>
                  <a:pt x="2029" y="83"/>
                </a:cubicBezTo>
                <a:cubicBezTo>
                  <a:pt x="2029" y="85"/>
                  <a:pt x="2029" y="85"/>
                  <a:pt x="2029" y="85"/>
                </a:cubicBezTo>
                <a:cubicBezTo>
                  <a:pt x="2030" y="88"/>
                  <a:pt x="2030" y="88"/>
                  <a:pt x="2030" y="88"/>
                </a:cubicBezTo>
                <a:cubicBezTo>
                  <a:pt x="2029" y="89"/>
                  <a:pt x="2029" y="89"/>
                  <a:pt x="2029" y="89"/>
                </a:cubicBezTo>
                <a:cubicBezTo>
                  <a:pt x="2027" y="90"/>
                  <a:pt x="2027" y="90"/>
                  <a:pt x="2027" y="90"/>
                </a:cubicBezTo>
                <a:cubicBezTo>
                  <a:pt x="2023" y="96"/>
                  <a:pt x="2023" y="96"/>
                  <a:pt x="2023" y="96"/>
                </a:cubicBezTo>
                <a:cubicBezTo>
                  <a:pt x="2022" y="97"/>
                  <a:pt x="2022" y="97"/>
                  <a:pt x="2022" y="97"/>
                </a:cubicBezTo>
                <a:cubicBezTo>
                  <a:pt x="2022" y="99"/>
                  <a:pt x="2022" y="99"/>
                  <a:pt x="2022" y="99"/>
                </a:cubicBezTo>
                <a:cubicBezTo>
                  <a:pt x="2024" y="101"/>
                  <a:pt x="2024" y="101"/>
                  <a:pt x="2024" y="101"/>
                </a:cubicBezTo>
                <a:cubicBezTo>
                  <a:pt x="2023" y="102"/>
                  <a:pt x="2023" y="102"/>
                  <a:pt x="2023" y="102"/>
                </a:cubicBezTo>
                <a:cubicBezTo>
                  <a:pt x="2022" y="106"/>
                  <a:pt x="2022" y="106"/>
                  <a:pt x="2022" y="106"/>
                </a:cubicBezTo>
                <a:cubicBezTo>
                  <a:pt x="2025" y="108"/>
                  <a:pt x="2025" y="108"/>
                  <a:pt x="2025" y="108"/>
                </a:cubicBezTo>
                <a:cubicBezTo>
                  <a:pt x="2026" y="107"/>
                  <a:pt x="2026" y="107"/>
                  <a:pt x="2026" y="107"/>
                </a:cubicBezTo>
                <a:cubicBezTo>
                  <a:pt x="2027" y="108"/>
                  <a:pt x="2027" y="108"/>
                  <a:pt x="2027" y="108"/>
                </a:cubicBezTo>
                <a:cubicBezTo>
                  <a:pt x="2029" y="112"/>
                  <a:pt x="2029" y="112"/>
                  <a:pt x="2029" y="112"/>
                </a:cubicBezTo>
                <a:cubicBezTo>
                  <a:pt x="2031" y="112"/>
                  <a:pt x="2031" y="112"/>
                  <a:pt x="2031" y="112"/>
                </a:cubicBezTo>
                <a:cubicBezTo>
                  <a:pt x="2033" y="114"/>
                  <a:pt x="2033" y="114"/>
                  <a:pt x="2033" y="114"/>
                </a:cubicBezTo>
                <a:cubicBezTo>
                  <a:pt x="2032" y="114"/>
                  <a:pt x="2032" y="114"/>
                  <a:pt x="2032" y="114"/>
                </a:cubicBezTo>
                <a:cubicBezTo>
                  <a:pt x="2030" y="115"/>
                  <a:pt x="2030" y="115"/>
                  <a:pt x="2030" y="115"/>
                </a:cubicBezTo>
                <a:cubicBezTo>
                  <a:pt x="2030" y="118"/>
                  <a:pt x="2030" y="118"/>
                  <a:pt x="2030" y="118"/>
                </a:cubicBezTo>
                <a:cubicBezTo>
                  <a:pt x="2033" y="120"/>
                  <a:pt x="2033" y="120"/>
                  <a:pt x="2033" y="120"/>
                </a:cubicBezTo>
                <a:cubicBezTo>
                  <a:pt x="2033" y="122"/>
                  <a:pt x="2033" y="122"/>
                  <a:pt x="2033" y="122"/>
                </a:cubicBezTo>
                <a:cubicBezTo>
                  <a:pt x="2032" y="124"/>
                  <a:pt x="2032" y="124"/>
                  <a:pt x="2032" y="124"/>
                </a:cubicBezTo>
                <a:cubicBezTo>
                  <a:pt x="2030" y="123"/>
                  <a:pt x="2030" y="123"/>
                  <a:pt x="2030" y="123"/>
                </a:cubicBezTo>
                <a:cubicBezTo>
                  <a:pt x="2030" y="124"/>
                  <a:pt x="2030" y="124"/>
                  <a:pt x="2030" y="124"/>
                </a:cubicBezTo>
                <a:cubicBezTo>
                  <a:pt x="2032" y="129"/>
                  <a:pt x="2032" y="129"/>
                  <a:pt x="2032" y="129"/>
                </a:cubicBezTo>
                <a:cubicBezTo>
                  <a:pt x="2034" y="130"/>
                  <a:pt x="2034" y="130"/>
                  <a:pt x="2034" y="130"/>
                </a:cubicBezTo>
                <a:cubicBezTo>
                  <a:pt x="2034" y="134"/>
                  <a:pt x="2034" y="134"/>
                  <a:pt x="2034" y="134"/>
                </a:cubicBezTo>
                <a:cubicBezTo>
                  <a:pt x="2035" y="132"/>
                  <a:pt x="2035" y="132"/>
                  <a:pt x="2035" y="132"/>
                </a:cubicBezTo>
                <a:cubicBezTo>
                  <a:pt x="2037" y="133"/>
                  <a:pt x="2037" y="133"/>
                  <a:pt x="2037" y="133"/>
                </a:cubicBezTo>
                <a:cubicBezTo>
                  <a:pt x="2039" y="133"/>
                  <a:pt x="2039" y="133"/>
                  <a:pt x="2039" y="133"/>
                </a:cubicBezTo>
                <a:cubicBezTo>
                  <a:pt x="2042" y="135"/>
                  <a:pt x="2042" y="135"/>
                  <a:pt x="2042" y="135"/>
                </a:cubicBezTo>
                <a:cubicBezTo>
                  <a:pt x="2044" y="132"/>
                  <a:pt x="2044" y="132"/>
                  <a:pt x="2044" y="132"/>
                </a:cubicBezTo>
                <a:cubicBezTo>
                  <a:pt x="2045" y="133"/>
                  <a:pt x="2045" y="133"/>
                  <a:pt x="2045" y="133"/>
                </a:cubicBezTo>
                <a:cubicBezTo>
                  <a:pt x="2045" y="137"/>
                  <a:pt x="2045" y="137"/>
                  <a:pt x="2045" y="137"/>
                </a:cubicBezTo>
                <a:cubicBezTo>
                  <a:pt x="2046" y="139"/>
                  <a:pt x="2046" y="139"/>
                  <a:pt x="2046" y="139"/>
                </a:cubicBezTo>
                <a:cubicBezTo>
                  <a:pt x="2047" y="139"/>
                  <a:pt x="2047" y="139"/>
                  <a:pt x="2047" y="139"/>
                </a:cubicBezTo>
                <a:cubicBezTo>
                  <a:pt x="2051" y="144"/>
                  <a:pt x="2051" y="144"/>
                  <a:pt x="2051" y="144"/>
                </a:cubicBezTo>
                <a:cubicBezTo>
                  <a:pt x="2053" y="144"/>
                  <a:pt x="2053" y="144"/>
                  <a:pt x="2053" y="144"/>
                </a:cubicBezTo>
                <a:cubicBezTo>
                  <a:pt x="2055" y="143"/>
                  <a:pt x="2055" y="143"/>
                  <a:pt x="2055" y="143"/>
                </a:cubicBezTo>
                <a:cubicBezTo>
                  <a:pt x="2057" y="143"/>
                  <a:pt x="2057" y="143"/>
                  <a:pt x="2057" y="143"/>
                </a:cubicBezTo>
                <a:cubicBezTo>
                  <a:pt x="2057" y="144"/>
                  <a:pt x="2057" y="144"/>
                  <a:pt x="2057" y="144"/>
                </a:cubicBezTo>
                <a:cubicBezTo>
                  <a:pt x="2059" y="144"/>
                  <a:pt x="2059" y="144"/>
                  <a:pt x="2059" y="144"/>
                </a:cubicBezTo>
                <a:cubicBezTo>
                  <a:pt x="2057" y="145"/>
                  <a:pt x="2057" y="145"/>
                  <a:pt x="2057" y="145"/>
                </a:cubicBezTo>
                <a:cubicBezTo>
                  <a:pt x="2057" y="151"/>
                  <a:pt x="2057" y="151"/>
                  <a:pt x="2057" y="151"/>
                </a:cubicBezTo>
                <a:cubicBezTo>
                  <a:pt x="2057" y="152"/>
                  <a:pt x="2057" y="152"/>
                  <a:pt x="2057" y="152"/>
                </a:cubicBezTo>
                <a:cubicBezTo>
                  <a:pt x="2058" y="154"/>
                  <a:pt x="2058" y="154"/>
                  <a:pt x="2058" y="154"/>
                </a:cubicBezTo>
                <a:cubicBezTo>
                  <a:pt x="2058" y="155"/>
                  <a:pt x="2058" y="155"/>
                  <a:pt x="2058" y="155"/>
                </a:cubicBezTo>
                <a:cubicBezTo>
                  <a:pt x="2056" y="156"/>
                  <a:pt x="2056" y="156"/>
                  <a:pt x="2056" y="156"/>
                </a:cubicBezTo>
                <a:cubicBezTo>
                  <a:pt x="2057" y="158"/>
                  <a:pt x="2057" y="158"/>
                  <a:pt x="2057" y="158"/>
                </a:cubicBezTo>
                <a:cubicBezTo>
                  <a:pt x="2057" y="160"/>
                  <a:pt x="2057" y="160"/>
                  <a:pt x="2057" y="160"/>
                </a:cubicBezTo>
                <a:cubicBezTo>
                  <a:pt x="2055" y="159"/>
                  <a:pt x="2055" y="159"/>
                  <a:pt x="2055" y="159"/>
                </a:cubicBezTo>
                <a:cubicBezTo>
                  <a:pt x="2052" y="155"/>
                  <a:pt x="2052" y="155"/>
                  <a:pt x="2052" y="155"/>
                </a:cubicBezTo>
                <a:cubicBezTo>
                  <a:pt x="2050" y="153"/>
                  <a:pt x="2050" y="153"/>
                  <a:pt x="2050" y="153"/>
                </a:cubicBezTo>
                <a:cubicBezTo>
                  <a:pt x="2046" y="152"/>
                  <a:pt x="2046" y="152"/>
                  <a:pt x="2046" y="152"/>
                </a:cubicBezTo>
                <a:cubicBezTo>
                  <a:pt x="2045" y="149"/>
                  <a:pt x="2045" y="149"/>
                  <a:pt x="2045" y="149"/>
                </a:cubicBezTo>
                <a:cubicBezTo>
                  <a:pt x="2043" y="147"/>
                  <a:pt x="2043" y="147"/>
                  <a:pt x="2043" y="147"/>
                </a:cubicBezTo>
                <a:cubicBezTo>
                  <a:pt x="2038" y="147"/>
                  <a:pt x="2038" y="147"/>
                  <a:pt x="2038" y="147"/>
                </a:cubicBezTo>
                <a:cubicBezTo>
                  <a:pt x="2032" y="144"/>
                  <a:pt x="2032" y="144"/>
                  <a:pt x="2032" y="144"/>
                </a:cubicBezTo>
                <a:cubicBezTo>
                  <a:pt x="2029" y="143"/>
                  <a:pt x="2029" y="143"/>
                  <a:pt x="2029" y="143"/>
                </a:cubicBezTo>
                <a:cubicBezTo>
                  <a:pt x="2028" y="141"/>
                  <a:pt x="2028" y="141"/>
                  <a:pt x="2028" y="141"/>
                </a:cubicBezTo>
                <a:cubicBezTo>
                  <a:pt x="2027" y="141"/>
                  <a:pt x="2027" y="141"/>
                  <a:pt x="2027" y="141"/>
                </a:cubicBezTo>
                <a:cubicBezTo>
                  <a:pt x="2025" y="140"/>
                  <a:pt x="2025" y="140"/>
                  <a:pt x="2025" y="140"/>
                </a:cubicBezTo>
                <a:cubicBezTo>
                  <a:pt x="2022" y="141"/>
                  <a:pt x="2022" y="141"/>
                  <a:pt x="2022" y="141"/>
                </a:cubicBezTo>
                <a:cubicBezTo>
                  <a:pt x="2020" y="142"/>
                  <a:pt x="2020" y="142"/>
                  <a:pt x="2020" y="142"/>
                </a:cubicBezTo>
                <a:cubicBezTo>
                  <a:pt x="2019" y="140"/>
                  <a:pt x="2019" y="140"/>
                  <a:pt x="2019" y="140"/>
                </a:cubicBezTo>
                <a:cubicBezTo>
                  <a:pt x="2020" y="139"/>
                  <a:pt x="2020" y="139"/>
                  <a:pt x="2020" y="139"/>
                </a:cubicBezTo>
                <a:cubicBezTo>
                  <a:pt x="2019" y="138"/>
                  <a:pt x="2019" y="138"/>
                  <a:pt x="2019" y="138"/>
                </a:cubicBezTo>
                <a:cubicBezTo>
                  <a:pt x="2013" y="135"/>
                  <a:pt x="2013" y="135"/>
                  <a:pt x="2013" y="135"/>
                </a:cubicBezTo>
                <a:cubicBezTo>
                  <a:pt x="2010" y="133"/>
                  <a:pt x="2010" y="133"/>
                  <a:pt x="2010" y="133"/>
                </a:cubicBezTo>
                <a:cubicBezTo>
                  <a:pt x="2000" y="133"/>
                  <a:pt x="2000" y="133"/>
                  <a:pt x="2000" y="133"/>
                </a:cubicBezTo>
                <a:cubicBezTo>
                  <a:pt x="1993" y="134"/>
                  <a:pt x="1993" y="134"/>
                  <a:pt x="1993" y="134"/>
                </a:cubicBezTo>
                <a:cubicBezTo>
                  <a:pt x="1991" y="133"/>
                  <a:pt x="1991" y="133"/>
                  <a:pt x="1991" y="133"/>
                </a:cubicBezTo>
                <a:cubicBezTo>
                  <a:pt x="1989" y="134"/>
                  <a:pt x="1989" y="134"/>
                  <a:pt x="1989" y="134"/>
                </a:cubicBezTo>
                <a:cubicBezTo>
                  <a:pt x="1987" y="133"/>
                  <a:pt x="1987" y="133"/>
                  <a:pt x="1987" y="133"/>
                </a:cubicBezTo>
                <a:cubicBezTo>
                  <a:pt x="1986" y="133"/>
                  <a:pt x="1986" y="133"/>
                  <a:pt x="1986" y="133"/>
                </a:cubicBezTo>
                <a:cubicBezTo>
                  <a:pt x="1985" y="133"/>
                  <a:pt x="1985" y="133"/>
                  <a:pt x="1985" y="133"/>
                </a:cubicBezTo>
                <a:cubicBezTo>
                  <a:pt x="1983" y="134"/>
                  <a:pt x="1983" y="134"/>
                  <a:pt x="1983" y="134"/>
                </a:cubicBezTo>
                <a:cubicBezTo>
                  <a:pt x="1984" y="136"/>
                  <a:pt x="1984" y="136"/>
                  <a:pt x="1984" y="136"/>
                </a:cubicBezTo>
                <a:cubicBezTo>
                  <a:pt x="1984" y="138"/>
                  <a:pt x="1984" y="138"/>
                  <a:pt x="1984" y="138"/>
                </a:cubicBezTo>
                <a:cubicBezTo>
                  <a:pt x="1982" y="138"/>
                  <a:pt x="1982" y="138"/>
                  <a:pt x="1982" y="138"/>
                </a:cubicBezTo>
                <a:cubicBezTo>
                  <a:pt x="1982" y="139"/>
                  <a:pt x="1982" y="139"/>
                  <a:pt x="1982" y="139"/>
                </a:cubicBezTo>
                <a:cubicBezTo>
                  <a:pt x="1984" y="141"/>
                  <a:pt x="1984" y="141"/>
                  <a:pt x="1984" y="141"/>
                </a:cubicBezTo>
                <a:cubicBezTo>
                  <a:pt x="1985" y="142"/>
                  <a:pt x="1985" y="142"/>
                  <a:pt x="1985" y="142"/>
                </a:cubicBezTo>
                <a:cubicBezTo>
                  <a:pt x="1986" y="146"/>
                  <a:pt x="1986" y="146"/>
                  <a:pt x="1986" y="146"/>
                </a:cubicBezTo>
                <a:cubicBezTo>
                  <a:pt x="1987" y="148"/>
                  <a:pt x="1987" y="148"/>
                  <a:pt x="1987" y="148"/>
                </a:cubicBezTo>
                <a:cubicBezTo>
                  <a:pt x="1987" y="146"/>
                  <a:pt x="1987" y="146"/>
                  <a:pt x="1987" y="146"/>
                </a:cubicBezTo>
                <a:cubicBezTo>
                  <a:pt x="1989" y="146"/>
                  <a:pt x="1989" y="146"/>
                  <a:pt x="1989" y="146"/>
                </a:cubicBezTo>
                <a:cubicBezTo>
                  <a:pt x="1990" y="149"/>
                  <a:pt x="1990" y="149"/>
                  <a:pt x="1990" y="149"/>
                </a:cubicBezTo>
                <a:cubicBezTo>
                  <a:pt x="1991" y="151"/>
                  <a:pt x="1991" y="151"/>
                  <a:pt x="1991" y="151"/>
                </a:cubicBezTo>
                <a:cubicBezTo>
                  <a:pt x="1993" y="152"/>
                  <a:pt x="1993" y="152"/>
                  <a:pt x="1993" y="152"/>
                </a:cubicBezTo>
                <a:cubicBezTo>
                  <a:pt x="1996" y="155"/>
                  <a:pt x="1996" y="155"/>
                  <a:pt x="1996" y="155"/>
                </a:cubicBezTo>
                <a:cubicBezTo>
                  <a:pt x="1993" y="154"/>
                  <a:pt x="1993" y="154"/>
                  <a:pt x="1993" y="154"/>
                </a:cubicBezTo>
                <a:cubicBezTo>
                  <a:pt x="1992" y="153"/>
                  <a:pt x="1992" y="153"/>
                  <a:pt x="1992" y="153"/>
                </a:cubicBezTo>
                <a:cubicBezTo>
                  <a:pt x="1990" y="154"/>
                  <a:pt x="1990" y="154"/>
                  <a:pt x="1990" y="154"/>
                </a:cubicBezTo>
                <a:cubicBezTo>
                  <a:pt x="1990" y="157"/>
                  <a:pt x="1990" y="157"/>
                  <a:pt x="1990" y="157"/>
                </a:cubicBezTo>
                <a:cubicBezTo>
                  <a:pt x="1988" y="158"/>
                  <a:pt x="1988" y="158"/>
                  <a:pt x="1988" y="158"/>
                </a:cubicBezTo>
                <a:cubicBezTo>
                  <a:pt x="1985" y="157"/>
                  <a:pt x="1985" y="157"/>
                  <a:pt x="1985" y="157"/>
                </a:cubicBezTo>
                <a:cubicBezTo>
                  <a:pt x="1984" y="158"/>
                  <a:pt x="1984" y="158"/>
                  <a:pt x="1984" y="158"/>
                </a:cubicBezTo>
                <a:cubicBezTo>
                  <a:pt x="1983" y="159"/>
                  <a:pt x="1983" y="159"/>
                  <a:pt x="1983" y="159"/>
                </a:cubicBezTo>
                <a:cubicBezTo>
                  <a:pt x="1986" y="162"/>
                  <a:pt x="1986" y="162"/>
                  <a:pt x="1986" y="162"/>
                </a:cubicBezTo>
                <a:cubicBezTo>
                  <a:pt x="1986" y="163"/>
                  <a:pt x="1986" y="163"/>
                  <a:pt x="1986" y="163"/>
                </a:cubicBezTo>
                <a:cubicBezTo>
                  <a:pt x="1986" y="164"/>
                  <a:pt x="1986" y="164"/>
                  <a:pt x="1986" y="164"/>
                </a:cubicBezTo>
                <a:cubicBezTo>
                  <a:pt x="1985" y="165"/>
                  <a:pt x="1985" y="165"/>
                  <a:pt x="1985" y="165"/>
                </a:cubicBezTo>
                <a:cubicBezTo>
                  <a:pt x="1980" y="165"/>
                  <a:pt x="1980" y="165"/>
                  <a:pt x="1980" y="165"/>
                </a:cubicBezTo>
                <a:cubicBezTo>
                  <a:pt x="1979" y="163"/>
                  <a:pt x="1979" y="163"/>
                  <a:pt x="1979" y="163"/>
                </a:cubicBezTo>
                <a:cubicBezTo>
                  <a:pt x="1979" y="162"/>
                  <a:pt x="1979" y="162"/>
                  <a:pt x="1979" y="162"/>
                </a:cubicBezTo>
                <a:cubicBezTo>
                  <a:pt x="1978" y="160"/>
                  <a:pt x="1978" y="160"/>
                  <a:pt x="1978" y="160"/>
                </a:cubicBezTo>
                <a:cubicBezTo>
                  <a:pt x="1980" y="158"/>
                  <a:pt x="1980" y="158"/>
                  <a:pt x="1980" y="158"/>
                </a:cubicBezTo>
                <a:cubicBezTo>
                  <a:pt x="1980" y="157"/>
                  <a:pt x="1980" y="157"/>
                  <a:pt x="1980" y="157"/>
                </a:cubicBezTo>
                <a:cubicBezTo>
                  <a:pt x="1978" y="155"/>
                  <a:pt x="1978" y="155"/>
                  <a:pt x="1978" y="155"/>
                </a:cubicBezTo>
                <a:cubicBezTo>
                  <a:pt x="1976" y="154"/>
                  <a:pt x="1976" y="154"/>
                  <a:pt x="1976" y="154"/>
                </a:cubicBezTo>
                <a:cubicBezTo>
                  <a:pt x="1978" y="153"/>
                  <a:pt x="1978" y="153"/>
                  <a:pt x="1978" y="153"/>
                </a:cubicBezTo>
                <a:cubicBezTo>
                  <a:pt x="1978" y="152"/>
                  <a:pt x="1978" y="152"/>
                  <a:pt x="1978" y="152"/>
                </a:cubicBezTo>
                <a:cubicBezTo>
                  <a:pt x="1976" y="153"/>
                  <a:pt x="1976" y="153"/>
                  <a:pt x="1976" y="153"/>
                </a:cubicBezTo>
                <a:cubicBezTo>
                  <a:pt x="1975" y="153"/>
                  <a:pt x="1975" y="153"/>
                  <a:pt x="1975" y="153"/>
                </a:cubicBezTo>
                <a:cubicBezTo>
                  <a:pt x="1972" y="155"/>
                  <a:pt x="1972" y="155"/>
                  <a:pt x="1972" y="155"/>
                </a:cubicBezTo>
                <a:cubicBezTo>
                  <a:pt x="1971" y="156"/>
                  <a:pt x="1971" y="156"/>
                  <a:pt x="1971" y="156"/>
                </a:cubicBezTo>
                <a:cubicBezTo>
                  <a:pt x="1969" y="157"/>
                  <a:pt x="1969" y="157"/>
                  <a:pt x="1969" y="157"/>
                </a:cubicBezTo>
                <a:cubicBezTo>
                  <a:pt x="1969" y="159"/>
                  <a:pt x="1969" y="159"/>
                  <a:pt x="1969" y="159"/>
                </a:cubicBezTo>
                <a:cubicBezTo>
                  <a:pt x="1966" y="159"/>
                  <a:pt x="1966" y="159"/>
                  <a:pt x="1966" y="159"/>
                </a:cubicBezTo>
                <a:cubicBezTo>
                  <a:pt x="1965" y="160"/>
                  <a:pt x="1965" y="160"/>
                  <a:pt x="1965" y="160"/>
                </a:cubicBezTo>
                <a:cubicBezTo>
                  <a:pt x="1965" y="161"/>
                  <a:pt x="1965" y="161"/>
                  <a:pt x="1965" y="161"/>
                </a:cubicBezTo>
                <a:cubicBezTo>
                  <a:pt x="1963" y="162"/>
                  <a:pt x="1963" y="162"/>
                  <a:pt x="1963" y="162"/>
                </a:cubicBezTo>
                <a:cubicBezTo>
                  <a:pt x="1959" y="162"/>
                  <a:pt x="1959" y="162"/>
                  <a:pt x="1959" y="162"/>
                </a:cubicBezTo>
                <a:cubicBezTo>
                  <a:pt x="1958" y="162"/>
                  <a:pt x="1958" y="162"/>
                  <a:pt x="1958" y="162"/>
                </a:cubicBezTo>
                <a:cubicBezTo>
                  <a:pt x="1957" y="162"/>
                  <a:pt x="1957" y="162"/>
                  <a:pt x="1957" y="162"/>
                </a:cubicBezTo>
                <a:cubicBezTo>
                  <a:pt x="1955" y="162"/>
                  <a:pt x="1955" y="162"/>
                  <a:pt x="1955" y="162"/>
                </a:cubicBezTo>
                <a:cubicBezTo>
                  <a:pt x="1954" y="161"/>
                  <a:pt x="1954" y="161"/>
                  <a:pt x="1954" y="161"/>
                </a:cubicBezTo>
                <a:cubicBezTo>
                  <a:pt x="1952" y="163"/>
                  <a:pt x="1952" y="163"/>
                  <a:pt x="1952" y="163"/>
                </a:cubicBezTo>
                <a:cubicBezTo>
                  <a:pt x="1951" y="164"/>
                  <a:pt x="1951" y="164"/>
                  <a:pt x="1951" y="164"/>
                </a:cubicBezTo>
                <a:cubicBezTo>
                  <a:pt x="1949" y="164"/>
                  <a:pt x="1949" y="164"/>
                  <a:pt x="1949" y="164"/>
                </a:cubicBezTo>
                <a:cubicBezTo>
                  <a:pt x="1947" y="166"/>
                  <a:pt x="1947" y="166"/>
                  <a:pt x="1947" y="166"/>
                </a:cubicBezTo>
                <a:cubicBezTo>
                  <a:pt x="1947" y="167"/>
                  <a:pt x="1947" y="167"/>
                  <a:pt x="1947" y="167"/>
                </a:cubicBezTo>
                <a:cubicBezTo>
                  <a:pt x="1949" y="168"/>
                  <a:pt x="1949" y="168"/>
                  <a:pt x="1949" y="168"/>
                </a:cubicBezTo>
                <a:cubicBezTo>
                  <a:pt x="1948" y="170"/>
                  <a:pt x="1948" y="170"/>
                  <a:pt x="1948" y="170"/>
                </a:cubicBezTo>
                <a:cubicBezTo>
                  <a:pt x="1949" y="171"/>
                  <a:pt x="1949" y="171"/>
                  <a:pt x="1949" y="171"/>
                </a:cubicBezTo>
                <a:cubicBezTo>
                  <a:pt x="1948" y="172"/>
                  <a:pt x="1948" y="172"/>
                  <a:pt x="1948" y="172"/>
                </a:cubicBezTo>
                <a:cubicBezTo>
                  <a:pt x="1946" y="170"/>
                  <a:pt x="1946" y="170"/>
                  <a:pt x="1946" y="170"/>
                </a:cubicBezTo>
                <a:cubicBezTo>
                  <a:pt x="1945" y="169"/>
                  <a:pt x="1945" y="169"/>
                  <a:pt x="1945" y="169"/>
                </a:cubicBezTo>
                <a:cubicBezTo>
                  <a:pt x="1944" y="169"/>
                  <a:pt x="1944" y="169"/>
                  <a:pt x="1944" y="169"/>
                </a:cubicBezTo>
                <a:cubicBezTo>
                  <a:pt x="1942" y="172"/>
                  <a:pt x="1942" y="172"/>
                  <a:pt x="1942" y="172"/>
                </a:cubicBezTo>
                <a:cubicBezTo>
                  <a:pt x="1941" y="174"/>
                  <a:pt x="1941" y="174"/>
                  <a:pt x="1941" y="174"/>
                </a:cubicBezTo>
                <a:cubicBezTo>
                  <a:pt x="1941" y="172"/>
                  <a:pt x="1941" y="172"/>
                  <a:pt x="1941" y="172"/>
                </a:cubicBezTo>
                <a:cubicBezTo>
                  <a:pt x="1939" y="171"/>
                  <a:pt x="1939" y="171"/>
                  <a:pt x="1939" y="171"/>
                </a:cubicBezTo>
                <a:cubicBezTo>
                  <a:pt x="1938" y="172"/>
                  <a:pt x="1938" y="172"/>
                  <a:pt x="1938" y="172"/>
                </a:cubicBezTo>
                <a:cubicBezTo>
                  <a:pt x="1937" y="172"/>
                  <a:pt x="1937" y="172"/>
                  <a:pt x="1937" y="172"/>
                </a:cubicBezTo>
                <a:cubicBezTo>
                  <a:pt x="1935" y="172"/>
                  <a:pt x="1935" y="172"/>
                  <a:pt x="1935" y="172"/>
                </a:cubicBezTo>
                <a:cubicBezTo>
                  <a:pt x="1933" y="172"/>
                  <a:pt x="1933" y="172"/>
                  <a:pt x="1933" y="172"/>
                </a:cubicBezTo>
                <a:cubicBezTo>
                  <a:pt x="1933" y="170"/>
                  <a:pt x="1933" y="170"/>
                  <a:pt x="1933" y="170"/>
                </a:cubicBezTo>
                <a:cubicBezTo>
                  <a:pt x="1935" y="168"/>
                  <a:pt x="1935" y="168"/>
                  <a:pt x="1935" y="168"/>
                </a:cubicBezTo>
                <a:cubicBezTo>
                  <a:pt x="1937" y="168"/>
                  <a:pt x="1937" y="168"/>
                  <a:pt x="1937" y="168"/>
                </a:cubicBezTo>
                <a:cubicBezTo>
                  <a:pt x="1938" y="167"/>
                  <a:pt x="1938" y="167"/>
                  <a:pt x="1938" y="167"/>
                </a:cubicBezTo>
                <a:cubicBezTo>
                  <a:pt x="1937" y="164"/>
                  <a:pt x="1937" y="164"/>
                  <a:pt x="1937" y="164"/>
                </a:cubicBezTo>
                <a:cubicBezTo>
                  <a:pt x="1937" y="164"/>
                  <a:pt x="1937" y="164"/>
                  <a:pt x="1937" y="164"/>
                </a:cubicBezTo>
                <a:cubicBezTo>
                  <a:pt x="1938" y="163"/>
                  <a:pt x="1938" y="163"/>
                  <a:pt x="1938" y="163"/>
                </a:cubicBezTo>
                <a:cubicBezTo>
                  <a:pt x="1936" y="161"/>
                  <a:pt x="1936" y="161"/>
                  <a:pt x="1936" y="161"/>
                </a:cubicBezTo>
                <a:cubicBezTo>
                  <a:pt x="1935" y="161"/>
                  <a:pt x="1935" y="161"/>
                  <a:pt x="1935" y="161"/>
                </a:cubicBezTo>
                <a:cubicBezTo>
                  <a:pt x="1934" y="161"/>
                  <a:pt x="1934" y="161"/>
                  <a:pt x="1934" y="161"/>
                </a:cubicBezTo>
                <a:cubicBezTo>
                  <a:pt x="1933" y="160"/>
                  <a:pt x="1933" y="160"/>
                  <a:pt x="1933" y="160"/>
                </a:cubicBezTo>
                <a:cubicBezTo>
                  <a:pt x="1937" y="158"/>
                  <a:pt x="1937" y="158"/>
                  <a:pt x="1937" y="158"/>
                </a:cubicBezTo>
                <a:cubicBezTo>
                  <a:pt x="1938" y="158"/>
                  <a:pt x="1938" y="158"/>
                  <a:pt x="1938" y="158"/>
                </a:cubicBezTo>
                <a:cubicBezTo>
                  <a:pt x="1940" y="157"/>
                  <a:pt x="1940" y="157"/>
                  <a:pt x="1940" y="157"/>
                </a:cubicBezTo>
                <a:cubicBezTo>
                  <a:pt x="1940" y="156"/>
                  <a:pt x="1940" y="156"/>
                  <a:pt x="1940" y="156"/>
                </a:cubicBezTo>
                <a:cubicBezTo>
                  <a:pt x="1936" y="157"/>
                  <a:pt x="1936" y="157"/>
                  <a:pt x="1936" y="157"/>
                </a:cubicBezTo>
                <a:cubicBezTo>
                  <a:pt x="1931" y="159"/>
                  <a:pt x="1931" y="159"/>
                  <a:pt x="1931" y="159"/>
                </a:cubicBezTo>
                <a:cubicBezTo>
                  <a:pt x="1929" y="161"/>
                  <a:pt x="1929" y="161"/>
                  <a:pt x="1929" y="161"/>
                </a:cubicBezTo>
                <a:cubicBezTo>
                  <a:pt x="1930" y="161"/>
                  <a:pt x="1930" y="161"/>
                  <a:pt x="1930" y="161"/>
                </a:cubicBezTo>
                <a:cubicBezTo>
                  <a:pt x="1931" y="163"/>
                  <a:pt x="1931" y="163"/>
                  <a:pt x="1931" y="163"/>
                </a:cubicBezTo>
                <a:cubicBezTo>
                  <a:pt x="1931" y="165"/>
                  <a:pt x="1931" y="165"/>
                  <a:pt x="1931" y="165"/>
                </a:cubicBezTo>
                <a:cubicBezTo>
                  <a:pt x="1930" y="166"/>
                  <a:pt x="1930" y="166"/>
                  <a:pt x="1930" y="166"/>
                </a:cubicBezTo>
                <a:cubicBezTo>
                  <a:pt x="1929" y="166"/>
                  <a:pt x="1929" y="166"/>
                  <a:pt x="1929" y="166"/>
                </a:cubicBezTo>
                <a:cubicBezTo>
                  <a:pt x="1927" y="164"/>
                  <a:pt x="1927" y="164"/>
                  <a:pt x="1927" y="164"/>
                </a:cubicBezTo>
                <a:cubicBezTo>
                  <a:pt x="1928" y="163"/>
                  <a:pt x="1928" y="163"/>
                  <a:pt x="1928" y="163"/>
                </a:cubicBezTo>
                <a:cubicBezTo>
                  <a:pt x="1928" y="163"/>
                  <a:pt x="1928" y="163"/>
                  <a:pt x="1928" y="163"/>
                </a:cubicBezTo>
                <a:cubicBezTo>
                  <a:pt x="1928" y="162"/>
                  <a:pt x="1928" y="162"/>
                  <a:pt x="1928" y="162"/>
                </a:cubicBezTo>
                <a:cubicBezTo>
                  <a:pt x="1927" y="162"/>
                  <a:pt x="1927" y="162"/>
                  <a:pt x="1927" y="162"/>
                </a:cubicBezTo>
                <a:cubicBezTo>
                  <a:pt x="1924" y="165"/>
                  <a:pt x="1924" y="165"/>
                  <a:pt x="1924" y="165"/>
                </a:cubicBezTo>
                <a:cubicBezTo>
                  <a:pt x="1924" y="166"/>
                  <a:pt x="1924" y="166"/>
                  <a:pt x="1924" y="166"/>
                </a:cubicBezTo>
                <a:cubicBezTo>
                  <a:pt x="1925" y="168"/>
                  <a:pt x="1925" y="168"/>
                  <a:pt x="1925" y="168"/>
                </a:cubicBezTo>
                <a:cubicBezTo>
                  <a:pt x="1927" y="168"/>
                  <a:pt x="1927" y="168"/>
                  <a:pt x="1927" y="168"/>
                </a:cubicBezTo>
                <a:cubicBezTo>
                  <a:pt x="1926" y="170"/>
                  <a:pt x="1926" y="170"/>
                  <a:pt x="1926" y="170"/>
                </a:cubicBezTo>
                <a:cubicBezTo>
                  <a:pt x="1924" y="172"/>
                  <a:pt x="1924" y="172"/>
                  <a:pt x="1924" y="172"/>
                </a:cubicBezTo>
                <a:cubicBezTo>
                  <a:pt x="1923" y="171"/>
                  <a:pt x="1923" y="171"/>
                  <a:pt x="1923" y="171"/>
                </a:cubicBezTo>
                <a:cubicBezTo>
                  <a:pt x="1924" y="170"/>
                  <a:pt x="1924" y="170"/>
                  <a:pt x="1924" y="170"/>
                </a:cubicBezTo>
                <a:cubicBezTo>
                  <a:pt x="1923" y="169"/>
                  <a:pt x="1923" y="169"/>
                  <a:pt x="1923" y="169"/>
                </a:cubicBezTo>
                <a:cubicBezTo>
                  <a:pt x="1922" y="169"/>
                  <a:pt x="1922" y="169"/>
                  <a:pt x="1922" y="169"/>
                </a:cubicBezTo>
                <a:cubicBezTo>
                  <a:pt x="1922" y="167"/>
                  <a:pt x="1922" y="167"/>
                  <a:pt x="1922" y="167"/>
                </a:cubicBezTo>
                <a:cubicBezTo>
                  <a:pt x="1918" y="168"/>
                  <a:pt x="1918" y="168"/>
                  <a:pt x="1918" y="168"/>
                </a:cubicBezTo>
                <a:cubicBezTo>
                  <a:pt x="1918" y="170"/>
                  <a:pt x="1918" y="170"/>
                  <a:pt x="1918" y="170"/>
                </a:cubicBezTo>
                <a:cubicBezTo>
                  <a:pt x="1915" y="171"/>
                  <a:pt x="1915" y="171"/>
                  <a:pt x="1915" y="171"/>
                </a:cubicBezTo>
                <a:cubicBezTo>
                  <a:pt x="1913" y="170"/>
                  <a:pt x="1913" y="170"/>
                  <a:pt x="1913" y="170"/>
                </a:cubicBezTo>
                <a:cubicBezTo>
                  <a:pt x="1912" y="171"/>
                  <a:pt x="1912" y="171"/>
                  <a:pt x="1912" y="171"/>
                </a:cubicBezTo>
                <a:cubicBezTo>
                  <a:pt x="1912" y="172"/>
                  <a:pt x="1912" y="172"/>
                  <a:pt x="1912" y="172"/>
                </a:cubicBezTo>
                <a:cubicBezTo>
                  <a:pt x="1908" y="177"/>
                  <a:pt x="1908" y="177"/>
                  <a:pt x="1908" y="177"/>
                </a:cubicBezTo>
                <a:cubicBezTo>
                  <a:pt x="1906" y="178"/>
                  <a:pt x="1906" y="178"/>
                  <a:pt x="1906" y="178"/>
                </a:cubicBezTo>
                <a:cubicBezTo>
                  <a:pt x="1903" y="182"/>
                  <a:pt x="1903" y="182"/>
                  <a:pt x="1903" y="182"/>
                </a:cubicBezTo>
                <a:cubicBezTo>
                  <a:pt x="1901" y="183"/>
                  <a:pt x="1901" y="183"/>
                  <a:pt x="1901" y="183"/>
                </a:cubicBezTo>
                <a:cubicBezTo>
                  <a:pt x="1899" y="182"/>
                  <a:pt x="1899" y="182"/>
                  <a:pt x="1899" y="182"/>
                </a:cubicBezTo>
                <a:cubicBezTo>
                  <a:pt x="1898" y="182"/>
                  <a:pt x="1898" y="182"/>
                  <a:pt x="1898" y="182"/>
                </a:cubicBezTo>
                <a:cubicBezTo>
                  <a:pt x="1899" y="184"/>
                  <a:pt x="1899" y="184"/>
                  <a:pt x="1899" y="184"/>
                </a:cubicBezTo>
                <a:cubicBezTo>
                  <a:pt x="1902" y="186"/>
                  <a:pt x="1902" y="186"/>
                  <a:pt x="1902" y="186"/>
                </a:cubicBezTo>
                <a:cubicBezTo>
                  <a:pt x="1902" y="187"/>
                  <a:pt x="1902" y="187"/>
                  <a:pt x="1902" y="187"/>
                </a:cubicBezTo>
                <a:cubicBezTo>
                  <a:pt x="1899" y="186"/>
                  <a:pt x="1899" y="186"/>
                  <a:pt x="1899" y="186"/>
                </a:cubicBezTo>
                <a:cubicBezTo>
                  <a:pt x="1898" y="187"/>
                  <a:pt x="1898" y="187"/>
                  <a:pt x="1898" y="187"/>
                </a:cubicBezTo>
                <a:cubicBezTo>
                  <a:pt x="1893" y="188"/>
                  <a:pt x="1893" y="188"/>
                  <a:pt x="1893" y="188"/>
                </a:cubicBezTo>
                <a:cubicBezTo>
                  <a:pt x="1892" y="189"/>
                  <a:pt x="1892" y="189"/>
                  <a:pt x="1892" y="189"/>
                </a:cubicBezTo>
                <a:cubicBezTo>
                  <a:pt x="1893" y="190"/>
                  <a:pt x="1893" y="190"/>
                  <a:pt x="1893" y="190"/>
                </a:cubicBezTo>
                <a:cubicBezTo>
                  <a:pt x="1893" y="192"/>
                  <a:pt x="1893" y="192"/>
                  <a:pt x="1893" y="192"/>
                </a:cubicBezTo>
                <a:cubicBezTo>
                  <a:pt x="1892" y="195"/>
                  <a:pt x="1892" y="195"/>
                  <a:pt x="1892" y="195"/>
                </a:cubicBezTo>
                <a:cubicBezTo>
                  <a:pt x="1893" y="198"/>
                  <a:pt x="1893" y="198"/>
                  <a:pt x="1893" y="198"/>
                </a:cubicBezTo>
                <a:cubicBezTo>
                  <a:pt x="1892" y="200"/>
                  <a:pt x="1892" y="200"/>
                  <a:pt x="1892" y="200"/>
                </a:cubicBezTo>
                <a:cubicBezTo>
                  <a:pt x="1889" y="201"/>
                  <a:pt x="1889" y="201"/>
                  <a:pt x="1889" y="201"/>
                </a:cubicBezTo>
                <a:cubicBezTo>
                  <a:pt x="1888" y="202"/>
                  <a:pt x="1888" y="202"/>
                  <a:pt x="1888" y="202"/>
                </a:cubicBezTo>
                <a:cubicBezTo>
                  <a:pt x="1886" y="202"/>
                  <a:pt x="1886" y="202"/>
                  <a:pt x="1886" y="202"/>
                </a:cubicBezTo>
                <a:cubicBezTo>
                  <a:pt x="1885" y="204"/>
                  <a:pt x="1885" y="204"/>
                  <a:pt x="1885" y="204"/>
                </a:cubicBezTo>
                <a:cubicBezTo>
                  <a:pt x="1884" y="201"/>
                  <a:pt x="1884" y="201"/>
                  <a:pt x="1884" y="201"/>
                </a:cubicBezTo>
                <a:cubicBezTo>
                  <a:pt x="1881" y="203"/>
                  <a:pt x="1881" y="203"/>
                  <a:pt x="1881" y="203"/>
                </a:cubicBezTo>
                <a:cubicBezTo>
                  <a:pt x="1879" y="203"/>
                  <a:pt x="1879" y="203"/>
                  <a:pt x="1879" y="203"/>
                </a:cubicBezTo>
                <a:cubicBezTo>
                  <a:pt x="1875" y="198"/>
                  <a:pt x="1875" y="198"/>
                  <a:pt x="1875" y="198"/>
                </a:cubicBezTo>
                <a:cubicBezTo>
                  <a:pt x="1871" y="195"/>
                  <a:pt x="1871" y="195"/>
                  <a:pt x="1871" y="195"/>
                </a:cubicBezTo>
                <a:cubicBezTo>
                  <a:pt x="1870" y="194"/>
                  <a:pt x="1870" y="194"/>
                  <a:pt x="1870" y="194"/>
                </a:cubicBezTo>
                <a:cubicBezTo>
                  <a:pt x="1870" y="191"/>
                  <a:pt x="1870" y="191"/>
                  <a:pt x="1870" y="191"/>
                </a:cubicBezTo>
                <a:cubicBezTo>
                  <a:pt x="1870" y="190"/>
                  <a:pt x="1870" y="190"/>
                  <a:pt x="1870" y="190"/>
                </a:cubicBezTo>
                <a:cubicBezTo>
                  <a:pt x="1871" y="190"/>
                  <a:pt x="1871" y="190"/>
                  <a:pt x="1871" y="190"/>
                </a:cubicBezTo>
                <a:cubicBezTo>
                  <a:pt x="1872" y="189"/>
                  <a:pt x="1872" y="189"/>
                  <a:pt x="1872" y="189"/>
                </a:cubicBezTo>
                <a:cubicBezTo>
                  <a:pt x="1872" y="188"/>
                  <a:pt x="1872" y="188"/>
                  <a:pt x="1872" y="188"/>
                </a:cubicBezTo>
                <a:cubicBezTo>
                  <a:pt x="1873" y="187"/>
                  <a:pt x="1873" y="187"/>
                  <a:pt x="1873" y="187"/>
                </a:cubicBezTo>
                <a:cubicBezTo>
                  <a:pt x="1876" y="187"/>
                  <a:pt x="1876" y="187"/>
                  <a:pt x="1876" y="187"/>
                </a:cubicBezTo>
                <a:cubicBezTo>
                  <a:pt x="1877" y="185"/>
                  <a:pt x="1877" y="185"/>
                  <a:pt x="1877" y="185"/>
                </a:cubicBezTo>
                <a:cubicBezTo>
                  <a:pt x="1881" y="185"/>
                  <a:pt x="1881" y="185"/>
                  <a:pt x="1881" y="185"/>
                </a:cubicBezTo>
                <a:cubicBezTo>
                  <a:pt x="1881" y="184"/>
                  <a:pt x="1881" y="184"/>
                  <a:pt x="1881" y="184"/>
                </a:cubicBezTo>
                <a:cubicBezTo>
                  <a:pt x="1878" y="180"/>
                  <a:pt x="1878" y="180"/>
                  <a:pt x="1878" y="180"/>
                </a:cubicBezTo>
                <a:cubicBezTo>
                  <a:pt x="1878" y="178"/>
                  <a:pt x="1878" y="178"/>
                  <a:pt x="1878" y="178"/>
                </a:cubicBezTo>
                <a:cubicBezTo>
                  <a:pt x="1875" y="178"/>
                  <a:pt x="1875" y="178"/>
                  <a:pt x="1875" y="178"/>
                </a:cubicBezTo>
                <a:cubicBezTo>
                  <a:pt x="1873" y="176"/>
                  <a:pt x="1873" y="176"/>
                  <a:pt x="1873" y="176"/>
                </a:cubicBezTo>
                <a:cubicBezTo>
                  <a:pt x="1873" y="174"/>
                  <a:pt x="1873" y="174"/>
                  <a:pt x="1873" y="174"/>
                </a:cubicBezTo>
                <a:cubicBezTo>
                  <a:pt x="1871" y="172"/>
                  <a:pt x="1871" y="172"/>
                  <a:pt x="1871" y="172"/>
                </a:cubicBezTo>
                <a:cubicBezTo>
                  <a:pt x="1865" y="172"/>
                  <a:pt x="1865" y="172"/>
                  <a:pt x="1865" y="172"/>
                </a:cubicBezTo>
                <a:cubicBezTo>
                  <a:pt x="1862" y="172"/>
                  <a:pt x="1862" y="172"/>
                  <a:pt x="1862" y="172"/>
                </a:cubicBezTo>
                <a:cubicBezTo>
                  <a:pt x="1860" y="173"/>
                  <a:pt x="1860" y="173"/>
                  <a:pt x="1860" y="173"/>
                </a:cubicBezTo>
                <a:cubicBezTo>
                  <a:pt x="1858" y="173"/>
                  <a:pt x="1858" y="173"/>
                  <a:pt x="1858" y="173"/>
                </a:cubicBezTo>
                <a:cubicBezTo>
                  <a:pt x="1853" y="170"/>
                  <a:pt x="1853" y="170"/>
                  <a:pt x="1853" y="170"/>
                </a:cubicBezTo>
                <a:cubicBezTo>
                  <a:pt x="1851" y="170"/>
                  <a:pt x="1851" y="170"/>
                  <a:pt x="1851" y="170"/>
                </a:cubicBezTo>
                <a:cubicBezTo>
                  <a:pt x="1851" y="171"/>
                  <a:pt x="1851" y="171"/>
                  <a:pt x="1851" y="171"/>
                </a:cubicBezTo>
                <a:cubicBezTo>
                  <a:pt x="1856" y="175"/>
                  <a:pt x="1856" y="175"/>
                  <a:pt x="1856" y="175"/>
                </a:cubicBezTo>
                <a:cubicBezTo>
                  <a:pt x="1859" y="177"/>
                  <a:pt x="1859" y="177"/>
                  <a:pt x="1859" y="177"/>
                </a:cubicBezTo>
                <a:cubicBezTo>
                  <a:pt x="1861" y="182"/>
                  <a:pt x="1861" y="182"/>
                  <a:pt x="1861" y="182"/>
                </a:cubicBezTo>
                <a:cubicBezTo>
                  <a:pt x="1861" y="184"/>
                  <a:pt x="1861" y="184"/>
                  <a:pt x="1861" y="184"/>
                </a:cubicBezTo>
                <a:cubicBezTo>
                  <a:pt x="1862" y="185"/>
                  <a:pt x="1862" y="185"/>
                  <a:pt x="1862" y="185"/>
                </a:cubicBezTo>
                <a:cubicBezTo>
                  <a:pt x="1861" y="186"/>
                  <a:pt x="1861" y="186"/>
                  <a:pt x="1861" y="186"/>
                </a:cubicBezTo>
                <a:cubicBezTo>
                  <a:pt x="1861" y="188"/>
                  <a:pt x="1861" y="188"/>
                  <a:pt x="1861" y="188"/>
                </a:cubicBezTo>
                <a:cubicBezTo>
                  <a:pt x="1861" y="189"/>
                  <a:pt x="1861" y="189"/>
                  <a:pt x="1861" y="189"/>
                </a:cubicBezTo>
                <a:cubicBezTo>
                  <a:pt x="1861" y="190"/>
                  <a:pt x="1861" y="190"/>
                  <a:pt x="1861" y="190"/>
                </a:cubicBezTo>
                <a:cubicBezTo>
                  <a:pt x="1861" y="195"/>
                  <a:pt x="1861" y="195"/>
                  <a:pt x="1861" y="195"/>
                </a:cubicBezTo>
                <a:cubicBezTo>
                  <a:pt x="1860" y="197"/>
                  <a:pt x="1860" y="197"/>
                  <a:pt x="1860" y="197"/>
                </a:cubicBezTo>
                <a:cubicBezTo>
                  <a:pt x="1861" y="200"/>
                  <a:pt x="1861" y="200"/>
                  <a:pt x="1861" y="200"/>
                </a:cubicBezTo>
                <a:cubicBezTo>
                  <a:pt x="1864" y="200"/>
                  <a:pt x="1864" y="200"/>
                  <a:pt x="1864" y="200"/>
                </a:cubicBezTo>
                <a:cubicBezTo>
                  <a:pt x="1866" y="201"/>
                  <a:pt x="1866" y="201"/>
                  <a:pt x="1866" y="201"/>
                </a:cubicBezTo>
                <a:cubicBezTo>
                  <a:pt x="1867" y="202"/>
                  <a:pt x="1867" y="202"/>
                  <a:pt x="1867" y="202"/>
                </a:cubicBezTo>
                <a:cubicBezTo>
                  <a:pt x="1867" y="203"/>
                  <a:pt x="1867" y="203"/>
                  <a:pt x="1867" y="203"/>
                </a:cubicBezTo>
                <a:cubicBezTo>
                  <a:pt x="1867" y="205"/>
                  <a:pt x="1867" y="205"/>
                  <a:pt x="1867" y="205"/>
                </a:cubicBezTo>
                <a:cubicBezTo>
                  <a:pt x="1867" y="206"/>
                  <a:pt x="1867" y="206"/>
                  <a:pt x="1867" y="206"/>
                </a:cubicBezTo>
                <a:cubicBezTo>
                  <a:pt x="1867" y="207"/>
                  <a:pt x="1867" y="207"/>
                  <a:pt x="1867" y="207"/>
                </a:cubicBezTo>
                <a:cubicBezTo>
                  <a:pt x="1868" y="208"/>
                  <a:pt x="1868" y="208"/>
                  <a:pt x="1868" y="208"/>
                </a:cubicBezTo>
                <a:cubicBezTo>
                  <a:pt x="1867" y="209"/>
                  <a:pt x="1867" y="209"/>
                  <a:pt x="1867" y="209"/>
                </a:cubicBezTo>
                <a:cubicBezTo>
                  <a:pt x="1867" y="214"/>
                  <a:pt x="1867" y="214"/>
                  <a:pt x="1867" y="214"/>
                </a:cubicBezTo>
                <a:cubicBezTo>
                  <a:pt x="1866" y="215"/>
                  <a:pt x="1866" y="215"/>
                  <a:pt x="1866" y="215"/>
                </a:cubicBezTo>
                <a:cubicBezTo>
                  <a:pt x="1868" y="218"/>
                  <a:pt x="1868" y="218"/>
                  <a:pt x="1868" y="218"/>
                </a:cubicBezTo>
                <a:cubicBezTo>
                  <a:pt x="1868" y="221"/>
                  <a:pt x="1868" y="221"/>
                  <a:pt x="1868" y="221"/>
                </a:cubicBezTo>
                <a:cubicBezTo>
                  <a:pt x="1867" y="220"/>
                  <a:pt x="1867" y="220"/>
                  <a:pt x="1867" y="220"/>
                </a:cubicBezTo>
                <a:cubicBezTo>
                  <a:pt x="1866" y="218"/>
                  <a:pt x="1866" y="218"/>
                  <a:pt x="1866" y="218"/>
                </a:cubicBezTo>
                <a:cubicBezTo>
                  <a:pt x="1864" y="216"/>
                  <a:pt x="1864" y="216"/>
                  <a:pt x="1864" y="216"/>
                </a:cubicBezTo>
                <a:cubicBezTo>
                  <a:pt x="1861" y="218"/>
                  <a:pt x="1861" y="218"/>
                  <a:pt x="1861" y="218"/>
                </a:cubicBezTo>
                <a:cubicBezTo>
                  <a:pt x="1861" y="216"/>
                  <a:pt x="1861" y="216"/>
                  <a:pt x="1861" y="216"/>
                </a:cubicBezTo>
                <a:cubicBezTo>
                  <a:pt x="1860" y="214"/>
                  <a:pt x="1860" y="214"/>
                  <a:pt x="1860" y="214"/>
                </a:cubicBezTo>
                <a:cubicBezTo>
                  <a:pt x="1857" y="214"/>
                  <a:pt x="1857" y="214"/>
                  <a:pt x="1857" y="214"/>
                </a:cubicBezTo>
                <a:cubicBezTo>
                  <a:pt x="1854" y="214"/>
                  <a:pt x="1854" y="214"/>
                  <a:pt x="1854" y="214"/>
                </a:cubicBezTo>
                <a:cubicBezTo>
                  <a:pt x="1852" y="213"/>
                  <a:pt x="1852" y="213"/>
                  <a:pt x="1852" y="213"/>
                </a:cubicBezTo>
                <a:cubicBezTo>
                  <a:pt x="1850" y="212"/>
                  <a:pt x="1850" y="212"/>
                  <a:pt x="1850" y="212"/>
                </a:cubicBezTo>
                <a:cubicBezTo>
                  <a:pt x="1848" y="214"/>
                  <a:pt x="1848" y="214"/>
                  <a:pt x="1848" y="214"/>
                </a:cubicBezTo>
                <a:cubicBezTo>
                  <a:pt x="1846" y="218"/>
                  <a:pt x="1846" y="218"/>
                  <a:pt x="1846" y="218"/>
                </a:cubicBezTo>
                <a:cubicBezTo>
                  <a:pt x="1843" y="221"/>
                  <a:pt x="1843" y="221"/>
                  <a:pt x="1843" y="221"/>
                </a:cubicBezTo>
                <a:cubicBezTo>
                  <a:pt x="1840" y="222"/>
                  <a:pt x="1840" y="222"/>
                  <a:pt x="1840" y="222"/>
                </a:cubicBezTo>
                <a:cubicBezTo>
                  <a:pt x="1839" y="223"/>
                  <a:pt x="1839" y="223"/>
                  <a:pt x="1839" y="223"/>
                </a:cubicBezTo>
                <a:cubicBezTo>
                  <a:pt x="1838" y="226"/>
                  <a:pt x="1838" y="226"/>
                  <a:pt x="1838" y="226"/>
                </a:cubicBezTo>
                <a:cubicBezTo>
                  <a:pt x="1836" y="229"/>
                  <a:pt x="1836" y="229"/>
                  <a:pt x="1836" y="229"/>
                </a:cubicBezTo>
                <a:cubicBezTo>
                  <a:pt x="1833" y="231"/>
                  <a:pt x="1833" y="231"/>
                  <a:pt x="1833" y="231"/>
                </a:cubicBezTo>
                <a:cubicBezTo>
                  <a:pt x="1833" y="233"/>
                  <a:pt x="1833" y="233"/>
                  <a:pt x="1833" y="233"/>
                </a:cubicBezTo>
                <a:cubicBezTo>
                  <a:pt x="1834" y="236"/>
                  <a:pt x="1834" y="236"/>
                  <a:pt x="1834" y="236"/>
                </a:cubicBezTo>
                <a:cubicBezTo>
                  <a:pt x="1838" y="240"/>
                  <a:pt x="1838" y="240"/>
                  <a:pt x="1838" y="240"/>
                </a:cubicBezTo>
                <a:cubicBezTo>
                  <a:pt x="1841" y="244"/>
                  <a:pt x="1841" y="244"/>
                  <a:pt x="1841" y="244"/>
                </a:cubicBezTo>
                <a:cubicBezTo>
                  <a:pt x="1840" y="246"/>
                  <a:pt x="1840" y="246"/>
                  <a:pt x="1840" y="246"/>
                </a:cubicBezTo>
                <a:cubicBezTo>
                  <a:pt x="1838" y="246"/>
                  <a:pt x="1838" y="246"/>
                  <a:pt x="1838" y="246"/>
                </a:cubicBezTo>
                <a:cubicBezTo>
                  <a:pt x="1838" y="248"/>
                  <a:pt x="1838" y="248"/>
                  <a:pt x="1838" y="248"/>
                </a:cubicBezTo>
                <a:cubicBezTo>
                  <a:pt x="1836" y="250"/>
                  <a:pt x="1836" y="250"/>
                  <a:pt x="1836" y="250"/>
                </a:cubicBezTo>
                <a:cubicBezTo>
                  <a:pt x="1835" y="251"/>
                  <a:pt x="1835" y="251"/>
                  <a:pt x="1835" y="251"/>
                </a:cubicBezTo>
                <a:cubicBezTo>
                  <a:pt x="1833" y="249"/>
                  <a:pt x="1833" y="249"/>
                  <a:pt x="1833" y="249"/>
                </a:cubicBezTo>
                <a:cubicBezTo>
                  <a:pt x="1826" y="246"/>
                  <a:pt x="1826" y="246"/>
                  <a:pt x="1826" y="246"/>
                </a:cubicBezTo>
                <a:cubicBezTo>
                  <a:pt x="1824" y="246"/>
                  <a:pt x="1824" y="246"/>
                  <a:pt x="1824" y="246"/>
                </a:cubicBezTo>
                <a:cubicBezTo>
                  <a:pt x="1823" y="244"/>
                  <a:pt x="1823" y="244"/>
                  <a:pt x="1823" y="244"/>
                </a:cubicBezTo>
                <a:cubicBezTo>
                  <a:pt x="1820" y="244"/>
                  <a:pt x="1820" y="244"/>
                  <a:pt x="1820" y="244"/>
                </a:cubicBezTo>
                <a:cubicBezTo>
                  <a:pt x="1818" y="243"/>
                  <a:pt x="1818" y="243"/>
                  <a:pt x="1818" y="243"/>
                </a:cubicBezTo>
                <a:cubicBezTo>
                  <a:pt x="1817" y="240"/>
                  <a:pt x="1817" y="240"/>
                  <a:pt x="1817" y="240"/>
                </a:cubicBezTo>
                <a:cubicBezTo>
                  <a:pt x="1814" y="240"/>
                  <a:pt x="1814" y="240"/>
                  <a:pt x="1814" y="240"/>
                </a:cubicBezTo>
                <a:cubicBezTo>
                  <a:pt x="1811" y="238"/>
                  <a:pt x="1811" y="238"/>
                  <a:pt x="1811" y="238"/>
                </a:cubicBezTo>
                <a:cubicBezTo>
                  <a:pt x="1809" y="238"/>
                  <a:pt x="1809" y="238"/>
                  <a:pt x="1809" y="238"/>
                </a:cubicBezTo>
                <a:cubicBezTo>
                  <a:pt x="1809" y="240"/>
                  <a:pt x="1809" y="240"/>
                  <a:pt x="1809" y="240"/>
                </a:cubicBezTo>
                <a:cubicBezTo>
                  <a:pt x="1809" y="241"/>
                  <a:pt x="1809" y="241"/>
                  <a:pt x="1809" y="241"/>
                </a:cubicBezTo>
                <a:cubicBezTo>
                  <a:pt x="1809" y="242"/>
                  <a:pt x="1809" y="242"/>
                  <a:pt x="1809" y="242"/>
                </a:cubicBezTo>
                <a:cubicBezTo>
                  <a:pt x="1809" y="243"/>
                  <a:pt x="1809" y="243"/>
                  <a:pt x="1809" y="243"/>
                </a:cubicBezTo>
                <a:cubicBezTo>
                  <a:pt x="1808" y="245"/>
                  <a:pt x="1808" y="245"/>
                  <a:pt x="1808" y="245"/>
                </a:cubicBezTo>
                <a:cubicBezTo>
                  <a:pt x="1806" y="244"/>
                  <a:pt x="1806" y="244"/>
                  <a:pt x="1806" y="244"/>
                </a:cubicBezTo>
                <a:cubicBezTo>
                  <a:pt x="1808" y="247"/>
                  <a:pt x="1808" y="247"/>
                  <a:pt x="1808" y="247"/>
                </a:cubicBezTo>
                <a:cubicBezTo>
                  <a:pt x="1808" y="249"/>
                  <a:pt x="1808" y="249"/>
                  <a:pt x="1808" y="249"/>
                </a:cubicBezTo>
                <a:cubicBezTo>
                  <a:pt x="1811" y="251"/>
                  <a:pt x="1811" y="251"/>
                  <a:pt x="1811" y="251"/>
                </a:cubicBezTo>
                <a:cubicBezTo>
                  <a:pt x="1813" y="253"/>
                  <a:pt x="1813" y="253"/>
                  <a:pt x="1813" y="253"/>
                </a:cubicBezTo>
                <a:cubicBezTo>
                  <a:pt x="1815" y="254"/>
                  <a:pt x="1815" y="254"/>
                  <a:pt x="1815" y="254"/>
                </a:cubicBezTo>
                <a:cubicBezTo>
                  <a:pt x="1817" y="253"/>
                  <a:pt x="1817" y="253"/>
                  <a:pt x="1817" y="253"/>
                </a:cubicBezTo>
                <a:cubicBezTo>
                  <a:pt x="1818" y="254"/>
                  <a:pt x="1818" y="254"/>
                  <a:pt x="1818" y="254"/>
                </a:cubicBezTo>
                <a:cubicBezTo>
                  <a:pt x="1820" y="252"/>
                  <a:pt x="1820" y="252"/>
                  <a:pt x="1820" y="252"/>
                </a:cubicBezTo>
                <a:cubicBezTo>
                  <a:pt x="1820" y="254"/>
                  <a:pt x="1820" y="254"/>
                  <a:pt x="1820" y="254"/>
                </a:cubicBezTo>
                <a:cubicBezTo>
                  <a:pt x="1822" y="255"/>
                  <a:pt x="1822" y="255"/>
                  <a:pt x="1822" y="255"/>
                </a:cubicBezTo>
                <a:cubicBezTo>
                  <a:pt x="1822" y="256"/>
                  <a:pt x="1822" y="256"/>
                  <a:pt x="1822" y="256"/>
                </a:cubicBezTo>
                <a:cubicBezTo>
                  <a:pt x="1822" y="257"/>
                  <a:pt x="1822" y="257"/>
                  <a:pt x="1822" y="257"/>
                </a:cubicBezTo>
                <a:cubicBezTo>
                  <a:pt x="1823" y="258"/>
                  <a:pt x="1823" y="258"/>
                  <a:pt x="1823" y="258"/>
                </a:cubicBezTo>
                <a:cubicBezTo>
                  <a:pt x="1823" y="261"/>
                  <a:pt x="1823" y="261"/>
                  <a:pt x="1823" y="261"/>
                </a:cubicBezTo>
                <a:cubicBezTo>
                  <a:pt x="1822" y="262"/>
                  <a:pt x="1822" y="262"/>
                  <a:pt x="1822" y="262"/>
                </a:cubicBezTo>
                <a:cubicBezTo>
                  <a:pt x="1820" y="262"/>
                  <a:pt x="1820" y="262"/>
                  <a:pt x="1820" y="262"/>
                </a:cubicBezTo>
                <a:cubicBezTo>
                  <a:pt x="1818" y="264"/>
                  <a:pt x="1818" y="264"/>
                  <a:pt x="1818" y="264"/>
                </a:cubicBezTo>
                <a:cubicBezTo>
                  <a:pt x="1817" y="264"/>
                  <a:pt x="1817" y="264"/>
                  <a:pt x="1817" y="264"/>
                </a:cubicBezTo>
                <a:cubicBezTo>
                  <a:pt x="1815" y="262"/>
                  <a:pt x="1815" y="262"/>
                  <a:pt x="1815" y="262"/>
                </a:cubicBezTo>
                <a:cubicBezTo>
                  <a:pt x="1812" y="262"/>
                  <a:pt x="1812" y="262"/>
                  <a:pt x="1812" y="262"/>
                </a:cubicBezTo>
                <a:cubicBezTo>
                  <a:pt x="1811" y="261"/>
                  <a:pt x="1811" y="261"/>
                  <a:pt x="1811" y="261"/>
                </a:cubicBezTo>
                <a:cubicBezTo>
                  <a:pt x="1808" y="261"/>
                  <a:pt x="1808" y="261"/>
                  <a:pt x="1808" y="261"/>
                </a:cubicBezTo>
                <a:cubicBezTo>
                  <a:pt x="1807" y="260"/>
                  <a:pt x="1807" y="260"/>
                  <a:pt x="1807" y="260"/>
                </a:cubicBezTo>
                <a:cubicBezTo>
                  <a:pt x="1807" y="258"/>
                  <a:pt x="1807" y="258"/>
                  <a:pt x="1807" y="258"/>
                </a:cubicBezTo>
                <a:cubicBezTo>
                  <a:pt x="1805" y="257"/>
                  <a:pt x="1805" y="257"/>
                  <a:pt x="1805" y="257"/>
                </a:cubicBezTo>
                <a:cubicBezTo>
                  <a:pt x="1803" y="255"/>
                  <a:pt x="1803" y="255"/>
                  <a:pt x="1803" y="255"/>
                </a:cubicBezTo>
                <a:cubicBezTo>
                  <a:pt x="1803" y="255"/>
                  <a:pt x="1803" y="255"/>
                  <a:pt x="1803" y="255"/>
                </a:cubicBezTo>
                <a:cubicBezTo>
                  <a:pt x="1801" y="256"/>
                  <a:pt x="1801" y="256"/>
                  <a:pt x="1801" y="256"/>
                </a:cubicBezTo>
                <a:cubicBezTo>
                  <a:pt x="1797" y="255"/>
                  <a:pt x="1797" y="255"/>
                  <a:pt x="1797" y="255"/>
                </a:cubicBezTo>
                <a:cubicBezTo>
                  <a:pt x="1796" y="253"/>
                  <a:pt x="1796" y="253"/>
                  <a:pt x="1796" y="253"/>
                </a:cubicBezTo>
                <a:cubicBezTo>
                  <a:pt x="1795" y="252"/>
                  <a:pt x="1795" y="252"/>
                  <a:pt x="1795" y="252"/>
                </a:cubicBezTo>
                <a:cubicBezTo>
                  <a:pt x="1796" y="251"/>
                  <a:pt x="1796" y="251"/>
                  <a:pt x="1796" y="251"/>
                </a:cubicBezTo>
                <a:cubicBezTo>
                  <a:pt x="1795" y="248"/>
                  <a:pt x="1795" y="248"/>
                  <a:pt x="1795" y="248"/>
                </a:cubicBezTo>
                <a:cubicBezTo>
                  <a:pt x="1795" y="246"/>
                  <a:pt x="1795" y="246"/>
                  <a:pt x="1795" y="246"/>
                </a:cubicBezTo>
                <a:cubicBezTo>
                  <a:pt x="1793" y="245"/>
                  <a:pt x="1793" y="245"/>
                  <a:pt x="1793" y="245"/>
                </a:cubicBezTo>
                <a:cubicBezTo>
                  <a:pt x="1793" y="243"/>
                  <a:pt x="1793" y="243"/>
                  <a:pt x="1793" y="243"/>
                </a:cubicBezTo>
                <a:cubicBezTo>
                  <a:pt x="1791" y="241"/>
                  <a:pt x="1791" y="241"/>
                  <a:pt x="1791" y="241"/>
                </a:cubicBezTo>
                <a:cubicBezTo>
                  <a:pt x="1790" y="238"/>
                  <a:pt x="1790" y="238"/>
                  <a:pt x="1790" y="238"/>
                </a:cubicBezTo>
                <a:cubicBezTo>
                  <a:pt x="1789" y="238"/>
                  <a:pt x="1789" y="238"/>
                  <a:pt x="1789" y="238"/>
                </a:cubicBezTo>
                <a:cubicBezTo>
                  <a:pt x="1789" y="236"/>
                  <a:pt x="1789" y="236"/>
                  <a:pt x="1789" y="236"/>
                </a:cubicBezTo>
                <a:cubicBezTo>
                  <a:pt x="1791" y="236"/>
                  <a:pt x="1791" y="236"/>
                  <a:pt x="1791" y="236"/>
                </a:cubicBezTo>
                <a:cubicBezTo>
                  <a:pt x="1791" y="232"/>
                  <a:pt x="1791" y="232"/>
                  <a:pt x="1791" y="232"/>
                </a:cubicBezTo>
                <a:cubicBezTo>
                  <a:pt x="1791" y="230"/>
                  <a:pt x="1791" y="230"/>
                  <a:pt x="1791" y="230"/>
                </a:cubicBezTo>
                <a:cubicBezTo>
                  <a:pt x="1790" y="230"/>
                  <a:pt x="1790" y="230"/>
                  <a:pt x="1790" y="230"/>
                </a:cubicBezTo>
                <a:cubicBezTo>
                  <a:pt x="1790" y="229"/>
                  <a:pt x="1790" y="229"/>
                  <a:pt x="1790" y="229"/>
                </a:cubicBezTo>
                <a:cubicBezTo>
                  <a:pt x="1791" y="227"/>
                  <a:pt x="1791" y="227"/>
                  <a:pt x="1791" y="227"/>
                </a:cubicBezTo>
                <a:cubicBezTo>
                  <a:pt x="1790" y="227"/>
                  <a:pt x="1790" y="227"/>
                  <a:pt x="1790" y="227"/>
                </a:cubicBezTo>
                <a:cubicBezTo>
                  <a:pt x="1788" y="224"/>
                  <a:pt x="1788" y="224"/>
                  <a:pt x="1788" y="224"/>
                </a:cubicBezTo>
                <a:cubicBezTo>
                  <a:pt x="1783" y="222"/>
                  <a:pt x="1783" y="222"/>
                  <a:pt x="1783" y="222"/>
                </a:cubicBezTo>
                <a:cubicBezTo>
                  <a:pt x="1782" y="223"/>
                  <a:pt x="1782" y="223"/>
                  <a:pt x="1782" y="223"/>
                </a:cubicBezTo>
                <a:cubicBezTo>
                  <a:pt x="1781" y="222"/>
                  <a:pt x="1781" y="222"/>
                  <a:pt x="1781" y="222"/>
                </a:cubicBezTo>
                <a:cubicBezTo>
                  <a:pt x="1779" y="222"/>
                  <a:pt x="1779" y="222"/>
                  <a:pt x="1779" y="222"/>
                </a:cubicBezTo>
                <a:cubicBezTo>
                  <a:pt x="1779" y="223"/>
                  <a:pt x="1779" y="223"/>
                  <a:pt x="1779" y="223"/>
                </a:cubicBezTo>
                <a:cubicBezTo>
                  <a:pt x="1776" y="222"/>
                  <a:pt x="1776" y="222"/>
                  <a:pt x="1776" y="222"/>
                </a:cubicBezTo>
                <a:cubicBezTo>
                  <a:pt x="1777" y="221"/>
                  <a:pt x="1777" y="221"/>
                  <a:pt x="1777" y="221"/>
                </a:cubicBezTo>
                <a:cubicBezTo>
                  <a:pt x="1779" y="221"/>
                  <a:pt x="1779" y="221"/>
                  <a:pt x="1779" y="221"/>
                </a:cubicBezTo>
                <a:cubicBezTo>
                  <a:pt x="1780" y="219"/>
                  <a:pt x="1780" y="219"/>
                  <a:pt x="1780" y="219"/>
                </a:cubicBezTo>
                <a:cubicBezTo>
                  <a:pt x="1777" y="219"/>
                  <a:pt x="1777" y="219"/>
                  <a:pt x="1777" y="219"/>
                </a:cubicBezTo>
                <a:cubicBezTo>
                  <a:pt x="1777" y="219"/>
                  <a:pt x="1777" y="219"/>
                  <a:pt x="1777" y="219"/>
                </a:cubicBezTo>
                <a:cubicBezTo>
                  <a:pt x="1779" y="218"/>
                  <a:pt x="1779" y="218"/>
                  <a:pt x="1779" y="218"/>
                </a:cubicBezTo>
                <a:cubicBezTo>
                  <a:pt x="1777" y="217"/>
                  <a:pt x="1777" y="217"/>
                  <a:pt x="1777" y="217"/>
                </a:cubicBezTo>
                <a:cubicBezTo>
                  <a:pt x="1776" y="218"/>
                  <a:pt x="1776" y="218"/>
                  <a:pt x="1776" y="218"/>
                </a:cubicBezTo>
                <a:cubicBezTo>
                  <a:pt x="1773" y="219"/>
                  <a:pt x="1773" y="219"/>
                  <a:pt x="1773" y="219"/>
                </a:cubicBezTo>
                <a:cubicBezTo>
                  <a:pt x="1772" y="218"/>
                  <a:pt x="1772" y="218"/>
                  <a:pt x="1772" y="218"/>
                </a:cubicBezTo>
                <a:cubicBezTo>
                  <a:pt x="1773" y="217"/>
                  <a:pt x="1773" y="217"/>
                  <a:pt x="1773" y="217"/>
                </a:cubicBezTo>
                <a:cubicBezTo>
                  <a:pt x="1775" y="216"/>
                  <a:pt x="1775" y="216"/>
                  <a:pt x="1775" y="216"/>
                </a:cubicBezTo>
                <a:cubicBezTo>
                  <a:pt x="1775" y="215"/>
                  <a:pt x="1775" y="215"/>
                  <a:pt x="1775" y="215"/>
                </a:cubicBezTo>
                <a:cubicBezTo>
                  <a:pt x="1772" y="215"/>
                  <a:pt x="1772" y="215"/>
                  <a:pt x="1772" y="215"/>
                </a:cubicBezTo>
                <a:cubicBezTo>
                  <a:pt x="1771" y="213"/>
                  <a:pt x="1771" y="213"/>
                  <a:pt x="1771" y="213"/>
                </a:cubicBezTo>
                <a:cubicBezTo>
                  <a:pt x="1769" y="211"/>
                  <a:pt x="1769" y="211"/>
                  <a:pt x="1769" y="211"/>
                </a:cubicBezTo>
                <a:cubicBezTo>
                  <a:pt x="1768" y="209"/>
                  <a:pt x="1768" y="209"/>
                  <a:pt x="1768" y="209"/>
                </a:cubicBezTo>
                <a:cubicBezTo>
                  <a:pt x="1766" y="207"/>
                  <a:pt x="1766" y="207"/>
                  <a:pt x="1766" y="207"/>
                </a:cubicBezTo>
                <a:cubicBezTo>
                  <a:pt x="1767" y="207"/>
                  <a:pt x="1767" y="207"/>
                  <a:pt x="1767" y="207"/>
                </a:cubicBezTo>
                <a:cubicBezTo>
                  <a:pt x="1768" y="206"/>
                  <a:pt x="1768" y="206"/>
                  <a:pt x="1768" y="206"/>
                </a:cubicBezTo>
                <a:cubicBezTo>
                  <a:pt x="1769" y="207"/>
                  <a:pt x="1769" y="207"/>
                  <a:pt x="1769" y="207"/>
                </a:cubicBezTo>
                <a:cubicBezTo>
                  <a:pt x="1772" y="207"/>
                  <a:pt x="1772" y="207"/>
                  <a:pt x="1772" y="207"/>
                </a:cubicBezTo>
                <a:cubicBezTo>
                  <a:pt x="1772" y="209"/>
                  <a:pt x="1772" y="209"/>
                  <a:pt x="1772" y="209"/>
                </a:cubicBezTo>
                <a:cubicBezTo>
                  <a:pt x="1776" y="213"/>
                  <a:pt x="1776" y="213"/>
                  <a:pt x="1776" y="213"/>
                </a:cubicBezTo>
                <a:cubicBezTo>
                  <a:pt x="1778" y="213"/>
                  <a:pt x="1778" y="213"/>
                  <a:pt x="1778" y="213"/>
                </a:cubicBezTo>
                <a:cubicBezTo>
                  <a:pt x="1778" y="212"/>
                  <a:pt x="1778" y="212"/>
                  <a:pt x="1778" y="212"/>
                </a:cubicBezTo>
                <a:cubicBezTo>
                  <a:pt x="1780" y="214"/>
                  <a:pt x="1780" y="214"/>
                  <a:pt x="1780" y="214"/>
                </a:cubicBezTo>
                <a:cubicBezTo>
                  <a:pt x="1783" y="214"/>
                  <a:pt x="1783" y="214"/>
                  <a:pt x="1783" y="214"/>
                </a:cubicBezTo>
                <a:cubicBezTo>
                  <a:pt x="1784" y="213"/>
                  <a:pt x="1784" y="213"/>
                  <a:pt x="1784" y="213"/>
                </a:cubicBezTo>
                <a:cubicBezTo>
                  <a:pt x="1785" y="214"/>
                  <a:pt x="1785" y="214"/>
                  <a:pt x="1785" y="214"/>
                </a:cubicBezTo>
                <a:cubicBezTo>
                  <a:pt x="1784" y="215"/>
                  <a:pt x="1784" y="215"/>
                  <a:pt x="1784" y="215"/>
                </a:cubicBezTo>
                <a:cubicBezTo>
                  <a:pt x="1785" y="216"/>
                  <a:pt x="1785" y="216"/>
                  <a:pt x="1785" y="216"/>
                </a:cubicBezTo>
                <a:cubicBezTo>
                  <a:pt x="1785" y="217"/>
                  <a:pt x="1785" y="217"/>
                  <a:pt x="1785" y="217"/>
                </a:cubicBezTo>
                <a:cubicBezTo>
                  <a:pt x="1787" y="217"/>
                  <a:pt x="1787" y="217"/>
                  <a:pt x="1787" y="217"/>
                </a:cubicBezTo>
                <a:cubicBezTo>
                  <a:pt x="1788" y="216"/>
                  <a:pt x="1788" y="216"/>
                  <a:pt x="1788" y="216"/>
                </a:cubicBezTo>
                <a:cubicBezTo>
                  <a:pt x="1791" y="216"/>
                  <a:pt x="1791" y="216"/>
                  <a:pt x="1791" y="216"/>
                </a:cubicBezTo>
                <a:cubicBezTo>
                  <a:pt x="1790" y="217"/>
                  <a:pt x="1790" y="217"/>
                  <a:pt x="1790" y="217"/>
                </a:cubicBezTo>
                <a:cubicBezTo>
                  <a:pt x="1792" y="217"/>
                  <a:pt x="1792" y="217"/>
                  <a:pt x="1792" y="217"/>
                </a:cubicBezTo>
                <a:cubicBezTo>
                  <a:pt x="1794" y="216"/>
                  <a:pt x="1794" y="216"/>
                  <a:pt x="1794" y="216"/>
                </a:cubicBezTo>
                <a:cubicBezTo>
                  <a:pt x="1794" y="218"/>
                  <a:pt x="1794" y="218"/>
                  <a:pt x="1794" y="218"/>
                </a:cubicBezTo>
                <a:cubicBezTo>
                  <a:pt x="1796" y="220"/>
                  <a:pt x="1796" y="220"/>
                  <a:pt x="1796" y="220"/>
                </a:cubicBezTo>
                <a:cubicBezTo>
                  <a:pt x="1798" y="219"/>
                  <a:pt x="1798" y="219"/>
                  <a:pt x="1798" y="219"/>
                </a:cubicBezTo>
                <a:cubicBezTo>
                  <a:pt x="1799" y="220"/>
                  <a:pt x="1799" y="220"/>
                  <a:pt x="1799" y="220"/>
                </a:cubicBezTo>
                <a:cubicBezTo>
                  <a:pt x="1800" y="221"/>
                  <a:pt x="1800" y="221"/>
                  <a:pt x="1800" y="221"/>
                </a:cubicBezTo>
                <a:cubicBezTo>
                  <a:pt x="1802" y="221"/>
                  <a:pt x="1802" y="221"/>
                  <a:pt x="1802" y="221"/>
                </a:cubicBezTo>
                <a:cubicBezTo>
                  <a:pt x="1804" y="221"/>
                  <a:pt x="1804" y="221"/>
                  <a:pt x="1804" y="221"/>
                </a:cubicBezTo>
                <a:cubicBezTo>
                  <a:pt x="1806" y="220"/>
                  <a:pt x="1806" y="220"/>
                  <a:pt x="1806" y="220"/>
                </a:cubicBezTo>
                <a:cubicBezTo>
                  <a:pt x="1808" y="222"/>
                  <a:pt x="1808" y="222"/>
                  <a:pt x="1808" y="222"/>
                </a:cubicBezTo>
                <a:cubicBezTo>
                  <a:pt x="1811" y="223"/>
                  <a:pt x="1811" y="223"/>
                  <a:pt x="1811" y="223"/>
                </a:cubicBezTo>
                <a:cubicBezTo>
                  <a:pt x="1817" y="223"/>
                  <a:pt x="1817" y="223"/>
                  <a:pt x="1817" y="223"/>
                </a:cubicBezTo>
                <a:cubicBezTo>
                  <a:pt x="1822" y="223"/>
                  <a:pt x="1822" y="223"/>
                  <a:pt x="1822" y="223"/>
                </a:cubicBezTo>
                <a:cubicBezTo>
                  <a:pt x="1822" y="222"/>
                  <a:pt x="1822" y="222"/>
                  <a:pt x="1822" y="222"/>
                </a:cubicBezTo>
                <a:cubicBezTo>
                  <a:pt x="1825" y="222"/>
                  <a:pt x="1825" y="222"/>
                  <a:pt x="1825" y="222"/>
                </a:cubicBezTo>
                <a:cubicBezTo>
                  <a:pt x="1827" y="221"/>
                  <a:pt x="1827" y="221"/>
                  <a:pt x="1827" y="221"/>
                </a:cubicBezTo>
                <a:cubicBezTo>
                  <a:pt x="1830" y="220"/>
                  <a:pt x="1830" y="220"/>
                  <a:pt x="1830" y="220"/>
                </a:cubicBezTo>
                <a:cubicBezTo>
                  <a:pt x="1833" y="218"/>
                  <a:pt x="1833" y="218"/>
                  <a:pt x="1833" y="218"/>
                </a:cubicBezTo>
                <a:cubicBezTo>
                  <a:pt x="1837" y="213"/>
                  <a:pt x="1837" y="213"/>
                  <a:pt x="1837" y="213"/>
                </a:cubicBezTo>
                <a:cubicBezTo>
                  <a:pt x="1837" y="212"/>
                  <a:pt x="1837" y="212"/>
                  <a:pt x="1837" y="212"/>
                </a:cubicBezTo>
                <a:cubicBezTo>
                  <a:pt x="1839" y="209"/>
                  <a:pt x="1839" y="209"/>
                  <a:pt x="1839" y="209"/>
                </a:cubicBezTo>
                <a:cubicBezTo>
                  <a:pt x="1839" y="208"/>
                  <a:pt x="1839" y="208"/>
                  <a:pt x="1839" y="208"/>
                </a:cubicBezTo>
                <a:cubicBezTo>
                  <a:pt x="1840" y="206"/>
                  <a:pt x="1840" y="206"/>
                  <a:pt x="1840" y="206"/>
                </a:cubicBezTo>
                <a:cubicBezTo>
                  <a:pt x="1840" y="203"/>
                  <a:pt x="1840" y="203"/>
                  <a:pt x="1840" y="203"/>
                </a:cubicBezTo>
                <a:cubicBezTo>
                  <a:pt x="1840" y="201"/>
                  <a:pt x="1840" y="201"/>
                  <a:pt x="1840" y="201"/>
                </a:cubicBezTo>
                <a:cubicBezTo>
                  <a:pt x="1840" y="198"/>
                  <a:pt x="1840" y="198"/>
                  <a:pt x="1840" y="198"/>
                </a:cubicBezTo>
                <a:cubicBezTo>
                  <a:pt x="1840" y="197"/>
                  <a:pt x="1840" y="197"/>
                  <a:pt x="1840" y="197"/>
                </a:cubicBezTo>
                <a:cubicBezTo>
                  <a:pt x="1839" y="198"/>
                  <a:pt x="1839" y="198"/>
                  <a:pt x="1839" y="198"/>
                </a:cubicBezTo>
                <a:cubicBezTo>
                  <a:pt x="1837" y="195"/>
                  <a:pt x="1837" y="195"/>
                  <a:pt x="1837" y="195"/>
                </a:cubicBezTo>
                <a:cubicBezTo>
                  <a:pt x="1836" y="194"/>
                  <a:pt x="1836" y="194"/>
                  <a:pt x="1836" y="194"/>
                </a:cubicBezTo>
                <a:cubicBezTo>
                  <a:pt x="1835" y="192"/>
                  <a:pt x="1835" y="192"/>
                  <a:pt x="1835" y="192"/>
                </a:cubicBezTo>
                <a:cubicBezTo>
                  <a:pt x="1833" y="190"/>
                  <a:pt x="1833" y="190"/>
                  <a:pt x="1833" y="190"/>
                </a:cubicBezTo>
                <a:cubicBezTo>
                  <a:pt x="1831" y="189"/>
                  <a:pt x="1831" y="189"/>
                  <a:pt x="1831" y="189"/>
                </a:cubicBezTo>
                <a:cubicBezTo>
                  <a:pt x="1831" y="190"/>
                  <a:pt x="1831" y="190"/>
                  <a:pt x="1831" y="190"/>
                </a:cubicBezTo>
                <a:cubicBezTo>
                  <a:pt x="1829" y="189"/>
                  <a:pt x="1829" y="189"/>
                  <a:pt x="1829" y="189"/>
                </a:cubicBezTo>
                <a:cubicBezTo>
                  <a:pt x="1829" y="188"/>
                  <a:pt x="1829" y="188"/>
                  <a:pt x="1829" y="188"/>
                </a:cubicBezTo>
                <a:cubicBezTo>
                  <a:pt x="1825" y="185"/>
                  <a:pt x="1825" y="185"/>
                  <a:pt x="1825" y="185"/>
                </a:cubicBezTo>
                <a:cubicBezTo>
                  <a:pt x="1825" y="183"/>
                  <a:pt x="1825" y="183"/>
                  <a:pt x="1825" y="183"/>
                </a:cubicBezTo>
                <a:cubicBezTo>
                  <a:pt x="1823" y="181"/>
                  <a:pt x="1823" y="181"/>
                  <a:pt x="1823" y="181"/>
                </a:cubicBezTo>
                <a:cubicBezTo>
                  <a:pt x="1822" y="181"/>
                  <a:pt x="1822" y="181"/>
                  <a:pt x="1822" y="181"/>
                </a:cubicBezTo>
                <a:cubicBezTo>
                  <a:pt x="1822" y="182"/>
                  <a:pt x="1822" y="182"/>
                  <a:pt x="1822" y="182"/>
                </a:cubicBezTo>
                <a:cubicBezTo>
                  <a:pt x="1824" y="184"/>
                  <a:pt x="1824" y="184"/>
                  <a:pt x="1824" y="184"/>
                </a:cubicBezTo>
                <a:cubicBezTo>
                  <a:pt x="1822" y="185"/>
                  <a:pt x="1822" y="185"/>
                  <a:pt x="1822" y="185"/>
                </a:cubicBezTo>
                <a:cubicBezTo>
                  <a:pt x="1820" y="183"/>
                  <a:pt x="1820" y="183"/>
                  <a:pt x="1820" y="183"/>
                </a:cubicBezTo>
                <a:cubicBezTo>
                  <a:pt x="1818" y="182"/>
                  <a:pt x="1818" y="182"/>
                  <a:pt x="1818" y="182"/>
                </a:cubicBezTo>
                <a:cubicBezTo>
                  <a:pt x="1815" y="180"/>
                  <a:pt x="1815" y="180"/>
                  <a:pt x="1815" y="180"/>
                </a:cubicBezTo>
                <a:cubicBezTo>
                  <a:pt x="1814" y="180"/>
                  <a:pt x="1814" y="180"/>
                  <a:pt x="1814" y="180"/>
                </a:cubicBezTo>
                <a:cubicBezTo>
                  <a:pt x="1814" y="181"/>
                  <a:pt x="1814" y="181"/>
                  <a:pt x="1814" y="181"/>
                </a:cubicBezTo>
                <a:cubicBezTo>
                  <a:pt x="1815" y="182"/>
                  <a:pt x="1815" y="182"/>
                  <a:pt x="1815" y="182"/>
                </a:cubicBezTo>
                <a:cubicBezTo>
                  <a:pt x="1813" y="181"/>
                  <a:pt x="1813" y="181"/>
                  <a:pt x="1813" y="181"/>
                </a:cubicBezTo>
                <a:cubicBezTo>
                  <a:pt x="1811" y="178"/>
                  <a:pt x="1811" y="178"/>
                  <a:pt x="1811" y="178"/>
                </a:cubicBezTo>
                <a:cubicBezTo>
                  <a:pt x="1809" y="177"/>
                  <a:pt x="1809" y="177"/>
                  <a:pt x="1809" y="177"/>
                </a:cubicBezTo>
                <a:cubicBezTo>
                  <a:pt x="1807" y="176"/>
                  <a:pt x="1807" y="176"/>
                  <a:pt x="1807" y="176"/>
                </a:cubicBezTo>
                <a:cubicBezTo>
                  <a:pt x="1800" y="171"/>
                  <a:pt x="1800" y="171"/>
                  <a:pt x="1800" y="171"/>
                </a:cubicBezTo>
                <a:cubicBezTo>
                  <a:pt x="1790" y="165"/>
                  <a:pt x="1790" y="165"/>
                  <a:pt x="1790" y="165"/>
                </a:cubicBezTo>
                <a:cubicBezTo>
                  <a:pt x="1788" y="164"/>
                  <a:pt x="1788" y="164"/>
                  <a:pt x="1788" y="164"/>
                </a:cubicBezTo>
                <a:cubicBezTo>
                  <a:pt x="1787" y="165"/>
                  <a:pt x="1787" y="165"/>
                  <a:pt x="1787" y="165"/>
                </a:cubicBezTo>
                <a:cubicBezTo>
                  <a:pt x="1785" y="164"/>
                  <a:pt x="1785" y="164"/>
                  <a:pt x="1785" y="164"/>
                </a:cubicBezTo>
                <a:cubicBezTo>
                  <a:pt x="1783" y="164"/>
                  <a:pt x="1783" y="164"/>
                  <a:pt x="1783" y="164"/>
                </a:cubicBezTo>
                <a:cubicBezTo>
                  <a:pt x="1783" y="164"/>
                  <a:pt x="1783" y="164"/>
                  <a:pt x="1783" y="164"/>
                </a:cubicBezTo>
                <a:cubicBezTo>
                  <a:pt x="1782" y="165"/>
                  <a:pt x="1782" y="165"/>
                  <a:pt x="1782" y="165"/>
                </a:cubicBezTo>
                <a:cubicBezTo>
                  <a:pt x="1780" y="165"/>
                  <a:pt x="1780" y="165"/>
                  <a:pt x="1780" y="165"/>
                </a:cubicBezTo>
                <a:cubicBezTo>
                  <a:pt x="1777" y="164"/>
                  <a:pt x="1777" y="164"/>
                  <a:pt x="1777" y="164"/>
                </a:cubicBezTo>
                <a:cubicBezTo>
                  <a:pt x="1775" y="163"/>
                  <a:pt x="1775" y="163"/>
                  <a:pt x="1775" y="163"/>
                </a:cubicBezTo>
                <a:cubicBezTo>
                  <a:pt x="1773" y="162"/>
                  <a:pt x="1773" y="162"/>
                  <a:pt x="1773" y="162"/>
                </a:cubicBezTo>
                <a:cubicBezTo>
                  <a:pt x="1773" y="162"/>
                  <a:pt x="1773" y="162"/>
                  <a:pt x="1773" y="162"/>
                </a:cubicBezTo>
                <a:cubicBezTo>
                  <a:pt x="1774" y="164"/>
                  <a:pt x="1774" y="164"/>
                  <a:pt x="1774" y="164"/>
                </a:cubicBezTo>
                <a:cubicBezTo>
                  <a:pt x="1774" y="165"/>
                  <a:pt x="1774" y="165"/>
                  <a:pt x="1774" y="165"/>
                </a:cubicBezTo>
                <a:cubicBezTo>
                  <a:pt x="1773" y="164"/>
                  <a:pt x="1773" y="164"/>
                  <a:pt x="1773" y="164"/>
                </a:cubicBezTo>
                <a:cubicBezTo>
                  <a:pt x="1771" y="164"/>
                  <a:pt x="1771" y="164"/>
                  <a:pt x="1771" y="164"/>
                </a:cubicBezTo>
                <a:cubicBezTo>
                  <a:pt x="1770" y="165"/>
                  <a:pt x="1770" y="165"/>
                  <a:pt x="1770" y="165"/>
                </a:cubicBezTo>
                <a:cubicBezTo>
                  <a:pt x="1770" y="166"/>
                  <a:pt x="1770" y="166"/>
                  <a:pt x="1770" y="166"/>
                </a:cubicBezTo>
                <a:cubicBezTo>
                  <a:pt x="1769" y="168"/>
                  <a:pt x="1769" y="168"/>
                  <a:pt x="1769" y="168"/>
                </a:cubicBezTo>
                <a:cubicBezTo>
                  <a:pt x="1767" y="169"/>
                  <a:pt x="1767" y="169"/>
                  <a:pt x="1767" y="169"/>
                </a:cubicBezTo>
                <a:cubicBezTo>
                  <a:pt x="1768" y="167"/>
                  <a:pt x="1768" y="167"/>
                  <a:pt x="1768" y="167"/>
                </a:cubicBezTo>
                <a:cubicBezTo>
                  <a:pt x="1769" y="166"/>
                  <a:pt x="1769" y="166"/>
                  <a:pt x="1769" y="166"/>
                </a:cubicBezTo>
                <a:cubicBezTo>
                  <a:pt x="1769" y="165"/>
                  <a:pt x="1769" y="165"/>
                  <a:pt x="1769" y="165"/>
                </a:cubicBezTo>
                <a:cubicBezTo>
                  <a:pt x="1767" y="165"/>
                  <a:pt x="1767" y="165"/>
                  <a:pt x="1767" y="165"/>
                </a:cubicBezTo>
                <a:cubicBezTo>
                  <a:pt x="1767" y="164"/>
                  <a:pt x="1767" y="164"/>
                  <a:pt x="1767" y="164"/>
                </a:cubicBezTo>
                <a:cubicBezTo>
                  <a:pt x="1768" y="163"/>
                  <a:pt x="1768" y="163"/>
                  <a:pt x="1768" y="163"/>
                </a:cubicBezTo>
                <a:cubicBezTo>
                  <a:pt x="1767" y="163"/>
                  <a:pt x="1767" y="163"/>
                  <a:pt x="1767" y="163"/>
                </a:cubicBezTo>
                <a:cubicBezTo>
                  <a:pt x="1766" y="164"/>
                  <a:pt x="1766" y="164"/>
                  <a:pt x="1766" y="164"/>
                </a:cubicBezTo>
                <a:cubicBezTo>
                  <a:pt x="1765" y="166"/>
                  <a:pt x="1765" y="166"/>
                  <a:pt x="1765" y="166"/>
                </a:cubicBezTo>
                <a:cubicBezTo>
                  <a:pt x="1765" y="165"/>
                  <a:pt x="1765" y="165"/>
                  <a:pt x="1765" y="165"/>
                </a:cubicBezTo>
                <a:cubicBezTo>
                  <a:pt x="1765" y="164"/>
                  <a:pt x="1765" y="164"/>
                  <a:pt x="1765" y="164"/>
                </a:cubicBezTo>
                <a:cubicBezTo>
                  <a:pt x="1764" y="163"/>
                  <a:pt x="1764" y="163"/>
                  <a:pt x="1764" y="163"/>
                </a:cubicBezTo>
                <a:cubicBezTo>
                  <a:pt x="1763" y="164"/>
                  <a:pt x="1763" y="164"/>
                  <a:pt x="1763" y="164"/>
                </a:cubicBezTo>
                <a:cubicBezTo>
                  <a:pt x="1763" y="165"/>
                  <a:pt x="1763" y="165"/>
                  <a:pt x="1763" y="165"/>
                </a:cubicBezTo>
                <a:cubicBezTo>
                  <a:pt x="1763" y="163"/>
                  <a:pt x="1763" y="163"/>
                  <a:pt x="1763" y="163"/>
                </a:cubicBezTo>
                <a:cubicBezTo>
                  <a:pt x="1761" y="163"/>
                  <a:pt x="1761" y="163"/>
                  <a:pt x="1761" y="163"/>
                </a:cubicBezTo>
                <a:cubicBezTo>
                  <a:pt x="1759" y="164"/>
                  <a:pt x="1759" y="164"/>
                  <a:pt x="1759" y="164"/>
                </a:cubicBezTo>
                <a:cubicBezTo>
                  <a:pt x="1759" y="162"/>
                  <a:pt x="1759" y="162"/>
                  <a:pt x="1759" y="162"/>
                </a:cubicBezTo>
                <a:cubicBezTo>
                  <a:pt x="1758" y="162"/>
                  <a:pt x="1758" y="162"/>
                  <a:pt x="1758" y="162"/>
                </a:cubicBezTo>
                <a:cubicBezTo>
                  <a:pt x="1757" y="163"/>
                  <a:pt x="1757" y="163"/>
                  <a:pt x="1757" y="163"/>
                </a:cubicBezTo>
                <a:cubicBezTo>
                  <a:pt x="1756" y="161"/>
                  <a:pt x="1756" y="161"/>
                  <a:pt x="1756" y="161"/>
                </a:cubicBezTo>
                <a:cubicBezTo>
                  <a:pt x="1756" y="159"/>
                  <a:pt x="1756" y="159"/>
                  <a:pt x="1756" y="159"/>
                </a:cubicBezTo>
                <a:cubicBezTo>
                  <a:pt x="1757" y="157"/>
                  <a:pt x="1757" y="157"/>
                  <a:pt x="1757" y="157"/>
                </a:cubicBezTo>
                <a:cubicBezTo>
                  <a:pt x="1757" y="159"/>
                  <a:pt x="1757" y="159"/>
                  <a:pt x="1757" y="159"/>
                </a:cubicBezTo>
                <a:cubicBezTo>
                  <a:pt x="1759" y="160"/>
                  <a:pt x="1759" y="160"/>
                  <a:pt x="1759" y="160"/>
                </a:cubicBezTo>
                <a:cubicBezTo>
                  <a:pt x="1761" y="160"/>
                  <a:pt x="1761" y="160"/>
                  <a:pt x="1761" y="160"/>
                </a:cubicBezTo>
                <a:cubicBezTo>
                  <a:pt x="1763" y="161"/>
                  <a:pt x="1763" y="161"/>
                  <a:pt x="1763" y="161"/>
                </a:cubicBezTo>
                <a:cubicBezTo>
                  <a:pt x="1764" y="159"/>
                  <a:pt x="1764" y="159"/>
                  <a:pt x="1764" y="159"/>
                </a:cubicBezTo>
                <a:cubicBezTo>
                  <a:pt x="1764" y="158"/>
                  <a:pt x="1764" y="158"/>
                  <a:pt x="1764" y="158"/>
                </a:cubicBezTo>
                <a:cubicBezTo>
                  <a:pt x="1763" y="157"/>
                  <a:pt x="1763" y="157"/>
                  <a:pt x="1763" y="157"/>
                </a:cubicBezTo>
                <a:cubicBezTo>
                  <a:pt x="1763" y="157"/>
                  <a:pt x="1763" y="157"/>
                  <a:pt x="1763" y="157"/>
                </a:cubicBezTo>
                <a:cubicBezTo>
                  <a:pt x="1761" y="156"/>
                  <a:pt x="1761" y="156"/>
                  <a:pt x="1761" y="156"/>
                </a:cubicBezTo>
                <a:cubicBezTo>
                  <a:pt x="1760" y="157"/>
                  <a:pt x="1760" y="157"/>
                  <a:pt x="1760" y="157"/>
                </a:cubicBezTo>
                <a:cubicBezTo>
                  <a:pt x="1759" y="156"/>
                  <a:pt x="1759" y="156"/>
                  <a:pt x="1759" y="156"/>
                </a:cubicBezTo>
                <a:cubicBezTo>
                  <a:pt x="1758" y="154"/>
                  <a:pt x="1758" y="154"/>
                  <a:pt x="1758" y="154"/>
                </a:cubicBezTo>
                <a:cubicBezTo>
                  <a:pt x="1756" y="153"/>
                  <a:pt x="1756" y="153"/>
                  <a:pt x="1756" y="153"/>
                </a:cubicBezTo>
                <a:cubicBezTo>
                  <a:pt x="1754" y="153"/>
                  <a:pt x="1754" y="153"/>
                  <a:pt x="1754" y="153"/>
                </a:cubicBezTo>
                <a:cubicBezTo>
                  <a:pt x="1754" y="154"/>
                  <a:pt x="1754" y="154"/>
                  <a:pt x="1754" y="154"/>
                </a:cubicBezTo>
                <a:cubicBezTo>
                  <a:pt x="1755" y="155"/>
                  <a:pt x="1755" y="155"/>
                  <a:pt x="1755" y="155"/>
                </a:cubicBezTo>
                <a:cubicBezTo>
                  <a:pt x="1755" y="155"/>
                  <a:pt x="1755" y="155"/>
                  <a:pt x="1755" y="155"/>
                </a:cubicBezTo>
                <a:cubicBezTo>
                  <a:pt x="1755" y="156"/>
                  <a:pt x="1755" y="156"/>
                  <a:pt x="1755" y="156"/>
                </a:cubicBezTo>
                <a:cubicBezTo>
                  <a:pt x="1754" y="156"/>
                  <a:pt x="1754" y="156"/>
                  <a:pt x="1754" y="156"/>
                </a:cubicBezTo>
                <a:cubicBezTo>
                  <a:pt x="1753" y="156"/>
                  <a:pt x="1753" y="156"/>
                  <a:pt x="1753" y="156"/>
                </a:cubicBezTo>
                <a:cubicBezTo>
                  <a:pt x="1753" y="157"/>
                  <a:pt x="1753" y="157"/>
                  <a:pt x="1753" y="157"/>
                </a:cubicBezTo>
                <a:cubicBezTo>
                  <a:pt x="1754" y="158"/>
                  <a:pt x="1754" y="158"/>
                  <a:pt x="1754" y="158"/>
                </a:cubicBezTo>
                <a:cubicBezTo>
                  <a:pt x="1754" y="158"/>
                  <a:pt x="1754" y="158"/>
                  <a:pt x="1754" y="158"/>
                </a:cubicBezTo>
                <a:cubicBezTo>
                  <a:pt x="1752" y="158"/>
                  <a:pt x="1752" y="158"/>
                  <a:pt x="1752" y="158"/>
                </a:cubicBezTo>
                <a:cubicBezTo>
                  <a:pt x="1751" y="160"/>
                  <a:pt x="1751" y="160"/>
                  <a:pt x="1751" y="160"/>
                </a:cubicBezTo>
                <a:cubicBezTo>
                  <a:pt x="1751" y="162"/>
                  <a:pt x="1751" y="162"/>
                  <a:pt x="1751" y="162"/>
                </a:cubicBezTo>
                <a:cubicBezTo>
                  <a:pt x="1750" y="161"/>
                  <a:pt x="1750" y="161"/>
                  <a:pt x="1750" y="161"/>
                </a:cubicBezTo>
                <a:cubicBezTo>
                  <a:pt x="1750" y="159"/>
                  <a:pt x="1750" y="159"/>
                  <a:pt x="1750" y="159"/>
                </a:cubicBezTo>
                <a:cubicBezTo>
                  <a:pt x="1749" y="158"/>
                  <a:pt x="1749" y="158"/>
                  <a:pt x="1749" y="158"/>
                </a:cubicBezTo>
                <a:cubicBezTo>
                  <a:pt x="1747" y="158"/>
                  <a:pt x="1747" y="158"/>
                  <a:pt x="1747" y="158"/>
                </a:cubicBezTo>
                <a:cubicBezTo>
                  <a:pt x="1747" y="158"/>
                  <a:pt x="1747" y="158"/>
                  <a:pt x="1747" y="158"/>
                </a:cubicBezTo>
                <a:cubicBezTo>
                  <a:pt x="1747" y="158"/>
                  <a:pt x="1747" y="158"/>
                  <a:pt x="1747" y="158"/>
                </a:cubicBezTo>
                <a:cubicBezTo>
                  <a:pt x="1745" y="157"/>
                  <a:pt x="1745" y="157"/>
                  <a:pt x="1745" y="157"/>
                </a:cubicBezTo>
                <a:cubicBezTo>
                  <a:pt x="1744" y="157"/>
                  <a:pt x="1744" y="157"/>
                  <a:pt x="1744" y="157"/>
                </a:cubicBezTo>
                <a:cubicBezTo>
                  <a:pt x="1744" y="157"/>
                  <a:pt x="1744" y="157"/>
                  <a:pt x="1744" y="157"/>
                </a:cubicBezTo>
                <a:cubicBezTo>
                  <a:pt x="1744" y="158"/>
                  <a:pt x="1744" y="158"/>
                  <a:pt x="1744" y="158"/>
                </a:cubicBezTo>
                <a:cubicBezTo>
                  <a:pt x="1743" y="158"/>
                  <a:pt x="1743" y="158"/>
                  <a:pt x="1743" y="158"/>
                </a:cubicBezTo>
                <a:cubicBezTo>
                  <a:pt x="1742" y="156"/>
                  <a:pt x="1742" y="156"/>
                  <a:pt x="1742" y="156"/>
                </a:cubicBezTo>
                <a:cubicBezTo>
                  <a:pt x="1741" y="156"/>
                  <a:pt x="1741" y="156"/>
                  <a:pt x="1741" y="156"/>
                </a:cubicBezTo>
                <a:cubicBezTo>
                  <a:pt x="1741" y="157"/>
                  <a:pt x="1741" y="157"/>
                  <a:pt x="1741" y="157"/>
                </a:cubicBezTo>
                <a:cubicBezTo>
                  <a:pt x="1741" y="160"/>
                  <a:pt x="1741" y="160"/>
                  <a:pt x="1741" y="160"/>
                </a:cubicBezTo>
                <a:cubicBezTo>
                  <a:pt x="1740" y="159"/>
                  <a:pt x="1740" y="159"/>
                  <a:pt x="1740" y="159"/>
                </a:cubicBezTo>
                <a:cubicBezTo>
                  <a:pt x="1740" y="158"/>
                  <a:pt x="1740" y="158"/>
                  <a:pt x="1740" y="158"/>
                </a:cubicBezTo>
                <a:cubicBezTo>
                  <a:pt x="1738" y="159"/>
                  <a:pt x="1738" y="159"/>
                  <a:pt x="1738" y="159"/>
                </a:cubicBezTo>
                <a:cubicBezTo>
                  <a:pt x="1738" y="160"/>
                  <a:pt x="1738" y="160"/>
                  <a:pt x="1738" y="160"/>
                </a:cubicBezTo>
                <a:cubicBezTo>
                  <a:pt x="1737" y="158"/>
                  <a:pt x="1737" y="158"/>
                  <a:pt x="1737" y="158"/>
                </a:cubicBezTo>
                <a:cubicBezTo>
                  <a:pt x="1737" y="156"/>
                  <a:pt x="1737" y="156"/>
                  <a:pt x="1737" y="156"/>
                </a:cubicBezTo>
                <a:cubicBezTo>
                  <a:pt x="1736" y="156"/>
                  <a:pt x="1736" y="156"/>
                  <a:pt x="1736" y="156"/>
                </a:cubicBezTo>
                <a:cubicBezTo>
                  <a:pt x="1735" y="154"/>
                  <a:pt x="1735" y="154"/>
                  <a:pt x="1735" y="154"/>
                </a:cubicBezTo>
                <a:cubicBezTo>
                  <a:pt x="1734" y="153"/>
                  <a:pt x="1734" y="153"/>
                  <a:pt x="1734" y="153"/>
                </a:cubicBezTo>
                <a:cubicBezTo>
                  <a:pt x="1733" y="153"/>
                  <a:pt x="1733" y="153"/>
                  <a:pt x="1733" y="153"/>
                </a:cubicBezTo>
                <a:cubicBezTo>
                  <a:pt x="1731" y="153"/>
                  <a:pt x="1731" y="153"/>
                  <a:pt x="1731" y="153"/>
                </a:cubicBezTo>
                <a:cubicBezTo>
                  <a:pt x="1729" y="153"/>
                  <a:pt x="1729" y="153"/>
                  <a:pt x="1729" y="153"/>
                </a:cubicBezTo>
                <a:cubicBezTo>
                  <a:pt x="1728" y="151"/>
                  <a:pt x="1728" y="151"/>
                  <a:pt x="1728" y="151"/>
                </a:cubicBezTo>
                <a:cubicBezTo>
                  <a:pt x="1728" y="151"/>
                  <a:pt x="1728" y="151"/>
                  <a:pt x="1728" y="151"/>
                </a:cubicBezTo>
                <a:cubicBezTo>
                  <a:pt x="1731" y="151"/>
                  <a:pt x="1731" y="151"/>
                  <a:pt x="1731" y="151"/>
                </a:cubicBezTo>
                <a:cubicBezTo>
                  <a:pt x="1733" y="151"/>
                  <a:pt x="1733" y="151"/>
                  <a:pt x="1733" y="151"/>
                </a:cubicBezTo>
                <a:cubicBezTo>
                  <a:pt x="1736" y="152"/>
                  <a:pt x="1736" y="152"/>
                  <a:pt x="1736" y="152"/>
                </a:cubicBezTo>
                <a:cubicBezTo>
                  <a:pt x="1739" y="152"/>
                  <a:pt x="1739" y="152"/>
                  <a:pt x="1739" y="152"/>
                </a:cubicBezTo>
                <a:cubicBezTo>
                  <a:pt x="1742" y="151"/>
                  <a:pt x="1742" y="151"/>
                  <a:pt x="1742" y="151"/>
                </a:cubicBezTo>
                <a:cubicBezTo>
                  <a:pt x="1744" y="148"/>
                  <a:pt x="1744" y="148"/>
                  <a:pt x="1744" y="148"/>
                </a:cubicBezTo>
                <a:cubicBezTo>
                  <a:pt x="1748" y="147"/>
                  <a:pt x="1748" y="147"/>
                  <a:pt x="1748" y="147"/>
                </a:cubicBezTo>
                <a:cubicBezTo>
                  <a:pt x="1749" y="145"/>
                  <a:pt x="1749" y="145"/>
                  <a:pt x="1749" y="145"/>
                </a:cubicBezTo>
                <a:cubicBezTo>
                  <a:pt x="1749" y="145"/>
                  <a:pt x="1749" y="145"/>
                  <a:pt x="1749" y="145"/>
                </a:cubicBezTo>
                <a:cubicBezTo>
                  <a:pt x="1748" y="144"/>
                  <a:pt x="1748" y="144"/>
                  <a:pt x="1748" y="144"/>
                </a:cubicBezTo>
                <a:cubicBezTo>
                  <a:pt x="1748" y="143"/>
                  <a:pt x="1748" y="143"/>
                  <a:pt x="1748" y="143"/>
                </a:cubicBezTo>
                <a:cubicBezTo>
                  <a:pt x="1746" y="143"/>
                  <a:pt x="1746" y="143"/>
                  <a:pt x="1746" y="143"/>
                </a:cubicBezTo>
                <a:cubicBezTo>
                  <a:pt x="1745" y="143"/>
                  <a:pt x="1745" y="143"/>
                  <a:pt x="1745" y="143"/>
                </a:cubicBezTo>
                <a:cubicBezTo>
                  <a:pt x="1742" y="141"/>
                  <a:pt x="1742" y="141"/>
                  <a:pt x="1742" y="141"/>
                </a:cubicBezTo>
                <a:cubicBezTo>
                  <a:pt x="1741" y="141"/>
                  <a:pt x="1741" y="141"/>
                  <a:pt x="1741" y="141"/>
                </a:cubicBezTo>
                <a:cubicBezTo>
                  <a:pt x="1739" y="143"/>
                  <a:pt x="1739" y="143"/>
                  <a:pt x="1739" y="143"/>
                </a:cubicBezTo>
                <a:cubicBezTo>
                  <a:pt x="1738" y="143"/>
                  <a:pt x="1738" y="143"/>
                  <a:pt x="1738" y="143"/>
                </a:cubicBezTo>
                <a:cubicBezTo>
                  <a:pt x="1738" y="142"/>
                  <a:pt x="1738" y="142"/>
                  <a:pt x="1738" y="142"/>
                </a:cubicBezTo>
                <a:cubicBezTo>
                  <a:pt x="1740" y="141"/>
                  <a:pt x="1740" y="141"/>
                  <a:pt x="1740" y="141"/>
                </a:cubicBezTo>
                <a:cubicBezTo>
                  <a:pt x="1740" y="140"/>
                  <a:pt x="1740" y="140"/>
                  <a:pt x="1740" y="140"/>
                </a:cubicBezTo>
                <a:cubicBezTo>
                  <a:pt x="1738" y="139"/>
                  <a:pt x="1738" y="139"/>
                  <a:pt x="1738" y="139"/>
                </a:cubicBezTo>
                <a:cubicBezTo>
                  <a:pt x="1738" y="139"/>
                  <a:pt x="1738" y="139"/>
                  <a:pt x="1738" y="139"/>
                </a:cubicBezTo>
                <a:cubicBezTo>
                  <a:pt x="1736" y="139"/>
                  <a:pt x="1736" y="139"/>
                  <a:pt x="1736" y="139"/>
                </a:cubicBezTo>
                <a:cubicBezTo>
                  <a:pt x="1735" y="141"/>
                  <a:pt x="1735" y="141"/>
                  <a:pt x="1735" y="141"/>
                </a:cubicBezTo>
                <a:cubicBezTo>
                  <a:pt x="1734" y="141"/>
                  <a:pt x="1734" y="141"/>
                  <a:pt x="1734" y="141"/>
                </a:cubicBezTo>
                <a:cubicBezTo>
                  <a:pt x="1734" y="139"/>
                  <a:pt x="1734" y="139"/>
                  <a:pt x="1734" y="139"/>
                </a:cubicBezTo>
                <a:cubicBezTo>
                  <a:pt x="1733" y="139"/>
                  <a:pt x="1733" y="139"/>
                  <a:pt x="1733" y="139"/>
                </a:cubicBezTo>
                <a:cubicBezTo>
                  <a:pt x="1733" y="141"/>
                  <a:pt x="1733" y="141"/>
                  <a:pt x="1733" y="141"/>
                </a:cubicBezTo>
                <a:cubicBezTo>
                  <a:pt x="1732" y="141"/>
                  <a:pt x="1732" y="141"/>
                  <a:pt x="1732" y="141"/>
                </a:cubicBezTo>
                <a:cubicBezTo>
                  <a:pt x="1731" y="140"/>
                  <a:pt x="1731" y="140"/>
                  <a:pt x="1731" y="140"/>
                </a:cubicBezTo>
                <a:cubicBezTo>
                  <a:pt x="1733" y="139"/>
                  <a:pt x="1733" y="139"/>
                  <a:pt x="1733" y="139"/>
                </a:cubicBezTo>
                <a:cubicBezTo>
                  <a:pt x="1733" y="137"/>
                  <a:pt x="1733" y="137"/>
                  <a:pt x="1733" y="137"/>
                </a:cubicBezTo>
                <a:cubicBezTo>
                  <a:pt x="1731" y="136"/>
                  <a:pt x="1731" y="136"/>
                  <a:pt x="1731" y="136"/>
                </a:cubicBezTo>
                <a:cubicBezTo>
                  <a:pt x="1729" y="136"/>
                  <a:pt x="1729" y="136"/>
                  <a:pt x="1729" y="136"/>
                </a:cubicBezTo>
                <a:cubicBezTo>
                  <a:pt x="1728" y="137"/>
                  <a:pt x="1728" y="137"/>
                  <a:pt x="1728" y="137"/>
                </a:cubicBezTo>
                <a:cubicBezTo>
                  <a:pt x="1727" y="140"/>
                  <a:pt x="1727" y="140"/>
                  <a:pt x="1727" y="140"/>
                </a:cubicBezTo>
                <a:cubicBezTo>
                  <a:pt x="1726" y="140"/>
                  <a:pt x="1726" y="140"/>
                  <a:pt x="1726" y="140"/>
                </a:cubicBezTo>
                <a:cubicBezTo>
                  <a:pt x="1726" y="141"/>
                  <a:pt x="1726" y="141"/>
                  <a:pt x="1726" y="141"/>
                </a:cubicBezTo>
                <a:cubicBezTo>
                  <a:pt x="1727" y="144"/>
                  <a:pt x="1727" y="144"/>
                  <a:pt x="1727" y="144"/>
                </a:cubicBezTo>
                <a:cubicBezTo>
                  <a:pt x="1727" y="145"/>
                  <a:pt x="1727" y="145"/>
                  <a:pt x="1727" y="145"/>
                </a:cubicBezTo>
                <a:cubicBezTo>
                  <a:pt x="1726" y="146"/>
                  <a:pt x="1726" y="146"/>
                  <a:pt x="1726" y="146"/>
                </a:cubicBezTo>
                <a:cubicBezTo>
                  <a:pt x="1725" y="145"/>
                  <a:pt x="1725" y="145"/>
                  <a:pt x="1725" y="145"/>
                </a:cubicBezTo>
                <a:cubicBezTo>
                  <a:pt x="1724" y="144"/>
                  <a:pt x="1724" y="144"/>
                  <a:pt x="1724" y="144"/>
                </a:cubicBezTo>
                <a:cubicBezTo>
                  <a:pt x="1723" y="145"/>
                  <a:pt x="1723" y="145"/>
                  <a:pt x="1723" y="145"/>
                </a:cubicBezTo>
                <a:cubicBezTo>
                  <a:pt x="1722" y="145"/>
                  <a:pt x="1722" y="145"/>
                  <a:pt x="1722" y="145"/>
                </a:cubicBezTo>
                <a:cubicBezTo>
                  <a:pt x="1719" y="146"/>
                  <a:pt x="1719" y="146"/>
                  <a:pt x="1719" y="146"/>
                </a:cubicBezTo>
                <a:cubicBezTo>
                  <a:pt x="1721" y="143"/>
                  <a:pt x="1721" y="143"/>
                  <a:pt x="1721" y="143"/>
                </a:cubicBezTo>
                <a:cubicBezTo>
                  <a:pt x="1723" y="143"/>
                  <a:pt x="1723" y="143"/>
                  <a:pt x="1723" y="143"/>
                </a:cubicBezTo>
                <a:cubicBezTo>
                  <a:pt x="1724" y="141"/>
                  <a:pt x="1724" y="141"/>
                  <a:pt x="1724" y="141"/>
                </a:cubicBezTo>
                <a:cubicBezTo>
                  <a:pt x="1723" y="140"/>
                  <a:pt x="1723" y="140"/>
                  <a:pt x="1723" y="140"/>
                </a:cubicBezTo>
                <a:cubicBezTo>
                  <a:pt x="1723" y="140"/>
                  <a:pt x="1723" y="140"/>
                  <a:pt x="1723" y="140"/>
                </a:cubicBezTo>
                <a:cubicBezTo>
                  <a:pt x="1721" y="142"/>
                  <a:pt x="1721" y="142"/>
                  <a:pt x="1721" y="142"/>
                </a:cubicBezTo>
                <a:cubicBezTo>
                  <a:pt x="1720" y="141"/>
                  <a:pt x="1720" y="141"/>
                  <a:pt x="1720" y="141"/>
                </a:cubicBezTo>
                <a:cubicBezTo>
                  <a:pt x="1720" y="140"/>
                  <a:pt x="1720" y="140"/>
                  <a:pt x="1720" y="140"/>
                </a:cubicBezTo>
                <a:cubicBezTo>
                  <a:pt x="1721" y="139"/>
                  <a:pt x="1721" y="139"/>
                  <a:pt x="1721" y="139"/>
                </a:cubicBezTo>
                <a:cubicBezTo>
                  <a:pt x="1721" y="138"/>
                  <a:pt x="1721" y="138"/>
                  <a:pt x="1721" y="138"/>
                </a:cubicBezTo>
                <a:cubicBezTo>
                  <a:pt x="1719" y="138"/>
                  <a:pt x="1719" y="138"/>
                  <a:pt x="1719" y="138"/>
                </a:cubicBezTo>
                <a:cubicBezTo>
                  <a:pt x="1719" y="137"/>
                  <a:pt x="1719" y="137"/>
                  <a:pt x="1719" y="137"/>
                </a:cubicBezTo>
                <a:cubicBezTo>
                  <a:pt x="1721" y="137"/>
                  <a:pt x="1721" y="137"/>
                  <a:pt x="1721" y="137"/>
                </a:cubicBezTo>
                <a:cubicBezTo>
                  <a:pt x="1721" y="137"/>
                  <a:pt x="1721" y="137"/>
                  <a:pt x="1721" y="137"/>
                </a:cubicBezTo>
                <a:cubicBezTo>
                  <a:pt x="1723" y="137"/>
                  <a:pt x="1723" y="137"/>
                  <a:pt x="1723" y="137"/>
                </a:cubicBezTo>
                <a:cubicBezTo>
                  <a:pt x="1725" y="134"/>
                  <a:pt x="1725" y="134"/>
                  <a:pt x="1725" y="134"/>
                </a:cubicBezTo>
                <a:cubicBezTo>
                  <a:pt x="1724" y="133"/>
                  <a:pt x="1724" y="133"/>
                  <a:pt x="1724" y="133"/>
                </a:cubicBezTo>
                <a:cubicBezTo>
                  <a:pt x="1722" y="133"/>
                  <a:pt x="1722" y="133"/>
                  <a:pt x="1722" y="133"/>
                </a:cubicBezTo>
                <a:cubicBezTo>
                  <a:pt x="1721" y="133"/>
                  <a:pt x="1721" y="133"/>
                  <a:pt x="1721" y="133"/>
                </a:cubicBezTo>
                <a:cubicBezTo>
                  <a:pt x="1722" y="131"/>
                  <a:pt x="1722" y="131"/>
                  <a:pt x="1722" y="131"/>
                </a:cubicBezTo>
                <a:cubicBezTo>
                  <a:pt x="1721" y="130"/>
                  <a:pt x="1721" y="130"/>
                  <a:pt x="1721" y="130"/>
                </a:cubicBezTo>
                <a:cubicBezTo>
                  <a:pt x="1720" y="131"/>
                  <a:pt x="1720" y="131"/>
                  <a:pt x="1720" y="131"/>
                </a:cubicBezTo>
                <a:cubicBezTo>
                  <a:pt x="1719" y="131"/>
                  <a:pt x="1719" y="131"/>
                  <a:pt x="1719" y="131"/>
                </a:cubicBezTo>
                <a:cubicBezTo>
                  <a:pt x="1718" y="130"/>
                  <a:pt x="1718" y="130"/>
                  <a:pt x="1718" y="130"/>
                </a:cubicBezTo>
                <a:cubicBezTo>
                  <a:pt x="1716" y="131"/>
                  <a:pt x="1716" y="131"/>
                  <a:pt x="1716" y="131"/>
                </a:cubicBezTo>
                <a:cubicBezTo>
                  <a:pt x="1716" y="132"/>
                  <a:pt x="1716" y="132"/>
                  <a:pt x="1716" y="132"/>
                </a:cubicBezTo>
                <a:cubicBezTo>
                  <a:pt x="1717" y="134"/>
                  <a:pt x="1717" y="134"/>
                  <a:pt x="1717" y="134"/>
                </a:cubicBezTo>
                <a:cubicBezTo>
                  <a:pt x="1717" y="135"/>
                  <a:pt x="1717" y="135"/>
                  <a:pt x="1717" y="135"/>
                </a:cubicBezTo>
                <a:cubicBezTo>
                  <a:pt x="1716" y="135"/>
                  <a:pt x="1716" y="135"/>
                  <a:pt x="1716" y="135"/>
                </a:cubicBezTo>
                <a:cubicBezTo>
                  <a:pt x="1714" y="133"/>
                  <a:pt x="1714" y="133"/>
                  <a:pt x="1714" y="133"/>
                </a:cubicBezTo>
                <a:cubicBezTo>
                  <a:pt x="1713" y="134"/>
                  <a:pt x="1713" y="134"/>
                  <a:pt x="1713" y="134"/>
                </a:cubicBezTo>
                <a:cubicBezTo>
                  <a:pt x="1713" y="136"/>
                  <a:pt x="1713" y="136"/>
                  <a:pt x="1713" y="136"/>
                </a:cubicBezTo>
                <a:cubicBezTo>
                  <a:pt x="1713" y="136"/>
                  <a:pt x="1713" y="136"/>
                  <a:pt x="1713" y="136"/>
                </a:cubicBezTo>
                <a:cubicBezTo>
                  <a:pt x="1715" y="136"/>
                  <a:pt x="1715" y="136"/>
                  <a:pt x="1715" y="136"/>
                </a:cubicBezTo>
                <a:cubicBezTo>
                  <a:pt x="1716" y="137"/>
                  <a:pt x="1716" y="137"/>
                  <a:pt x="1716" y="137"/>
                </a:cubicBezTo>
                <a:cubicBezTo>
                  <a:pt x="1715" y="138"/>
                  <a:pt x="1715" y="138"/>
                  <a:pt x="1715" y="138"/>
                </a:cubicBezTo>
                <a:cubicBezTo>
                  <a:pt x="1714" y="138"/>
                  <a:pt x="1714" y="138"/>
                  <a:pt x="1714" y="138"/>
                </a:cubicBezTo>
                <a:cubicBezTo>
                  <a:pt x="1714" y="140"/>
                  <a:pt x="1714" y="140"/>
                  <a:pt x="1714" y="140"/>
                </a:cubicBezTo>
                <a:cubicBezTo>
                  <a:pt x="1713" y="141"/>
                  <a:pt x="1713" y="141"/>
                  <a:pt x="1713" y="141"/>
                </a:cubicBezTo>
                <a:cubicBezTo>
                  <a:pt x="1713" y="142"/>
                  <a:pt x="1713" y="142"/>
                  <a:pt x="1713" y="142"/>
                </a:cubicBezTo>
                <a:cubicBezTo>
                  <a:pt x="1713" y="142"/>
                  <a:pt x="1713" y="142"/>
                  <a:pt x="1713" y="142"/>
                </a:cubicBezTo>
                <a:cubicBezTo>
                  <a:pt x="1712" y="143"/>
                  <a:pt x="1712" y="143"/>
                  <a:pt x="1712" y="143"/>
                </a:cubicBezTo>
                <a:cubicBezTo>
                  <a:pt x="1713" y="145"/>
                  <a:pt x="1713" y="145"/>
                  <a:pt x="1713" y="145"/>
                </a:cubicBezTo>
                <a:cubicBezTo>
                  <a:pt x="1712" y="146"/>
                  <a:pt x="1712" y="146"/>
                  <a:pt x="1712" y="146"/>
                </a:cubicBezTo>
                <a:cubicBezTo>
                  <a:pt x="1711" y="145"/>
                  <a:pt x="1711" y="145"/>
                  <a:pt x="1711" y="145"/>
                </a:cubicBezTo>
                <a:cubicBezTo>
                  <a:pt x="1710" y="146"/>
                  <a:pt x="1710" y="146"/>
                  <a:pt x="1710" y="146"/>
                </a:cubicBezTo>
                <a:cubicBezTo>
                  <a:pt x="1710" y="147"/>
                  <a:pt x="1710" y="147"/>
                  <a:pt x="1710" y="147"/>
                </a:cubicBezTo>
                <a:cubicBezTo>
                  <a:pt x="1708" y="147"/>
                  <a:pt x="1708" y="147"/>
                  <a:pt x="1708" y="147"/>
                </a:cubicBezTo>
                <a:cubicBezTo>
                  <a:pt x="1708" y="146"/>
                  <a:pt x="1708" y="146"/>
                  <a:pt x="1708" y="146"/>
                </a:cubicBezTo>
                <a:cubicBezTo>
                  <a:pt x="1710" y="142"/>
                  <a:pt x="1710" y="142"/>
                  <a:pt x="1710" y="142"/>
                </a:cubicBezTo>
                <a:cubicBezTo>
                  <a:pt x="1708" y="141"/>
                  <a:pt x="1708" y="141"/>
                  <a:pt x="1708" y="141"/>
                </a:cubicBezTo>
                <a:cubicBezTo>
                  <a:pt x="1708" y="141"/>
                  <a:pt x="1708" y="141"/>
                  <a:pt x="1708" y="141"/>
                </a:cubicBezTo>
                <a:cubicBezTo>
                  <a:pt x="1709" y="139"/>
                  <a:pt x="1709" y="139"/>
                  <a:pt x="1709" y="139"/>
                </a:cubicBezTo>
                <a:cubicBezTo>
                  <a:pt x="1709" y="136"/>
                  <a:pt x="1709" y="136"/>
                  <a:pt x="1709" y="136"/>
                </a:cubicBezTo>
                <a:cubicBezTo>
                  <a:pt x="1709" y="135"/>
                  <a:pt x="1709" y="135"/>
                  <a:pt x="1709" y="135"/>
                </a:cubicBezTo>
                <a:cubicBezTo>
                  <a:pt x="1708" y="135"/>
                  <a:pt x="1708" y="135"/>
                  <a:pt x="1708" y="135"/>
                </a:cubicBezTo>
                <a:cubicBezTo>
                  <a:pt x="1705" y="140"/>
                  <a:pt x="1705" y="140"/>
                  <a:pt x="1705" y="140"/>
                </a:cubicBezTo>
                <a:cubicBezTo>
                  <a:pt x="1705" y="142"/>
                  <a:pt x="1705" y="142"/>
                  <a:pt x="1705" y="142"/>
                </a:cubicBezTo>
                <a:cubicBezTo>
                  <a:pt x="1703" y="145"/>
                  <a:pt x="1703" y="145"/>
                  <a:pt x="1703" y="145"/>
                </a:cubicBezTo>
                <a:cubicBezTo>
                  <a:pt x="1702" y="148"/>
                  <a:pt x="1702" y="148"/>
                  <a:pt x="1702" y="148"/>
                </a:cubicBezTo>
                <a:cubicBezTo>
                  <a:pt x="1703" y="149"/>
                  <a:pt x="1703" y="149"/>
                  <a:pt x="1703" y="149"/>
                </a:cubicBezTo>
                <a:cubicBezTo>
                  <a:pt x="1702" y="151"/>
                  <a:pt x="1702" y="151"/>
                  <a:pt x="1702" y="151"/>
                </a:cubicBezTo>
                <a:cubicBezTo>
                  <a:pt x="1700" y="154"/>
                  <a:pt x="1700" y="154"/>
                  <a:pt x="1700" y="154"/>
                </a:cubicBezTo>
                <a:cubicBezTo>
                  <a:pt x="1698" y="154"/>
                  <a:pt x="1698" y="154"/>
                  <a:pt x="1698" y="154"/>
                </a:cubicBezTo>
                <a:cubicBezTo>
                  <a:pt x="1698" y="153"/>
                  <a:pt x="1698" y="153"/>
                  <a:pt x="1698" y="153"/>
                </a:cubicBezTo>
                <a:cubicBezTo>
                  <a:pt x="1698" y="151"/>
                  <a:pt x="1698" y="151"/>
                  <a:pt x="1698" y="151"/>
                </a:cubicBezTo>
                <a:cubicBezTo>
                  <a:pt x="1700" y="149"/>
                  <a:pt x="1700" y="149"/>
                  <a:pt x="1700" y="149"/>
                </a:cubicBezTo>
                <a:cubicBezTo>
                  <a:pt x="1699" y="147"/>
                  <a:pt x="1699" y="147"/>
                  <a:pt x="1699" y="147"/>
                </a:cubicBezTo>
                <a:cubicBezTo>
                  <a:pt x="1700" y="146"/>
                  <a:pt x="1700" y="146"/>
                  <a:pt x="1700" y="146"/>
                </a:cubicBezTo>
                <a:cubicBezTo>
                  <a:pt x="1699" y="144"/>
                  <a:pt x="1699" y="144"/>
                  <a:pt x="1699" y="144"/>
                </a:cubicBezTo>
                <a:cubicBezTo>
                  <a:pt x="1702" y="141"/>
                  <a:pt x="1702" y="141"/>
                  <a:pt x="1702" y="141"/>
                </a:cubicBezTo>
                <a:cubicBezTo>
                  <a:pt x="1703" y="139"/>
                  <a:pt x="1703" y="139"/>
                  <a:pt x="1703" y="139"/>
                </a:cubicBezTo>
                <a:cubicBezTo>
                  <a:pt x="1703" y="138"/>
                  <a:pt x="1703" y="138"/>
                  <a:pt x="1703" y="138"/>
                </a:cubicBezTo>
                <a:cubicBezTo>
                  <a:pt x="1703" y="137"/>
                  <a:pt x="1703" y="137"/>
                  <a:pt x="1703" y="137"/>
                </a:cubicBezTo>
                <a:cubicBezTo>
                  <a:pt x="1701" y="137"/>
                  <a:pt x="1701" y="137"/>
                  <a:pt x="1701" y="137"/>
                </a:cubicBezTo>
                <a:cubicBezTo>
                  <a:pt x="1700" y="135"/>
                  <a:pt x="1700" y="135"/>
                  <a:pt x="1700" y="135"/>
                </a:cubicBezTo>
                <a:cubicBezTo>
                  <a:pt x="1699" y="136"/>
                  <a:pt x="1699" y="136"/>
                  <a:pt x="1699" y="136"/>
                </a:cubicBezTo>
                <a:cubicBezTo>
                  <a:pt x="1699" y="138"/>
                  <a:pt x="1699" y="138"/>
                  <a:pt x="1699" y="138"/>
                </a:cubicBezTo>
                <a:cubicBezTo>
                  <a:pt x="1698" y="139"/>
                  <a:pt x="1698" y="139"/>
                  <a:pt x="1698" y="139"/>
                </a:cubicBezTo>
                <a:cubicBezTo>
                  <a:pt x="1698" y="137"/>
                  <a:pt x="1698" y="137"/>
                  <a:pt x="1698" y="137"/>
                </a:cubicBezTo>
                <a:cubicBezTo>
                  <a:pt x="1697" y="136"/>
                  <a:pt x="1697" y="136"/>
                  <a:pt x="1697" y="136"/>
                </a:cubicBezTo>
                <a:cubicBezTo>
                  <a:pt x="1695" y="135"/>
                  <a:pt x="1695" y="135"/>
                  <a:pt x="1695" y="135"/>
                </a:cubicBezTo>
                <a:cubicBezTo>
                  <a:pt x="1694" y="136"/>
                  <a:pt x="1694" y="136"/>
                  <a:pt x="1694" y="136"/>
                </a:cubicBezTo>
                <a:cubicBezTo>
                  <a:pt x="1694" y="139"/>
                  <a:pt x="1694" y="139"/>
                  <a:pt x="1694" y="139"/>
                </a:cubicBezTo>
                <a:cubicBezTo>
                  <a:pt x="1693" y="140"/>
                  <a:pt x="1693" y="140"/>
                  <a:pt x="1693" y="140"/>
                </a:cubicBezTo>
                <a:cubicBezTo>
                  <a:pt x="1693" y="139"/>
                  <a:pt x="1693" y="139"/>
                  <a:pt x="1693" y="139"/>
                </a:cubicBezTo>
                <a:cubicBezTo>
                  <a:pt x="1691" y="138"/>
                  <a:pt x="1691" y="138"/>
                  <a:pt x="1691" y="138"/>
                </a:cubicBezTo>
                <a:cubicBezTo>
                  <a:pt x="1691" y="139"/>
                  <a:pt x="1691" y="139"/>
                  <a:pt x="1691" y="139"/>
                </a:cubicBezTo>
                <a:cubicBezTo>
                  <a:pt x="1691" y="140"/>
                  <a:pt x="1691" y="140"/>
                  <a:pt x="1691" y="140"/>
                </a:cubicBezTo>
                <a:cubicBezTo>
                  <a:pt x="1693" y="141"/>
                  <a:pt x="1693" y="141"/>
                  <a:pt x="1693" y="141"/>
                </a:cubicBezTo>
                <a:cubicBezTo>
                  <a:pt x="1694" y="143"/>
                  <a:pt x="1694" y="143"/>
                  <a:pt x="1694" y="143"/>
                </a:cubicBezTo>
                <a:cubicBezTo>
                  <a:pt x="1693" y="143"/>
                  <a:pt x="1693" y="143"/>
                  <a:pt x="1693" y="143"/>
                </a:cubicBezTo>
                <a:cubicBezTo>
                  <a:pt x="1692" y="142"/>
                  <a:pt x="1692" y="142"/>
                  <a:pt x="1692" y="142"/>
                </a:cubicBezTo>
                <a:cubicBezTo>
                  <a:pt x="1691" y="144"/>
                  <a:pt x="1691" y="144"/>
                  <a:pt x="1691" y="144"/>
                </a:cubicBezTo>
                <a:cubicBezTo>
                  <a:pt x="1691" y="145"/>
                  <a:pt x="1691" y="145"/>
                  <a:pt x="1691" y="145"/>
                </a:cubicBezTo>
                <a:cubicBezTo>
                  <a:pt x="1691" y="145"/>
                  <a:pt x="1691" y="145"/>
                  <a:pt x="1691" y="145"/>
                </a:cubicBezTo>
                <a:cubicBezTo>
                  <a:pt x="1691" y="146"/>
                  <a:pt x="1691" y="146"/>
                  <a:pt x="1691" y="146"/>
                </a:cubicBezTo>
                <a:cubicBezTo>
                  <a:pt x="1689" y="145"/>
                  <a:pt x="1689" y="145"/>
                  <a:pt x="1689" y="145"/>
                </a:cubicBezTo>
                <a:cubicBezTo>
                  <a:pt x="1688" y="145"/>
                  <a:pt x="1688" y="145"/>
                  <a:pt x="1688" y="145"/>
                </a:cubicBezTo>
                <a:cubicBezTo>
                  <a:pt x="1687" y="147"/>
                  <a:pt x="1687" y="147"/>
                  <a:pt x="1687" y="147"/>
                </a:cubicBezTo>
                <a:cubicBezTo>
                  <a:pt x="1686" y="148"/>
                  <a:pt x="1686" y="148"/>
                  <a:pt x="1686" y="148"/>
                </a:cubicBezTo>
                <a:cubicBezTo>
                  <a:pt x="1686" y="148"/>
                  <a:pt x="1686" y="148"/>
                  <a:pt x="1686" y="148"/>
                </a:cubicBezTo>
                <a:cubicBezTo>
                  <a:pt x="1686" y="149"/>
                  <a:pt x="1686" y="149"/>
                  <a:pt x="1686" y="149"/>
                </a:cubicBezTo>
                <a:cubicBezTo>
                  <a:pt x="1685" y="150"/>
                  <a:pt x="1685" y="150"/>
                  <a:pt x="1685" y="150"/>
                </a:cubicBezTo>
                <a:cubicBezTo>
                  <a:pt x="1684" y="152"/>
                  <a:pt x="1684" y="152"/>
                  <a:pt x="1684" y="152"/>
                </a:cubicBezTo>
                <a:cubicBezTo>
                  <a:pt x="1686" y="153"/>
                  <a:pt x="1686" y="153"/>
                  <a:pt x="1686" y="153"/>
                </a:cubicBezTo>
                <a:cubicBezTo>
                  <a:pt x="1685" y="154"/>
                  <a:pt x="1685" y="154"/>
                  <a:pt x="1685" y="154"/>
                </a:cubicBezTo>
                <a:cubicBezTo>
                  <a:pt x="1686" y="155"/>
                  <a:pt x="1686" y="155"/>
                  <a:pt x="1686" y="155"/>
                </a:cubicBezTo>
                <a:cubicBezTo>
                  <a:pt x="1687" y="156"/>
                  <a:pt x="1687" y="156"/>
                  <a:pt x="1687" y="156"/>
                </a:cubicBezTo>
                <a:cubicBezTo>
                  <a:pt x="1686" y="157"/>
                  <a:pt x="1686" y="157"/>
                  <a:pt x="1686" y="157"/>
                </a:cubicBezTo>
                <a:cubicBezTo>
                  <a:pt x="1683" y="156"/>
                  <a:pt x="1683" y="156"/>
                  <a:pt x="1683" y="156"/>
                </a:cubicBezTo>
                <a:cubicBezTo>
                  <a:pt x="1683" y="154"/>
                  <a:pt x="1683" y="154"/>
                  <a:pt x="1683" y="154"/>
                </a:cubicBezTo>
                <a:cubicBezTo>
                  <a:pt x="1682" y="154"/>
                  <a:pt x="1682" y="154"/>
                  <a:pt x="1682" y="154"/>
                </a:cubicBezTo>
                <a:cubicBezTo>
                  <a:pt x="1683" y="152"/>
                  <a:pt x="1683" y="152"/>
                  <a:pt x="1683" y="152"/>
                </a:cubicBezTo>
                <a:cubicBezTo>
                  <a:pt x="1681" y="151"/>
                  <a:pt x="1681" y="151"/>
                  <a:pt x="1681" y="151"/>
                </a:cubicBezTo>
                <a:cubicBezTo>
                  <a:pt x="1679" y="152"/>
                  <a:pt x="1679" y="152"/>
                  <a:pt x="1679" y="152"/>
                </a:cubicBezTo>
                <a:cubicBezTo>
                  <a:pt x="1677" y="151"/>
                  <a:pt x="1677" y="151"/>
                  <a:pt x="1677" y="151"/>
                </a:cubicBezTo>
                <a:cubicBezTo>
                  <a:pt x="1674" y="149"/>
                  <a:pt x="1674" y="149"/>
                  <a:pt x="1674" y="149"/>
                </a:cubicBezTo>
                <a:cubicBezTo>
                  <a:pt x="1673" y="149"/>
                  <a:pt x="1673" y="149"/>
                  <a:pt x="1673" y="149"/>
                </a:cubicBezTo>
                <a:cubicBezTo>
                  <a:pt x="1672" y="150"/>
                  <a:pt x="1672" y="150"/>
                  <a:pt x="1672" y="150"/>
                </a:cubicBezTo>
                <a:cubicBezTo>
                  <a:pt x="1671" y="149"/>
                  <a:pt x="1671" y="149"/>
                  <a:pt x="1671" y="149"/>
                </a:cubicBezTo>
                <a:cubicBezTo>
                  <a:pt x="1670" y="150"/>
                  <a:pt x="1670" y="150"/>
                  <a:pt x="1670" y="150"/>
                </a:cubicBezTo>
                <a:cubicBezTo>
                  <a:pt x="1668" y="151"/>
                  <a:pt x="1668" y="151"/>
                  <a:pt x="1668" y="151"/>
                </a:cubicBezTo>
                <a:cubicBezTo>
                  <a:pt x="1668" y="152"/>
                  <a:pt x="1668" y="152"/>
                  <a:pt x="1668" y="152"/>
                </a:cubicBezTo>
                <a:cubicBezTo>
                  <a:pt x="1670" y="154"/>
                  <a:pt x="1670" y="154"/>
                  <a:pt x="1670" y="154"/>
                </a:cubicBezTo>
                <a:cubicBezTo>
                  <a:pt x="1672" y="154"/>
                  <a:pt x="1672" y="154"/>
                  <a:pt x="1672" y="154"/>
                </a:cubicBezTo>
                <a:cubicBezTo>
                  <a:pt x="1673" y="155"/>
                  <a:pt x="1673" y="155"/>
                  <a:pt x="1673" y="155"/>
                </a:cubicBezTo>
                <a:cubicBezTo>
                  <a:pt x="1675" y="155"/>
                  <a:pt x="1675" y="155"/>
                  <a:pt x="1675" y="155"/>
                </a:cubicBezTo>
                <a:cubicBezTo>
                  <a:pt x="1674" y="157"/>
                  <a:pt x="1674" y="157"/>
                  <a:pt x="1674" y="157"/>
                </a:cubicBezTo>
                <a:cubicBezTo>
                  <a:pt x="1674" y="159"/>
                  <a:pt x="1674" y="159"/>
                  <a:pt x="1674" y="159"/>
                </a:cubicBezTo>
                <a:cubicBezTo>
                  <a:pt x="1676" y="161"/>
                  <a:pt x="1676" y="161"/>
                  <a:pt x="1676" y="161"/>
                </a:cubicBezTo>
                <a:cubicBezTo>
                  <a:pt x="1675" y="162"/>
                  <a:pt x="1675" y="162"/>
                  <a:pt x="1675" y="162"/>
                </a:cubicBezTo>
                <a:cubicBezTo>
                  <a:pt x="1674" y="161"/>
                  <a:pt x="1674" y="161"/>
                  <a:pt x="1674" y="161"/>
                </a:cubicBezTo>
                <a:cubicBezTo>
                  <a:pt x="1673" y="159"/>
                  <a:pt x="1673" y="159"/>
                  <a:pt x="1673" y="159"/>
                </a:cubicBezTo>
                <a:cubicBezTo>
                  <a:pt x="1671" y="158"/>
                  <a:pt x="1671" y="158"/>
                  <a:pt x="1671" y="158"/>
                </a:cubicBezTo>
                <a:cubicBezTo>
                  <a:pt x="1670" y="157"/>
                  <a:pt x="1670" y="157"/>
                  <a:pt x="1670" y="157"/>
                </a:cubicBezTo>
                <a:cubicBezTo>
                  <a:pt x="1669" y="159"/>
                  <a:pt x="1669" y="159"/>
                  <a:pt x="1669" y="159"/>
                </a:cubicBezTo>
                <a:cubicBezTo>
                  <a:pt x="1668" y="160"/>
                  <a:pt x="1668" y="160"/>
                  <a:pt x="1668" y="160"/>
                </a:cubicBezTo>
                <a:cubicBezTo>
                  <a:pt x="1668" y="158"/>
                  <a:pt x="1668" y="158"/>
                  <a:pt x="1668" y="158"/>
                </a:cubicBezTo>
                <a:cubicBezTo>
                  <a:pt x="1666" y="159"/>
                  <a:pt x="1666" y="159"/>
                  <a:pt x="1666" y="159"/>
                </a:cubicBezTo>
                <a:cubicBezTo>
                  <a:pt x="1666" y="160"/>
                  <a:pt x="1666" y="160"/>
                  <a:pt x="1666" y="160"/>
                </a:cubicBezTo>
                <a:cubicBezTo>
                  <a:pt x="1664" y="162"/>
                  <a:pt x="1664" y="162"/>
                  <a:pt x="1664" y="162"/>
                </a:cubicBezTo>
                <a:cubicBezTo>
                  <a:pt x="1664" y="163"/>
                  <a:pt x="1664" y="163"/>
                  <a:pt x="1664" y="163"/>
                </a:cubicBezTo>
                <a:cubicBezTo>
                  <a:pt x="1666" y="164"/>
                  <a:pt x="1666" y="164"/>
                  <a:pt x="1666" y="164"/>
                </a:cubicBezTo>
                <a:cubicBezTo>
                  <a:pt x="1667" y="166"/>
                  <a:pt x="1667" y="166"/>
                  <a:pt x="1667" y="166"/>
                </a:cubicBezTo>
                <a:cubicBezTo>
                  <a:pt x="1666" y="166"/>
                  <a:pt x="1666" y="166"/>
                  <a:pt x="1666" y="166"/>
                </a:cubicBezTo>
                <a:cubicBezTo>
                  <a:pt x="1665" y="165"/>
                  <a:pt x="1665" y="165"/>
                  <a:pt x="1665" y="165"/>
                </a:cubicBezTo>
                <a:cubicBezTo>
                  <a:pt x="1663" y="167"/>
                  <a:pt x="1663" y="167"/>
                  <a:pt x="1663" y="167"/>
                </a:cubicBezTo>
                <a:cubicBezTo>
                  <a:pt x="1663" y="168"/>
                  <a:pt x="1663" y="168"/>
                  <a:pt x="1663" y="168"/>
                </a:cubicBezTo>
                <a:cubicBezTo>
                  <a:pt x="1661" y="170"/>
                  <a:pt x="1661" y="170"/>
                  <a:pt x="1661" y="170"/>
                </a:cubicBezTo>
                <a:cubicBezTo>
                  <a:pt x="1661" y="169"/>
                  <a:pt x="1661" y="169"/>
                  <a:pt x="1661" y="169"/>
                </a:cubicBezTo>
                <a:cubicBezTo>
                  <a:pt x="1662" y="168"/>
                  <a:pt x="1662" y="168"/>
                  <a:pt x="1662" y="168"/>
                </a:cubicBezTo>
                <a:cubicBezTo>
                  <a:pt x="1662" y="167"/>
                  <a:pt x="1662" y="167"/>
                  <a:pt x="1662" y="167"/>
                </a:cubicBezTo>
                <a:cubicBezTo>
                  <a:pt x="1663" y="164"/>
                  <a:pt x="1663" y="164"/>
                  <a:pt x="1663" y="164"/>
                </a:cubicBezTo>
                <a:cubicBezTo>
                  <a:pt x="1662" y="158"/>
                  <a:pt x="1662" y="158"/>
                  <a:pt x="1662" y="158"/>
                </a:cubicBezTo>
                <a:cubicBezTo>
                  <a:pt x="1661" y="159"/>
                  <a:pt x="1661" y="159"/>
                  <a:pt x="1661" y="159"/>
                </a:cubicBezTo>
                <a:cubicBezTo>
                  <a:pt x="1658" y="163"/>
                  <a:pt x="1658" y="163"/>
                  <a:pt x="1658" y="163"/>
                </a:cubicBezTo>
                <a:cubicBezTo>
                  <a:pt x="1658" y="165"/>
                  <a:pt x="1658" y="165"/>
                  <a:pt x="1658" y="165"/>
                </a:cubicBezTo>
                <a:cubicBezTo>
                  <a:pt x="1659" y="166"/>
                  <a:pt x="1659" y="166"/>
                  <a:pt x="1659" y="166"/>
                </a:cubicBezTo>
                <a:cubicBezTo>
                  <a:pt x="1657" y="168"/>
                  <a:pt x="1657" y="168"/>
                  <a:pt x="1657" y="168"/>
                </a:cubicBezTo>
                <a:cubicBezTo>
                  <a:pt x="1657" y="166"/>
                  <a:pt x="1657" y="166"/>
                  <a:pt x="1657" y="166"/>
                </a:cubicBezTo>
                <a:cubicBezTo>
                  <a:pt x="1658" y="164"/>
                  <a:pt x="1658" y="164"/>
                  <a:pt x="1658" y="164"/>
                </a:cubicBezTo>
                <a:cubicBezTo>
                  <a:pt x="1657" y="161"/>
                  <a:pt x="1657" y="161"/>
                  <a:pt x="1657" y="161"/>
                </a:cubicBezTo>
                <a:cubicBezTo>
                  <a:pt x="1656" y="161"/>
                  <a:pt x="1656" y="161"/>
                  <a:pt x="1656" y="161"/>
                </a:cubicBezTo>
                <a:cubicBezTo>
                  <a:pt x="1654" y="162"/>
                  <a:pt x="1654" y="162"/>
                  <a:pt x="1654" y="162"/>
                </a:cubicBezTo>
                <a:cubicBezTo>
                  <a:pt x="1653" y="165"/>
                  <a:pt x="1653" y="165"/>
                  <a:pt x="1653" y="165"/>
                </a:cubicBezTo>
                <a:cubicBezTo>
                  <a:pt x="1654" y="167"/>
                  <a:pt x="1654" y="167"/>
                  <a:pt x="1654" y="167"/>
                </a:cubicBezTo>
                <a:cubicBezTo>
                  <a:pt x="1654" y="169"/>
                  <a:pt x="1654" y="169"/>
                  <a:pt x="1654" y="169"/>
                </a:cubicBezTo>
                <a:cubicBezTo>
                  <a:pt x="1656" y="171"/>
                  <a:pt x="1656" y="171"/>
                  <a:pt x="1656" y="171"/>
                </a:cubicBezTo>
                <a:cubicBezTo>
                  <a:pt x="1657" y="172"/>
                  <a:pt x="1657" y="172"/>
                  <a:pt x="1657" y="172"/>
                </a:cubicBezTo>
                <a:cubicBezTo>
                  <a:pt x="1656" y="174"/>
                  <a:pt x="1656" y="174"/>
                  <a:pt x="1656" y="174"/>
                </a:cubicBezTo>
                <a:cubicBezTo>
                  <a:pt x="1655" y="171"/>
                  <a:pt x="1655" y="171"/>
                  <a:pt x="1655" y="171"/>
                </a:cubicBezTo>
                <a:cubicBezTo>
                  <a:pt x="1653" y="171"/>
                  <a:pt x="1653" y="171"/>
                  <a:pt x="1653" y="171"/>
                </a:cubicBezTo>
                <a:cubicBezTo>
                  <a:pt x="1652" y="167"/>
                  <a:pt x="1652" y="167"/>
                  <a:pt x="1652" y="167"/>
                </a:cubicBezTo>
                <a:cubicBezTo>
                  <a:pt x="1651" y="167"/>
                  <a:pt x="1651" y="167"/>
                  <a:pt x="1651" y="167"/>
                </a:cubicBezTo>
                <a:cubicBezTo>
                  <a:pt x="1649" y="167"/>
                  <a:pt x="1649" y="167"/>
                  <a:pt x="1649" y="167"/>
                </a:cubicBezTo>
                <a:cubicBezTo>
                  <a:pt x="1648" y="169"/>
                  <a:pt x="1648" y="169"/>
                  <a:pt x="1648" y="169"/>
                </a:cubicBezTo>
                <a:cubicBezTo>
                  <a:pt x="1651" y="171"/>
                  <a:pt x="1651" y="171"/>
                  <a:pt x="1651" y="171"/>
                </a:cubicBezTo>
                <a:cubicBezTo>
                  <a:pt x="1652" y="171"/>
                  <a:pt x="1652" y="171"/>
                  <a:pt x="1652" y="171"/>
                </a:cubicBezTo>
                <a:cubicBezTo>
                  <a:pt x="1653" y="172"/>
                  <a:pt x="1653" y="172"/>
                  <a:pt x="1653" y="172"/>
                </a:cubicBezTo>
                <a:cubicBezTo>
                  <a:pt x="1651" y="171"/>
                  <a:pt x="1651" y="171"/>
                  <a:pt x="1651" y="171"/>
                </a:cubicBezTo>
                <a:cubicBezTo>
                  <a:pt x="1649" y="172"/>
                  <a:pt x="1649" y="172"/>
                  <a:pt x="1649" y="172"/>
                </a:cubicBezTo>
                <a:cubicBezTo>
                  <a:pt x="1650" y="174"/>
                  <a:pt x="1650" y="174"/>
                  <a:pt x="1650" y="174"/>
                </a:cubicBezTo>
                <a:cubicBezTo>
                  <a:pt x="1648" y="173"/>
                  <a:pt x="1648" y="173"/>
                  <a:pt x="1648" y="173"/>
                </a:cubicBezTo>
                <a:cubicBezTo>
                  <a:pt x="1648" y="170"/>
                  <a:pt x="1648" y="170"/>
                  <a:pt x="1648" y="170"/>
                </a:cubicBezTo>
                <a:cubicBezTo>
                  <a:pt x="1647" y="170"/>
                  <a:pt x="1647" y="170"/>
                  <a:pt x="1647" y="170"/>
                </a:cubicBezTo>
                <a:cubicBezTo>
                  <a:pt x="1647" y="168"/>
                  <a:pt x="1647" y="168"/>
                  <a:pt x="1647" y="168"/>
                </a:cubicBezTo>
                <a:cubicBezTo>
                  <a:pt x="1646" y="169"/>
                  <a:pt x="1646" y="169"/>
                  <a:pt x="1646" y="169"/>
                </a:cubicBezTo>
                <a:cubicBezTo>
                  <a:pt x="1645" y="172"/>
                  <a:pt x="1645" y="172"/>
                  <a:pt x="1645" y="172"/>
                </a:cubicBezTo>
                <a:cubicBezTo>
                  <a:pt x="1646" y="173"/>
                  <a:pt x="1646" y="173"/>
                  <a:pt x="1646" y="173"/>
                </a:cubicBezTo>
                <a:cubicBezTo>
                  <a:pt x="1646" y="175"/>
                  <a:pt x="1646" y="175"/>
                  <a:pt x="1646" y="175"/>
                </a:cubicBezTo>
                <a:cubicBezTo>
                  <a:pt x="1644" y="174"/>
                  <a:pt x="1644" y="174"/>
                  <a:pt x="1644" y="174"/>
                </a:cubicBezTo>
                <a:cubicBezTo>
                  <a:pt x="1643" y="175"/>
                  <a:pt x="1643" y="175"/>
                  <a:pt x="1643" y="175"/>
                </a:cubicBezTo>
                <a:cubicBezTo>
                  <a:pt x="1641" y="177"/>
                  <a:pt x="1641" y="177"/>
                  <a:pt x="1641" y="177"/>
                </a:cubicBezTo>
                <a:cubicBezTo>
                  <a:pt x="1641" y="177"/>
                  <a:pt x="1641" y="177"/>
                  <a:pt x="1641" y="177"/>
                </a:cubicBezTo>
                <a:cubicBezTo>
                  <a:pt x="1643" y="177"/>
                  <a:pt x="1643" y="177"/>
                  <a:pt x="1643" y="177"/>
                </a:cubicBezTo>
                <a:cubicBezTo>
                  <a:pt x="1644" y="178"/>
                  <a:pt x="1644" y="178"/>
                  <a:pt x="1644" y="178"/>
                </a:cubicBezTo>
                <a:cubicBezTo>
                  <a:pt x="1642" y="179"/>
                  <a:pt x="1642" y="179"/>
                  <a:pt x="1642" y="179"/>
                </a:cubicBezTo>
                <a:cubicBezTo>
                  <a:pt x="1641" y="179"/>
                  <a:pt x="1641" y="179"/>
                  <a:pt x="1641" y="179"/>
                </a:cubicBezTo>
                <a:cubicBezTo>
                  <a:pt x="1642" y="180"/>
                  <a:pt x="1642" y="180"/>
                  <a:pt x="1642" y="180"/>
                </a:cubicBezTo>
                <a:cubicBezTo>
                  <a:pt x="1642" y="181"/>
                  <a:pt x="1642" y="181"/>
                  <a:pt x="1642" y="181"/>
                </a:cubicBezTo>
                <a:cubicBezTo>
                  <a:pt x="1640" y="181"/>
                  <a:pt x="1640" y="181"/>
                  <a:pt x="1640" y="181"/>
                </a:cubicBezTo>
                <a:cubicBezTo>
                  <a:pt x="1640" y="182"/>
                  <a:pt x="1640" y="182"/>
                  <a:pt x="1640" y="182"/>
                </a:cubicBezTo>
                <a:cubicBezTo>
                  <a:pt x="1641" y="183"/>
                  <a:pt x="1641" y="183"/>
                  <a:pt x="1641" y="183"/>
                </a:cubicBezTo>
                <a:cubicBezTo>
                  <a:pt x="1639" y="183"/>
                  <a:pt x="1639" y="183"/>
                  <a:pt x="1639" y="183"/>
                </a:cubicBezTo>
                <a:cubicBezTo>
                  <a:pt x="1639" y="182"/>
                  <a:pt x="1639" y="182"/>
                  <a:pt x="1639" y="182"/>
                </a:cubicBezTo>
                <a:cubicBezTo>
                  <a:pt x="1637" y="182"/>
                  <a:pt x="1637" y="182"/>
                  <a:pt x="1637" y="182"/>
                </a:cubicBezTo>
                <a:cubicBezTo>
                  <a:pt x="1636" y="184"/>
                  <a:pt x="1636" y="184"/>
                  <a:pt x="1636" y="184"/>
                </a:cubicBezTo>
                <a:cubicBezTo>
                  <a:pt x="1636" y="185"/>
                  <a:pt x="1636" y="185"/>
                  <a:pt x="1636" y="185"/>
                </a:cubicBezTo>
                <a:cubicBezTo>
                  <a:pt x="1636" y="186"/>
                  <a:pt x="1636" y="186"/>
                  <a:pt x="1636" y="186"/>
                </a:cubicBezTo>
                <a:cubicBezTo>
                  <a:pt x="1634" y="186"/>
                  <a:pt x="1634" y="186"/>
                  <a:pt x="1634" y="186"/>
                </a:cubicBezTo>
                <a:cubicBezTo>
                  <a:pt x="1633" y="188"/>
                  <a:pt x="1633" y="188"/>
                  <a:pt x="1633" y="188"/>
                </a:cubicBezTo>
                <a:cubicBezTo>
                  <a:pt x="1634" y="188"/>
                  <a:pt x="1634" y="188"/>
                  <a:pt x="1634" y="188"/>
                </a:cubicBezTo>
                <a:cubicBezTo>
                  <a:pt x="1639" y="187"/>
                  <a:pt x="1639" y="187"/>
                  <a:pt x="1639" y="187"/>
                </a:cubicBezTo>
                <a:cubicBezTo>
                  <a:pt x="1640" y="187"/>
                  <a:pt x="1640" y="187"/>
                  <a:pt x="1640" y="187"/>
                </a:cubicBezTo>
                <a:cubicBezTo>
                  <a:pt x="1642" y="187"/>
                  <a:pt x="1642" y="187"/>
                  <a:pt x="1642" y="187"/>
                </a:cubicBezTo>
                <a:cubicBezTo>
                  <a:pt x="1643" y="186"/>
                  <a:pt x="1643" y="186"/>
                  <a:pt x="1643" y="186"/>
                </a:cubicBezTo>
                <a:cubicBezTo>
                  <a:pt x="1643" y="188"/>
                  <a:pt x="1643" y="188"/>
                  <a:pt x="1643" y="188"/>
                </a:cubicBezTo>
                <a:cubicBezTo>
                  <a:pt x="1642" y="189"/>
                  <a:pt x="1642" y="189"/>
                  <a:pt x="1642" y="189"/>
                </a:cubicBezTo>
                <a:cubicBezTo>
                  <a:pt x="1641" y="192"/>
                  <a:pt x="1641" y="192"/>
                  <a:pt x="1641" y="192"/>
                </a:cubicBezTo>
                <a:cubicBezTo>
                  <a:pt x="1641" y="193"/>
                  <a:pt x="1641" y="193"/>
                  <a:pt x="1641" y="193"/>
                </a:cubicBezTo>
                <a:cubicBezTo>
                  <a:pt x="1640" y="192"/>
                  <a:pt x="1640" y="192"/>
                  <a:pt x="1640" y="192"/>
                </a:cubicBezTo>
                <a:cubicBezTo>
                  <a:pt x="1640" y="190"/>
                  <a:pt x="1640" y="190"/>
                  <a:pt x="1640" y="190"/>
                </a:cubicBezTo>
                <a:cubicBezTo>
                  <a:pt x="1638" y="191"/>
                  <a:pt x="1638" y="191"/>
                  <a:pt x="1638" y="191"/>
                </a:cubicBezTo>
                <a:cubicBezTo>
                  <a:pt x="1637" y="190"/>
                  <a:pt x="1637" y="190"/>
                  <a:pt x="1637" y="190"/>
                </a:cubicBezTo>
                <a:cubicBezTo>
                  <a:pt x="1635" y="190"/>
                  <a:pt x="1635" y="190"/>
                  <a:pt x="1635" y="190"/>
                </a:cubicBezTo>
                <a:cubicBezTo>
                  <a:pt x="1636" y="190"/>
                  <a:pt x="1636" y="190"/>
                  <a:pt x="1636" y="190"/>
                </a:cubicBezTo>
                <a:cubicBezTo>
                  <a:pt x="1635" y="192"/>
                  <a:pt x="1635" y="192"/>
                  <a:pt x="1635" y="192"/>
                </a:cubicBezTo>
                <a:cubicBezTo>
                  <a:pt x="1634" y="191"/>
                  <a:pt x="1634" y="191"/>
                  <a:pt x="1634" y="191"/>
                </a:cubicBezTo>
                <a:cubicBezTo>
                  <a:pt x="1633" y="191"/>
                  <a:pt x="1633" y="191"/>
                  <a:pt x="1633" y="191"/>
                </a:cubicBezTo>
                <a:cubicBezTo>
                  <a:pt x="1634" y="192"/>
                  <a:pt x="1634" y="192"/>
                  <a:pt x="1634" y="192"/>
                </a:cubicBezTo>
                <a:cubicBezTo>
                  <a:pt x="1635" y="194"/>
                  <a:pt x="1635" y="194"/>
                  <a:pt x="1635" y="194"/>
                </a:cubicBezTo>
                <a:cubicBezTo>
                  <a:pt x="1634" y="194"/>
                  <a:pt x="1634" y="194"/>
                  <a:pt x="1634" y="194"/>
                </a:cubicBezTo>
                <a:cubicBezTo>
                  <a:pt x="1633" y="195"/>
                  <a:pt x="1633" y="195"/>
                  <a:pt x="1633" y="195"/>
                </a:cubicBezTo>
                <a:cubicBezTo>
                  <a:pt x="1634" y="196"/>
                  <a:pt x="1634" y="196"/>
                  <a:pt x="1634" y="196"/>
                </a:cubicBezTo>
                <a:cubicBezTo>
                  <a:pt x="1633" y="197"/>
                  <a:pt x="1633" y="197"/>
                  <a:pt x="1633" y="197"/>
                </a:cubicBezTo>
                <a:cubicBezTo>
                  <a:pt x="1632" y="196"/>
                  <a:pt x="1632" y="196"/>
                  <a:pt x="1632" y="196"/>
                </a:cubicBezTo>
                <a:cubicBezTo>
                  <a:pt x="1632" y="194"/>
                  <a:pt x="1632" y="194"/>
                  <a:pt x="1632" y="194"/>
                </a:cubicBezTo>
                <a:cubicBezTo>
                  <a:pt x="1631" y="192"/>
                  <a:pt x="1631" y="192"/>
                  <a:pt x="1631" y="192"/>
                </a:cubicBezTo>
                <a:cubicBezTo>
                  <a:pt x="1630" y="194"/>
                  <a:pt x="1630" y="194"/>
                  <a:pt x="1630" y="194"/>
                </a:cubicBezTo>
                <a:cubicBezTo>
                  <a:pt x="1628" y="194"/>
                  <a:pt x="1628" y="194"/>
                  <a:pt x="1628" y="194"/>
                </a:cubicBezTo>
                <a:cubicBezTo>
                  <a:pt x="1628" y="193"/>
                  <a:pt x="1628" y="193"/>
                  <a:pt x="1628" y="193"/>
                </a:cubicBezTo>
                <a:cubicBezTo>
                  <a:pt x="1628" y="192"/>
                  <a:pt x="1628" y="192"/>
                  <a:pt x="1628" y="192"/>
                </a:cubicBezTo>
                <a:cubicBezTo>
                  <a:pt x="1627" y="192"/>
                  <a:pt x="1627" y="192"/>
                  <a:pt x="1627" y="192"/>
                </a:cubicBezTo>
                <a:cubicBezTo>
                  <a:pt x="1625" y="194"/>
                  <a:pt x="1625" y="194"/>
                  <a:pt x="1625" y="194"/>
                </a:cubicBezTo>
                <a:cubicBezTo>
                  <a:pt x="1627" y="195"/>
                  <a:pt x="1627" y="195"/>
                  <a:pt x="1627" y="195"/>
                </a:cubicBezTo>
                <a:cubicBezTo>
                  <a:pt x="1629" y="195"/>
                  <a:pt x="1629" y="195"/>
                  <a:pt x="1629" y="195"/>
                </a:cubicBezTo>
                <a:cubicBezTo>
                  <a:pt x="1631" y="196"/>
                  <a:pt x="1631" y="196"/>
                  <a:pt x="1631" y="196"/>
                </a:cubicBezTo>
                <a:cubicBezTo>
                  <a:pt x="1630" y="198"/>
                  <a:pt x="1630" y="198"/>
                  <a:pt x="1630" y="198"/>
                </a:cubicBezTo>
                <a:cubicBezTo>
                  <a:pt x="1626" y="198"/>
                  <a:pt x="1626" y="198"/>
                  <a:pt x="1626" y="198"/>
                </a:cubicBezTo>
                <a:cubicBezTo>
                  <a:pt x="1625" y="197"/>
                  <a:pt x="1625" y="197"/>
                  <a:pt x="1625" y="197"/>
                </a:cubicBezTo>
                <a:cubicBezTo>
                  <a:pt x="1624" y="198"/>
                  <a:pt x="1624" y="198"/>
                  <a:pt x="1624" y="198"/>
                </a:cubicBezTo>
                <a:cubicBezTo>
                  <a:pt x="1623" y="199"/>
                  <a:pt x="1623" y="199"/>
                  <a:pt x="1623" y="199"/>
                </a:cubicBezTo>
                <a:cubicBezTo>
                  <a:pt x="1624" y="201"/>
                  <a:pt x="1624" y="201"/>
                  <a:pt x="1624" y="201"/>
                </a:cubicBezTo>
                <a:cubicBezTo>
                  <a:pt x="1623" y="202"/>
                  <a:pt x="1623" y="202"/>
                  <a:pt x="1623" y="202"/>
                </a:cubicBezTo>
                <a:cubicBezTo>
                  <a:pt x="1624" y="202"/>
                  <a:pt x="1624" y="202"/>
                  <a:pt x="1624" y="202"/>
                </a:cubicBezTo>
                <a:cubicBezTo>
                  <a:pt x="1626" y="200"/>
                  <a:pt x="1626" y="200"/>
                  <a:pt x="1626" y="200"/>
                </a:cubicBezTo>
                <a:cubicBezTo>
                  <a:pt x="1628" y="200"/>
                  <a:pt x="1628" y="200"/>
                  <a:pt x="1628" y="200"/>
                </a:cubicBezTo>
                <a:cubicBezTo>
                  <a:pt x="1629" y="201"/>
                  <a:pt x="1629" y="201"/>
                  <a:pt x="1629" y="201"/>
                </a:cubicBezTo>
                <a:cubicBezTo>
                  <a:pt x="1626" y="201"/>
                  <a:pt x="1626" y="201"/>
                  <a:pt x="1626" y="201"/>
                </a:cubicBezTo>
                <a:cubicBezTo>
                  <a:pt x="1626" y="203"/>
                  <a:pt x="1626" y="203"/>
                  <a:pt x="1626" y="203"/>
                </a:cubicBezTo>
                <a:cubicBezTo>
                  <a:pt x="1627" y="205"/>
                  <a:pt x="1627" y="205"/>
                  <a:pt x="1627" y="205"/>
                </a:cubicBezTo>
                <a:cubicBezTo>
                  <a:pt x="1629" y="206"/>
                  <a:pt x="1629" y="206"/>
                  <a:pt x="1629" y="206"/>
                </a:cubicBezTo>
                <a:cubicBezTo>
                  <a:pt x="1629" y="208"/>
                  <a:pt x="1629" y="208"/>
                  <a:pt x="1629" y="208"/>
                </a:cubicBezTo>
                <a:cubicBezTo>
                  <a:pt x="1627" y="207"/>
                  <a:pt x="1627" y="207"/>
                  <a:pt x="1627" y="207"/>
                </a:cubicBezTo>
                <a:cubicBezTo>
                  <a:pt x="1626" y="207"/>
                  <a:pt x="1626" y="207"/>
                  <a:pt x="1626" y="207"/>
                </a:cubicBezTo>
                <a:cubicBezTo>
                  <a:pt x="1625" y="205"/>
                  <a:pt x="1625" y="205"/>
                  <a:pt x="1625" y="205"/>
                </a:cubicBezTo>
                <a:cubicBezTo>
                  <a:pt x="1624" y="205"/>
                  <a:pt x="1624" y="205"/>
                  <a:pt x="1624" y="205"/>
                </a:cubicBezTo>
                <a:cubicBezTo>
                  <a:pt x="1622" y="206"/>
                  <a:pt x="1622" y="206"/>
                  <a:pt x="1622" y="206"/>
                </a:cubicBezTo>
                <a:cubicBezTo>
                  <a:pt x="1624" y="207"/>
                  <a:pt x="1624" y="207"/>
                  <a:pt x="1624" y="207"/>
                </a:cubicBezTo>
                <a:cubicBezTo>
                  <a:pt x="1622" y="207"/>
                  <a:pt x="1622" y="207"/>
                  <a:pt x="1622" y="207"/>
                </a:cubicBezTo>
                <a:cubicBezTo>
                  <a:pt x="1620" y="209"/>
                  <a:pt x="1620" y="209"/>
                  <a:pt x="1620" y="209"/>
                </a:cubicBezTo>
                <a:cubicBezTo>
                  <a:pt x="1620" y="210"/>
                  <a:pt x="1620" y="210"/>
                  <a:pt x="1620" y="210"/>
                </a:cubicBezTo>
                <a:cubicBezTo>
                  <a:pt x="1622" y="211"/>
                  <a:pt x="1622" y="211"/>
                  <a:pt x="1622" y="211"/>
                </a:cubicBezTo>
                <a:cubicBezTo>
                  <a:pt x="1624" y="210"/>
                  <a:pt x="1624" y="210"/>
                  <a:pt x="1624" y="210"/>
                </a:cubicBezTo>
                <a:cubicBezTo>
                  <a:pt x="1625" y="211"/>
                  <a:pt x="1625" y="211"/>
                  <a:pt x="1625" y="211"/>
                </a:cubicBezTo>
                <a:cubicBezTo>
                  <a:pt x="1627" y="210"/>
                  <a:pt x="1627" y="210"/>
                  <a:pt x="1627" y="210"/>
                </a:cubicBezTo>
                <a:cubicBezTo>
                  <a:pt x="1627" y="212"/>
                  <a:pt x="1627" y="212"/>
                  <a:pt x="1627" y="212"/>
                </a:cubicBezTo>
                <a:cubicBezTo>
                  <a:pt x="1628" y="213"/>
                  <a:pt x="1628" y="213"/>
                  <a:pt x="1628" y="213"/>
                </a:cubicBezTo>
                <a:cubicBezTo>
                  <a:pt x="1628" y="214"/>
                  <a:pt x="1628" y="214"/>
                  <a:pt x="1628" y="214"/>
                </a:cubicBezTo>
                <a:cubicBezTo>
                  <a:pt x="1626" y="212"/>
                  <a:pt x="1626" y="212"/>
                  <a:pt x="1626" y="212"/>
                </a:cubicBezTo>
                <a:cubicBezTo>
                  <a:pt x="1624" y="212"/>
                  <a:pt x="1624" y="212"/>
                  <a:pt x="1624" y="212"/>
                </a:cubicBezTo>
                <a:cubicBezTo>
                  <a:pt x="1623" y="213"/>
                  <a:pt x="1623" y="213"/>
                  <a:pt x="1623" y="213"/>
                </a:cubicBezTo>
                <a:cubicBezTo>
                  <a:pt x="1620" y="213"/>
                  <a:pt x="1620" y="213"/>
                  <a:pt x="1620" y="213"/>
                </a:cubicBezTo>
                <a:cubicBezTo>
                  <a:pt x="1620" y="215"/>
                  <a:pt x="1620" y="215"/>
                  <a:pt x="1620" y="215"/>
                </a:cubicBezTo>
                <a:cubicBezTo>
                  <a:pt x="1618" y="215"/>
                  <a:pt x="1618" y="215"/>
                  <a:pt x="1618" y="215"/>
                </a:cubicBezTo>
                <a:cubicBezTo>
                  <a:pt x="1617" y="215"/>
                  <a:pt x="1617" y="215"/>
                  <a:pt x="1617" y="215"/>
                </a:cubicBezTo>
                <a:cubicBezTo>
                  <a:pt x="1615" y="216"/>
                  <a:pt x="1615" y="216"/>
                  <a:pt x="1615" y="216"/>
                </a:cubicBezTo>
                <a:cubicBezTo>
                  <a:pt x="1614" y="216"/>
                  <a:pt x="1614" y="216"/>
                  <a:pt x="1614" y="216"/>
                </a:cubicBezTo>
                <a:cubicBezTo>
                  <a:pt x="1613" y="217"/>
                  <a:pt x="1613" y="217"/>
                  <a:pt x="1613" y="217"/>
                </a:cubicBezTo>
                <a:cubicBezTo>
                  <a:pt x="1615" y="218"/>
                  <a:pt x="1615" y="218"/>
                  <a:pt x="1615" y="218"/>
                </a:cubicBezTo>
                <a:cubicBezTo>
                  <a:pt x="1616" y="219"/>
                  <a:pt x="1616" y="219"/>
                  <a:pt x="1616" y="219"/>
                </a:cubicBezTo>
                <a:cubicBezTo>
                  <a:pt x="1615" y="220"/>
                  <a:pt x="1615" y="220"/>
                  <a:pt x="1615" y="220"/>
                </a:cubicBezTo>
                <a:cubicBezTo>
                  <a:pt x="1614" y="219"/>
                  <a:pt x="1614" y="219"/>
                  <a:pt x="1614" y="219"/>
                </a:cubicBezTo>
                <a:cubicBezTo>
                  <a:pt x="1613" y="220"/>
                  <a:pt x="1613" y="220"/>
                  <a:pt x="1613" y="220"/>
                </a:cubicBezTo>
                <a:cubicBezTo>
                  <a:pt x="1615" y="221"/>
                  <a:pt x="1615" y="221"/>
                  <a:pt x="1615" y="221"/>
                </a:cubicBezTo>
                <a:cubicBezTo>
                  <a:pt x="1614" y="222"/>
                  <a:pt x="1614" y="222"/>
                  <a:pt x="1614" y="222"/>
                </a:cubicBezTo>
                <a:cubicBezTo>
                  <a:pt x="1612" y="221"/>
                  <a:pt x="1612" y="221"/>
                  <a:pt x="1612" y="221"/>
                </a:cubicBezTo>
                <a:cubicBezTo>
                  <a:pt x="1612" y="221"/>
                  <a:pt x="1612" y="221"/>
                  <a:pt x="1612" y="221"/>
                </a:cubicBezTo>
                <a:cubicBezTo>
                  <a:pt x="1612" y="222"/>
                  <a:pt x="1612" y="222"/>
                  <a:pt x="1612" y="222"/>
                </a:cubicBezTo>
                <a:cubicBezTo>
                  <a:pt x="1613" y="223"/>
                  <a:pt x="1613" y="223"/>
                  <a:pt x="1613" y="223"/>
                </a:cubicBezTo>
                <a:cubicBezTo>
                  <a:pt x="1612" y="223"/>
                  <a:pt x="1612" y="223"/>
                  <a:pt x="1612" y="223"/>
                </a:cubicBezTo>
                <a:cubicBezTo>
                  <a:pt x="1612" y="224"/>
                  <a:pt x="1612" y="224"/>
                  <a:pt x="1612" y="224"/>
                </a:cubicBezTo>
                <a:cubicBezTo>
                  <a:pt x="1613" y="224"/>
                  <a:pt x="1613" y="224"/>
                  <a:pt x="1613" y="224"/>
                </a:cubicBezTo>
                <a:cubicBezTo>
                  <a:pt x="1612" y="225"/>
                  <a:pt x="1612" y="225"/>
                  <a:pt x="1612" y="225"/>
                </a:cubicBezTo>
                <a:cubicBezTo>
                  <a:pt x="1611" y="225"/>
                  <a:pt x="1611" y="225"/>
                  <a:pt x="1611" y="225"/>
                </a:cubicBezTo>
                <a:cubicBezTo>
                  <a:pt x="1610" y="225"/>
                  <a:pt x="1610" y="225"/>
                  <a:pt x="1610" y="225"/>
                </a:cubicBezTo>
                <a:cubicBezTo>
                  <a:pt x="1610" y="226"/>
                  <a:pt x="1610" y="226"/>
                  <a:pt x="1610" y="226"/>
                </a:cubicBezTo>
                <a:cubicBezTo>
                  <a:pt x="1610" y="227"/>
                  <a:pt x="1610" y="227"/>
                  <a:pt x="1610" y="227"/>
                </a:cubicBezTo>
                <a:cubicBezTo>
                  <a:pt x="1611" y="227"/>
                  <a:pt x="1611" y="227"/>
                  <a:pt x="1611" y="227"/>
                </a:cubicBezTo>
                <a:cubicBezTo>
                  <a:pt x="1613" y="228"/>
                  <a:pt x="1613" y="228"/>
                  <a:pt x="1613" y="228"/>
                </a:cubicBezTo>
                <a:cubicBezTo>
                  <a:pt x="1614" y="229"/>
                  <a:pt x="1614" y="229"/>
                  <a:pt x="1614" y="229"/>
                </a:cubicBezTo>
                <a:cubicBezTo>
                  <a:pt x="1615" y="230"/>
                  <a:pt x="1615" y="230"/>
                  <a:pt x="1615" y="230"/>
                </a:cubicBezTo>
                <a:cubicBezTo>
                  <a:pt x="1616" y="229"/>
                  <a:pt x="1616" y="229"/>
                  <a:pt x="1616" y="229"/>
                </a:cubicBezTo>
                <a:cubicBezTo>
                  <a:pt x="1615" y="230"/>
                  <a:pt x="1615" y="230"/>
                  <a:pt x="1615" y="230"/>
                </a:cubicBezTo>
                <a:cubicBezTo>
                  <a:pt x="1615" y="231"/>
                  <a:pt x="1615" y="231"/>
                  <a:pt x="1615" y="231"/>
                </a:cubicBezTo>
                <a:cubicBezTo>
                  <a:pt x="1613" y="231"/>
                  <a:pt x="1613" y="231"/>
                  <a:pt x="1613" y="231"/>
                </a:cubicBezTo>
                <a:cubicBezTo>
                  <a:pt x="1613" y="230"/>
                  <a:pt x="1613" y="230"/>
                  <a:pt x="1613" y="230"/>
                </a:cubicBezTo>
                <a:cubicBezTo>
                  <a:pt x="1610" y="230"/>
                  <a:pt x="1610" y="230"/>
                  <a:pt x="1610" y="230"/>
                </a:cubicBezTo>
                <a:cubicBezTo>
                  <a:pt x="1608" y="232"/>
                  <a:pt x="1608" y="232"/>
                  <a:pt x="1608" y="232"/>
                </a:cubicBezTo>
                <a:cubicBezTo>
                  <a:pt x="1609" y="233"/>
                  <a:pt x="1609" y="233"/>
                  <a:pt x="1609" y="233"/>
                </a:cubicBezTo>
                <a:cubicBezTo>
                  <a:pt x="1611" y="233"/>
                  <a:pt x="1611" y="233"/>
                  <a:pt x="1611" y="233"/>
                </a:cubicBezTo>
                <a:cubicBezTo>
                  <a:pt x="1611" y="234"/>
                  <a:pt x="1611" y="234"/>
                  <a:pt x="1611" y="234"/>
                </a:cubicBezTo>
                <a:cubicBezTo>
                  <a:pt x="1612" y="235"/>
                  <a:pt x="1612" y="235"/>
                  <a:pt x="1612" y="235"/>
                </a:cubicBezTo>
                <a:cubicBezTo>
                  <a:pt x="1612" y="237"/>
                  <a:pt x="1612" y="237"/>
                  <a:pt x="1612" y="237"/>
                </a:cubicBezTo>
                <a:cubicBezTo>
                  <a:pt x="1611" y="235"/>
                  <a:pt x="1611" y="235"/>
                  <a:pt x="1611" y="235"/>
                </a:cubicBezTo>
                <a:cubicBezTo>
                  <a:pt x="1610" y="235"/>
                  <a:pt x="1610" y="235"/>
                  <a:pt x="1610" y="235"/>
                </a:cubicBezTo>
                <a:cubicBezTo>
                  <a:pt x="1609" y="237"/>
                  <a:pt x="1609" y="237"/>
                  <a:pt x="1609" y="237"/>
                </a:cubicBezTo>
                <a:cubicBezTo>
                  <a:pt x="1609" y="238"/>
                  <a:pt x="1609" y="238"/>
                  <a:pt x="1609" y="238"/>
                </a:cubicBezTo>
                <a:cubicBezTo>
                  <a:pt x="1608" y="238"/>
                  <a:pt x="1608" y="238"/>
                  <a:pt x="1608" y="238"/>
                </a:cubicBezTo>
                <a:cubicBezTo>
                  <a:pt x="1609" y="239"/>
                  <a:pt x="1609" y="239"/>
                  <a:pt x="1609" y="239"/>
                </a:cubicBezTo>
                <a:cubicBezTo>
                  <a:pt x="1609" y="241"/>
                  <a:pt x="1609" y="241"/>
                  <a:pt x="1609" y="241"/>
                </a:cubicBezTo>
                <a:cubicBezTo>
                  <a:pt x="1609" y="241"/>
                  <a:pt x="1609" y="241"/>
                  <a:pt x="1609" y="241"/>
                </a:cubicBezTo>
                <a:cubicBezTo>
                  <a:pt x="1608" y="240"/>
                  <a:pt x="1608" y="240"/>
                  <a:pt x="1608" y="240"/>
                </a:cubicBezTo>
                <a:cubicBezTo>
                  <a:pt x="1607" y="240"/>
                  <a:pt x="1607" y="240"/>
                  <a:pt x="1607" y="240"/>
                </a:cubicBezTo>
                <a:cubicBezTo>
                  <a:pt x="1607" y="242"/>
                  <a:pt x="1607" y="242"/>
                  <a:pt x="1607" y="242"/>
                </a:cubicBezTo>
                <a:cubicBezTo>
                  <a:pt x="1609" y="242"/>
                  <a:pt x="1609" y="242"/>
                  <a:pt x="1609" y="242"/>
                </a:cubicBezTo>
                <a:cubicBezTo>
                  <a:pt x="1609" y="243"/>
                  <a:pt x="1609" y="243"/>
                  <a:pt x="1609" y="243"/>
                </a:cubicBezTo>
                <a:cubicBezTo>
                  <a:pt x="1609" y="244"/>
                  <a:pt x="1609" y="244"/>
                  <a:pt x="1609" y="244"/>
                </a:cubicBezTo>
                <a:cubicBezTo>
                  <a:pt x="1607" y="243"/>
                  <a:pt x="1607" y="243"/>
                  <a:pt x="1607" y="243"/>
                </a:cubicBezTo>
                <a:cubicBezTo>
                  <a:pt x="1606" y="243"/>
                  <a:pt x="1606" y="243"/>
                  <a:pt x="1606" y="243"/>
                </a:cubicBezTo>
                <a:cubicBezTo>
                  <a:pt x="1606" y="245"/>
                  <a:pt x="1606" y="245"/>
                  <a:pt x="1606" y="245"/>
                </a:cubicBezTo>
                <a:cubicBezTo>
                  <a:pt x="1606" y="245"/>
                  <a:pt x="1606" y="245"/>
                  <a:pt x="1606" y="245"/>
                </a:cubicBezTo>
                <a:cubicBezTo>
                  <a:pt x="1606" y="247"/>
                  <a:pt x="1606" y="247"/>
                  <a:pt x="1606" y="247"/>
                </a:cubicBezTo>
                <a:cubicBezTo>
                  <a:pt x="1607" y="248"/>
                  <a:pt x="1607" y="248"/>
                  <a:pt x="1607" y="248"/>
                </a:cubicBezTo>
                <a:cubicBezTo>
                  <a:pt x="1608" y="248"/>
                  <a:pt x="1608" y="248"/>
                  <a:pt x="1608" y="248"/>
                </a:cubicBezTo>
                <a:cubicBezTo>
                  <a:pt x="1609" y="247"/>
                  <a:pt x="1609" y="247"/>
                  <a:pt x="1609" y="247"/>
                </a:cubicBezTo>
                <a:cubicBezTo>
                  <a:pt x="1610" y="247"/>
                  <a:pt x="1610" y="247"/>
                  <a:pt x="1610" y="247"/>
                </a:cubicBezTo>
                <a:cubicBezTo>
                  <a:pt x="1609" y="249"/>
                  <a:pt x="1609" y="249"/>
                  <a:pt x="1609" y="249"/>
                </a:cubicBezTo>
                <a:cubicBezTo>
                  <a:pt x="1608" y="249"/>
                  <a:pt x="1608" y="249"/>
                  <a:pt x="1608" y="249"/>
                </a:cubicBezTo>
                <a:cubicBezTo>
                  <a:pt x="1606" y="251"/>
                  <a:pt x="1606" y="251"/>
                  <a:pt x="1606" y="251"/>
                </a:cubicBezTo>
                <a:cubicBezTo>
                  <a:pt x="1605" y="251"/>
                  <a:pt x="1605" y="251"/>
                  <a:pt x="1605" y="251"/>
                </a:cubicBezTo>
                <a:cubicBezTo>
                  <a:pt x="1603" y="252"/>
                  <a:pt x="1603" y="252"/>
                  <a:pt x="1603" y="252"/>
                </a:cubicBezTo>
                <a:cubicBezTo>
                  <a:pt x="1603" y="253"/>
                  <a:pt x="1603" y="253"/>
                  <a:pt x="1603" y="253"/>
                </a:cubicBezTo>
                <a:cubicBezTo>
                  <a:pt x="1602" y="253"/>
                  <a:pt x="1602" y="253"/>
                  <a:pt x="1602" y="253"/>
                </a:cubicBezTo>
                <a:cubicBezTo>
                  <a:pt x="1600" y="254"/>
                  <a:pt x="1600" y="254"/>
                  <a:pt x="1600" y="254"/>
                </a:cubicBezTo>
                <a:cubicBezTo>
                  <a:pt x="1602" y="255"/>
                  <a:pt x="1602" y="255"/>
                  <a:pt x="1602" y="255"/>
                </a:cubicBezTo>
                <a:cubicBezTo>
                  <a:pt x="1601" y="256"/>
                  <a:pt x="1601" y="256"/>
                  <a:pt x="1601" y="256"/>
                </a:cubicBezTo>
                <a:cubicBezTo>
                  <a:pt x="1599" y="256"/>
                  <a:pt x="1599" y="256"/>
                  <a:pt x="1599" y="256"/>
                </a:cubicBezTo>
                <a:cubicBezTo>
                  <a:pt x="1598" y="258"/>
                  <a:pt x="1598" y="258"/>
                  <a:pt x="1598" y="258"/>
                </a:cubicBezTo>
                <a:cubicBezTo>
                  <a:pt x="1598" y="259"/>
                  <a:pt x="1598" y="259"/>
                  <a:pt x="1598" y="259"/>
                </a:cubicBezTo>
                <a:cubicBezTo>
                  <a:pt x="1600" y="259"/>
                  <a:pt x="1600" y="259"/>
                  <a:pt x="1600" y="259"/>
                </a:cubicBezTo>
                <a:cubicBezTo>
                  <a:pt x="1598" y="260"/>
                  <a:pt x="1598" y="260"/>
                  <a:pt x="1598" y="260"/>
                </a:cubicBezTo>
                <a:cubicBezTo>
                  <a:pt x="1597" y="262"/>
                  <a:pt x="1597" y="262"/>
                  <a:pt x="1597" y="262"/>
                </a:cubicBezTo>
                <a:cubicBezTo>
                  <a:pt x="1596" y="262"/>
                  <a:pt x="1596" y="262"/>
                  <a:pt x="1596" y="262"/>
                </a:cubicBezTo>
                <a:cubicBezTo>
                  <a:pt x="1596" y="260"/>
                  <a:pt x="1596" y="260"/>
                  <a:pt x="1596" y="260"/>
                </a:cubicBezTo>
                <a:cubicBezTo>
                  <a:pt x="1595" y="260"/>
                  <a:pt x="1595" y="260"/>
                  <a:pt x="1595" y="260"/>
                </a:cubicBezTo>
                <a:cubicBezTo>
                  <a:pt x="1594" y="260"/>
                  <a:pt x="1594" y="260"/>
                  <a:pt x="1594" y="260"/>
                </a:cubicBezTo>
                <a:cubicBezTo>
                  <a:pt x="1593" y="260"/>
                  <a:pt x="1593" y="260"/>
                  <a:pt x="1593" y="260"/>
                </a:cubicBezTo>
                <a:cubicBezTo>
                  <a:pt x="1593" y="262"/>
                  <a:pt x="1593" y="262"/>
                  <a:pt x="1593" y="262"/>
                </a:cubicBezTo>
                <a:cubicBezTo>
                  <a:pt x="1592" y="262"/>
                  <a:pt x="1592" y="262"/>
                  <a:pt x="1592" y="262"/>
                </a:cubicBezTo>
                <a:cubicBezTo>
                  <a:pt x="1592" y="264"/>
                  <a:pt x="1592" y="264"/>
                  <a:pt x="1592" y="264"/>
                </a:cubicBezTo>
                <a:cubicBezTo>
                  <a:pt x="1593" y="265"/>
                  <a:pt x="1593" y="265"/>
                  <a:pt x="1593" y="265"/>
                </a:cubicBezTo>
                <a:cubicBezTo>
                  <a:pt x="1590" y="265"/>
                  <a:pt x="1590" y="265"/>
                  <a:pt x="1590" y="265"/>
                </a:cubicBezTo>
                <a:cubicBezTo>
                  <a:pt x="1589" y="265"/>
                  <a:pt x="1589" y="265"/>
                  <a:pt x="1589" y="265"/>
                </a:cubicBezTo>
                <a:cubicBezTo>
                  <a:pt x="1589" y="267"/>
                  <a:pt x="1589" y="267"/>
                  <a:pt x="1589" y="267"/>
                </a:cubicBezTo>
                <a:cubicBezTo>
                  <a:pt x="1588" y="268"/>
                  <a:pt x="1588" y="268"/>
                  <a:pt x="1588" y="268"/>
                </a:cubicBezTo>
                <a:cubicBezTo>
                  <a:pt x="1588" y="269"/>
                  <a:pt x="1588" y="269"/>
                  <a:pt x="1588" y="269"/>
                </a:cubicBezTo>
                <a:cubicBezTo>
                  <a:pt x="1588" y="271"/>
                  <a:pt x="1588" y="271"/>
                  <a:pt x="1588" y="271"/>
                </a:cubicBezTo>
                <a:cubicBezTo>
                  <a:pt x="1586" y="272"/>
                  <a:pt x="1586" y="272"/>
                  <a:pt x="1586" y="272"/>
                </a:cubicBezTo>
                <a:cubicBezTo>
                  <a:pt x="1584" y="274"/>
                  <a:pt x="1584" y="274"/>
                  <a:pt x="1584" y="274"/>
                </a:cubicBezTo>
                <a:cubicBezTo>
                  <a:pt x="1585" y="275"/>
                  <a:pt x="1585" y="275"/>
                  <a:pt x="1585" y="275"/>
                </a:cubicBezTo>
                <a:cubicBezTo>
                  <a:pt x="1587" y="273"/>
                  <a:pt x="1587" y="273"/>
                  <a:pt x="1587" y="273"/>
                </a:cubicBezTo>
                <a:cubicBezTo>
                  <a:pt x="1588" y="273"/>
                  <a:pt x="1588" y="273"/>
                  <a:pt x="1588" y="273"/>
                </a:cubicBezTo>
                <a:cubicBezTo>
                  <a:pt x="1588" y="275"/>
                  <a:pt x="1588" y="275"/>
                  <a:pt x="1588" y="275"/>
                </a:cubicBezTo>
                <a:cubicBezTo>
                  <a:pt x="1587" y="275"/>
                  <a:pt x="1587" y="275"/>
                  <a:pt x="1587" y="275"/>
                </a:cubicBezTo>
                <a:cubicBezTo>
                  <a:pt x="1586" y="277"/>
                  <a:pt x="1586" y="277"/>
                  <a:pt x="1586" y="277"/>
                </a:cubicBezTo>
                <a:cubicBezTo>
                  <a:pt x="1588" y="279"/>
                  <a:pt x="1588" y="279"/>
                  <a:pt x="1588" y="279"/>
                </a:cubicBezTo>
                <a:cubicBezTo>
                  <a:pt x="1590" y="277"/>
                  <a:pt x="1590" y="277"/>
                  <a:pt x="1590" y="277"/>
                </a:cubicBezTo>
                <a:cubicBezTo>
                  <a:pt x="1592" y="277"/>
                  <a:pt x="1592" y="277"/>
                  <a:pt x="1592" y="277"/>
                </a:cubicBezTo>
                <a:cubicBezTo>
                  <a:pt x="1595" y="274"/>
                  <a:pt x="1595" y="274"/>
                  <a:pt x="1595" y="274"/>
                </a:cubicBezTo>
                <a:cubicBezTo>
                  <a:pt x="1595" y="273"/>
                  <a:pt x="1595" y="273"/>
                  <a:pt x="1595" y="273"/>
                </a:cubicBezTo>
                <a:cubicBezTo>
                  <a:pt x="1594" y="273"/>
                  <a:pt x="1594" y="273"/>
                  <a:pt x="1594" y="273"/>
                </a:cubicBezTo>
                <a:cubicBezTo>
                  <a:pt x="1595" y="271"/>
                  <a:pt x="1595" y="271"/>
                  <a:pt x="1595" y="271"/>
                </a:cubicBezTo>
                <a:cubicBezTo>
                  <a:pt x="1595" y="269"/>
                  <a:pt x="1595" y="269"/>
                  <a:pt x="1595" y="269"/>
                </a:cubicBezTo>
                <a:cubicBezTo>
                  <a:pt x="1596" y="269"/>
                  <a:pt x="1596" y="269"/>
                  <a:pt x="1596" y="269"/>
                </a:cubicBezTo>
                <a:cubicBezTo>
                  <a:pt x="1597" y="268"/>
                  <a:pt x="1597" y="268"/>
                  <a:pt x="1597" y="268"/>
                </a:cubicBezTo>
                <a:cubicBezTo>
                  <a:pt x="1599" y="268"/>
                  <a:pt x="1599" y="268"/>
                  <a:pt x="1599" y="268"/>
                </a:cubicBezTo>
                <a:cubicBezTo>
                  <a:pt x="1600" y="268"/>
                  <a:pt x="1600" y="268"/>
                  <a:pt x="1600" y="268"/>
                </a:cubicBezTo>
                <a:cubicBezTo>
                  <a:pt x="1597" y="270"/>
                  <a:pt x="1597" y="270"/>
                  <a:pt x="1597" y="270"/>
                </a:cubicBezTo>
                <a:cubicBezTo>
                  <a:pt x="1597" y="272"/>
                  <a:pt x="1597" y="272"/>
                  <a:pt x="1597" y="272"/>
                </a:cubicBezTo>
                <a:cubicBezTo>
                  <a:pt x="1600" y="272"/>
                  <a:pt x="1600" y="272"/>
                  <a:pt x="1600" y="272"/>
                </a:cubicBezTo>
                <a:cubicBezTo>
                  <a:pt x="1599" y="274"/>
                  <a:pt x="1599" y="274"/>
                  <a:pt x="1599" y="274"/>
                </a:cubicBezTo>
                <a:cubicBezTo>
                  <a:pt x="1597" y="274"/>
                  <a:pt x="1597" y="274"/>
                  <a:pt x="1597" y="274"/>
                </a:cubicBezTo>
                <a:cubicBezTo>
                  <a:pt x="1594" y="277"/>
                  <a:pt x="1594" y="277"/>
                  <a:pt x="1594" y="277"/>
                </a:cubicBezTo>
                <a:cubicBezTo>
                  <a:pt x="1596" y="278"/>
                  <a:pt x="1596" y="278"/>
                  <a:pt x="1596" y="278"/>
                </a:cubicBezTo>
                <a:cubicBezTo>
                  <a:pt x="1595" y="279"/>
                  <a:pt x="1595" y="279"/>
                  <a:pt x="1595" y="279"/>
                </a:cubicBezTo>
                <a:cubicBezTo>
                  <a:pt x="1595" y="281"/>
                  <a:pt x="1595" y="281"/>
                  <a:pt x="1595" y="281"/>
                </a:cubicBezTo>
                <a:cubicBezTo>
                  <a:pt x="1593" y="281"/>
                  <a:pt x="1593" y="281"/>
                  <a:pt x="1593" y="281"/>
                </a:cubicBezTo>
                <a:cubicBezTo>
                  <a:pt x="1592" y="279"/>
                  <a:pt x="1592" y="279"/>
                  <a:pt x="1592" y="279"/>
                </a:cubicBezTo>
                <a:cubicBezTo>
                  <a:pt x="1590" y="279"/>
                  <a:pt x="1590" y="279"/>
                  <a:pt x="1590" y="279"/>
                </a:cubicBezTo>
                <a:cubicBezTo>
                  <a:pt x="1589" y="280"/>
                  <a:pt x="1589" y="280"/>
                  <a:pt x="1589" y="280"/>
                </a:cubicBezTo>
                <a:cubicBezTo>
                  <a:pt x="1589" y="282"/>
                  <a:pt x="1589" y="282"/>
                  <a:pt x="1589" y="282"/>
                </a:cubicBezTo>
                <a:cubicBezTo>
                  <a:pt x="1587" y="283"/>
                  <a:pt x="1587" y="283"/>
                  <a:pt x="1587" y="283"/>
                </a:cubicBezTo>
                <a:cubicBezTo>
                  <a:pt x="1585" y="284"/>
                  <a:pt x="1585" y="284"/>
                  <a:pt x="1585" y="284"/>
                </a:cubicBezTo>
                <a:cubicBezTo>
                  <a:pt x="1587" y="282"/>
                  <a:pt x="1587" y="282"/>
                  <a:pt x="1587" y="282"/>
                </a:cubicBezTo>
                <a:cubicBezTo>
                  <a:pt x="1587" y="282"/>
                  <a:pt x="1587" y="282"/>
                  <a:pt x="1587" y="282"/>
                </a:cubicBezTo>
                <a:cubicBezTo>
                  <a:pt x="1586" y="280"/>
                  <a:pt x="1586" y="280"/>
                  <a:pt x="1586" y="280"/>
                </a:cubicBezTo>
                <a:cubicBezTo>
                  <a:pt x="1586" y="278"/>
                  <a:pt x="1586" y="278"/>
                  <a:pt x="1586" y="278"/>
                </a:cubicBezTo>
                <a:cubicBezTo>
                  <a:pt x="1585" y="276"/>
                  <a:pt x="1585" y="276"/>
                  <a:pt x="1585" y="276"/>
                </a:cubicBezTo>
                <a:cubicBezTo>
                  <a:pt x="1583" y="276"/>
                  <a:pt x="1583" y="276"/>
                  <a:pt x="1583" y="276"/>
                </a:cubicBezTo>
                <a:cubicBezTo>
                  <a:pt x="1583" y="278"/>
                  <a:pt x="1583" y="278"/>
                  <a:pt x="1583" y="278"/>
                </a:cubicBezTo>
                <a:cubicBezTo>
                  <a:pt x="1581" y="278"/>
                  <a:pt x="1581" y="278"/>
                  <a:pt x="1581" y="278"/>
                </a:cubicBezTo>
                <a:cubicBezTo>
                  <a:pt x="1581" y="279"/>
                  <a:pt x="1581" y="279"/>
                  <a:pt x="1581" y="279"/>
                </a:cubicBezTo>
                <a:cubicBezTo>
                  <a:pt x="1583" y="279"/>
                  <a:pt x="1583" y="279"/>
                  <a:pt x="1583" y="279"/>
                </a:cubicBezTo>
                <a:cubicBezTo>
                  <a:pt x="1581" y="281"/>
                  <a:pt x="1581" y="281"/>
                  <a:pt x="1581" y="281"/>
                </a:cubicBezTo>
                <a:cubicBezTo>
                  <a:pt x="1579" y="280"/>
                  <a:pt x="1579" y="280"/>
                  <a:pt x="1579" y="280"/>
                </a:cubicBezTo>
                <a:cubicBezTo>
                  <a:pt x="1578" y="281"/>
                  <a:pt x="1578" y="281"/>
                  <a:pt x="1578" y="281"/>
                </a:cubicBezTo>
                <a:cubicBezTo>
                  <a:pt x="1576" y="282"/>
                  <a:pt x="1576" y="282"/>
                  <a:pt x="1576" y="282"/>
                </a:cubicBezTo>
                <a:cubicBezTo>
                  <a:pt x="1577" y="283"/>
                  <a:pt x="1577" y="283"/>
                  <a:pt x="1577" y="283"/>
                </a:cubicBezTo>
                <a:cubicBezTo>
                  <a:pt x="1578" y="282"/>
                  <a:pt x="1578" y="282"/>
                  <a:pt x="1578" y="282"/>
                </a:cubicBezTo>
                <a:cubicBezTo>
                  <a:pt x="1578" y="283"/>
                  <a:pt x="1578" y="283"/>
                  <a:pt x="1578" y="283"/>
                </a:cubicBezTo>
                <a:cubicBezTo>
                  <a:pt x="1576" y="284"/>
                  <a:pt x="1576" y="284"/>
                  <a:pt x="1576" y="284"/>
                </a:cubicBezTo>
                <a:cubicBezTo>
                  <a:pt x="1575" y="285"/>
                  <a:pt x="1575" y="285"/>
                  <a:pt x="1575" y="285"/>
                </a:cubicBezTo>
                <a:cubicBezTo>
                  <a:pt x="1574" y="284"/>
                  <a:pt x="1574" y="284"/>
                  <a:pt x="1574" y="284"/>
                </a:cubicBezTo>
                <a:cubicBezTo>
                  <a:pt x="1573" y="284"/>
                  <a:pt x="1573" y="284"/>
                  <a:pt x="1573" y="284"/>
                </a:cubicBezTo>
                <a:cubicBezTo>
                  <a:pt x="1573" y="285"/>
                  <a:pt x="1573" y="285"/>
                  <a:pt x="1573" y="285"/>
                </a:cubicBezTo>
                <a:cubicBezTo>
                  <a:pt x="1575" y="286"/>
                  <a:pt x="1575" y="286"/>
                  <a:pt x="1575" y="286"/>
                </a:cubicBezTo>
                <a:cubicBezTo>
                  <a:pt x="1578" y="286"/>
                  <a:pt x="1578" y="286"/>
                  <a:pt x="1578" y="286"/>
                </a:cubicBezTo>
                <a:cubicBezTo>
                  <a:pt x="1577" y="288"/>
                  <a:pt x="1577" y="288"/>
                  <a:pt x="1577" y="288"/>
                </a:cubicBezTo>
                <a:cubicBezTo>
                  <a:pt x="1578" y="288"/>
                  <a:pt x="1578" y="288"/>
                  <a:pt x="1578" y="288"/>
                </a:cubicBezTo>
                <a:cubicBezTo>
                  <a:pt x="1578" y="290"/>
                  <a:pt x="1578" y="290"/>
                  <a:pt x="1578" y="290"/>
                </a:cubicBezTo>
                <a:cubicBezTo>
                  <a:pt x="1576" y="289"/>
                  <a:pt x="1576" y="289"/>
                  <a:pt x="1576" y="289"/>
                </a:cubicBezTo>
                <a:cubicBezTo>
                  <a:pt x="1575" y="287"/>
                  <a:pt x="1575" y="287"/>
                  <a:pt x="1575" y="287"/>
                </a:cubicBezTo>
                <a:cubicBezTo>
                  <a:pt x="1574" y="287"/>
                  <a:pt x="1574" y="287"/>
                  <a:pt x="1574" y="287"/>
                </a:cubicBezTo>
                <a:cubicBezTo>
                  <a:pt x="1572" y="286"/>
                  <a:pt x="1572" y="286"/>
                  <a:pt x="1572" y="286"/>
                </a:cubicBezTo>
                <a:cubicBezTo>
                  <a:pt x="1572" y="285"/>
                  <a:pt x="1572" y="285"/>
                  <a:pt x="1572" y="285"/>
                </a:cubicBezTo>
                <a:cubicBezTo>
                  <a:pt x="1571" y="285"/>
                  <a:pt x="1571" y="285"/>
                  <a:pt x="1571" y="285"/>
                </a:cubicBezTo>
                <a:cubicBezTo>
                  <a:pt x="1571" y="286"/>
                  <a:pt x="1571" y="286"/>
                  <a:pt x="1571" y="286"/>
                </a:cubicBezTo>
                <a:cubicBezTo>
                  <a:pt x="1572" y="289"/>
                  <a:pt x="1572" y="289"/>
                  <a:pt x="1572" y="289"/>
                </a:cubicBezTo>
                <a:cubicBezTo>
                  <a:pt x="1574" y="290"/>
                  <a:pt x="1574" y="290"/>
                  <a:pt x="1574" y="290"/>
                </a:cubicBezTo>
                <a:cubicBezTo>
                  <a:pt x="1576" y="290"/>
                  <a:pt x="1576" y="290"/>
                  <a:pt x="1576" y="290"/>
                </a:cubicBezTo>
                <a:cubicBezTo>
                  <a:pt x="1577" y="291"/>
                  <a:pt x="1577" y="291"/>
                  <a:pt x="1577" y="291"/>
                </a:cubicBezTo>
                <a:cubicBezTo>
                  <a:pt x="1575" y="291"/>
                  <a:pt x="1575" y="291"/>
                  <a:pt x="1575" y="291"/>
                </a:cubicBezTo>
                <a:cubicBezTo>
                  <a:pt x="1572" y="290"/>
                  <a:pt x="1572" y="290"/>
                  <a:pt x="1572" y="290"/>
                </a:cubicBezTo>
                <a:cubicBezTo>
                  <a:pt x="1570" y="287"/>
                  <a:pt x="1570" y="287"/>
                  <a:pt x="1570" y="287"/>
                </a:cubicBezTo>
                <a:cubicBezTo>
                  <a:pt x="1568" y="288"/>
                  <a:pt x="1568" y="288"/>
                  <a:pt x="1568" y="288"/>
                </a:cubicBezTo>
                <a:cubicBezTo>
                  <a:pt x="1567" y="287"/>
                  <a:pt x="1567" y="287"/>
                  <a:pt x="1567" y="287"/>
                </a:cubicBezTo>
                <a:cubicBezTo>
                  <a:pt x="1565" y="287"/>
                  <a:pt x="1565" y="287"/>
                  <a:pt x="1565" y="287"/>
                </a:cubicBezTo>
                <a:cubicBezTo>
                  <a:pt x="1564" y="286"/>
                  <a:pt x="1564" y="286"/>
                  <a:pt x="1564" y="286"/>
                </a:cubicBezTo>
                <a:cubicBezTo>
                  <a:pt x="1563" y="287"/>
                  <a:pt x="1563" y="287"/>
                  <a:pt x="1563" y="287"/>
                </a:cubicBezTo>
                <a:cubicBezTo>
                  <a:pt x="1563" y="288"/>
                  <a:pt x="1563" y="288"/>
                  <a:pt x="1563" y="288"/>
                </a:cubicBezTo>
                <a:cubicBezTo>
                  <a:pt x="1562" y="289"/>
                  <a:pt x="1562" y="289"/>
                  <a:pt x="1562" y="289"/>
                </a:cubicBezTo>
                <a:cubicBezTo>
                  <a:pt x="1564" y="291"/>
                  <a:pt x="1564" y="291"/>
                  <a:pt x="1564" y="291"/>
                </a:cubicBezTo>
                <a:cubicBezTo>
                  <a:pt x="1567" y="290"/>
                  <a:pt x="1567" y="290"/>
                  <a:pt x="1567" y="290"/>
                </a:cubicBezTo>
                <a:cubicBezTo>
                  <a:pt x="1568" y="291"/>
                  <a:pt x="1568" y="291"/>
                  <a:pt x="1568" y="291"/>
                </a:cubicBezTo>
                <a:cubicBezTo>
                  <a:pt x="1566" y="292"/>
                  <a:pt x="1566" y="292"/>
                  <a:pt x="1566" y="292"/>
                </a:cubicBezTo>
                <a:cubicBezTo>
                  <a:pt x="1567" y="292"/>
                  <a:pt x="1567" y="292"/>
                  <a:pt x="1567" y="292"/>
                </a:cubicBezTo>
                <a:cubicBezTo>
                  <a:pt x="1569" y="291"/>
                  <a:pt x="1569" y="291"/>
                  <a:pt x="1569" y="291"/>
                </a:cubicBezTo>
                <a:cubicBezTo>
                  <a:pt x="1571" y="291"/>
                  <a:pt x="1571" y="291"/>
                  <a:pt x="1571" y="291"/>
                </a:cubicBezTo>
                <a:cubicBezTo>
                  <a:pt x="1570" y="292"/>
                  <a:pt x="1570" y="292"/>
                  <a:pt x="1570" y="292"/>
                </a:cubicBezTo>
                <a:cubicBezTo>
                  <a:pt x="1567" y="293"/>
                  <a:pt x="1567" y="293"/>
                  <a:pt x="1567" y="293"/>
                </a:cubicBezTo>
                <a:cubicBezTo>
                  <a:pt x="1566" y="295"/>
                  <a:pt x="1566" y="295"/>
                  <a:pt x="1566" y="295"/>
                </a:cubicBezTo>
                <a:cubicBezTo>
                  <a:pt x="1564" y="294"/>
                  <a:pt x="1564" y="294"/>
                  <a:pt x="1564" y="294"/>
                </a:cubicBezTo>
                <a:cubicBezTo>
                  <a:pt x="1562" y="292"/>
                  <a:pt x="1562" y="292"/>
                  <a:pt x="1562" y="292"/>
                </a:cubicBezTo>
                <a:cubicBezTo>
                  <a:pt x="1561" y="292"/>
                  <a:pt x="1561" y="292"/>
                  <a:pt x="1561" y="292"/>
                </a:cubicBezTo>
                <a:cubicBezTo>
                  <a:pt x="1560" y="293"/>
                  <a:pt x="1560" y="293"/>
                  <a:pt x="1560" y="293"/>
                </a:cubicBezTo>
                <a:cubicBezTo>
                  <a:pt x="1559" y="292"/>
                  <a:pt x="1559" y="292"/>
                  <a:pt x="1559" y="292"/>
                </a:cubicBezTo>
                <a:cubicBezTo>
                  <a:pt x="1558" y="293"/>
                  <a:pt x="1558" y="293"/>
                  <a:pt x="1558" y="293"/>
                </a:cubicBezTo>
                <a:cubicBezTo>
                  <a:pt x="1557" y="292"/>
                  <a:pt x="1557" y="292"/>
                  <a:pt x="1557" y="292"/>
                </a:cubicBezTo>
                <a:cubicBezTo>
                  <a:pt x="1555" y="293"/>
                  <a:pt x="1555" y="293"/>
                  <a:pt x="1555" y="293"/>
                </a:cubicBezTo>
                <a:cubicBezTo>
                  <a:pt x="1556" y="294"/>
                  <a:pt x="1556" y="294"/>
                  <a:pt x="1556" y="294"/>
                </a:cubicBezTo>
                <a:cubicBezTo>
                  <a:pt x="1559" y="294"/>
                  <a:pt x="1559" y="294"/>
                  <a:pt x="1559" y="294"/>
                </a:cubicBezTo>
                <a:cubicBezTo>
                  <a:pt x="1561" y="295"/>
                  <a:pt x="1561" y="295"/>
                  <a:pt x="1561" y="295"/>
                </a:cubicBezTo>
                <a:cubicBezTo>
                  <a:pt x="1563" y="297"/>
                  <a:pt x="1563" y="297"/>
                  <a:pt x="1563" y="297"/>
                </a:cubicBezTo>
                <a:cubicBezTo>
                  <a:pt x="1563" y="298"/>
                  <a:pt x="1563" y="298"/>
                  <a:pt x="1563" y="298"/>
                </a:cubicBezTo>
                <a:cubicBezTo>
                  <a:pt x="1564" y="300"/>
                  <a:pt x="1564" y="300"/>
                  <a:pt x="1564" y="300"/>
                </a:cubicBezTo>
                <a:cubicBezTo>
                  <a:pt x="1562" y="300"/>
                  <a:pt x="1562" y="300"/>
                  <a:pt x="1562" y="300"/>
                </a:cubicBezTo>
                <a:cubicBezTo>
                  <a:pt x="1561" y="300"/>
                  <a:pt x="1561" y="300"/>
                  <a:pt x="1561" y="300"/>
                </a:cubicBezTo>
                <a:cubicBezTo>
                  <a:pt x="1561" y="297"/>
                  <a:pt x="1561" y="297"/>
                  <a:pt x="1561" y="297"/>
                </a:cubicBezTo>
                <a:cubicBezTo>
                  <a:pt x="1560" y="296"/>
                  <a:pt x="1560" y="296"/>
                  <a:pt x="1560" y="296"/>
                </a:cubicBezTo>
                <a:cubicBezTo>
                  <a:pt x="1558" y="297"/>
                  <a:pt x="1558" y="297"/>
                  <a:pt x="1558" y="297"/>
                </a:cubicBezTo>
                <a:cubicBezTo>
                  <a:pt x="1559" y="298"/>
                  <a:pt x="1559" y="298"/>
                  <a:pt x="1559" y="298"/>
                </a:cubicBezTo>
                <a:cubicBezTo>
                  <a:pt x="1558" y="299"/>
                  <a:pt x="1558" y="299"/>
                  <a:pt x="1558" y="299"/>
                </a:cubicBezTo>
                <a:cubicBezTo>
                  <a:pt x="1556" y="298"/>
                  <a:pt x="1556" y="298"/>
                  <a:pt x="1556" y="298"/>
                </a:cubicBezTo>
                <a:cubicBezTo>
                  <a:pt x="1554" y="300"/>
                  <a:pt x="1554" y="300"/>
                  <a:pt x="1554" y="300"/>
                </a:cubicBezTo>
                <a:cubicBezTo>
                  <a:pt x="1556" y="301"/>
                  <a:pt x="1556" y="301"/>
                  <a:pt x="1556" y="301"/>
                </a:cubicBezTo>
                <a:cubicBezTo>
                  <a:pt x="1554" y="301"/>
                  <a:pt x="1554" y="301"/>
                  <a:pt x="1554" y="301"/>
                </a:cubicBezTo>
                <a:cubicBezTo>
                  <a:pt x="1553" y="302"/>
                  <a:pt x="1553" y="302"/>
                  <a:pt x="1553" y="302"/>
                </a:cubicBezTo>
                <a:cubicBezTo>
                  <a:pt x="1553" y="300"/>
                  <a:pt x="1553" y="300"/>
                  <a:pt x="1553" y="300"/>
                </a:cubicBezTo>
                <a:cubicBezTo>
                  <a:pt x="1550" y="300"/>
                  <a:pt x="1550" y="300"/>
                  <a:pt x="1550" y="300"/>
                </a:cubicBezTo>
                <a:cubicBezTo>
                  <a:pt x="1551" y="301"/>
                  <a:pt x="1551" y="301"/>
                  <a:pt x="1551" y="301"/>
                </a:cubicBezTo>
                <a:cubicBezTo>
                  <a:pt x="1550" y="302"/>
                  <a:pt x="1550" y="302"/>
                  <a:pt x="1550" y="302"/>
                </a:cubicBezTo>
                <a:cubicBezTo>
                  <a:pt x="1549" y="300"/>
                  <a:pt x="1549" y="300"/>
                  <a:pt x="1549" y="300"/>
                </a:cubicBezTo>
                <a:cubicBezTo>
                  <a:pt x="1547" y="299"/>
                  <a:pt x="1547" y="299"/>
                  <a:pt x="1547" y="299"/>
                </a:cubicBezTo>
                <a:cubicBezTo>
                  <a:pt x="1547" y="299"/>
                  <a:pt x="1547" y="299"/>
                  <a:pt x="1547" y="299"/>
                </a:cubicBezTo>
                <a:cubicBezTo>
                  <a:pt x="1547" y="300"/>
                  <a:pt x="1547" y="300"/>
                  <a:pt x="1547" y="300"/>
                </a:cubicBezTo>
                <a:cubicBezTo>
                  <a:pt x="1549" y="302"/>
                  <a:pt x="1549" y="302"/>
                  <a:pt x="1549" y="302"/>
                </a:cubicBezTo>
                <a:cubicBezTo>
                  <a:pt x="1548" y="303"/>
                  <a:pt x="1548" y="303"/>
                  <a:pt x="1548" y="303"/>
                </a:cubicBezTo>
                <a:cubicBezTo>
                  <a:pt x="1549" y="304"/>
                  <a:pt x="1549" y="304"/>
                  <a:pt x="1549" y="304"/>
                </a:cubicBezTo>
                <a:cubicBezTo>
                  <a:pt x="1551" y="303"/>
                  <a:pt x="1551" y="303"/>
                  <a:pt x="1551" y="303"/>
                </a:cubicBezTo>
                <a:cubicBezTo>
                  <a:pt x="1554" y="304"/>
                  <a:pt x="1554" y="304"/>
                  <a:pt x="1554" y="304"/>
                </a:cubicBezTo>
                <a:cubicBezTo>
                  <a:pt x="1556" y="305"/>
                  <a:pt x="1556" y="305"/>
                  <a:pt x="1556" y="305"/>
                </a:cubicBezTo>
                <a:cubicBezTo>
                  <a:pt x="1559" y="305"/>
                  <a:pt x="1559" y="305"/>
                  <a:pt x="1559" y="305"/>
                </a:cubicBezTo>
                <a:cubicBezTo>
                  <a:pt x="1560" y="305"/>
                  <a:pt x="1560" y="305"/>
                  <a:pt x="1560" y="305"/>
                </a:cubicBezTo>
                <a:cubicBezTo>
                  <a:pt x="1561" y="305"/>
                  <a:pt x="1561" y="305"/>
                  <a:pt x="1561" y="305"/>
                </a:cubicBezTo>
                <a:cubicBezTo>
                  <a:pt x="1559" y="306"/>
                  <a:pt x="1559" y="306"/>
                  <a:pt x="1559" y="306"/>
                </a:cubicBezTo>
                <a:cubicBezTo>
                  <a:pt x="1557" y="306"/>
                  <a:pt x="1557" y="306"/>
                  <a:pt x="1557" y="306"/>
                </a:cubicBezTo>
                <a:cubicBezTo>
                  <a:pt x="1556" y="307"/>
                  <a:pt x="1556" y="307"/>
                  <a:pt x="1556" y="307"/>
                </a:cubicBezTo>
                <a:cubicBezTo>
                  <a:pt x="1552" y="305"/>
                  <a:pt x="1552" y="305"/>
                  <a:pt x="1552" y="305"/>
                </a:cubicBezTo>
                <a:cubicBezTo>
                  <a:pt x="1550" y="306"/>
                  <a:pt x="1550" y="306"/>
                  <a:pt x="1550" y="306"/>
                </a:cubicBezTo>
                <a:cubicBezTo>
                  <a:pt x="1550" y="305"/>
                  <a:pt x="1550" y="305"/>
                  <a:pt x="1550" y="305"/>
                </a:cubicBezTo>
                <a:cubicBezTo>
                  <a:pt x="1548" y="306"/>
                  <a:pt x="1548" y="306"/>
                  <a:pt x="1548" y="306"/>
                </a:cubicBezTo>
                <a:cubicBezTo>
                  <a:pt x="1546" y="307"/>
                  <a:pt x="1546" y="307"/>
                  <a:pt x="1546" y="307"/>
                </a:cubicBezTo>
                <a:cubicBezTo>
                  <a:pt x="1546" y="308"/>
                  <a:pt x="1546" y="308"/>
                  <a:pt x="1546" y="308"/>
                </a:cubicBezTo>
                <a:cubicBezTo>
                  <a:pt x="1549" y="309"/>
                  <a:pt x="1549" y="309"/>
                  <a:pt x="1549" y="309"/>
                </a:cubicBezTo>
                <a:cubicBezTo>
                  <a:pt x="1548" y="310"/>
                  <a:pt x="1548" y="310"/>
                  <a:pt x="1548" y="310"/>
                </a:cubicBezTo>
                <a:cubicBezTo>
                  <a:pt x="1549" y="311"/>
                  <a:pt x="1549" y="311"/>
                  <a:pt x="1549" y="311"/>
                </a:cubicBezTo>
                <a:cubicBezTo>
                  <a:pt x="1550" y="310"/>
                  <a:pt x="1550" y="310"/>
                  <a:pt x="1550" y="310"/>
                </a:cubicBezTo>
                <a:cubicBezTo>
                  <a:pt x="1553" y="310"/>
                  <a:pt x="1553" y="310"/>
                  <a:pt x="1553" y="310"/>
                </a:cubicBezTo>
                <a:cubicBezTo>
                  <a:pt x="1551" y="311"/>
                  <a:pt x="1551" y="311"/>
                  <a:pt x="1551" y="311"/>
                </a:cubicBezTo>
                <a:cubicBezTo>
                  <a:pt x="1548" y="311"/>
                  <a:pt x="1548" y="311"/>
                  <a:pt x="1548" y="311"/>
                </a:cubicBezTo>
                <a:cubicBezTo>
                  <a:pt x="1548" y="312"/>
                  <a:pt x="1548" y="312"/>
                  <a:pt x="1548" y="312"/>
                </a:cubicBezTo>
                <a:cubicBezTo>
                  <a:pt x="1547" y="312"/>
                  <a:pt x="1547" y="312"/>
                  <a:pt x="1547" y="312"/>
                </a:cubicBezTo>
                <a:cubicBezTo>
                  <a:pt x="1547" y="312"/>
                  <a:pt x="1547" y="312"/>
                  <a:pt x="1547" y="312"/>
                </a:cubicBezTo>
                <a:cubicBezTo>
                  <a:pt x="1548" y="313"/>
                  <a:pt x="1548" y="313"/>
                  <a:pt x="1548" y="313"/>
                </a:cubicBezTo>
                <a:cubicBezTo>
                  <a:pt x="1549" y="313"/>
                  <a:pt x="1549" y="313"/>
                  <a:pt x="1549" y="313"/>
                </a:cubicBezTo>
                <a:cubicBezTo>
                  <a:pt x="1547" y="314"/>
                  <a:pt x="1547" y="314"/>
                  <a:pt x="1547" y="314"/>
                </a:cubicBezTo>
                <a:cubicBezTo>
                  <a:pt x="1547" y="314"/>
                  <a:pt x="1547" y="314"/>
                  <a:pt x="1547" y="314"/>
                </a:cubicBezTo>
                <a:cubicBezTo>
                  <a:pt x="1547" y="315"/>
                  <a:pt x="1547" y="315"/>
                  <a:pt x="1547" y="315"/>
                </a:cubicBezTo>
                <a:cubicBezTo>
                  <a:pt x="1548" y="316"/>
                  <a:pt x="1548" y="316"/>
                  <a:pt x="1548" y="316"/>
                </a:cubicBezTo>
                <a:cubicBezTo>
                  <a:pt x="1548" y="317"/>
                  <a:pt x="1548" y="317"/>
                  <a:pt x="1548" y="317"/>
                </a:cubicBezTo>
                <a:cubicBezTo>
                  <a:pt x="1551" y="317"/>
                  <a:pt x="1551" y="317"/>
                  <a:pt x="1551" y="317"/>
                </a:cubicBezTo>
                <a:cubicBezTo>
                  <a:pt x="1552" y="316"/>
                  <a:pt x="1552" y="316"/>
                  <a:pt x="1552" y="316"/>
                </a:cubicBezTo>
                <a:cubicBezTo>
                  <a:pt x="1555" y="315"/>
                  <a:pt x="1555" y="315"/>
                  <a:pt x="1555" y="315"/>
                </a:cubicBezTo>
                <a:cubicBezTo>
                  <a:pt x="1557" y="316"/>
                  <a:pt x="1557" y="316"/>
                  <a:pt x="1557" y="316"/>
                </a:cubicBezTo>
                <a:cubicBezTo>
                  <a:pt x="1558" y="316"/>
                  <a:pt x="1558" y="316"/>
                  <a:pt x="1558" y="316"/>
                </a:cubicBezTo>
                <a:cubicBezTo>
                  <a:pt x="1559" y="315"/>
                  <a:pt x="1559" y="315"/>
                  <a:pt x="1559" y="315"/>
                </a:cubicBezTo>
                <a:cubicBezTo>
                  <a:pt x="1559" y="314"/>
                  <a:pt x="1559" y="314"/>
                  <a:pt x="1559" y="314"/>
                </a:cubicBezTo>
                <a:cubicBezTo>
                  <a:pt x="1561" y="314"/>
                  <a:pt x="1561" y="314"/>
                  <a:pt x="1561" y="314"/>
                </a:cubicBezTo>
                <a:cubicBezTo>
                  <a:pt x="1561" y="315"/>
                  <a:pt x="1561" y="315"/>
                  <a:pt x="1561" y="315"/>
                </a:cubicBezTo>
                <a:cubicBezTo>
                  <a:pt x="1563" y="315"/>
                  <a:pt x="1563" y="315"/>
                  <a:pt x="1563" y="315"/>
                </a:cubicBezTo>
                <a:cubicBezTo>
                  <a:pt x="1565" y="313"/>
                  <a:pt x="1565" y="313"/>
                  <a:pt x="1565" y="313"/>
                </a:cubicBezTo>
                <a:cubicBezTo>
                  <a:pt x="1566" y="314"/>
                  <a:pt x="1566" y="314"/>
                  <a:pt x="1566" y="314"/>
                </a:cubicBezTo>
                <a:cubicBezTo>
                  <a:pt x="1565" y="314"/>
                  <a:pt x="1565" y="314"/>
                  <a:pt x="1565" y="314"/>
                </a:cubicBezTo>
                <a:cubicBezTo>
                  <a:pt x="1564" y="315"/>
                  <a:pt x="1564" y="315"/>
                  <a:pt x="1564" y="315"/>
                </a:cubicBezTo>
                <a:cubicBezTo>
                  <a:pt x="1566" y="316"/>
                  <a:pt x="1566" y="316"/>
                  <a:pt x="1566" y="316"/>
                </a:cubicBezTo>
                <a:cubicBezTo>
                  <a:pt x="1567" y="315"/>
                  <a:pt x="1567" y="315"/>
                  <a:pt x="1567" y="315"/>
                </a:cubicBezTo>
                <a:cubicBezTo>
                  <a:pt x="1567" y="314"/>
                  <a:pt x="1567" y="314"/>
                  <a:pt x="1567" y="314"/>
                </a:cubicBezTo>
                <a:cubicBezTo>
                  <a:pt x="1568" y="312"/>
                  <a:pt x="1568" y="312"/>
                  <a:pt x="1568" y="312"/>
                </a:cubicBezTo>
                <a:cubicBezTo>
                  <a:pt x="1568" y="313"/>
                  <a:pt x="1568" y="313"/>
                  <a:pt x="1568" y="313"/>
                </a:cubicBezTo>
                <a:cubicBezTo>
                  <a:pt x="1569" y="315"/>
                  <a:pt x="1569" y="315"/>
                  <a:pt x="1569" y="315"/>
                </a:cubicBezTo>
                <a:cubicBezTo>
                  <a:pt x="1568" y="317"/>
                  <a:pt x="1568" y="317"/>
                  <a:pt x="1568" y="317"/>
                </a:cubicBezTo>
                <a:cubicBezTo>
                  <a:pt x="1566" y="317"/>
                  <a:pt x="1566" y="317"/>
                  <a:pt x="1566" y="317"/>
                </a:cubicBezTo>
                <a:cubicBezTo>
                  <a:pt x="1564" y="318"/>
                  <a:pt x="1564" y="318"/>
                  <a:pt x="1564" y="318"/>
                </a:cubicBezTo>
                <a:cubicBezTo>
                  <a:pt x="1565" y="319"/>
                  <a:pt x="1565" y="319"/>
                  <a:pt x="1565" y="319"/>
                </a:cubicBezTo>
                <a:cubicBezTo>
                  <a:pt x="1564" y="320"/>
                  <a:pt x="1564" y="320"/>
                  <a:pt x="1564" y="320"/>
                </a:cubicBezTo>
                <a:cubicBezTo>
                  <a:pt x="1562" y="320"/>
                  <a:pt x="1562" y="320"/>
                  <a:pt x="1562" y="320"/>
                </a:cubicBezTo>
                <a:cubicBezTo>
                  <a:pt x="1562" y="319"/>
                  <a:pt x="1562" y="319"/>
                  <a:pt x="1562" y="319"/>
                </a:cubicBezTo>
                <a:cubicBezTo>
                  <a:pt x="1563" y="319"/>
                  <a:pt x="1563" y="319"/>
                  <a:pt x="1563" y="319"/>
                </a:cubicBezTo>
                <a:cubicBezTo>
                  <a:pt x="1563" y="317"/>
                  <a:pt x="1563" y="317"/>
                  <a:pt x="1563" y="317"/>
                </a:cubicBezTo>
                <a:cubicBezTo>
                  <a:pt x="1561" y="316"/>
                  <a:pt x="1561" y="316"/>
                  <a:pt x="1561" y="316"/>
                </a:cubicBezTo>
                <a:cubicBezTo>
                  <a:pt x="1559" y="318"/>
                  <a:pt x="1559" y="318"/>
                  <a:pt x="1559" y="318"/>
                </a:cubicBezTo>
                <a:cubicBezTo>
                  <a:pt x="1558" y="320"/>
                  <a:pt x="1558" y="320"/>
                  <a:pt x="1558" y="320"/>
                </a:cubicBezTo>
                <a:cubicBezTo>
                  <a:pt x="1557" y="318"/>
                  <a:pt x="1557" y="318"/>
                  <a:pt x="1557" y="318"/>
                </a:cubicBezTo>
                <a:cubicBezTo>
                  <a:pt x="1555" y="317"/>
                  <a:pt x="1555" y="317"/>
                  <a:pt x="1555" y="317"/>
                </a:cubicBezTo>
                <a:cubicBezTo>
                  <a:pt x="1553" y="318"/>
                  <a:pt x="1553" y="318"/>
                  <a:pt x="1553" y="318"/>
                </a:cubicBezTo>
                <a:cubicBezTo>
                  <a:pt x="1552" y="317"/>
                  <a:pt x="1552" y="317"/>
                  <a:pt x="1552" y="317"/>
                </a:cubicBezTo>
                <a:cubicBezTo>
                  <a:pt x="1549" y="319"/>
                  <a:pt x="1549" y="319"/>
                  <a:pt x="1549" y="319"/>
                </a:cubicBezTo>
                <a:cubicBezTo>
                  <a:pt x="1548" y="319"/>
                  <a:pt x="1548" y="319"/>
                  <a:pt x="1548" y="319"/>
                </a:cubicBezTo>
                <a:cubicBezTo>
                  <a:pt x="1547" y="318"/>
                  <a:pt x="1547" y="318"/>
                  <a:pt x="1547" y="318"/>
                </a:cubicBezTo>
                <a:cubicBezTo>
                  <a:pt x="1546" y="318"/>
                  <a:pt x="1546" y="318"/>
                  <a:pt x="1546" y="318"/>
                </a:cubicBezTo>
                <a:cubicBezTo>
                  <a:pt x="1547" y="320"/>
                  <a:pt x="1547" y="320"/>
                  <a:pt x="1547" y="320"/>
                </a:cubicBezTo>
                <a:cubicBezTo>
                  <a:pt x="1546" y="321"/>
                  <a:pt x="1546" y="321"/>
                  <a:pt x="1546" y="321"/>
                </a:cubicBezTo>
                <a:cubicBezTo>
                  <a:pt x="1547" y="321"/>
                  <a:pt x="1547" y="321"/>
                  <a:pt x="1547" y="321"/>
                </a:cubicBezTo>
                <a:cubicBezTo>
                  <a:pt x="1549" y="321"/>
                  <a:pt x="1549" y="321"/>
                  <a:pt x="1549" y="321"/>
                </a:cubicBezTo>
                <a:cubicBezTo>
                  <a:pt x="1550" y="320"/>
                  <a:pt x="1550" y="320"/>
                  <a:pt x="1550" y="320"/>
                </a:cubicBezTo>
                <a:cubicBezTo>
                  <a:pt x="1551" y="320"/>
                  <a:pt x="1551" y="320"/>
                  <a:pt x="1551" y="320"/>
                </a:cubicBezTo>
                <a:cubicBezTo>
                  <a:pt x="1549" y="322"/>
                  <a:pt x="1549" y="322"/>
                  <a:pt x="1549" y="322"/>
                </a:cubicBezTo>
                <a:cubicBezTo>
                  <a:pt x="1550" y="323"/>
                  <a:pt x="1550" y="323"/>
                  <a:pt x="1550" y="323"/>
                </a:cubicBezTo>
                <a:cubicBezTo>
                  <a:pt x="1549" y="324"/>
                  <a:pt x="1549" y="324"/>
                  <a:pt x="1549" y="324"/>
                </a:cubicBezTo>
                <a:cubicBezTo>
                  <a:pt x="1547" y="323"/>
                  <a:pt x="1547" y="323"/>
                  <a:pt x="1547" y="323"/>
                </a:cubicBezTo>
                <a:cubicBezTo>
                  <a:pt x="1548" y="325"/>
                  <a:pt x="1548" y="325"/>
                  <a:pt x="1548" y="325"/>
                </a:cubicBezTo>
                <a:cubicBezTo>
                  <a:pt x="1549" y="326"/>
                  <a:pt x="1549" y="326"/>
                  <a:pt x="1549" y="326"/>
                </a:cubicBezTo>
                <a:cubicBezTo>
                  <a:pt x="1552" y="323"/>
                  <a:pt x="1552" y="323"/>
                  <a:pt x="1552" y="323"/>
                </a:cubicBezTo>
                <a:cubicBezTo>
                  <a:pt x="1554" y="324"/>
                  <a:pt x="1554" y="324"/>
                  <a:pt x="1554" y="324"/>
                </a:cubicBezTo>
                <a:cubicBezTo>
                  <a:pt x="1553" y="325"/>
                  <a:pt x="1553" y="325"/>
                  <a:pt x="1553" y="325"/>
                </a:cubicBezTo>
                <a:cubicBezTo>
                  <a:pt x="1553" y="327"/>
                  <a:pt x="1553" y="327"/>
                  <a:pt x="1553" y="327"/>
                </a:cubicBezTo>
                <a:cubicBezTo>
                  <a:pt x="1551" y="328"/>
                  <a:pt x="1551" y="328"/>
                  <a:pt x="1551" y="328"/>
                </a:cubicBezTo>
                <a:cubicBezTo>
                  <a:pt x="1551" y="328"/>
                  <a:pt x="1551" y="328"/>
                  <a:pt x="1551" y="328"/>
                </a:cubicBezTo>
                <a:cubicBezTo>
                  <a:pt x="1553" y="329"/>
                  <a:pt x="1553" y="329"/>
                  <a:pt x="1553" y="329"/>
                </a:cubicBezTo>
                <a:cubicBezTo>
                  <a:pt x="1552" y="330"/>
                  <a:pt x="1552" y="330"/>
                  <a:pt x="1552" y="330"/>
                </a:cubicBezTo>
                <a:cubicBezTo>
                  <a:pt x="1553" y="332"/>
                  <a:pt x="1553" y="332"/>
                  <a:pt x="1553" y="332"/>
                </a:cubicBezTo>
                <a:cubicBezTo>
                  <a:pt x="1552" y="333"/>
                  <a:pt x="1552" y="333"/>
                  <a:pt x="1552" y="333"/>
                </a:cubicBezTo>
                <a:cubicBezTo>
                  <a:pt x="1553" y="334"/>
                  <a:pt x="1553" y="334"/>
                  <a:pt x="1553" y="334"/>
                </a:cubicBezTo>
                <a:cubicBezTo>
                  <a:pt x="1555" y="331"/>
                  <a:pt x="1555" y="331"/>
                  <a:pt x="1555" y="331"/>
                </a:cubicBezTo>
                <a:cubicBezTo>
                  <a:pt x="1556" y="330"/>
                  <a:pt x="1556" y="330"/>
                  <a:pt x="1556" y="330"/>
                </a:cubicBezTo>
                <a:cubicBezTo>
                  <a:pt x="1556" y="328"/>
                  <a:pt x="1556" y="328"/>
                  <a:pt x="1556" y="328"/>
                </a:cubicBezTo>
                <a:cubicBezTo>
                  <a:pt x="1560" y="327"/>
                  <a:pt x="1560" y="327"/>
                  <a:pt x="1560" y="327"/>
                </a:cubicBezTo>
                <a:cubicBezTo>
                  <a:pt x="1562" y="327"/>
                  <a:pt x="1562" y="327"/>
                  <a:pt x="1562" y="327"/>
                </a:cubicBezTo>
                <a:cubicBezTo>
                  <a:pt x="1563" y="327"/>
                  <a:pt x="1563" y="327"/>
                  <a:pt x="1563" y="327"/>
                </a:cubicBezTo>
                <a:cubicBezTo>
                  <a:pt x="1562" y="327"/>
                  <a:pt x="1562" y="327"/>
                  <a:pt x="1562" y="327"/>
                </a:cubicBezTo>
                <a:cubicBezTo>
                  <a:pt x="1560" y="329"/>
                  <a:pt x="1560" y="329"/>
                  <a:pt x="1560" y="329"/>
                </a:cubicBezTo>
                <a:cubicBezTo>
                  <a:pt x="1560" y="331"/>
                  <a:pt x="1560" y="331"/>
                  <a:pt x="1560" y="331"/>
                </a:cubicBezTo>
                <a:cubicBezTo>
                  <a:pt x="1561" y="333"/>
                  <a:pt x="1561" y="333"/>
                  <a:pt x="1561" y="333"/>
                </a:cubicBezTo>
                <a:cubicBezTo>
                  <a:pt x="1559" y="331"/>
                  <a:pt x="1559" y="331"/>
                  <a:pt x="1559" y="331"/>
                </a:cubicBezTo>
                <a:cubicBezTo>
                  <a:pt x="1559" y="329"/>
                  <a:pt x="1559" y="329"/>
                  <a:pt x="1559" y="329"/>
                </a:cubicBezTo>
                <a:cubicBezTo>
                  <a:pt x="1558" y="329"/>
                  <a:pt x="1558" y="329"/>
                  <a:pt x="1558" y="329"/>
                </a:cubicBezTo>
                <a:cubicBezTo>
                  <a:pt x="1557" y="331"/>
                  <a:pt x="1557" y="331"/>
                  <a:pt x="1557" y="331"/>
                </a:cubicBezTo>
                <a:cubicBezTo>
                  <a:pt x="1556" y="332"/>
                  <a:pt x="1556" y="332"/>
                  <a:pt x="1556" y="332"/>
                </a:cubicBezTo>
                <a:cubicBezTo>
                  <a:pt x="1558" y="333"/>
                  <a:pt x="1558" y="333"/>
                  <a:pt x="1558" y="333"/>
                </a:cubicBezTo>
                <a:cubicBezTo>
                  <a:pt x="1556" y="335"/>
                  <a:pt x="1556" y="335"/>
                  <a:pt x="1556" y="335"/>
                </a:cubicBezTo>
                <a:cubicBezTo>
                  <a:pt x="1555" y="335"/>
                  <a:pt x="1555" y="335"/>
                  <a:pt x="1555" y="335"/>
                </a:cubicBezTo>
                <a:cubicBezTo>
                  <a:pt x="1554" y="336"/>
                  <a:pt x="1554" y="336"/>
                  <a:pt x="1554" y="336"/>
                </a:cubicBezTo>
                <a:cubicBezTo>
                  <a:pt x="1555" y="337"/>
                  <a:pt x="1555" y="337"/>
                  <a:pt x="1555" y="337"/>
                </a:cubicBezTo>
                <a:cubicBezTo>
                  <a:pt x="1558" y="337"/>
                  <a:pt x="1558" y="337"/>
                  <a:pt x="1558" y="337"/>
                </a:cubicBezTo>
                <a:cubicBezTo>
                  <a:pt x="1558" y="338"/>
                  <a:pt x="1558" y="338"/>
                  <a:pt x="1558" y="338"/>
                </a:cubicBezTo>
                <a:cubicBezTo>
                  <a:pt x="1556" y="338"/>
                  <a:pt x="1556" y="338"/>
                  <a:pt x="1556" y="338"/>
                </a:cubicBezTo>
                <a:cubicBezTo>
                  <a:pt x="1556" y="339"/>
                  <a:pt x="1556" y="339"/>
                  <a:pt x="1556" y="339"/>
                </a:cubicBezTo>
                <a:cubicBezTo>
                  <a:pt x="1556" y="340"/>
                  <a:pt x="1556" y="340"/>
                  <a:pt x="1556" y="340"/>
                </a:cubicBezTo>
                <a:cubicBezTo>
                  <a:pt x="1553" y="339"/>
                  <a:pt x="1553" y="339"/>
                  <a:pt x="1553" y="339"/>
                </a:cubicBezTo>
                <a:cubicBezTo>
                  <a:pt x="1552" y="339"/>
                  <a:pt x="1552" y="339"/>
                  <a:pt x="1552" y="339"/>
                </a:cubicBezTo>
                <a:cubicBezTo>
                  <a:pt x="1552" y="341"/>
                  <a:pt x="1552" y="341"/>
                  <a:pt x="1552" y="341"/>
                </a:cubicBezTo>
                <a:cubicBezTo>
                  <a:pt x="1552" y="339"/>
                  <a:pt x="1552" y="339"/>
                  <a:pt x="1552" y="339"/>
                </a:cubicBezTo>
                <a:cubicBezTo>
                  <a:pt x="1550" y="340"/>
                  <a:pt x="1550" y="340"/>
                  <a:pt x="1550" y="340"/>
                </a:cubicBezTo>
                <a:cubicBezTo>
                  <a:pt x="1549" y="342"/>
                  <a:pt x="1549" y="342"/>
                  <a:pt x="1549" y="342"/>
                </a:cubicBezTo>
                <a:cubicBezTo>
                  <a:pt x="1549" y="344"/>
                  <a:pt x="1549" y="344"/>
                  <a:pt x="1549" y="344"/>
                </a:cubicBezTo>
                <a:cubicBezTo>
                  <a:pt x="1552" y="347"/>
                  <a:pt x="1552" y="347"/>
                  <a:pt x="1552" y="347"/>
                </a:cubicBezTo>
                <a:cubicBezTo>
                  <a:pt x="1552" y="345"/>
                  <a:pt x="1552" y="345"/>
                  <a:pt x="1552" y="345"/>
                </a:cubicBezTo>
                <a:cubicBezTo>
                  <a:pt x="1553" y="346"/>
                  <a:pt x="1553" y="346"/>
                  <a:pt x="1553" y="346"/>
                </a:cubicBezTo>
                <a:cubicBezTo>
                  <a:pt x="1555" y="345"/>
                  <a:pt x="1555" y="345"/>
                  <a:pt x="1555" y="345"/>
                </a:cubicBezTo>
                <a:cubicBezTo>
                  <a:pt x="1554" y="344"/>
                  <a:pt x="1554" y="344"/>
                  <a:pt x="1554" y="344"/>
                </a:cubicBezTo>
                <a:cubicBezTo>
                  <a:pt x="1555" y="343"/>
                  <a:pt x="1555" y="343"/>
                  <a:pt x="1555" y="343"/>
                </a:cubicBezTo>
                <a:cubicBezTo>
                  <a:pt x="1557" y="344"/>
                  <a:pt x="1557" y="344"/>
                  <a:pt x="1557" y="344"/>
                </a:cubicBezTo>
                <a:cubicBezTo>
                  <a:pt x="1556" y="345"/>
                  <a:pt x="1556" y="345"/>
                  <a:pt x="1556" y="345"/>
                </a:cubicBezTo>
                <a:cubicBezTo>
                  <a:pt x="1557" y="346"/>
                  <a:pt x="1557" y="346"/>
                  <a:pt x="1557" y="346"/>
                </a:cubicBezTo>
                <a:cubicBezTo>
                  <a:pt x="1557" y="348"/>
                  <a:pt x="1557" y="348"/>
                  <a:pt x="1557" y="348"/>
                </a:cubicBezTo>
                <a:cubicBezTo>
                  <a:pt x="1556" y="349"/>
                  <a:pt x="1556" y="349"/>
                  <a:pt x="1556" y="349"/>
                </a:cubicBezTo>
                <a:cubicBezTo>
                  <a:pt x="1557" y="351"/>
                  <a:pt x="1557" y="351"/>
                  <a:pt x="1557" y="351"/>
                </a:cubicBezTo>
                <a:cubicBezTo>
                  <a:pt x="1558" y="350"/>
                  <a:pt x="1558" y="350"/>
                  <a:pt x="1558" y="350"/>
                </a:cubicBezTo>
                <a:cubicBezTo>
                  <a:pt x="1560" y="350"/>
                  <a:pt x="1560" y="350"/>
                  <a:pt x="1560" y="350"/>
                </a:cubicBezTo>
                <a:cubicBezTo>
                  <a:pt x="1561" y="351"/>
                  <a:pt x="1561" y="351"/>
                  <a:pt x="1561" y="351"/>
                </a:cubicBezTo>
                <a:cubicBezTo>
                  <a:pt x="1559" y="351"/>
                  <a:pt x="1559" y="351"/>
                  <a:pt x="1559" y="351"/>
                </a:cubicBezTo>
                <a:cubicBezTo>
                  <a:pt x="1558" y="352"/>
                  <a:pt x="1558" y="352"/>
                  <a:pt x="1558" y="352"/>
                </a:cubicBezTo>
                <a:cubicBezTo>
                  <a:pt x="1559" y="354"/>
                  <a:pt x="1559" y="354"/>
                  <a:pt x="1559" y="354"/>
                </a:cubicBezTo>
                <a:cubicBezTo>
                  <a:pt x="1559" y="354"/>
                  <a:pt x="1559" y="354"/>
                  <a:pt x="1559" y="354"/>
                </a:cubicBezTo>
                <a:cubicBezTo>
                  <a:pt x="1555" y="352"/>
                  <a:pt x="1555" y="352"/>
                  <a:pt x="1555" y="352"/>
                </a:cubicBezTo>
                <a:cubicBezTo>
                  <a:pt x="1554" y="352"/>
                  <a:pt x="1554" y="352"/>
                  <a:pt x="1554" y="352"/>
                </a:cubicBezTo>
                <a:cubicBezTo>
                  <a:pt x="1553" y="351"/>
                  <a:pt x="1553" y="351"/>
                  <a:pt x="1553" y="351"/>
                </a:cubicBezTo>
                <a:cubicBezTo>
                  <a:pt x="1552" y="351"/>
                  <a:pt x="1552" y="351"/>
                  <a:pt x="1552" y="351"/>
                </a:cubicBezTo>
                <a:cubicBezTo>
                  <a:pt x="1552" y="353"/>
                  <a:pt x="1552" y="353"/>
                  <a:pt x="1552" y="353"/>
                </a:cubicBezTo>
                <a:cubicBezTo>
                  <a:pt x="1550" y="354"/>
                  <a:pt x="1550" y="354"/>
                  <a:pt x="1550" y="354"/>
                </a:cubicBezTo>
                <a:cubicBezTo>
                  <a:pt x="1553" y="358"/>
                  <a:pt x="1553" y="358"/>
                  <a:pt x="1553" y="358"/>
                </a:cubicBezTo>
                <a:cubicBezTo>
                  <a:pt x="1555" y="359"/>
                  <a:pt x="1555" y="359"/>
                  <a:pt x="1555" y="359"/>
                </a:cubicBezTo>
                <a:cubicBezTo>
                  <a:pt x="1558" y="361"/>
                  <a:pt x="1558" y="361"/>
                  <a:pt x="1558" y="361"/>
                </a:cubicBezTo>
                <a:cubicBezTo>
                  <a:pt x="1562" y="363"/>
                  <a:pt x="1562" y="363"/>
                  <a:pt x="1562" y="363"/>
                </a:cubicBezTo>
                <a:cubicBezTo>
                  <a:pt x="1562" y="364"/>
                  <a:pt x="1562" y="364"/>
                  <a:pt x="1562" y="364"/>
                </a:cubicBezTo>
                <a:cubicBezTo>
                  <a:pt x="1561" y="364"/>
                  <a:pt x="1561" y="364"/>
                  <a:pt x="1561" y="364"/>
                </a:cubicBezTo>
                <a:cubicBezTo>
                  <a:pt x="1563" y="366"/>
                  <a:pt x="1563" y="366"/>
                  <a:pt x="1563" y="366"/>
                </a:cubicBezTo>
                <a:cubicBezTo>
                  <a:pt x="1564" y="365"/>
                  <a:pt x="1564" y="365"/>
                  <a:pt x="1564" y="365"/>
                </a:cubicBezTo>
                <a:cubicBezTo>
                  <a:pt x="1563" y="363"/>
                  <a:pt x="1563" y="363"/>
                  <a:pt x="1563" y="363"/>
                </a:cubicBezTo>
                <a:cubicBezTo>
                  <a:pt x="1565" y="363"/>
                  <a:pt x="1565" y="363"/>
                  <a:pt x="1565" y="363"/>
                </a:cubicBezTo>
                <a:cubicBezTo>
                  <a:pt x="1566" y="364"/>
                  <a:pt x="1566" y="364"/>
                  <a:pt x="1566" y="364"/>
                </a:cubicBezTo>
                <a:cubicBezTo>
                  <a:pt x="1566" y="365"/>
                  <a:pt x="1566" y="365"/>
                  <a:pt x="1566" y="365"/>
                </a:cubicBezTo>
                <a:cubicBezTo>
                  <a:pt x="1568" y="367"/>
                  <a:pt x="1568" y="367"/>
                  <a:pt x="1568" y="367"/>
                </a:cubicBezTo>
                <a:cubicBezTo>
                  <a:pt x="1569" y="366"/>
                  <a:pt x="1569" y="366"/>
                  <a:pt x="1569" y="366"/>
                </a:cubicBezTo>
                <a:cubicBezTo>
                  <a:pt x="1569" y="366"/>
                  <a:pt x="1569" y="366"/>
                  <a:pt x="1569" y="366"/>
                </a:cubicBezTo>
                <a:cubicBezTo>
                  <a:pt x="1571" y="366"/>
                  <a:pt x="1571" y="366"/>
                  <a:pt x="1571" y="366"/>
                </a:cubicBezTo>
                <a:cubicBezTo>
                  <a:pt x="1573" y="364"/>
                  <a:pt x="1573" y="364"/>
                  <a:pt x="1573" y="364"/>
                </a:cubicBezTo>
                <a:cubicBezTo>
                  <a:pt x="1574" y="363"/>
                  <a:pt x="1574" y="363"/>
                  <a:pt x="1574" y="363"/>
                </a:cubicBezTo>
                <a:cubicBezTo>
                  <a:pt x="1575" y="362"/>
                  <a:pt x="1575" y="362"/>
                  <a:pt x="1575" y="362"/>
                </a:cubicBezTo>
                <a:cubicBezTo>
                  <a:pt x="1575" y="363"/>
                  <a:pt x="1575" y="363"/>
                  <a:pt x="1575" y="363"/>
                </a:cubicBezTo>
                <a:cubicBezTo>
                  <a:pt x="1576" y="364"/>
                  <a:pt x="1576" y="364"/>
                  <a:pt x="1576" y="364"/>
                </a:cubicBezTo>
                <a:cubicBezTo>
                  <a:pt x="1577" y="364"/>
                  <a:pt x="1577" y="364"/>
                  <a:pt x="1577" y="364"/>
                </a:cubicBezTo>
                <a:cubicBezTo>
                  <a:pt x="1581" y="361"/>
                  <a:pt x="1581" y="361"/>
                  <a:pt x="1581" y="361"/>
                </a:cubicBezTo>
                <a:cubicBezTo>
                  <a:pt x="1580" y="359"/>
                  <a:pt x="1580" y="359"/>
                  <a:pt x="1580" y="359"/>
                </a:cubicBezTo>
                <a:cubicBezTo>
                  <a:pt x="1579" y="357"/>
                  <a:pt x="1579" y="357"/>
                  <a:pt x="1579" y="357"/>
                </a:cubicBezTo>
                <a:cubicBezTo>
                  <a:pt x="1582" y="359"/>
                  <a:pt x="1582" y="359"/>
                  <a:pt x="1582" y="359"/>
                </a:cubicBezTo>
                <a:cubicBezTo>
                  <a:pt x="1584" y="357"/>
                  <a:pt x="1584" y="357"/>
                  <a:pt x="1584" y="357"/>
                </a:cubicBezTo>
                <a:cubicBezTo>
                  <a:pt x="1583" y="356"/>
                  <a:pt x="1583" y="356"/>
                  <a:pt x="1583" y="356"/>
                </a:cubicBezTo>
                <a:cubicBezTo>
                  <a:pt x="1584" y="355"/>
                  <a:pt x="1584" y="355"/>
                  <a:pt x="1584" y="355"/>
                </a:cubicBezTo>
                <a:cubicBezTo>
                  <a:pt x="1584" y="354"/>
                  <a:pt x="1584" y="354"/>
                  <a:pt x="1584" y="354"/>
                </a:cubicBezTo>
                <a:cubicBezTo>
                  <a:pt x="1586" y="353"/>
                  <a:pt x="1586" y="353"/>
                  <a:pt x="1586" y="353"/>
                </a:cubicBezTo>
                <a:cubicBezTo>
                  <a:pt x="1587" y="353"/>
                  <a:pt x="1587" y="353"/>
                  <a:pt x="1587" y="353"/>
                </a:cubicBezTo>
                <a:cubicBezTo>
                  <a:pt x="1588" y="351"/>
                  <a:pt x="1588" y="351"/>
                  <a:pt x="1588" y="351"/>
                </a:cubicBezTo>
                <a:cubicBezTo>
                  <a:pt x="1586" y="349"/>
                  <a:pt x="1586" y="349"/>
                  <a:pt x="1586" y="349"/>
                </a:cubicBezTo>
                <a:cubicBezTo>
                  <a:pt x="1587" y="348"/>
                  <a:pt x="1587" y="348"/>
                  <a:pt x="1587" y="348"/>
                </a:cubicBezTo>
                <a:cubicBezTo>
                  <a:pt x="1585" y="346"/>
                  <a:pt x="1585" y="346"/>
                  <a:pt x="1585" y="346"/>
                </a:cubicBezTo>
                <a:cubicBezTo>
                  <a:pt x="1584" y="345"/>
                  <a:pt x="1584" y="345"/>
                  <a:pt x="1584" y="345"/>
                </a:cubicBezTo>
                <a:cubicBezTo>
                  <a:pt x="1584" y="343"/>
                  <a:pt x="1584" y="343"/>
                  <a:pt x="1584" y="343"/>
                </a:cubicBezTo>
                <a:cubicBezTo>
                  <a:pt x="1585" y="344"/>
                  <a:pt x="1585" y="344"/>
                  <a:pt x="1585" y="344"/>
                </a:cubicBezTo>
                <a:cubicBezTo>
                  <a:pt x="1587" y="346"/>
                  <a:pt x="1587" y="346"/>
                  <a:pt x="1587" y="346"/>
                </a:cubicBezTo>
                <a:cubicBezTo>
                  <a:pt x="1587" y="349"/>
                  <a:pt x="1587" y="349"/>
                  <a:pt x="1587" y="349"/>
                </a:cubicBezTo>
                <a:cubicBezTo>
                  <a:pt x="1588" y="350"/>
                  <a:pt x="1588" y="350"/>
                  <a:pt x="1588" y="350"/>
                </a:cubicBezTo>
                <a:cubicBezTo>
                  <a:pt x="1589" y="350"/>
                  <a:pt x="1589" y="350"/>
                  <a:pt x="1589" y="350"/>
                </a:cubicBezTo>
                <a:cubicBezTo>
                  <a:pt x="1589" y="351"/>
                  <a:pt x="1589" y="351"/>
                  <a:pt x="1589" y="351"/>
                </a:cubicBezTo>
                <a:cubicBezTo>
                  <a:pt x="1590" y="352"/>
                  <a:pt x="1590" y="352"/>
                  <a:pt x="1590" y="352"/>
                </a:cubicBezTo>
                <a:cubicBezTo>
                  <a:pt x="1592" y="351"/>
                  <a:pt x="1592" y="351"/>
                  <a:pt x="1592" y="351"/>
                </a:cubicBezTo>
                <a:cubicBezTo>
                  <a:pt x="1591" y="350"/>
                  <a:pt x="1591" y="350"/>
                  <a:pt x="1591" y="350"/>
                </a:cubicBezTo>
                <a:cubicBezTo>
                  <a:pt x="1591" y="349"/>
                  <a:pt x="1591" y="349"/>
                  <a:pt x="1591" y="349"/>
                </a:cubicBezTo>
                <a:cubicBezTo>
                  <a:pt x="1591" y="348"/>
                  <a:pt x="1591" y="348"/>
                  <a:pt x="1591" y="348"/>
                </a:cubicBezTo>
                <a:cubicBezTo>
                  <a:pt x="1593" y="350"/>
                  <a:pt x="1593" y="350"/>
                  <a:pt x="1593" y="350"/>
                </a:cubicBezTo>
                <a:cubicBezTo>
                  <a:pt x="1593" y="350"/>
                  <a:pt x="1593" y="350"/>
                  <a:pt x="1593" y="350"/>
                </a:cubicBezTo>
                <a:cubicBezTo>
                  <a:pt x="1595" y="348"/>
                  <a:pt x="1595" y="348"/>
                  <a:pt x="1595" y="348"/>
                </a:cubicBezTo>
                <a:cubicBezTo>
                  <a:pt x="1596" y="346"/>
                  <a:pt x="1596" y="346"/>
                  <a:pt x="1596" y="346"/>
                </a:cubicBezTo>
                <a:cubicBezTo>
                  <a:pt x="1595" y="344"/>
                  <a:pt x="1595" y="344"/>
                  <a:pt x="1595" y="344"/>
                </a:cubicBezTo>
                <a:cubicBezTo>
                  <a:pt x="1594" y="343"/>
                  <a:pt x="1594" y="343"/>
                  <a:pt x="1594" y="343"/>
                </a:cubicBezTo>
                <a:cubicBezTo>
                  <a:pt x="1593" y="342"/>
                  <a:pt x="1593" y="342"/>
                  <a:pt x="1593" y="342"/>
                </a:cubicBezTo>
                <a:cubicBezTo>
                  <a:pt x="1594" y="342"/>
                  <a:pt x="1594" y="342"/>
                  <a:pt x="1594" y="342"/>
                </a:cubicBezTo>
                <a:cubicBezTo>
                  <a:pt x="1595" y="341"/>
                  <a:pt x="1595" y="341"/>
                  <a:pt x="1595" y="341"/>
                </a:cubicBezTo>
                <a:cubicBezTo>
                  <a:pt x="1595" y="341"/>
                  <a:pt x="1595" y="341"/>
                  <a:pt x="1595" y="341"/>
                </a:cubicBezTo>
                <a:cubicBezTo>
                  <a:pt x="1596" y="340"/>
                  <a:pt x="1596" y="340"/>
                  <a:pt x="1596" y="340"/>
                </a:cubicBezTo>
                <a:cubicBezTo>
                  <a:pt x="1595" y="338"/>
                  <a:pt x="1595" y="338"/>
                  <a:pt x="1595" y="338"/>
                </a:cubicBezTo>
                <a:cubicBezTo>
                  <a:pt x="1595" y="337"/>
                  <a:pt x="1595" y="337"/>
                  <a:pt x="1595" y="337"/>
                </a:cubicBezTo>
                <a:cubicBezTo>
                  <a:pt x="1597" y="335"/>
                  <a:pt x="1597" y="335"/>
                  <a:pt x="1597" y="335"/>
                </a:cubicBezTo>
                <a:cubicBezTo>
                  <a:pt x="1598" y="337"/>
                  <a:pt x="1598" y="337"/>
                  <a:pt x="1598" y="337"/>
                </a:cubicBezTo>
                <a:cubicBezTo>
                  <a:pt x="1597" y="339"/>
                  <a:pt x="1597" y="339"/>
                  <a:pt x="1597" y="339"/>
                </a:cubicBezTo>
                <a:cubicBezTo>
                  <a:pt x="1597" y="341"/>
                  <a:pt x="1597" y="341"/>
                  <a:pt x="1597" y="341"/>
                </a:cubicBezTo>
                <a:cubicBezTo>
                  <a:pt x="1597" y="343"/>
                  <a:pt x="1597" y="343"/>
                  <a:pt x="1597" y="343"/>
                </a:cubicBezTo>
                <a:cubicBezTo>
                  <a:pt x="1598" y="345"/>
                  <a:pt x="1598" y="345"/>
                  <a:pt x="1598" y="345"/>
                </a:cubicBezTo>
                <a:cubicBezTo>
                  <a:pt x="1599" y="346"/>
                  <a:pt x="1599" y="346"/>
                  <a:pt x="1599" y="346"/>
                </a:cubicBezTo>
                <a:cubicBezTo>
                  <a:pt x="1601" y="348"/>
                  <a:pt x="1601" y="348"/>
                  <a:pt x="1601" y="348"/>
                </a:cubicBezTo>
                <a:cubicBezTo>
                  <a:pt x="1603" y="348"/>
                  <a:pt x="1603" y="348"/>
                  <a:pt x="1603" y="348"/>
                </a:cubicBezTo>
                <a:cubicBezTo>
                  <a:pt x="1604" y="349"/>
                  <a:pt x="1604" y="349"/>
                  <a:pt x="1604" y="349"/>
                </a:cubicBezTo>
                <a:cubicBezTo>
                  <a:pt x="1603" y="349"/>
                  <a:pt x="1603" y="349"/>
                  <a:pt x="1603" y="349"/>
                </a:cubicBezTo>
                <a:cubicBezTo>
                  <a:pt x="1603" y="350"/>
                  <a:pt x="1603" y="350"/>
                  <a:pt x="1603" y="350"/>
                </a:cubicBezTo>
                <a:cubicBezTo>
                  <a:pt x="1602" y="351"/>
                  <a:pt x="1602" y="351"/>
                  <a:pt x="1602" y="351"/>
                </a:cubicBezTo>
                <a:cubicBezTo>
                  <a:pt x="1602" y="355"/>
                  <a:pt x="1602" y="355"/>
                  <a:pt x="1602" y="355"/>
                </a:cubicBezTo>
                <a:cubicBezTo>
                  <a:pt x="1603" y="356"/>
                  <a:pt x="1603" y="356"/>
                  <a:pt x="1603" y="356"/>
                </a:cubicBezTo>
                <a:cubicBezTo>
                  <a:pt x="1603" y="359"/>
                  <a:pt x="1603" y="359"/>
                  <a:pt x="1603" y="359"/>
                </a:cubicBezTo>
                <a:cubicBezTo>
                  <a:pt x="1605" y="360"/>
                  <a:pt x="1605" y="360"/>
                  <a:pt x="1605" y="360"/>
                </a:cubicBezTo>
                <a:cubicBezTo>
                  <a:pt x="1605" y="361"/>
                  <a:pt x="1605" y="361"/>
                  <a:pt x="1605" y="361"/>
                </a:cubicBezTo>
                <a:cubicBezTo>
                  <a:pt x="1605" y="363"/>
                  <a:pt x="1605" y="363"/>
                  <a:pt x="1605" y="363"/>
                </a:cubicBezTo>
                <a:cubicBezTo>
                  <a:pt x="1607" y="362"/>
                  <a:pt x="1607" y="362"/>
                  <a:pt x="1607" y="362"/>
                </a:cubicBezTo>
                <a:cubicBezTo>
                  <a:pt x="1606" y="361"/>
                  <a:pt x="1606" y="361"/>
                  <a:pt x="1606" y="361"/>
                </a:cubicBezTo>
                <a:cubicBezTo>
                  <a:pt x="1606" y="359"/>
                  <a:pt x="1606" y="359"/>
                  <a:pt x="1606" y="359"/>
                </a:cubicBezTo>
                <a:cubicBezTo>
                  <a:pt x="1607" y="359"/>
                  <a:pt x="1607" y="359"/>
                  <a:pt x="1607" y="359"/>
                </a:cubicBezTo>
                <a:cubicBezTo>
                  <a:pt x="1606" y="360"/>
                  <a:pt x="1606" y="360"/>
                  <a:pt x="1606" y="360"/>
                </a:cubicBezTo>
                <a:cubicBezTo>
                  <a:pt x="1608" y="361"/>
                  <a:pt x="1608" y="361"/>
                  <a:pt x="1608" y="361"/>
                </a:cubicBezTo>
                <a:cubicBezTo>
                  <a:pt x="1609" y="362"/>
                  <a:pt x="1609" y="362"/>
                  <a:pt x="1609" y="362"/>
                </a:cubicBezTo>
                <a:cubicBezTo>
                  <a:pt x="1607" y="364"/>
                  <a:pt x="1607" y="364"/>
                  <a:pt x="1607" y="364"/>
                </a:cubicBezTo>
                <a:cubicBezTo>
                  <a:pt x="1606" y="365"/>
                  <a:pt x="1606" y="365"/>
                  <a:pt x="1606" y="365"/>
                </a:cubicBezTo>
                <a:cubicBezTo>
                  <a:pt x="1607" y="367"/>
                  <a:pt x="1607" y="367"/>
                  <a:pt x="1607" y="367"/>
                </a:cubicBezTo>
                <a:cubicBezTo>
                  <a:pt x="1607" y="369"/>
                  <a:pt x="1607" y="369"/>
                  <a:pt x="1607" y="369"/>
                </a:cubicBezTo>
                <a:cubicBezTo>
                  <a:pt x="1606" y="370"/>
                  <a:pt x="1606" y="370"/>
                  <a:pt x="1606" y="370"/>
                </a:cubicBezTo>
                <a:cubicBezTo>
                  <a:pt x="1607" y="372"/>
                  <a:pt x="1607" y="372"/>
                  <a:pt x="1607" y="372"/>
                </a:cubicBezTo>
                <a:cubicBezTo>
                  <a:pt x="1608" y="372"/>
                  <a:pt x="1608" y="372"/>
                  <a:pt x="1608" y="372"/>
                </a:cubicBezTo>
                <a:cubicBezTo>
                  <a:pt x="1609" y="375"/>
                  <a:pt x="1609" y="375"/>
                  <a:pt x="1609" y="375"/>
                </a:cubicBezTo>
                <a:cubicBezTo>
                  <a:pt x="1610" y="376"/>
                  <a:pt x="1610" y="376"/>
                  <a:pt x="1610" y="376"/>
                </a:cubicBezTo>
                <a:cubicBezTo>
                  <a:pt x="1612" y="379"/>
                  <a:pt x="1612" y="379"/>
                  <a:pt x="1612" y="379"/>
                </a:cubicBezTo>
                <a:cubicBezTo>
                  <a:pt x="1612" y="382"/>
                  <a:pt x="1612" y="382"/>
                  <a:pt x="1612" y="382"/>
                </a:cubicBezTo>
                <a:cubicBezTo>
                  <a:pt x="1614" y="383"/>
                  <a:pt x="1614" y="383"/>
                  <a:pt x="1614" y="383"/>
                </a:cubicBezTo>
                <a:cubicBezTo>
                  <a:pt x="1615" y="385"/>
                  <a:pt x="1615" y="385"/>
                  <a:pt x="1615" y="385"/>
                </a:cubicBezTo>
                <a:cubicBezTo>
                  <a:pt x="1617" y="387"/>
                  <a:pt x="1617" y="387"/>
                  <a:pt x="1617" y="387"/>
                </a:cubicBezTo>
                <a:cubicBezTo>
                  <a:pt x="1619" y="386"/>
                  <a:pt x="1619" y="386"/>
                  <a:pt x="1619" y="386"/>
                </a:cubicBezTo>
                <a:cubicBezTo>
                  <a:pt x="1620" y="388"/>
                  <a:pt x="1620" y="388"/>
                  <a:pt x="1620" y="388"/>
                </a:cubicBezTo>
                <a:cubicBezTo>
                  <a:pt x="1618" y="391"/>
                  <a:pt x="1618" y="391"/>
                  <a:pt x="1618" y="391"/>
                </a:cubicBezTo>
                <a:cubicBezTo>
                  <a:pt x="1616" y="391"/>
                  <a:pt x="1616" y="391"/>
                  <a:pt x="1616" y="391"/>
                </a:cubicBezTo>
                <a:cubicBezTo>
                  <a:pt x="1615" y="392"/>
                  <a:pt x="1615" y="392"/>
                  <a:pt x="1615" y="392"/>
                </a:cubicBezTo>
                <a:cubicBezTo>
                  <a:pt x="1617" y="393"/>
                  <a:pt x="1617" y="393"/>
                  <a:pt x="1617" y="393"/>
                </a:cubicBezTo>
                <a:cubicBezTo>
                  <a:pt x="1617" y="395"/>
                  <a:pt x="1617" y="395"/>
                  <a:pt x="1617" y="395"/>
                </a:cubicBezTo>
                <a:cubicBezTo>
                  <a:pt x="1619" y="396"/>
                  <a:pt x="1619" y="396"/>
                  <a:pt x="1619" y="396"/>
                </a:cubicBezTo>
                <a:cubicBezTo>
                  <a:pt x="1620" y="400"/>
                  <a:pt x="1620" y="400"/>
                  <a:pt x="1620" y="400"/>
                </a:cubicBezTo>
                <a:cubicBezTo>
                  <a:pt x="1619" y="402"/>
                  <a:pt x="1619" y="402"/>
                  <a:pt x="1619" y="402"/>
                </a:cubicBezTo>
                <a:cubicBezTo>
                  <a:pt x="1620" y="403"/>
                  <a:pt x="1620" y="403"/>
                  <a:pt x="1620" y="403"/>
                </a:cubicBezTo>
                <a:cubicBezTo>
                  <a:pt x="1622" y="403"/>
                  <a:pt x="1622" y="403"/>
                  <a:pt x="1622" y="403"/>
                </a:cubicBezTo>
                <a:cubicBezTo>
                  <a:pt x="1627" y="402"/>
                  <a:pt x="1627" y="402"/>
                  <a:pt x="1627" y="402"/>
                </a:cubicBezTo>
                <a:cubicBezTo>
                  <a:pt x="1630" y="403"/>
                  <a:pt x="1630" y="403"/>
                  <a:pt x="1630" y="403"/>
                </a:cubicBezTo>
                <a:cubicBezTo>
                  <a:pt x="1632" y="401"/>
                  <a:pt x="1632" y="401"/>
                  <a:pt x="1632" y="401"/>
                </a:cubicBezTo>
                <a:cubicBezTo>
                  <a:pt x="1631" y="399"/>
                  <a:pt x="1631" y="399"/>
                  <a:pt x="1631" y="399"/>
                </a:cubicBezTo>
                <a:cubicBezTo>
                  <a:pt x="1630" y="398"/>
                  <a:pt x="1630" y="398"/>
                  <a:pt x="1630" y="398"/>
                </a:cubicBezTo>
                <a:cubicBezTo>
                  <a:pt x="1632" y="395"/>
                  <a:pt x="1632" y="395"/>
                  <a:pt x="1632" y="395"/>
                </a:cubicBezTo>
                <a:cubicBezTo>
                  <a:pt x="1635" y="395"/>
                  <a:pt x="1635" y="395"/>
                  <a:pt x="1635" y="395"/>
                </a:cubicBezTo>
                <a:cubicBezTo>
                  <a:pt x="1635" y="391"/>
                  <a:pt x="1635" y="391"/>
                  <a:pt x="1635" y="391"/>
                </a:cubicBezTo>
                <a:cubicBezTo>
                  <a:pt x="1636" y="393"/>
                  <a:pt x="1636" y="393"/>
                  <a:pt x="1636" y="393"/>
                </a:cubicBezTo>
                <a:cubicBezTo>
                  <a:pt x="1640" y="393"/>
                  <a:pt x="1640" y="393"/>
                  <a:pt x="1640" y="393"/>
                </a:cubicBezTo>
                <a:cubicBezTo>
                  <a:pt x="1642" y="392"/>
                  <a:pt x="1642" y="392"/>
                  <a:pt x="1642" y="392"/>
                </a:cubicBezTo>
                <a:cubicBezTo>
                  <a:pt x="1644" y="393"/>
                  <a:pt x="1644" y="393"/>
                  <a:pt x="1644" y="393"/>
                </a:cubicBezTo>
                <a:cubicBezTo>
                  <a:pt x="1645" y="394"/>
                  <a:pt x="1645" y="394"/>
                  <a:pt x="1645" y="394"/>
                </a:cubicBezTo>
                <a:cubicBezTo>
                  <a:pt x="1647" y="392"/>
                  <a:pt x="1647" y="392"/>
                  <a:pt x="1647" y="392"/>
                </a:cubicBezTo>
                <a:cubicBezTo>
                  <a:pt x="1648" y="388"/>
                  <a:pt x="1648" y="388"/>
                  <a:pt x="1648" y="388"/>
                </a:cubicBezTo>
                <a:cubicBezTo>
                  <a:pt x="1649" y="386"/>
                  <a:pt x="1649" y="386"/>
                  <a:pt x="1649" y="386"/>
                </a:cubicBezTo>
                <a:cubicBezTo>
                  <a:pt x="1650" y="381"/>
                  <a:pt x="1650" y="381"/>
                  <a:pt x="1650" y="381"/>
                </a:cubicBezTo>
                <a:cubicBezTo>
                  <a:pt x="1651" y="379"/>
                  <a:pt x="1651" y="379"/>
                  <a:pt x="1651" y="379"/>
                </a:cubicBezTo>
                <a:cubicBezTo>
                  <a:pt x="1649" y="378"/>
                  <a:pt x="1649" y="378"/>
                  <a:pt x="1649" y="378"/>
                </a:cubicBezTo>
                <a:cubicBezTo>
                  <a:pt x="1649" y="376"/>
                  <a:pt x="1649" y="376"/>
                  <a:pt x="1649" y="376"/>
                </a:cubicBezTo>
                <a:cubicBezTo>
                  <a:pt x="1651" y="374"/>
                  <a:pt x="1651" y="374"/>
                  <a:pt x="1651" y="374"/>
                </a:cubicBezTo>
                <a:cubicBezTo>
                  <a:pt x="1649" y="372"/>
                  <a:pt x="1649" y="372"/>
                  <a:pt x="1649" y="372"/>
                </a:cubicBezTo>
                <a:cubicBezTo>
                  <a:pt x="1651" y="370"/>
                  <a:pt x="1651" y="370"/>
                  <a:pt x="1651" y="370"/>
                </a:cubicBezTo>
                <a:cubicBezTo>
                  <a:pt x="1649" y="369"/>
                  <a:pt x="1649" y="369"/>
                  <a:pt x="1649" y="369"/>
                </a:cubicBezTo>
                <a:cubicBezTo>
                  <a:pt x="1650" y="367"/>
                  <a:pt x="1650" y="367"/>
                  <a:pt x="1650" y="367"/>
                </a:cubicBezTo>
                <a:cubicBezTo>
                  <a:pt x="1648" y="365"/>
                  <a:pt x="1648" y="365"/>
                  <a:pt x="1648" y="365"/>
                </a:cubicBezTo>
                <a:cubicBezTo>
                  <a:pt x="1651" y="366"/>
                  <a:pt x="1651" y="366"/>
                  <a:pt x="1651" y="366"/>
                </a:cubicBezTo>
                <a:cubicBezTo>
                  <a:pt x="1653" y="366"/>
                  <a:pt x="1653" y="366"/>
                  <a:pt x="1653" y="366"/>
                </a:cubicBezTo>
                <a:cubicBezTo>
                  <a:pt x="1651" y="364"/>
                  <a:pt x="1651" y="364"/>
                  <a:pt x="1651" y="364"/>
                </a:cubicBezTo>
                <a:cubicBezTo>
                  <a:pt x="1652" y="361"/>
                  <a:pt x="1652" y="361"/>
                  <a:pt x="1652" y="361"/>
                </a:cubicBezTo>
                <a:cubicBezTo>
                  <a:pt x="1652" y="360"/>
                  <a:pt x="1652" y="360"/>
                  <a:pt x="1652" y="360"/>
                </a:cubicBezTo>
                <a:cubicBezTo>
                  <a:pt x="1649" y="359"/>
                  <a:pt x="1649" y="359"/>
                  <a:pt x="1649" y="359"/>
                </a:cubicBezTo>
                <a:cubicBezTo>
                  <a:pt x="1653" y="359"/>
                  <a:pt x="1653" y="359"/>
                  <a:pt x="1653" y="359"/>
                </a:cubicBezTo>
                <a:cubicBezTo>
                  <a:pt x="1651" y="357"/>
                  <a:pt x="1651" y="357"/>
                  <a:pt x="1651" y="357"/>
                </a:cubicBezTo>
                <a:cubicBezTo>
                  <a:pt x="1649" y="357"/>
                  <a:pt x="1649" y="357"/>
                  <a:pt x="1649" y="357"/>
                </a:cubicBezTo>
                <a:cubicBezTo>
                  <a:pt x="1650" y="355"/>
                  <a:pt x="1650" y="355"/>
                  <a:pt x="1650" y="355"/>
                </a:cubicBezTo>
                <a:cubicBezTo>
                  <a:pt x="1651" y="355"/>
                  <a:pt x="1651" y="355"/>
                  <a:pt x="1651" y="355"/>
                </a:cubicBezTo>
                <a:cubicBezTo>
                  <a:pt x="1651" y="356"/>
                  <a:pt x="1651" y="356"/>
                  <a:pt x="1651" y="356"/>
                </a:cubicBezTo>
                <a:cubicBezTo>
                  <a:pt x="1653" y="355"/>
                  <a:pt x="1653" y="355"/>
                  <a:pt x="1653" y="355"/>
                </a:cubicBezTo>
                <a:cubicBezTo>
                  <a:pt x="1653" y="353"/>
                  <a:pt x="1653" y="353"/>
                  <a:pt x="1653" y="353"/>
                </a:cubicBezTo>
                <a:cubicBezTo>
                  <a:pt x="1654" y="355"/>
                  <a:pt x="1654" y="355"/>
                  <a:pt x="1654" y="355"/>
                </a:cubicBezTo>
                <a:cubicBezTo>
                  <a:pt x="1654" y="353"/>
                  <a:pt x="1654" y="353"/>
                  <a:pt x="1654" y="353"/>
                </a:cubicBezTo>
                <a:cubicBezTo>
                  <a:pt x="1656" y="351"/>
                  <a:pt x="1656" y="351"/>
                  <a:pt x="1656" y="351"/>
                </a:cubicBezTo>
                <a:cubicBezTo>
                  <a:pt x="1657" y="351"/>
                  <a:pt x="1657" y="351"/>
                  <a:pt x="1657" y="351"/>
                </a:cubicBezTo>
                <a:cubicBezTo>
                  <a:pt x="1657" y="350"/>
                  <a:pt x="1657" y="350"/>
                  <a:pt x="1657" y="350"/>
                </a:cubicBezTo>
                <a:cubicBezTo>
                  <a:pt x="1658" y="348"/>
                  <a:pt x="1658" y="348"/>
                  <a:pt x="1658" y="348"/>
                </a:cubicBezTo>
                <a:cubicBezTo>
                  <a:pt x="1658" y="349"/>
                  <a:pt x="1658" y="349"/>
                  <a:pt x="1658" y="349"/>
                </a:cubicBezTo>
                <a:cubicBezTo>
                  <a:pt x="1658" y="351"/>
                  <a:pt x="1658" y="351"/>
                  <a:pt x="1658" y="351"/>
                </a:cubicBezTo>
                <a:cubicBezTo>
                  <a:pt x="1659" y="351"/>
                  <a:pt x="1659" y="351"/>
                  <a:pt x="1659" y="351"/>
                </a:cubicBezTo>
                <a:cubicBezTo>
                  <a:pt x="1661" y="349"/>
                  <a:pt x="1661" y="349"/>
                  <a:pt x="1661" y="349"/>
                </a:cubicBezTo>
                <a:cubicBezTo>
                  <a:pt x="1662" y="349"/>
                  <a:pt x="1662" y="349"/>
                  <a:pt x="1662" y="349"/>
                </a:cubicBezTo>
                <a:cubicBezTo>
                  <a:pt x="1664" y="347"/>
                  <a:pt x="1664" y="347"/>
                  <a:pt x="1664" y="347"/>
                </a:cubicBezTo>
                <a:cubicBezTo>
                  <a:pt x="1663" y="346"/>
                  <a:pt x="1663" y="346"/>
                  <a:pt x="1663" y="346"/>
                </a:cubicBezTo>
                <a:cubicBezTo>
                  <a:pt x="1662" y="345"/>
                  <a:pt x="1662" y="345"/>
                  <a:pt x="1662" y="345"/>
                </a:cubicBezTo>
                <a:cubicBezTo>
                  <a:pt x="1660" y="344"/>
                  <a:pt x="1660" y="344"/>
                  <a:pt x="1660" y="344"/>
                </a:cubicBezTo>
                <a:cubicBezTo>
                  <a:pt x="1658" y="345"/>
                  <a:pt x="1658" y="345"/>
                  <a:pt x="1658" y="345"/>
                </a:cubicBezTo>
                <a:cubicBezTo>
                  <a:pt x="1657" y="344"/>
                  <a:pt x="1657" y="344"/>
                  <a:pt x="1657" y="344"/>
                </a:cubicBezTo>
                <a:cubicBezTo>
                  <a:pt x="1655" y="345"/>
                  <a:pt x="1655" y="345"/>
                  <a:pt x="1655" y="345"/>
                </a:cubicBezTo>
                <a:cubicBezTo>
                  <a:pt x="1654" y="344"/>
                  <a:pt x="1654" y="344"/>
                  <a:pt x="1654" y="344"/>
                </a:cubicBezTo>
                <a:cubicBezTo>
                  <a:pt x="1652" y="343"/>
                  <a:pt x="1652" y="343"/>
                  <a:pt x="1652" y="343"/>
                </a:cubicBezTo>
                <a:cubicBezTo>
                  <a:pt x="1651" y="342"/>
                  <a:pt x="1651" y="342"/>
                  <a:pt x="1651" y="342"/>
                </a:cubicBezTo>
                <a:cubicBezTo>
                  <a:pt x="1648" y="342"/>
                  <a:pt x="1648" y="342"/>
                  <a:pt x="1648" y="342"/>
                </a:cubicBezTo>
                <a:cubicBezTo>
                  <a:pt x="1648" y="343"/>
                  <a:pt x="1648" y="343"/>
                  <a:pt x="1648" y="343"/>
                </a:cubicBezTo>
                <a:cubicBezTo>
                  <a:pt x="1647" y="343"/>
                  <a:pt x="1647" y="343"/>
                  <a:pt x="1647" y="343"/>
                </a:cubicBezTo>
                <a:cubicBezTo>
                  <a:pt x="1644" y="342"/>
                  <a:pt x="1644" y="342"/>
                  <a:pt x="1644" y="342"/>
                </a:cubicBezTo>
                <a:cubicBezTo>
                  <a:pt x="1644" y="342"/>
                  <a:pt x="1644" y="342"/>
                  <a:pt x="1644" y="342"/>
                </a:cubicBezTo>
                <a:cubicBezTo>
                  <a:pt x="1645" y="341"/>
                  <a:pt x="1645" y="341"/>
                  <a:pt x="1645" y="341"/>
                </a:cubicBezTo>
                <a:cubicBezTo>
                  <a:pt x="1647" y="342"/>
                  <a:pt x="1647" y="342"/>
                  <a:pt x="1647" y="342"/>
                </a:cubicBezTo>
                <a:cubicBezTo>
                  <a:pt x="1648" y="340"/>
                  <a:pt x="1648" y="340"/>
                  <a:pt x="1648" y="340"/>
                </a:cubicBezTo>
                <a:cubicBezTo>
                  <a:pt x="1649" y="341"/>
                  <a:pt x="1649" y="341"/>
                  <a:pt x="1649" y="341"/>
                </a:cubicBezTo>
                <a:cubicBezTo>
                  <a:pt x="1651" y="340"/>
                  <a:pt x="1651" y="340"/>
                  <a:pt x="1651" y="340"/>
                </a:cubicBezTo>
                <a:cubicBezTo>
                  <a:pt x="1651" y="339"/>
                  <a:pt x="1651" y="339"/>
                  <a:pt x="1651" y="339"/>
                </a:cubicBezTo>
                <a:cubicBezTo>
                  <a:pt x="1653" y="339"/>
                  <a:pt x="1653" y="339"/>
                  <a:pt x="1653" y="339"/>
                </a:cubicBezTo>
                <a:cubicBezTo>
                  <a:pt x="1654" y="340"/>
                  <a:pt x="1654" y="340"/>
                  <a:pt x="1654" y="340"/>
                </a:cubicBezTo>
                <a:cubicBezTo>
                  <a:pt x="1655" y="340"/>
                  <a:pt x="1655" y="340"/>
                  <a:pt x="1655" y="340"/>
                </a:cubicBezTo>
                <a:cubicBezTo>
                  <a:pt x="1655" y="339"/>
                  <a:pt x="1655" y="339"/>
                  <a:pt x="1655" y="339"/>
                </a:cubicBezTo>
                <a:cubicBezTo>
                  <a:pt x="1656" y="340"/>
                  <a:pt x="1656" y="340"/>
                  <a:pt x="1656" y="340"/>
                </a:cubicBezTo>
                <a:cubicBezTo>
                  <a:pt x="1659" y="341"/>
                  <a:pt x="1659" y="341"/>
                  <a:pt x="1659" y="341"/>
                </a:cubicBezTo>
                <a:cubicBezTo>
                  <a:pt x="1658" y="342"/>
                  <a:pt x="1658" y="342"/>
                  <a:pt x="1658" y="342"/>
                </a:cubicBezTo>
                <a:cubicBezTo>
                  <a:pt x="1660" y="343"/>
                  <a:pt x="1660" y="343"/>
                  <a:pt x="1660" y="343"/>
                </a:cubicBezTo>
                <a:cubicBezTo>
                  <a:pt x="1663" y="342"/>
                  <a:pt x="1663" y="342"/>
                  <a:pt x="1663" y="342"/>
                </a:cubicBezTo>
                <a:cubicBezTo>
                  <a:pt x="1664" y="340"/>
                  <a:pt x="1664" y="340"/>
                  <a:pt x="1664" y="340"/>
                </a:cubicBezTo>
                <a:cubicBezTo>
                  <a:pt x="1666" y="338"/>
                  <a:pt x="1666" y="338"/>
                  <a:pt x="1666" y="338"/>
                </a:cubicBezTo>
                <a:cubicBezTo>
                  <a:pt x="1667" y="335"/>
                  <a:pt x="1667" y="335"/>
                  <a:pt x="1667" y="335"/>
                </a:cubicBezTo>
                <a:cubicBezTo>
                  <a:pt x="1665" y="333"/>
                  <a:pt x="1665" y="333"/>
                  <a:pt x="1665" y="333"/>
                </a:cubicBezTo>
                <a:cubicBezTo>
                  <a:pt x="1665" y="331"/>
                  <a:pt x="1665" y="331"/>
                  <a:pt x="1665" y="331"/>
                </a:cubicBezTo>
                <a:cubicBezTo>
                  <a:pt x="1662" y="329"/>
                  <a:pt x="1662" y="329"/>
                  <a:pt x="1662" y="329"/>
                </a:cubicBezTo>
                <a:cubicBezTo>
                  <a:pt x="1663" y="328"/>
                  <a:pt x="1663" y="328"/>
                  <a:pt x="1663" y="328"/>
                </a:cubicBezTo>
                <a:cubicBezTo>
                  <a:pt x="1659" y="325"/>
                  <a:pt x="1659" y="325"/>
                  <a:pt x="1659" y="325"/>
                </a:cubicBezTo>
                <a:cubicBezTo>
                  <a:pt x="1659" y="324"/>
                  <a:pt x="1659" y="324"/>
                  <a:pt x="1659" y="324"/>
                </a:cubicBezTo>
                <a:cubicBezTo>
                  <a:pt x="1657" y="323"/>
                  <a:pt x="1657" y="323"/>
                  <a:pt x="1657" y="323"/>
                </a:cubicBezTo>
                <a:cubicBezTo>
                  <a:pt x="1656" y="325"/>
                  <a:pt x="1656" y="325"/>
                  <a:pt x="1656" y="325"/>
                </a:cubicBezTo>
                <a:cubicBezTo>
                  <a:pt x="1655" y="323"/>
                  <a:pt x="1655" y="323"/>
                  <a:pt x="1655" y="323"/>
                </a:cubicBezTo>
                <a:cubicBezTo>
                  <a:pt x="1654" y="323"/>
                  <a:pt x="1654" y="323"/>
                  <a:pt x="1654" y="323"/>
                </a:cubicBezTo>
                <a:cubicBezTo>
                  <a:pt x="1654" y="322"/>
                  <a:pt x="1654" y="322"/>
                  <a:pt x="1654" y="322"/>
                </a:cubicBezTo>
                <a:cubicBezTo>
                  <a:pt x="1652" y="321"/>
                  <a:pt x="1652" y="321"/>
                  <a:pt x="1652" y="321"/>
                </a:cubicBezTo>
                <a:cubicBezTo>
                  <a:pt x="1651" y="320"/>
                  <a:pt x="1651" y="320"/>
                  <a:pt x="1651" y="320"/>
                </a:cubicBezTo>
                <a:cubicBezTo>
                  <a:pt x="1650" y="318"/>
                  <a:pt x="1650" y="318"/>
                  <a:pt x="1650" y="318"/>
                </a:cubicBezTo>
                <a:cubicBezTo>
                  <a:pt x="1652" y="317"/>
                  <a:pt x="1652" y="317"/>
                  <a:pt x="1652" y="317"/>
                </a:cubicBezTo>
                <a:cubicBezTo>
                  <a:pt x="1650" y="314"/>
                  <a:pt x="1650" y="314"/>
                  <a:pt x="1650" y="314"/>
                </a:cubicBezTo>
                <a:cubicBezTo>
                  <a:pt x="1651" y="314"/>
                  <a:pt x="1651" y="314"/>
                  <a:pt x="1651" y="314"/>
                </a:cubicBezTo>
                <a:cubicBezTo>
                  <a:pt x="1651" y="313"/>
                  <a:pt x="1651" y="313"/>
                  <a:pt x="1651" y="313"/>
                </a:cubicBezTo>
                <a:cubicBezTo>
                  <a:pt x="1650" y="312"/>
                  <a:pt x="1650" y="312"/>
                  <a:pt x="1650" y="312"/>
                </a:cubicBezTo>
                <a:cubicBezTo>
                  <a:pt x="1651" y="310"/>
                  <a:pt x="1651" y="310"/>
                  <a:pt x="1651" y="310"/>
                </a:cubicBezTo>
                <a:cubicBezTo>
                  <a:pt x="1651" y="307"/>
                  <a:pt x="1651" y="307"/>
                  <a:pt x="1651" y="307"/>
                </a:cubicBezTo>
                <a:cubicBezTo>
                  <a:pt x="1651" y="307"/>
                  <a:pt x="1651" y="307"/>
                  <a:pt x="1651" y="307"/>
                </a:cubicBezTo>
                <a:cubicBezTo>
                  <a:pt x="1653" y="308"/>
                  <a:pt x="1653" y="308"/>
                  <a:pt x="1653" y="308"/>
                </a:cubicBezTo>
                <a:cubicBezTo>
                  <a:pt x="1653" y="306"/>
                  <a:pt x="1653" y="306"/>
                  <a:pt x="1653" y="306"/>
                </a:cubicBezTo>
                <a:cubicBezTo>
                  <a:pt x="1651" y="304"/>
                  <a:pt x="1651" y="304"/>
                  <a:pt x="1651" y="304"/>
                </a:cubicBezTo>
                <a:cubicBezTo>
                  <a:pt x="1652" y="301"/>
                  <a:pt x="1652" y="301"/>
                  <a:pt x="1652" y="301"/>
                </a:cubicBezTo>
                <a:cubicBezTo>
                  <a:pt x="1651" y="299"/>
                  <a:pt x="1651" y="299"/>
                  <a:pt x="1651" y="299"/>
                </a:cubicBezTo>
                <a:cubicBezTo>
                  <a:pt x="1652" y="298"/>
                  <a:pt x="1652" y="298"/>
                  <a:pt x="1652" y="298"/>
                </a:cubicBezTo>
                <a:cubicBezTo>
                  <a:pt x="1652" y="296"/>
                  <a:pt x="1652" y="296"/>
                  <a:pt x="1652" y="296"/>
                </a:cubicBezTo>
                <a:cubicBezTo>
                  <a:pt x="1649" y="293"/>
                  <a:pt x="1649" y="293"/>
                  <a:pt x="1649" y="293"/>
                </a:cubicBezTo>
                <a:cubicBezTo>
                  <a:pt x="1651" y="293"/>
                  <a:pt x="1651" y="293"/>
                  <a:pt x="1651" y="293"/>
                </a:cubicBezTo>
                <a:cubicBezTo>
                  <a:pt x="1654" y="293"/>
                  <a:pt x="1654" y="293"/>
                  <a:pt x="1654" y="293"/>
                </a:cubicBezTo>
                <a:cubicBezTo>
                  <a:pt x="1655" y="290"/>
                  <a:pt x="1655" y="290"/>
                  <a:pt x="1655" y="290"/>
                </a:cubicBezTo>
                <a:cubicBezTo>
                  <a:pt x="1655" y="289"/>
                  <a:pt x="1655" y="289"/>
                  <a:pt x="1655" y="289"/>
                </a:cubicBezTo>
                <a:cubicBezTo>
                  <a:pt x="1655" y="287"/>
                  <a:pt x="1655" y="287"/>
                  <a:pt x="1655" y="287"/>
                </a:cubicBezTo>
                <a:cubicBezTo>
                  <a:pt x="1657" y="288"/>
                  <a:pt x="1657" y="288"/>
                  <a:pt x="1657" y="288"/>
                </a:cubicBezTo>
                <a:cubicBezTo>
                  <a:pt x="1660" y="286"/>
                  <a:pt x="1660" y="286"/>
                  <a:pt x="1660" y="286"/>
                </a:cubicBezTo>
                <a:cubicBezTo>
                  <a:pt x="1660" y="284"/>
                  <a:pt x="1660" y="284"/>
                  <a:pt x="1660" y="284"/>
                </a:cubicBezTo>
                <a:cubicBezTo>
                  <a:pt x="1659" y="284"/>
                  <a:pt x="1659" y="284"/>
                  <a:pt x="1659" y="284"/>
                </a:cubicBezTo>
                <a:cubicBezTo>
                  <a:pt x="1659" y="282"/>
                  <a:pt x="1659" y="282"/>
                  <a:pt x="1659" y="282"/>
                </a:cubicBezTo>
                <a:cubicBezTo>
                  <a:pt x="1660" y="281"/>
                  <a:pt x="1660" y="281"/>
                  <a:pt x="1660" y="281"/>
                </a:cubicBezTo>
                <a:cubicBezTo>
                  <a:pt x="1661" y="282"/>
                  <a:pt x="1661" y="282"/>
                  <a:pt x="1661" y="282"/>
                </a:cubicBezTo>
                <a:cubicBezTo>
                  <a:pt x="1662" y="282"/>
                  <a:pt x="1662" y="282"/>
                  <a:pt x="1662" y="282"/>
                </a:cubicBezTo>
                <a:cubicBezTo>
                  <a:pt x="1663" y="280"/>
                  <a:pt x="1663" y="280"/>
                  <a:pt x="1663" y="280"/>
                </a:cubicBezTo>
                <a:cubicBezTo>
                  <a:pt x="1664" y="280"/>
                  <a:pt x="1664" y="280"/>
                  <a:pt x="1664" y="280"/>
                </a:cubicBezTo>
                <a:cubicBezTo>
                  <a:pt x="1664" y="281"/>
                  <a:pt x="1664" y="281"/>
                  <a:pt x="1664" y="281"/>
                </a:cubicBezTo>
                <a:cubicBezTo>
                  <a:pt x="1666" y="280"/>
                  <a:pt x="1666" y="280"/>
                  <a:pt x="1666" y="280"/>
                </a:cubicBezTo>
                <a:cubicBezTo>
                  <a:pt x="1666" y="278"/>
                  <a:pt x="1666" y="278"/>
                  <a:pt x="1666" y="278"/>
                </a:cubicBezTo>
                <a:cubicBezTo>
                  <a:pt x="1667" y="275"/>
                  <a:pt x="1667" y="275"/>
                  <a:pt x="1667" y="275"/>
                </a:cubicBezTo>
                <a:cubicBezTo>
                  <a:pt x="1668" y="275"/>
                  <a:pt x="1668" y="275"/>
                  <a:pt x="1668" y="275"/>
                </a:cubicBezTo>
                <a:cubicBezTo>
                  <a:pt x="1669" y="277"/>
                  <a:pt x="1669" y="277"/>
                  <a:pt x="1669" y="277"/>
                </a:cubicBezTo>
                <a:cubicBezTo>
                  <a:pt x="1670" y="277"/>
                  <a:pt x="1670" y="277"/>
                  <a:pt x="1670" y="277"/>
                </a:cubicBezTo>
                <a:cubicBezTo>
                  <a:pt x="1671" y="275"/>
                  <a:pt x="1671" y="275"/>
                  <a:pt x="1671" y="275"/>
                </a:cubicBezTo>
                <a:cubicBezTo>
                  <a:pt x="1673" y="274"/>
                  <a:pt x="1673" y="274"/>
                  <a:pt x="1673" y="274"/>
                </a:cubicBezTo>
                <a:cubicBezTo>
                  <a:pt x="1672" y="272"/>
                  <a:pt x="1672" y="272"/>
                  <a:pt x="1672" y="272"/>
                </a:cubicBezTo>
                <a:cubicBezTo>
                  <a:pt x="1673" y="270"/>
                  <a:pt x="1673" y="270"/>
                  <a:pt x="1673" y="270"/>
                </a:cubicBezTo>
                <a:cubicBezTo>
                  <a:pt x="1674" y="271"/>
                  <a:pt x="1674" y="271"/>
                  <a:pt x="1674" y="271"/>
                </a:cubicBezTo>
                <a:cubicBezTo>
                  <a:pt x="1676" y="269"/>
                  <a:pt x="1676" y="269"/>
                  <a:pt x="1676" y="269"/>
                </a:cubicBezTo>
                <a:cubicBezTo>
                  <a:pt x="1677" y="269"/>
                  <a:pt x="1677" y="269"/>
                  <a:pt x="1677" y="269"/>
                </a:cubicBezTo>
                <a:cubicBezTo>
                  <a:pt x="1679" y="266"/>
                  <a:pt x="1679" y="266"/>
                  <a:pt x="1679" y="266"/>
                </a:cubicBezTo>
                <a:cubicBezTo>
                  <a:pt x="1679" y="263"/>
                  <a:pt x="1679" y="263"/>
                  <a:pt x="1679" y="263"/>
                </a:cubicBezTo>
                <a:cubicBezTo>
                  <a:pt x="1680" y="261"/>
                  <a:pt x="1680" y="261"/>
                  <a:pt x="1680" y="261"/>
                </a:cubicBezTo>
                <a:cubicBezTo>
                  <a:pt x="1682" y="261"/>
                  <a:pt x="1682" y="261"/>
                  <a:pt x="1682" y="261"/>
                </a:cubicBezTo>
                <a:cubicBezTo>
                  <a:pt x="1684" y="258"/>
                  <a:pt x="1684" y="258"/>
                  <a:pt x="1684" y="258"/>
                </a:cubicBezTo>
                <a:cubicBezTo>
                  <a:pt x="1682" y="258"/>
                  <a:pt x="1682" y="258"/>
                  <a:pt x="1682" y="258"/>
                </a:cubicBezTo>
                <a:cubicBezTo>
                  <a:pt x="1681" y="257"/>
                  <a:pt x="1681" y="257"/>
                  <a:pt x="1681" y="257"/>
                </a:cubicBezTo>
                <a:cubicBezTo>
                  <a:pt x="1682" y="256"/>
                  <a:pt x="1682" y="256"/>
                  <a:pt x="1682" y="256"/>
                </a:cubicBezTo>
                <a:cubicBezTo>
                  <a:pt x="1682" y="255"/>
                  <a:pt x="1682" y="255"/>
                  <a:pt x="1682" y="255"/>
                </a:cubicBezTo>
                <a:cubicBezTo>
                  <a:pt x="1680" y="255"/>
                  <a:pt x="1680" y="255"/>
                  <a:pt x="1680" y="255"/>
                </a:cubicBezTo>
                <a:cubicBezTo>
                  <a:pt x="1678" y="253"/>
                  <a:pt x="1678" y="253"/>
                  <a:pt x="1678" y="253"/>
                </a:cubicBezTo>
                <a:cubicBezTo>
                  <a:pt x="1680" y="253"/>
                  <a:pt x="1680" y="253"/>
                  <a:pt x="1680" y="253"/>
                </a:cubicBezTo>
                <a:cubicBezTo>
                  <a:pt x="1680" y="251"/>
                  <a:pt x="1680" y="251"/>
                  <a:pt x="1680" y="251"/>
                </a:cubicBezTo>
                <a:cubicBezTo>
                  <a:pt x="1681" y="248"/>
                  <a:pt x="1681" y="248"/>
                  <a:pt x="1681" y="248"/>
                </a:cubicBezTo>
                <a:cubicBezTo>
                  <a:pt x="1682" y="247"/>
                  <a:pt x="1682" y="247"/>
                  <a:pt x="1682" y="247"/>
                </a:cubicBezTo>
                <a:cubicBezTo>
                  <a:pt x="1681" y="245"/>
                  <a:pt x="1681" y="245"/>
                  <a:pt x="1681" y="245"/>
                </a:cubicBezTo>
                <a:cubicBezTo>
                  <a:pt x="1680" y="245"/>
                  <a:pt x="1680" y="245"/>
                  <a:pt x="1680" y="245"/>
                </a:cubicBezTo>
                <a:cubicBezTo>
                  <a:pt x="1679" y="244"/>
                  <a:pt x="1679" y="244"/>
                  <a:pt x="1679" y="244"/>
                </a:cubicBezTo>
                <a:cubicBezTo>
                  <a:pt x="1679" y="243"/>
                  <a:pt x="1679" y="243"/>
                  <a:pt x="1679" y="243"/>
                </a:cubicBezTo>
                <a:cubicBezTo>
                  <a:pt x="1681" y="244"/>
                  <a:pt x="1681" y="244"/>
                  <a:pt x="1681" y="244"/>
                </a:cubicBezTo>
                <a:cubicBezTo>
                  <a:pt x="1681" y="244"/>
                  <a:pt x="1681" y="244"/>
                  <a:pt x="1681" y="244"/>
                </a:cubicBezTo>
                <a:cubicBezTo>
                  <a:pt x="1682" y="244"/>
                  <a:pt x="1682" y="244"/>
                  <a:pt x="1682" y="244"/>
                </a:cubicBezTo>
                <a:cubicBezTo>
                  <a:pt x="1682" y="243"/>
                  <a:pt x="1682" y="243"/>
                  <a:pt x="1682" y="243"/>
                </a:cubicBezTo>
                <a:cubicBezTo>
                  <a:pt x="1680" y="242"/>
                  <a:pt x="1680" y="242"/>
                  <a:pt x="1680" y="242"/>
                </a:cubicBezTo>
                <a:cubicBezTo>
                  <a:pt x="1682" y="241"/>
                  <a:pt x="1682" y="241"/>
                  <a:pt x="1682" y="241"/>
                </a:cubicBezTo>
                <a:cubicBezTo>
                  <a:pt x="1683" y="241"/>
                  <a:pt x="1683" y="241"/>
                  <a:pt x="1683" y="241"/>
                </a:cubicBezTo>
                <a:cubicBezTo>
                  <a:pt x="1685" y="240"/>
                  <a:pt x="1685" y="240"/>
                  <a:pt x="1685" y="240"/>
                </a:cubicBezTo>
                <a:cubicBezTo>
                  <a:pt x="1684" y="239"/>
                  <a:pt x="1684" y="239"/>
                  <a:pt x="1684" y="239"/>
                </a:cubicBezTo>
                <a:cubicBezTo>
                  <a:pt x="1682" y="237"/>
                  <a:pt x="1682" y="237"/>
                  <a:pt x="1682" y="237"/>
                </a:cubicBezTo>
                <a:cubicBezTo>
                  <a:pt x="1684" y="237"/>
                  <a:pt x="1684" y="237"/>
                  <a:pt x="1684" y="237"/>
                </a:cubicBezTo>
                <a:cubicBezTo>
                  <a:pt x="1685" y="238"/>
                  <a:pt x="1685" y="238"/>
                  <a:pt x="1685" y="238"/>
                </a:cubicBezTo>
                <a:cubicBezTo>
                  <a:pt x="1686" y="238"/>
                  <a:pt x="1686" y="238"/>
                  <a:pt x="1686" y="238"/>
                </a:cubicBezTo>
                <a:cubicBezTo>
                  <a:pt x="1687" y="236"/>
                  <a:pt x="1687" y="236"/>
                  <a:pt x="1687" y="236"/>
                </a:cubicBezTo>
                <a:cubicBezTo>
                  <a:pt x="1687" y="234"/>
                  <a:pt x="1687" y="234"/>
                  <a:pt x="1687" y="234"/>
                </a:cubicBezTo>
                <a:cubicBezTo>
                  <a:pt x="1688" y="233"/>
                  <a:pt x="1688" y="233"/>
                  <a:pt x="1688" y="233"/>
                </a:cubicBezTo>
                <a:cubicBezTo>
                  <a:pt x="1689" y="236"/>
                  <a:pt x="1689" y="236"/>
                  <a:pt x="1689" y="236"/>
                </a:cubicBezTo>
                <a:cubicBezTo>
                  <a:pt x="1691" y="234"/>
                  <a:pt x="1691" y="234"/>
                  <a:pt x="1691" y="234"/>
                </a:cubicBezTo>
                <a:cubicBezTo>
                  <a:pt x="1692" y="235"/>
                  <a:pt x="1692" y="235"/>
                  <a:pt x="1692" y="235"/>
                </a:cubicBezTo>
                <a:cubicBezTo>
                  <a:pt x="1693" y="236"/>
                  <a:pt x="1693" y="236"/>
                  <a:pt x="1693" y="236"/>
                </a:cubicBezTo>
                <a:cubicBezTo>
                  <a:pt x="1694" y="234"/>
                  <a:pt x="1694" y="234"/>
                  <a:pt x="1694" y="234"/>
                </a:cubicBezTo>
                <a:cubicBezTo>
                  <a:pt x="1696" y="235"/>
                  <a:pt x="1696" y="235"/>
                  <a:pt x="1696" y="235"/>
                </a:cubicBezTo>
                <a:cubicBezTo>
                  <a:pt x="1698" y="234"/>
                  <a:pt x="1698" y="234"/>
                  <a:pt x="1698" y="234"/>
                </a:cubicBezTo>
                <a:cubicBezTo>
                  <a:pt x="1699" y="235"/>
                  <a:pt x="1699" y="235"/>
                  <a:pt x="1699" y="235"/>
                </a:cubicBezTo>
                <a:cubicBezTo>
                  <a:pt x="1701" y="235"/>
                  <a:pt x="1701" y="235"/>
                  <a:pt x="1701" y="235"/>
                </a:cubicBezTo>
                <a:cubicBezTo>
                  <a:pt x="1703" y="234"/>
                  <a:pt x="1703" y="234"/>
                  <a:pt x="1703" y="234"/>
                </a:cubicBezTo>
                <a:cubicBezTo>
                  <a:pt x="1703" y="234"/>
                  <a:pt x="1703" y="234"/>
                  <a:pt x="1703" y="234"/>
                </a:cubicBezTo>
                <a:cubicBezTo>
                  <a:pt x="1703" y="235"/>
                  <a:pt x="1703" y="235"/>
                  <a:pt x="1703" y="235"/>
                </a:cubicBezTo>
                <a:cubicBezTo>
                  <a:pt x="1705" y="235"/>
                  <a:pt x="1705" y="235"/>
                  <a:pt x="1705" y="235"/>
                </a:cubicBezTo>
                <a:cubicBezTo>
                  <a:pt x="1707" y="237"/>
                  <a:pt x="1707" y="237"/>
                  <a:pt x="1707" y="237"/>
                </a:cubicBezTo>
                <a:cubicBezTo>
                  <a:pt x="1711" y="237"/>
                  <a:pt x="1711" y="237"/>
                  <a:pt x="1711" y="237"/>
                </a:cubicBezTo>
                <a:cubicBezTo>
                  <a:pt x="1714" y="240"/>
                  <a:pt x="1714" y="240"/>
                  <a:pt x="1714" y="240"/>
                </a:cubicBezTo>
                <a:cubicBezTo>
                  <a:pt x="1712" y="240"/>
                  <a:pt x="1712" y="240"/>
                  <a:pt x="1712" y="240"/>
                </a:cubicBezTo>
                <a:cubicBezTo>
                  <a:pt x="1713" y="242"/>
                  <a:pt x="1713" y="242"/>
                  <a:pt x="1713" y="242"/>
                </a:cubicBezTo>
                <a:cubicBezTo>
                  <a:pt x="1713" y="245"/>
                  <a:pt x="1713" y="245"/>
                  <a:pt x="1713" y="245"/>
                </a:cubicBezTo>
                <a:cubicBezTo>
                  <a:pt x="1713" y="245"/>
                  <a:pt x="1713" y="245"/>
                  <a:pt x="1713" y="245"/>
                </a:cubicBezTo>
                <a:cubicBezTo>
                  <a:pt x="1716" y="248"/>
                  <a:pt x="1716" y="248"/>
                  <a:pt x="1716" y="248"/>
                </a:cubicBezTo>
                <a:cubicBezTo>
                  <a:pt x="1713" y="248"/>
                  <a:pt x="1713" y="248"/>
                  <a:pt x="1713" y="248"/>
                </a:cubicBezTo>
                <a:cubicBezTo>
                  <a:pt x="1713" y="248"/>
                  <a:pt x="1713" y="248"/>
                  <a:pt x="1713" y="248"/>
                </a:cubicBezTo>
                <a:cubicBezTo>
                  <a:pt x="1715" y="250"/>
                  <a:pt x="1715" y="250"/>
                  <a:pt x="1715" y="250"/>
                </a:cubicBezTo>
                <a:cubicBezTo>
                  <a:pt x="1715" y="252"/>
                  <a:pt x="1715" y="252"/>
                  <a:pt x="1715" y="252"/>
                </a:cubicBezTo>
                <a:cubicBezTo>
                  <a:pt x="1712" y="250"/>
                  <a:pt x="1712" y="250"/>
                  <a:pt x="1712" y="250"/>
                </a:cubicBezTo>
                <a:cubicBezTo>
                  <a:pt x="1710" y="250"/>
                  <a:pt x="1710" y="250"/>
                  <a:pt x="1710" y="250"/>
                </a:cubicBezTo>
                <a:cubicBezTo>
                  <a:pt x="1707" y="252"/>
                  <a:pt x="1707" y="252"/>
                  <a:pt x="1707" y="252"/>
                </a:cubicBezTo>
                <a:cubicBezTo>
                  <a:pt x="1707" y="253"/>
                  <a:pt x="1707" y="253"/>
                  <a:pt x="1707" y="253"/>
                </a:cubicBezTo>
                <a:cubicBezTo>
                  <a:pt x="1705" y="255"/>
                  <a:pt x="1705" y="255"/>
                  <a:pt x="1705" y="255"/>
                </a:cubicBezTo>
                <a:cubicBezTo>
                  <a:pt x="1705" y="257"/>
                  <a:pt x="1705" y="257"/>
                  <a:pt x="1705" y="257"/>
                </a:cubicBezTo>
                <a:cubicBezTo>
                  <a:pt x="1704" y="257"/>
                  <a:pt x="1704" y="257"/>
                  <a:pt x="1704" y="257"/>
                </a:cubicBezTo>
                <a:cubicBezTo>
                  <a:pt x="1701" y="260"/>
                  <a:pt x="1701" y="260"/>
                  <a:pt x="1701" y="260"/>
                </a:cubicBezTo>
                <a:cubicBezTo>
                  <a:pt x="1701" y="264"/>
                  <a:pt x="1701" y="264"/>
                  <a:pt x="1701" y="264"/>
                </a:cubicBezTo>
                <a:cubicBezTo>
                  <a:pt x="1700" y="264"/>
                  <a:pt x="1700" y="264"/>
                  <a:pt x="1700" y="264"/>
                </a:cubicBezTo>
                <a:cubicBezTo>
                  <a:pt x="1699" y="263"/>
                  <a:pt x="1699" y="263"/>
                  <a:pt x="1699" y="263"/>
                </a:cubicBezTo>
                <a:cubicBezTo>
                  <a:pt x="1699" y="263"/>
                  <a:pt x="1699" y="263"/>
                  <a:pt x="1699" y="263"/>
                </a:cubicBezTo>
                <a:cubicBezTo>
                  <a:pt x="1699" y="265"/>
                  <a:pt x="1699" y="265"/>
                  <a:pt x="1699" y="265"/>
                </a:cubicBezTo>
                <a:cubicBezTo>
                  <a:pt x="1699" y="267"/>
                  <a:pt x="1699" y="267"/>
                  <a:pt x="1699" y="267"/>
                </a:cubicBezTo>
                <a:cubicBezTo>
                  <a:pt x="1697" y="267"/>
                  <a:pt x="1697" y="267"/>
                  <a:pt x="1697" y="267"/>
                </a:cubicBezTo>
                <a:cubicBezTo>
                  <a:pt x="1695" y="269"/>
                  <a:pt x="1695" y="269"/>
                  <a:pt x="1695" y="269"/>
                </a:cubicBezTo>
                <a:cubicBezTo>
                  <a:pt x="1696" y="271"/>
                  <a:pt x="1696" y="271"/>
                  <a:pt x="1696" y="271"/>
                </a:cubicBezTo>
                <a:cubicBezTo>
                  <a:pt x="1697" y="272"/>
                  <a:pt x="1697" y="272"/>
                  <a:pt x="1697" y="272"/>
                </a:cubicBezTo>
                <a:cubicBezTo>
                  <a:pt x="1695" y="271"/>
                  <a:pt x="1695" y="271"/>
                  <a:pt x="1695" y="271"/>
                </a:cubicBezTo>
                <a:cubicBezTo>
                  <a:pt x="1694" y="270"/>
                  <a:pt x="1694" y="270"/>
                  <a:pt x="1694" y="270"/>
                </a:cubicBezTo>
                <a:cubicBezTo>
                  <a:pt x="1693" y="271"/>
                  <a:pt x="1693" y="271"/>
                  <a:pt x="1693" y="271"/>
                </a:cubicBezTo>
                <a:cubicBezTo>
                  <a:pt x="1692" y="273"/>
                  <a:pt x="1692" y="273"/>
                  <a:pt x="1692" y="273"/>
                </a:cubicBezTo>
                <a:cubicBezTo>
                  <a:pt x="1692" y="274"/>
                  <a:pt x="1692" y="274"/>
                  <a:pt x="1692" y="274"/>
                </a:cubicBezTo>
                <a:cubicBezTo>
                  <a:pt x="1691" y="274"/>
                  <a:pt x="1691" y="274"/>
                  <a:pt x="1691" y="274"/>
                </a:cubicBezTo>
                <a:cubicBezTo>
                  <a:pt x="1690" y="274"/>
                  <a:pt x="1690" y="274"/>
                  <a:pt x="1690" y="274"/>
                </a:cubicBezTo>
                <a:cubicBezTo>
                  <a:pt x="1692" y="276"/>
                  <a:pt x="1692" y="276"/>
                  <a:pt x="1692" y="276"/>
                </a:cubicBezTo>
                <a:cubicBezTo>
                  <a:pt x="1692" y="277"/>
                  <a:pt x="1692" y="277"/>
                  <a:pt x="1692" y="277"/>
                </a:cubicBezTo>
                <a:cubicBezTo>
                  <a:pt x="1691" y="278"/>
                  <a:pt x="1691" y="278"/>
                  <a:pt x="1691" y="278"/>
                </a:cubicBezTo>
                <a:cubicBezTo>
                  <a:pt x="1690" y="279"/>
                  <a:pt x="1690" y="279"/>
                  <a:pt x="1690" y="279"/>
                </a:cubicBezTo>
                <a:cubicBezTo>
                  <a:pt x="1688" y="280"/>
                  <a:pt x="1688" y="280"/>
                  <a:pt x="1688" y="280"/>
                </a:cubicBezTo>
                <a:cubicBezTo>
                  <a:pt x="1687" y="280"/>
                  <a:pt x="1687" y="280"/>
                  <a:pt x="1687" y="280"/>
                </a:cubicBezTo>
                <a:cubicBezTo>
                  <a:pt x="1687" y="279"/>
                  <a:pt x="1687" y="279"/>
                  <a:pt x="1687" y="279"/>
                </a:cubicBezTo>
                <a:cubicBezTo>
                  <a:pt x="1686" y="278"/>
                  <a:pt x="1686" y="278"/>
                  <a:pt x="1686" y="278"/>
                </a:cubicBezTo>
                <a:cubicBezTo>
                  <a:pt x="1684" y="279"/>
                  <a:pt x="1684" y="279"/>
                  <a:pt x="1684" y="279"/>
                </a:cubicBezTo>
                <a:cubicBezTo>
                  <a:pt x="1685" y="281"/>
                  <a:pt x="1685" y="281"/>
                  <a:pt x="1685" y="281"/>
                </a:cubicBezTo>
                <a:cubicBezTo>
                  <a:pt x="1684" y="282"/>
                  <a:pt x="1684" y="282"/>
                  <a:pt x="1684" y="282"/>
                </a:cubicBezTo>
                <a:cubicBezTo>
                  <a:pt x="1685" y="284"/>
                  <a:pt x="1685" y="284"/>
                  <a:pt x="1685" y="284"/>
                </a:cubicBezTo>
                <a:cubicBezTo>
                  <a:pt x="1684" y="285"/>
                  <a:pt x="1684" y="285"/>
                  <a:pt x="1684" y="285"/>
                </a:cubicBezTo>
                <a:cubicBezTo>
                  <a:pt x="1683" y="286"/>
                  <a:pt x="1683" y="286"/>
                  <a:pt x="1683" y="286"/>
                </a:cubicBezTo>
                <a:cubicBezTo>
                  <a:pt x="1682" y="287"/>
                  <a:pt x="1682" y="287"/>
                  <a:pt x="1682" y="287"/>
                </a:cubicBezTo>
                <a:cubicBezTo>
                  <a:pt x="1683" y="289"/>
                  <a:pt x="1683" y="289"/>
                  <a:pt x="1683" y="289"/>
                </a:cubicBezTo>
                <a:cubicBezTo>
                  <a:pt x="1683" y="290"/>
                  <a:pt x="1683" y="290"/>
                  <a:pt x="1683" y="290"/>
                </a:cubicBezTo>
                <a:cubicBezTo>
                  <a:pt x="1683" y="292"/>
                  <a:pt x="1683" y="292"/>
                  <a:pt x="1683" y="292"/>
                </a:cubicBezTo>
                <a:cubicBezTo>
                  <a:pt x="1683" y="293"/>
                  <a:pt x="1683" y="293"/>
                  <a:pt x="1683" y="293"/>
                </a:cubicBezTo>
                <a:cubicBezTo>
                  <a:pt x="1684" y="293"/>
                  <a:pt x="1684" y="293"/>
                  <a:pt x="1684" y="293"/>
                </a:cubicBezTo>
                <a:cubicBezTo>
                  <a:pt x="1685" y="294"/>
                  <a:pt x="1685" y="294"/>
                  <a:pt x="1685" y="294"/>
                </a:cubicBezTo>
                <a:cubicBezTo>
                  <a:pt x="1685" y="296"/>
                  <a:pt x="1685" y="296"/>
                  <a:pt x="1685" y="296"/>
                </a:cubicBezTo>
                <a:cubicBezTo>
                  <a:pt x="1684" y="297"/>
                  <a:pt x="1684" y="297"/>
                  <a:pt x="1684" y="297"/>
                </a:cubicBezTo>
                <a:cubicBezTo>
                  <a:pt x="1685" y="299"/>
                  <a:pt x="1685" y="299"/>
                  <a:pt x="1685" y="299"/>
                </a:cubicBezTo>
                <a:cubicBezTo>
                  <a:pt x="1685" y="300"/>
                  <a:pt x="1685" y="300"/>
                  <a:pt x="1685" y="300"/>
                </a:cubicBezTo>
                <a:cubicBezTo>
                  <a:pt x="1687" y="303"/>
                  <a:pt x="1687" y="303"/>
                  <a:pt x="1687" y="303"/>
                </a:cubicBezTo>
                <a:cubicBezTo>
                  <a:pt x="1688" y="304"/>
                  <a:pt x="1688" y="304"/>
                  <a:pt x="1688" y="304"/>
                </a:cubicBezTo>
                <a:cubicBezTo>
                  <a:pt x="1687" y="305"/>
                  <a:pt x="1687" y="305"/>
                  <a:pt x="1687" y="305"/>
                </a:cubicBezTo>
                <a:cubicBezTo>
                  <a:pt x="1688" y="307"/>
                  <a:pt x="1688" y="307"/>
                  <a:pt x="1688" y="307"/>
                </a:cubicBezTo>
                <a:cubicBezTo>
                  <a:pt x="1687" y="308"/>
                  <a:pt x="1687" y="308"/>
                  <a:pt x="1687" y="308"/>
                </a:cubicBezTo>
                <a:cubicBezTo>
                  <a:pt x="1687" y="311"/>
                  <a:pt x="1687" y="311"/>
                  <a:pt x="1687" y="311"/>
                </a:cubicBezTo>
                <a:cubicBezTo>
                  <a:pt x="1687" y="312"/>
                  <a:pt x="1687" y="312"/>
                  <a:pt x="1687" y="312"/>
                </a:cubicBezTo>
                <a:cubicBezTo>
                  <a:pt x="1687" y="316"/>
                  <a:pt x="1687" y="316"/>
                  <a:pt x="1687" y="316"/>
                </a:cubicBezTo>
                <a:cubicBezTo>
                  <a:pt x="1688" y="318"/>
                  <a:pt x="1688" y="318"/>
                  <a:pt x="1688" y="318"/>
                </a:cubicBezTo>
                <a:cubicBezTo>
                  <a:pt x="1687" y="320"/>
                  <a:pt x="1687" y="320"/>
                  <a:pt x="1687" y="320"/>
                </a:cubicBezTo>
                <a:cubicBezTo>
                  <a:pt x="1687" y="322"/>
                  <a:pt x="1687" y="322"/>
                  <a:pt x="1687" y="322"/>
                </a:cubicBezTo>
                <a:cubicBezTo>
                  <a:pt x="1687" y="323"/>
                  <a:pt x="1687" y="323"/>
                  <a:pt x="1687" y="323"/>
                </a:cubicBezTo>
                <a:cubicBezTo>
                  <a:pt x="1690" y="322"/>
                  <a:pt x="1690" y="322"/>
                  <a:pt x="1690" y="322"/>
                </a:cubicBezTo>
                <a:cubicBezTo>
                  <a:pt x="1691" y="322"/>
                  <a:pt x="1691" y="322"/>
                  <a:pt x="1691" y="322"/>
                </a:cubicBezTo>
                <a:cubicBezTo>
                  <a:pt x="1692" y="321"/>
                  <a:pt x="1692" y="321"/>
                  <a:pt x="1692" y="321"/>
                </a:cubicBezTo>
                <a:cubicBezTo>
                  <a:pt x="1694" y="324"/>
                  <a:pt x="1694" y="324"/>
                  <a:pt x="1694" y="324"/>
                </a:cubicBezTo>
                <a:cubicBezTo>
                  <a:pt x="1695" y="323"/>
                  <a:pt x="1695" y="323"/>
                  <a:pt x="1695" y="323"/>
                </a:cubicBezTo>
                <a:cubicBezTo>
                  <a:pt x="1697" y="325"/>
                  <a:pt x="1697" y="325"/>
                  <a:pt x="1697" y="325"/>
                </a:cubicBezTo>
                <a:cubicBezTo>
                  <a:pt x="1700" y="324"/>
                  <a:pt x="1700" y="324"/>
                  <a:pt x="1700" y="324"/>
                </a:cubicBezTo>
                <a:cubicBezTo>
                  <a:pt x="1700" y="325"/>
                  <a:pt x="1700" y="325"/>
                  <a:pt x="1700" y="325"/>
                </a:cubicBezTo>
                <a:cubicBezTo>
                  <a:pt x="1700" y="326"/>
                  <a:pt x="1700" y="326"/>
                  <a:pt x="1700" y="326"/>
                </a:cubicBezTo>
                <a:cubicBezTo>
                  <a:pt x="1701" y="326"/>
                  <a:pt x="1701" y="326"/>
                  <a:pt x="1701" y="326"/>
                </a:cubicBezTo>
                <a:cubicBezTo>
                  <a:pt x="1703" y="324"/>
                  <a:pt x="1703" y="324"/>
                  <a:pt x="1703" y="324"/>
                </a:cubicBezTo>
                <a:cubicBezTo>
                  <a:pt x="1703" y="326"/>
                  <a:pt x="1703" y="326"/>
                  <a:pt x="1703" y="326"/>
                </a:cubicBezTo>
                <a:cubicBezTo>
                  <a:pt x="1702" y="327"/>
                  <a:pt x="1702" y="327"/>
                  <a:pt x="1702" y="327"/>
                </a:cubicBezTo>
                <a:cubicBezTo>
                  <a:pt x="1704" y="331"/>
                  <a:pt x="1704" y="331"/>
                  <a:pt x="1704" y="331"/>
                </a:cubicBezTo>
                <a:cubicBezTo>
                  <a:pt x="1705" y="332"/>
                  <a:pt x="1705" y="332"/>
                  <a:pt x="1705" y="332"/>
                </a:cubicBezTo>
                <a:cubicBezTo>
                  <a:pt x="1704" y="334"/>
                  <a:pt x="1704" y="334"/>
                  <a:pt x="1704" y="334"/>
                </a:cubicBezTo>
                <a:cubicBezTo>
                  <a:pt x="1705" y="335"/>
                  <a:pt x="1705" y="335"/>
                  <a:pt x="1705" y="335"/>
                </a:cubicBezTo>
                <a:cubicBezTo>
                  <a:pt x="1706" y="332"/>
                  <a:pt x="1706" y="332"/>
                  <a:pt x="1706" y="332"/>
                </a:cubicBezTo>
                <a:cubicBezTo>
                  <a:pt x="1707" y="331"/>
                  <a:pt x="1707" y="331"/>
                  <a:pt x="1707" y="331"/>
                </a:cubicBezTo>
                <a:cubicBezTo>
                  <a:pt x="1707" y="332"/>
                  <a:pt x="1707" y="332"/>
                  <a:pt x="1707" y="332"/>
                </a:cubicBezTo>
                <a:cubicBezTo>
                  <a:pt x="1709" y="332"/>
                  <a:pt x="1709" y="332"/>
                  <a:pt x="1709" y="332"/>
                </a:cubicBezTo>
                <a:cubicBezTo>
                  <a:pt x="1711" y="332"/>
                  <a:pt x="1711" y="332"/>
                  <a:pt x="1711" y="332"/>
                </a:cubicBezTo>
                <a:cubicBezTo>
                  <a:pt x="1714" y="329"/>
                  <a:pt x="1714" y="329"/>
                  <a:pt x="1714" y="329"/>
                </a:cubicBezTo>
                <a:cubicBezTo>
                  <a:pt x="1716" y="329"/>
                  <a:pt x="1716" y="329"/>
                  <a:pt x="1716" y="329"/>
                </a:cubicBezTo>
                <a:cubicBezTo>
                  <a:pt x="1720" y="327"/>
                  <a:pt x="1720" y="327"/>
                  <a:pt x="1720" y="327"/>
                </a:cubicBezTo>
                <a:cubicBezTo>
                  <a:pt x="1720" y="326"/>
                  <a:pt x="1720" y="326"/>
                  <a:pt x="1720" y="326"/>
                </a:cubicBezTo>
                <a:cubicBezTo>
                  <a:pt x="1723" y="326"/>
                  <a:pt x="1723" y="326"/>
                  <a:pt x="1723" y="326"/>
                </a:cubicBezTo>
                <a:cubicBezTo>
                  <a:pt x="1724" y="326"/>
                  <a:pt x="1724" y="326"/>
                  <a:pt x="1724" y="326"/>
                </a:cubicBezTo>
                <a:cubicBezTo>
                  <a:pt x="1726" y="324"/>
                  <a:pt x="1726" y="324"/>
                  <a:pt x="1726" y="324"/>
                </a:cubicBezTo>
                <a:cubicBezTo>
                  <a:pt x="1726" y="324"/>
                  <a:pt x="1726" y="324"/>
                  <a:pt x="1726" y="324"/>
                </a:cubicBezTo>
                <a:cubicBezTo>
                  <a:pt x="1726" y="326"/>
                  <a:pt x="1726" y="326"/>
                  <a:pt x="1726" y="326"/>
                </a:cubicBezTo>
                <a:cubicBezTo>
                  <a:pt x="1727" y="327"/>
                  <a:pt x="1727" y="327"/>
                  <a:pt x="1727" y="327"/>
                </a:cubicBezTo>
                <a:cubicBezTo>
                  <a:pt x="1728" y="324"/>
                  <a:pt x="1728" y="324"/>
                  <a:pt x="1728" y="324"/>
                </a:cubicBezTo>
                <a:cubicBezTo>
                  <a:pt x="1729" y="324"/>
                  <a:pt x="1729" y="324"/>
                  <a:pt x="1729" y="324"/>
                </a:cubicBezTo>
                <a:cubicBezTo>
                  <a:pt x="1728" y="322"/>
                  <a:pt x="1728" y="322"/>
                  <a:pt x="1728" y="322"/>
                </a:cubicBezTo>
                <a:cubicBezTo>
                  <a:pt x="1729" y="321"/>
                  <a:pt x="1729" y="321"/>
                  <a:pt x="1729" y="321"/>
                </a:cubicBezTo>
                <a:cubicBezTo>
                  <a:pt x="1730" y="323"/>
                  <a:pt x="1730" y="323"/>
                  <a:pt x="1730" y="323"/>
                </a:cubicBezTo>
                <a:cubicBezTo>
                  <a:pt x="1731" y="324"/>
                  <a:pt x="1731" y="324"/>
                  <a:pt x="1731" y="324"/>
                </a:cubicBezTo>
                <a:cubicBezTo>
                  <a:pt x="1731" y="322"/>
                  <a:pt x="1731" y="322"/>
                  <a:pt x="1731" y="322"/>
                </a:cubicBezTo>
                <a:cubicBezTo>
                  <a:pt x="1732" y="324"/>
                  <a:pt x="1732" y="324"/>
                  <a:pt x="1732" y="324"/>
                </a:cubicBezTo>
                <a:cubicBezTo>
                  <a:pt x="1733" y="324"/>
                  <a:pt x="1733" y="324"/>
                  <a:pt x="1733" y="324"/>
                </a:cubicBezTo>
                <a:cubicBezTo>
                  <a:pt x="1734" y="323"/>
                  <a:pt x="1734" y="323"/>
                  <a:pt x="1734" y="323"/>
                </a:cubicBezTo>
                <a:cubicBezTo>
                  <a:pt x="1735" y="323"/>
                  <a:pt x="1735" y="323"/>
                  <a:pt x="1735" y="323"/>
                </a:cubicBezTo>
                <a:cubicBezTo>
                  <a:pt x="1735" y="324"/>
                  <a:pt x="1735" y="324"/>
                  <a:pt x="1735" y="324"/>
                </a:cubicBezTo>
                <a:cubicBezTo>
                  <a:pt x="1737" y="323"/>
                  <a:pt x="1737" y="323"/>
                  <a:pt x="1737" y="323"/>
                </a:cubicBezTo>
                <a:cubicBezTo>
                  <a:pt x="1739" y="322"/>
                  <a:pt x="1739" y="322"/>
                  <a:pt x="1739" y="322"/>
                </a:cubicBezTo>
                <a:cubicBezTo>
                  <a:pt x="1741" y="323"/>
                  <a:pt x="1741" y="323"/>
                  <a:pt x="1741" y="323"/>
                </a:cubicBezTo>
                <a:cubicBezTo>
                  <a:pt x="1744" y="323"/>
                  <a:pt x="1744" y="323"/>
                  <a:pt x="1744" y="323"/>
                </a:cubicBezTo>
                <a:cubicBezTo>
                  <a:pt x="1744" y="322"/>
                  <a:pt x="1744" y="322"/>
                  <a:pt x="1744" y="322"/>
                </a:cubicBezTo>
                <a:cubicBezTo>
                  <a:pt x="1743" y="321"/>
                  <a:pt x="1743" y="321"/>
                  <a:pt x="1743" y="321"/>
                </a:cubicBezTo>
                <a:cubicBezTo>
                  <a:pt x="1744" y="321"/>
                  <a:pt x="1744" y="321"/>
                  <a:pt x="1744" y="321"/>
                </a:cubicBezTo>
                <a:cubicBezTo>
                  <a:pt x="1745" y="321"/>
                  <a:pt x="1745" y="321"/>
                  <a:pt x="1745" y="321"/>
                </a:cubicBezTo>
                <a:cubicBezTo>
                  <a:pt x="1746" y="322"/>
                  <a:pt x="1746" y="322"/>
                  <a:pt x="1746" y="322"/>
                </a:cubicBezTo>
                <a:cubicBezTo>
                  <a:pt x="1748" y="323"/>
                  <a:pt x="1748" y="323"/>
                  <a:pt x="1748" y="323"/>
                </a:cubicBezTo>
                <a:cubicBezTo>
                  <a:pt x="1748" y="323"/>
                  <a:pt x="1748" y="322"/>
                  <a:pt x="1749" y="321"/>
                </a:cubicBezTo>
                <a:cubicBezTo>
                  <a:pt x="1748" y="318"/>
                  <a:pt x="1748" y="318"/>
                  <a:pt x="1748" y="318"/>
                </a:cubicBezTo>
                <a:cubicBezTo>
                  <a:pt x="1749" y="321"/>
                  <a:pt x="1749" y="321"/>
                  <a:pt x="1749" y="321"/>
                </a:cubicBezTo>
                <a:cubicBezTo>
                  <a:pt x="1749" y="321"/>
                  <a:pt x="1749" y="321"/>
                  <a:pt x="1749" y="321"/>
                </a:cubicBezTo>
                <a:cubicBezTo>
                  <a:pt x="1749" y="321"/>
                  <a:pt x="1749" y="320"/>
                  <a:pt x="1749" y="320"/>
                </a:cubicBezTo>
                <a:cubicBezTo>
                  <a:pt x="1749" y="320"/>
                  <a:pt x="1752" y="319"/>
                  <a:pt x="1752" y="319"/>
                </a:cubicBezTo>
                <a:cubicBezTo>
                  <a:pt x="1754" y="318"/>
                  <a:pt x="1754" y="318"/>
                  <a:pt x="1754" y="318"/>
                </a:cubicBezTo>
                <a:cubicBezTo>
                  <a:pt x="1753" y="320"/>
                  <a:pt x="1753" y="320"/>
                  <a:pt x="1753" y="320"/>
                </a:cubicBezTo>
                <a:cubicBezTo>
                  <a:pt x="1753" y="321"/>
                  <a:pt x="1753" y="321"/>
                  <a:pt x="1753" y="321"/>
                </a:cubicBezTo>
                <a:cubicBezTo>
                  <a:pt x="1753" y="323"/>
                  <a:pt x="1753" y="323"/>
                  <a:pt x="1753" y="323"/>
                </a:cubicBezTo>
                <a:cubicBezTo>
                  <a:pt x="1751" y="321"/>
                  <a:pt x="1751" y="321"/>
                  <a:pt x="1751" y="321"/>
                </a:cubicBezTo>
                <a:cubicBezTo>
                  <a:pt x="1751" y="322"/>
                  <a:pt x="1751" y="322"/>
                  <a:pt x="1751" y="322"/>
                </a:cubicBezTo>
                <a:cubicBezTo>
                  <a:pt x="1753" y="325"/>
                  <a:pt x="1753" y="325"/>
                  <a:pt x="1753" y="325"/>
                </a:cubicBezTo>
                <a:cubicBezTo>
                  <a:pt x="1755" y="325"/>
                  <a:pt x="1755" y="325"/>
                  <a:pt x="1755" y="325"/>
                </a:cubicBezTo>
                <a:cubicBezTo>
                  <a:pt x="1757" y="327"/>
                  <a:pt x="1757" y="327"/>
                  <a:pt x="1757" y="327"/>
                </a:cubicBezTo>
                <a:cubicBezTo>
                  <a:pt x="1759" y="327"/>
                  <a:pt x="1759" y="327"/>
                  <a:pt x="1759" y="327"/>
                </a:cubicBezTo>
                <a:cubicBezTo>
                  <a:pt x="1760" y="327"/>
                  <a:pt x="1760" y="327"/>
                  <a:pt x="1760" y="327"/>
                </a:cubicBezTo>
                <a:cubicBezTo>
                  <a:pt x="1762" y="327"/>
                  <a:pt x="1762" y="327"/>
                  <a:pt x="1762" y="327"/>
                </a:cubicBezTo>
                <a:cubicBezTo>
                  <a:pt x="1763" y="329"/>
                  <a:pt x="1763" y="329"/>
                  <a:pt x="1763" y="329"/>
                </a:cubicBezTo>
                <a:cubicBezTo>
                  <a:pt x="1762" y="331"/>
                  <a:pt x="1762" y="331"/>
                  <a:pt x="1762" y="331"/>
                </a:cubicBezTo>
                <a:cubicBezTo>
                  <a:pt x="1759" y="330"/>
                  <a:pt x="1759" y="330"/>
                  <a:pt x="1759" y="330"/>
                </a:cubicBezTo>
                <a:cubicBezTo>
                  <a:pt x="1758" y="330"/>
                  <a:pt x="1758" y="330"/>
                  <a:pt x="1758" y="330"/>
                </a:cubicBezTo>
                <a:cubicBezTo>
                  <a:pt x="1757" y="332"/>
                  <a:pt x="1757" y="332"/>
                  <a:pt x="1757" y="332"/>
                </a:cubicBezTo>
                <a:cubicBezTo>
                  <a:pt x="1755" y="334"/>
                  <a:pt x="1755" y="334"/>
                  <a:pt x="1755" y="334"/>
                </a:cubicBezTo>
                <a:cubicBezTo>
                  <a:pt x="1753" y="332"/>
                  <a:pt x="1753" y="332"/>
                  <a:pt x="1753" y="332"/>
                </a:cubicBezTo>
                <a:cubicBezTo>
                  <a:pt x="1752" y="333"/>
                  <a:pt x="1752" y="333"/>
                  <a:pt x="1752" y="333"/>
                </a:cubicBezTo>
                <a:cubicBezTo>
                  <a:pt x="1752" y="335"/>
                  <a:pt x="1752" y="335"/>
                  <a:pt x="1752" y="335"/>
                </a:cubicBezTo>
                <a:cubicBezTo>
                  <a:pt x="1750" y="336"/>
                  <a:pt x="1750" y="336"/>
                  <a:pt x="1750" y="336"/>
                </a:cubicBezTo>
                <a:cubicBezTo>
                  <a:pt x="1749" y="334"/>
                  <a:pt x="1749" y="334"/>
                  <a:pt x="1749" y="334"/>
                </a:cubicBezTo>
                <a:cubicBezTo>
                  <a:pt x="1748" y="335"/>
                  <a:pt x="1748" y="335"/>
                  <a:pt x="1748" y="335"/>
                </a:cubicBezTo>
                <a:cubicBezTo>
                  <a:pt x="1748" y="336"/>
                  <a:pt x="1748" y="336"/>
                  <a:pt x="1748" y="336"/>
                </a:cubicBezTo>
                <a:cubicBezTo>
                  <a:pt x="1749" y="337"/>
                  <a:pt x="1749" y="337"/>
                  <a:pt x="1749" y="337"/>
                </a:cubicBezTo>
                <a:cubicBezTo>
                  <a:pt x="1749" y="339"/>
                  <a:pt x="1749" y="339"/>
                  <a:pt x="1749" y="339"/>
                </a:cubicBezTo>
                <a:cubicBezTo>
                  <a:pt x="1749" y="340"/>
                  <a:pt x="1749" y="340"/>
                  <a:pt x="1749" y="340"/>
                </a:cubicBezTo>
                <a:cubicBezTo>
                  <a:pt x="1750" y="341"/>
                  <a:pt x="1750" y="341"/>
                  <a:pt x="1750" y="341"/>
                </a:cubicBezTo>
                <a:cubicBezTo>
                  <a:pt x="1749" y="340"/>
                  <a:pt x="1749" y="340"/>
                  <a:pt x="1749" y="340"/>
                </a:cubicBezTo>
                <a:cubicBezTo>
                  <a:pt x="1748" y="341"/>
                  <a:pt x="1748" y="341"/>
                  <a:pt x="1748" y="341"/>
                </a:cubicBezTo>
                <a:cubicBezTo>
                  <a:pt x="1740" y="340"/>
                  <a:pt x="1740" y="340"/>
                  <a:pt x="1740" y="340"/>
                </a:cubicBezTo>
                <a:cubicBezTo>
                  <a:pt x="1737" y="338"/>
                  <a:pt x="1737" y="338"/>
                  <a:pt x="1737" y="338"/>
                </a:cubicBezTo>
                <a:cubicBezTo>
                  <a:pt x="1733" y="338"/>
                  <a:pt x="1733" y="338"/>
                  <a:pt x="1733" y="338"/>
                </a:cubicBezTo>
                <a:cubicBezTo>
                  <a:pt x="1731" y="337"/>
                  <a:pt x="1731" y="337"/>
                  <a:pt x="1731" y="337"/>
                </a:cubicBezTo>
                <a:cubicBezTo>
                  <a:pt x="1729" y="338"/>
                  <a:pt x="1729" y="338"/>
                  <a:pt x="1729" y="338"/>
                </a:cubicBezTo>
                <a:cubicBezTo>
                  <a:pt x="1727" y="336"/>
                  <a:pt x="1727" y="336"/>
                  <a:pt x="1727" y="336"/>
                </a:cubicBezTo>
                <a:cubicBezTo>
                  <a:pt x="1727" y="337"/>
                  <a:pt x="1727" y="337"/>
                  <a:pt x="1727" y="337"/>
                </a:cubicBezTo>
                <a:cubicBezTo>
                  <a:pt x="1726" y="337"/>
                  <a:pt x="1726" y="337"/>
                  <a:pt x="1726" y="337"/>
                </a:cubicBezTo>
                <a:cubicBezTo>
                  <a:pt x="1726" y="338"/>
                  <a:pt x="1726" y="338"/>
                  <a:pt x="1726" y="338"/>
                </a:cubicBezTo>
                <a:cubicBezTo>
                  <a:pt x="1727" y="339"/>
                  <a:pt x="1727" y="339"/>
                  <a:pt x="1727" y="339"/>
                </a:cubicBezTo>
                <a:cubicBezTo>
                  <a:pt x="1725" y="340"/>
                  <a:pt x="1725" y="340"/>
                  <a:pt x="1725" y="340"/>
                </a:cubicBezTo>
                <a:cubicBezTo>
                  <a:pt x="1724" y="339"/>
                  <a:pt x="1724" y="339"/>
                  <a:pt x="1724" y="339"/>
                </a:cubicBezTo>
                <a:cubicBezTo>
                  <a:pt x="1720" y="339"/>
                  <a:pt x="1720" y="339"/>
                  <a:pt x="1720" y="339"/>
                </a:cubicBezTo>
                <a:cubicBezTo>
                  <a:pt x="1720" y="338"/>
                  <a:pt x="1720" y="338"/>
                  <a:pt x="1720" y="338"/>
                </a:cubicBezTo>
                <a:cubicBezTo>
                  <a:pt x="1719" y="340"/>
                  <a:pt x="1719" y="340"/>
                  <a:pt x="1719" y="340"/>
                </a:cubicBezTo>
                <a:cubicBezTo>
                  <a:pt x="1717" y="340"/>
                  <a:pt x="1717" y="340"/>
                  <a:pt x="1717" y="340"/>
                </a:cubicBezTo>
                <a:cubicBezTo>
                  <a:pt x="1715" y="341"/>
                  <a:pt x="1715" y="341"/>
                  <a:pt x="1715" y="341"/>
                </a:cubicBezTo>
                <a:cubicBezTo>
                  <a:pt x="1715" y="342"/>
                  <a:pt x="1715" y="342"/>
                  <a:pt x="1715" y="342"/>
                </a:cubicBezTo>
                <a:cubicBezTo>
                  <a:pt x="1714" y="342"/>
                  <a:pt x="1714" y="342"/>
                  <a:pt x="1714" y="342"/>
                </a:cubicBezTo>
                <a:cubicBezTo>
                  <a:pt x="1711" y="343"/>
                  <a:pt x="1711" y="343"/>
                  <a:pt x="1711" y="343"/>
                </a:cubicBezTo>
                <a:cubicBezTo>
                  <a:pt x="1709" y="345"/>
                  <a:pt x="1709" y="345"/>
                  <a:pt x="1709" y="345"/>
                </a:cubicBezTo>
                <a:cubicBezTo>
                  <a:pt x="1710" y="352"/>
                  <a:pt x="1710" y="352"/>
                  <a:pt x="1710" y="352"/>
                </a:cubicBezTo>
                <a:cubicBezTo>
                  <a:pt x="1711" y="352"/>
                  <a:pt x="1711" y="352"/>
                  <a:pt x="1711" y="352"/>
                </a:cubicBezTo>
                <a:cubicBezTo>
                  <a:pt x="1712" y="351"/>
                  <a:pt x="1712" y="351"/>
                  <a:pt x="1712" y="351"/>
                </a:cubicBezTo>
                <a:cubicBezTo>
                  <a:pt x="1713" y="352"/>
                  <a:pt x="1713" y="352"/>
                  <a:pt x="1713" y="352"/>
                </a:cubicBezTo>
                <a:cubicBezTo>
                  <a:pt x="1712" y="353"/>
                  <a:pt x="1712" y="353"/>
                  <a:pt x="1712" y="353"/>
                </a:cubicBezTo>
                <a:cubicBezTo>
                  <a:pt x="1711" y="353"/>
                  <a:pt x="1711" y="353"/>
                  <a:pt x="1711" y="353"/>
                </a:cubicBezTo>
                <a:cubicBezTo>
                  <a:pt x="1711" y="356"/>
                  <a:pt x="1711" y="356"/>
                  <a:pt x="1711" y="356"/>
                </a:cubicBezTo>
                <a:cubicBezTo>
                  <a:pt x="1713" y="358"/>
                  <a:pt x="1713" y="358"/>
                  <a:pt x="1713" y="358"/>
                </a:cubicBezTo>
                <a:cubicBezTo>
                  <a:pt x="1716" y="361"/>
                  <a:pt x="1716" y="361"/>
                  <a:pt x="1716" y="361"/>
                </a:cubicBezTo>
                <a:cubicBezTo>
                  <a:pt x="1717" y="361"/>
                  <a:pt x="1717" y="361"/>
                  <a:pt x="1717" y="361"/>
                </a:cubicBezTo>
                <a:cubicBezTo>
                  <a:pt x="1717" y="359"/>
                  <a:pt x="1717" y="359"/>
                  <a:pt x="1717" y="359"/>
                </a:cubicBezTo>
                <a:cubicBezTo>
                  <a:pt x="1719" y="357"/>
                  <a:pt x="1719" y="357"/>
                  <a:pt x="1719" y="357"/>
                </a:cubicBezTo>
                <a:cubicBezTo>
                  <a:pt x="1720" y="359"/>
                  <a:pt x="1720" y="359"/>
                  <a:pt x="1720" y="359"/>
                </a:cubicBezTo>
                <a:cubicBezTo>
                  <a:pt x="1719" y="364"/>
                  <a:pt x="1719" y="364"/>
                  <a:pt x="1719" y="364"/>
                </a:cubicBezTo>
                <a:cubicBezTo>
                  <a:pt x="1719" y="368"/>
                  <a:pt x="1719" y="368"/>
                  <a:pt x="1719" y="368"/>
                </a:cubicBezTo>
                <a:cubicBezTo>
                  <a:pt x="1719" y="372"/>
                  <a:pt x="1719" y="372"/>
                  <a:pt x="1719" y="372"/>
                </a:cubicBezTo>
                <a:cubicBezTo>
                  <a:pt x="1718" y="376"/>
                  <a:pt x="1718" y="376"/>
                  <a:pt x="1718" y="376"/>
                </a:cubicBezTo>
                <a:cubicBezTo>
                  <a:pt x="1715" y="379"/>
                  <a:pt x="1715" y="379"/>
                  <a:pt x="1715" y="379"/>
                </a:cubicBezTo>
                <a:cubicBezTo>
                  <a:pt x="1713" y="379"/>
                  <a:pt x="1713" y="379"/>
                  <a:pt x="1713" y="379"/>
                </a:cubicBezTo>
                <a:cubicBezTo>
                  <a:pt x="1710" y="377"/>
                  <a:pt x="1710" y="377"/>
                  <a:pt x="1710" y="377"/>
                </a:cubicBezTo>
                <a:cubicBezTo>
                  <a:pt x="1710" y="375"/>
                  <a:pt x="1710" y="375"/>
                  <a:pt x="1710" y="375"/>
                </a:cubicBezTo>
                <a:cubicBezTo>
                  <a:pt x="1705" y="370"/>
                  <a:pt x="1705" y="370"/>
                  <a:pt x="1705" y="370"/>
                </a:cubicBezTo>
                <a:cubicBezTo>
                  <a:pt x="1705" y="367"/>
                  <a:pt x="1705" y="367"/>
                  <a:pt x="1705" y="367"/>
                </a:cubicBezTo>
                <a:cubicBezTo>
                  <a:pt x="1704" y="367"/>
                  <a:pt x="1704" y="367"/>
                  <a:pt x="1704" y="367"/>
                </a:cubicBezTo>
                <a:cubicBezTo>
                  <a:pt x="1703" y="369"/>
                  <a:pt x="1703" y="369"/>
                  <a:pt x="1703" y="369"/>
                </a:cubicBezTo>
                <a:cubicBezTo>
                  <a:pt x="1700" y="370"/>
                  <a:pt x="1700" y="370"/>
                  <a:pt x="1700" y="370"/>
                </a:cubicBezTo>
                <a:cubicBezTo>
                  <a:pt x="1699" y="371"/>
                  <a:pt x="1699" y="371"/>
                  <a:pt x="1699" y="371"/>
                </a:cubicBezTo>
                <a:cubicBezTo>
                  <a:pt x="1697" y="371"/>
                  <a:pt x="1697" y="371"/>
                  <a:pt x="1697" y="371"/>
                </a:cubicBezTo>
                <a:cubicBezTo>
                  <a:pt x="1695" y="373"/>
                  <a:pt x="1695" y="373"/>
                  <a:pt x="1695" y="373"/>
                </a:cubicBezTo>
                <a:cubicBezTo>
                  <a:pt x="1695" y="375"/>
                  <a:pt x="1695" y="375"/>
                  <a:pt x="1695" y="375"/>
                </a:cubicBezTo>
                <a:cubicBezTo>
                  <a:pt x="1694" y="375"/>
                  <a:pt x="1694" y="375"/>
                  <a:pt x="1694" y="375"/>
                </a:cubicBezTo>
                <a:cubicBezTo>
                  <a:pt x="1695" y="378"/>
                  <a:pt x="1695" y="378"/>
                  <a:pt x="1695" y="378"/>
                </a:cubicBezTo>
                <a:cubicBezTo>
                  <a:pt x="1692" y="381"/>
                  <a:pt x="1692" y="381"/>
                  <a:pt x="1692" y="381"/>
                </a:cubicBezTo>
                <a:cubicBezTo>
                  <a:pt x="1692" y="383"/>
                  <a:pt x="1692" y="383"/>
                  <a:pt x="1692" y="383"/>
                </a:cubicBezTo>
                <a:cubicBezTo>
                  <a:pt x="1692" y="385"/>
                  <a:pt x="1692" y="385"/>
                  <a:pt x="1692" y="385"/>
                </a:cubicBezTo>
                <a:cubicBezTo>
                  <a:pt x="1690" y="387"/>
                  <a:pt x="1690" y="387"/>
                  <a:pt x="1690" y="387"/>
                </a:cubicBezTo>
                <a:cubicBezTo>
                  <a:pt x="1691" y="392"/>
                  <a:pt x="1691" y="392"/>
                  <a:pt x="1691" y="392"/>
                </a:cubicBezTo>
                <a:cubicBezTo>
                  <a:pt x="1693" y="393"/>
                  <a:pt x="1693" y="393"/>
                  <a:pt x="1693" y="393"/>
                </a:cubicBezTo>
                <a:cubicBezTo>
                  <a:pt x="1693" y="393"/>
                  <a:pt x="1693" y="393"/>
                  <a:pt x="1693" y="393"/>
                </a:cubicBezTo>
                <a:cubicBezTo>
                  <a:pt x="1693" y="396"/>
                  <a:pt x="1693" y="396"/>
                  <a:pt x="1693" y="396"/>
                </a:cubicBezTo>
                <a:cubicBezTo>
                  <a:pt x="1694" y="399"/>
                  <a:pt x="1694" y="399"/>
                  <a:pt x="1694" y="399"/>
                </a:cubicBezTo>
                <a:cubicBezTo>
                  <a:pt x="1693" y="400"/>
                  <a:pt x="1693" y="400"/>
                  <a:pt x="1693" y="400"/>
                </a:cubicBezTo>
                <a:cubicBezTo>
                  <a:pt x="1693" y="400"/>
                  <a:pt x="1693" y="400"/>
                  <a:pt x="1693" y="400"/>
                </a:cubicBezTo>
                <a:cubicBezTo>
                  <a:pt x="1697" y="400"/>
                  <a:pt x="1697" y="400"/>
                  <a:pt x="1697" y="400"/>
                </a:cubicBezTo>
                <a:cubicBezTo>
                  <a:pt x="1699" y="403"/>
                  <a:pt x="1699" y="403"/>
                  <a:pt x="1699" y="403"/>
                </a:cubicBezTo>
                <a:cubicBezTo>
                  <a:pt x="1702" y="405"/>
                  <a:pt x="1702" y="405"/>
                  <a:pt x="1702" y="405"/>
                </a:cubicBezTo>
                <a:cubicBezTo>
                  <a:pt x="1706" y="404"/>
                  <a:pt x="1706" y="404"/>
                  <a:pt x="1706" y="404"/>
                </a:cubicBezTo>
                <a:cubicBezTo>
                  <a:pt x="1707" y="405"/>
                  <a:pt x="1707" y="405"/>
                  <a:pt x="1707" y="405"/>
                </a:cubicBezTo>
                <a:cubicBezTo>
                  <a:pt x="1708" y="407"/>
                  <a:pt x="1708" y="407"/>
                  <a:pt x="1708" y="407"/>
                </a:cubicBezTo>
                <a:cubicBezTo>
                  <a:pt x="1709" y="407"/>
                  <a:pt x="1709" y="407"/>
                  <a:pt x="1709" y="407"/>
                </a:cubicBezTo>
                <a:cubicBezTo>
                  <a:pt x="1710" y="408"/>
                  <a:pt x="1710" y="408"/>
                  <a:pt x="1710" y="408"/>
                </a:cubicBezTo>
                <a:cubicBezTo>
                  <a:pt x="1709" y="410"/>
                  <a:pt x="1709" y="410"/>
                  <a:pt x="1709" y="410"/>
                </a:cubicBezTo>
                <a:cubicBezTo>
                  <a:pt x="1709" y="413"/>
                  <a:pt x="1709" y="413"/>
                  <a:pt x="1709" y="413"/>
                </a:cubicBezTo>
                <a:cubicBezTo>
                  <a:pt x="1711" y="413"/>
                  <a:pt x="1711" y="413"/>
                  <a:pt x="1711" y="413"/>
                </a:cubicBezTo>
                <a:cubicBezTo>
                  <a:pt x="1698" y="414"/>
                  <a:pt x="1698" y="414"/>
                  <a:pt x="1698" y="414"/>
                </a:cubicBezTo>
                <a:cubicBezTo>
                  <a:pt x="1685" y="413"/>
                  <a:pt x="1685" y="413"/>
                  <a:pt x="1685" y="413"/>
                </a:cubicBezTo>
                <a:cubicBezTo>
                  <a:pt x="1684" y="414"/>
                  <a:pt x="1684" y="414"/>
                  <a:pt x="1684" y="414"/>
                </a:cubicBezTo>
                <a:cubicBezTo>
                  <a:pt x="1680" y="417"/>
                  <a:pt x="1680" y="417"/>
                  <a:pt x="1680" y="417"/>
                </a:cubicBezTo>
                <a:cubicBezTo>
                  <a:pt x="1677" y="418"/>
                  <a:pt x="1677" y="418"/>
                  <a:pt x="1677" y="418"/>
                </a:cubicBezTo>
                <a:cubicBezTo>
                  <a:pt x="1676" y="417"/>
                  <a:pt x="1676" y="417"/>
                  <a:pt x="1676" y="417"/>
                </a:cubicBezTo>
                <a:cubicBezTo>
                  <a:pt x="1679" y="415"/>
                  <a:pt x="1679" y="415"/>
                  <a:pt x="1679" y="415"/>
                </a:cubicBezTo>
                <a:cubicBezTo>
                  <a:pt x="1682" y="413"/>
                  <a:pt x="1682" y="413"/>
                  <a:pt x="1682" y="413"/>
                </a:cubicBezTo>
                <a:cubicBezTo>
                  <a:pt x="1681" y="413"/>
                  <a:pt x="1681" y="413"/>
                  <a:pt x="1681" y="413"/>
                </a:cubicBezTo>
                <a:cubicBezTo>
                  <a:pt x="1679" y="415"/>
                  <a:pt x="1679" y="415"/>
                  <a:pt x="1679" y="415"/>
                </a:cubicBezTo>
                <a:cubicBezTo>
                  <a:pt x="1675" y="417"/>
                  <a:pt x="1675" y="417"/>
                  <a:pt x="1675" y="417"/>
                </a:cubicBezTo>
                <a:cubicBezTo>
                  <a:pt x="1671" y="415"/>
                  <a:pt x="1671" y="415"/>
                  <a:pt x="1671" y="415"/>
                </a:cubicBezTo>
                <a:cubicBezTo>
                  <a:pt x="1670" y="413"/>
                  <a:pt x="1670" y="413"/>
                  <a:pt x="1670" y="413"/>
                </a:cubicBezTo>
                <a:cubicBezTo>
                  <a:pt x="1671" y="411"/>
                  <a:pt x="1671" y="411"/>
                  <a:pt x="1671" y="411"/>
                </a:cubicBezTo>
                <a:cubicBezTo>
                  <a:pt x="1673" y="412"/>
                  <a:pt x="1673" y="412"/>
                  <a:pt x="1673" y="412"/>
                </a:cubicBezTo>
                <a:cubicBezTo>
                  <a:pt x="1674" y="412"/>
                  <a:pt x="1674" y="412"/>
                  <a:pt x="1674" y="412"/>
                </a:cubicBezTo>
                <a:cubicBezTo>
                  <a:pt x="1674" y="412"/>
                  <a:pt x="1674" y="412"/>
                  <a:pt x="1674" y="412"/>
                </a:cubicBezTo>
                <a:cubicBezTo>
                  <a:pt x="1671" y="410"/>
                  <a:pt x="1671" y="410"/>
                  <a:pt x="1671" y="410"/>
                </a:cubicBezTo>
                <a:cubicBezTo>
                  <a:pt x="1666" y="409"/>
                  <a:pt x="1666" y="409"/>
                  <a:pt x="1666" y="409"/>
                </a:cubicBezTo>
                <a:cubicBezTo>
                  <a:pt x="1662" y="411"/>
                  <a:pt x="1662" y="411"/>
                  <a:pt x="1662" y="411"/>
                </a:cubicBezTo>
                <a:cubicBezTo>
                  <a:pt x="1659" y="411"/>
                  <a:pt x="1659" y="411"/>
                  <a:pt x="1659" y="411"/>
                </a:cubicBezTo>
                <a:cubicBezTo>
                  <a:pt x="1656" y="412"/>
                  <a:pt x="1656" y="412"/>
                  <a:pt x="1656" y="412"/>
                </a:cubicBezTo>
                <a:cubicBezTo>
                  <a:pt x="1654" y="414"/>
                  <a:pt x="1654" y="414"/>
                  <a:pt x="1654" y="414"/>
                </a:cubicBezTo>
                <a:cubicBezTo>
                  <a:pt x="1652" y="415"/>
                  <a:pt x="1652" y="415"/>
                  <a:pt x="1652" y="415"/>
                </a:cubicBezTo>
                <a:cubicBezTo>
                  <a:pt x="1650" y="417"/>
                  <a:pt x="1650" y="417"/>
                  <a:pt x="1650" y="417"/>
                </a:cubicBezTo>
                <a:cubicBezTo>
                  <a:pt x="1650" y="418"/>
                  <a:pt x="1650" y="418"/>
                  <a:pt x="1650" y="418"/>
                </a:cubicBezTo>
                <a:cubicBezTo>
                  <a:pt x="1647" y="418"/>
                  <a:pt x="1647" y="418"/>
                  <a:pt x="1647" y="418"/>
                </a:cubicBezTo>
                <a:cubicBezTo>
                  <a:pt x="1642" y="421"/>
                  <a:pt x="1642" y="421"/>
                  <a:pt x="1642" y="421"/>
                </a:cubicBezTo>
                <a:cubicBezTo>
                  <a:pt x="1639" y="421"/>
                  <a:pt x="1639" y="421"/>
                  <a:pt x="1639" y="421"/>
                </a:cubicBezTo>
                <a:cubicBezTo>
                  <a:pt x="1637" y="424"/>
                  <a:pt x="1637" y="424"/>
                  <a:pt x="1637" y="424"/>
                </a:cubicBezTo>
                <a:cubicBezTo>
                  <a:pt x="1637" y="426"/>
                  <a:pt x="1637" y="426"/>
                  <a:pt x="1637" y="426"/>
                </a:cubicBezTo>
                <a:cubicBezTo>
                  <a:pt x="1636" y="426"/>
                  <a:pt x="1636" y="426"/>
                  <a:pt x="1636" y="426"/>
                </a:cubicBezTo>
                <a:cubicBezTo>
                  <a:pt x="1636" y="427"/>
                  <a:pt x="1636" y="427"/>
                  <a:pt x="1636" y="427"/>
                </a:cubicBezTo>
                <a:cubicBezTo>
                  <a:pt x="1635" y="427"/>
                  <a:pt x="1635" y="427"/>
                  <a:pt x="1635" y="427"/>
                </a:cubicBezTo>
                <a:cubicBezTo>
                  <a:pt x="1633" y="428"/>
                  <a:pt x="1633" y="428"/>
                  <a:pt x="1633" y="428"/>
                </a:cubicBezTo>
                <a:cubicBezTo>
                  <a:pt x="1632" y="426"/>
                  <a:pt x="1632" y="426"/>
                  <a:pt x="1632" y="426"/>
                </a:cubicBezTo>
                <a:cubicBezTo>
                  <a:pt x="1630" y="427"/>
                  <a:pt x="1630" y="427"/>
                  <a:pt x="1630" y="427"/>
                </a:cubicBezTo>
                <a:cubicBezTo>
                  <a:pt x="1629" y="425"/>
                  <a:pt x="1629" y="425"/>
                  <a:pt x="1629" y="425"/>
                </a:cubicBezTo>
                <a:cubicBezTo>
                  <a:pt x="1629" y="423"/>
                  <a:pt x="1629" y="423"/>
                  <a:pt x="1629" y="423"/>
                </a:cubicBezTo>
                <a:cubicBezTo>
                  <a:pt x="1628" y="422"/>
                  <a:pt x="1628" y="422"/>
                  <a:pt x="1628" y="422"/>
                </a:cubicBezTo>
                <a:cubicBezTo>
                  <a:pt x="1626" y="422"/>
                  <a:pt x="1626" y="422"/>
                  <a:pt x="1626" y="422"/>
                </a:cubicBezTo>
                <a:cubicBezTo>
                  <a:pt x="1623" y="419"/>
                  <a:pt x="1623" y="419"/>
                  <a:pt x="1623" y="419"/>
                </a:cubicBezTo>
                <a:cubicBezTo>
                  <a:pt x="1621" y="419"/>
                  <a:pt x="1621" y="419"/>
                  <a:pt x="1621" y="419"/>
                </a:cubicBezTo>
                <a:cubicBezTo>
                  <a:pt x="1621" y="418"/>
                  <a:pt x="1621" y="418"/>
                  <a:pt x="1621" y="418"/>
                </a:cubicBezTo>
                <a:cubicBezTo>
                  <a:pt x="1620" y="419"/>
                  <a:pt x="1620" y="419"/>
                  <a:pt x="1620" y="419"/>
                </a:cubicBezTo>
                <a:cubicBezTo>
                  <a:pt x="1618" y="419"/>
                  <a:pt x="1618" y="419"/>
                  <a:pt x="1618" y="419"/>
                </a:cubicBezTo>
                <a:cubicBezTo>
                  <a:pt x="1616" y="420"/>
                  <a:pt x="1616" y="420"/>
                  <a:pt x="1616" y="420"/>
                </a:cubicBezTo>
                <a:cubicBezTo>
                  <a:pt x="1615" y="419"/>
                  <a:pt x="1615" y="419"/>
                  <a:pt x="1615" y="419"/>
                </a:cubicBezTo>
                <a:cubicBezTo>
                  <a:pt x="1616" y="418"/>
                  <a:pt x="1616" y="418"/>
                  <a:pt x="1616" y="418"/>
                </a:cubicBezTo>
                <a:cubicBezTo>
                  <a:pt x="1616" y="419"/>
                  <a:pt x="1616" y="419"/>
                  <a:pt x="1616" y="419"/>
                </a:cubicBezTo>
                <a:cubicBezTo>
                  <a:pt x="1617" y="418"/>
                  <a:pt x="1617" y="418"/>
                  <a:pt x="1617" y="418"/>
                </a:cubicBezTo>
                <a:cubicBezTo>
                  <a:pt x="1619" y="417"/>
                  <a:pt x="1619" y="417"/>
                  <a:pt x="1619" y="417"/>
                </a:cubicBezTo>
                <a:cubicBezTo>
                  <a:pt x="1616" y="417"/>
                  <a:pt x="1616" y="417"/>
                  <a:pt x="1616" y="417"/>
                </a:cubicBezTo>
                <a:cubicBezTo>
                  <a:pt x="1616" y="417"/>
                  <a:pt x="1616" y="417"/>
                  <a:pt x="1616" y="417"/>
                </a:cubicBezTo>
                <a:cubicBezTo>
                  <a:pt x="1615" y="418"/>
                  <a:pt x="1615" y="418"/>
                  <a:pt x="1615" y="418"/>
                </a:cubicBezTo>
                <a:cubicBezTo>
                  <a:pt x="1613" y="419"/>
                  <a:pt x="1613" y="419"/>
                  <a:pt x="1613" y="419"/>
                </a:cubicBezTo>
                <a:cubicBezTo>
                  <a:pt x="1613" y="420"/>
                  <a:pt x="1613" y="420"/>
                  <a:pt x="1613" y="420"/>
                </a:cubicBezTo>
                <a:cubicBezTo>
                  <a:pt x="1609" y="421"/>
                  <a:pt x="1609" y="421"/>
                  <a:pt x="1609" y="421"/>
                </a:cubicBezTo>
                <a:cubicBezTo>
                  <a:pt x="1608" y="423"/>
                  <a:pt x="1608" y="423"/>
                  <a:pt x="1608" y="423"/>
                </a:cubicBezTo>
                <a:cubicBezTo>
                  <a:pt x="1608" y="424"/>
                  <a:pt x="1608" y="424"/>
                  <a:pt x="1608" y="424"/>
                </a:cubicBezTo>
                <a:cubicBezTo>
                  <a:pt x="1606" y="424"/>
                  <a:pt x="1606" y="424"/>
                  <a:pt x="1606" y="424"/>
                </a:cubicBezTo>
                <a:cubicBezTo>
                  <a:pt x="1605" y="423"/>
                  <a:pt x="1605" y="423"/>
                  <a:pt x="1605" y="423"/>
                </a:cubicBezTo>
                <a:cubicBezTo>
                  <a:pt x="1603" y="423"/>
                  <a:pt x="1603" y="423"/>
                  <a:pt x="1603" y="423"/>
                </a:cubicBezTo>
                <a:cubicBezTo>
                  <a:pt x="1602" y="423"/>
                  <a:pt x="1602" y="423"/>
                  <a:pt x="1602" y="423"/>
                </a:cubicBezTo>
                <a:cubicBezTo>
                  <a:pt x="1600" y="423"/>
                  <a:pt x="1600" y="423"/>
                  <a:pt x="1600" y="423"/>
                </a:cubicBezTo>
                <a:cubicBezTo>
                  <a:pt x="1601" y="421"/>
                  <a:pt x="1601" y="421"/>
                  <a:pt x="1601" y="421"/>
                </a:cubicBezTo>
                <a:cubicBezTo>
                  <a:pt x="1603" y="422"/>
                  <a:pt x="1603" y="422"/>
                  <a:pt x="1603" y="422"/>
                </a:cubicBezTo>
                <a:cubicBezTo>
                  <a:pt x="1604" y="420"/>
                  <a:pt x="1604" y="420"/>
                  <a:pt x="1604" y="420"/>
                </a:cubicBezTo>
                <a:cubicBezTo>
                  <a:pt x="1604" y="418"/>
                  <a:pt x="1604" y="418"/>
                  <a:pt x="1604" y="418"/>
                </a:cubicBezTo>
                <a:cubicBezTo>
                  <a:pt x="1603" y="418"/>
                  <a:pt x="1603" y="418"/>
                  <a:pt x="1603" y="418"/>
                </a:cubicBezTo>
                <a:cubicBezTo>
                  <a:pt x="1602" y="419"/>
                  <a:pt x="1602" y="419"/>
                  <a:pt x="1602" y="419"/>
                </a:cubicBezTo>
                <a:cubicBezTo>
                  <a:pt x="1601" y="420"/>
                  <a:pt x="1601" y="420"/>
                  <a:pt x="1601" y="420"/>
                </a:cubicBezTo>
                <a:cubicBezTo>
                  <a:pt x="1598" y="418"/>
                  <a:pt x="1598" y="418"/>
                  <a:pt x="1598" y="418"/>
                </a:cubicBezTo>
                <a:cubicBezTo>
                  <a:pt x="1598" y="417"/>
                  <a:pt x="1598" y="417"/>
                  <a:pt x="1598" y="417"/>
                </a:cubicBezTo>
                <a:cubicBezTo>
                  <a:pt x="1597" y="418"/>
                  <a:pt x="1597" y="418"/>
                  <a:pt x="1597" y="418"/>
                </a:cubicBezTo>
                <a:cubicBezTo>
                  <a:pt x="1596" y="419"/>
                  <a:pt x="1596" y="419"/>
                  <a:pt x="1596" y="419"/>
                </a:cubicBezTo>
                <a:cubicBezTo>
                  <a:pt x="1595" y="420"/>
                  <a:pt x="1595" y="420"/>
                  <a:pt x="1595" y="420"/>
                </a:cubicBezTo>
                <a:cubicBezTo>
                  <a:pt x="1594" y="418"/>
                  <a:pt x="1594" y="418"/>
                  <a:pt x="1594" y="418"/>
                </a:cubicBezTo>
                <a:cubicBezTo>
                  <a:pt x="1592" y="418"/>
                  <a:pt x="1592" y="418"/>
                  <a:pt x="1592" y="418"/>
                </a:cubicBezTo>
                <a:cubicBezTo>
                  <a:pt x="1592" y="416"/>
                  <a:pt x="1592" y="416"/>
                  <a:pt x="1592" y="416"/>
                </a:cubicBezTo>
                <a:cubicBezTo>
                  <a:pt x="1593" y="415"/>
                  <a:pt x="1593" y="415"/>
                  <a:pt x="1593" y="415"/>
                </a:cubicBezTo>
                <a:cubicBezTo>
                  <a:pt x="1594" y="413"/>
                  <a:pt x="1594" y="413"/>
                  <a:pt x="1594" y="413"/>
                </a:cubicBezTo>
                <a:cubicBezTo>
                  <a:pt x="1592" y="413"/>
                  <a:pt x="1592" y="413"/>
                  <a:pt x="1592" y="413"/>
                </a:cubicBezTo>
                <a:cubicBezTo>
                  <a:pt x="1590" y="411"/>
                  <a:pt x="1590" y="411"/>
                  <a:pt x="1590" y="411"/>
                </a:cubicBezTo>
                <a:cubicBezTo>
                  <a:pt x="1590" y="411"/>
                  <a:pt x="1590" y="411"/>
                  <a:pt x="1590" y="411"/>
                </a:cubicBezTo>
                <a:cubicBezTo>
                  <a:pt x="1590" y="409"/>
                  <a:pt x="1590" y="409"/>
                  <a:pt x="1590" y="409"/>
                </a:cubicBezTo>
                <a:cubicBezTo>
                  <a:pt x="1589" y="408"/>
                  <a:pt x="1589" y="408"/>
                  <a:pt x="1589" y="408"/>
                </a:cubicBezTo>
                <a:cubicBezTo>
                  <a:pt x="1588" y="408"/>
                  <a:pt x="1588" y="408"/>
                  <a:pt x="1588" y="408"/>
                </a:cubicBezTo>
                <a:cubicBezTo>
                  <a:pt x="1588" y="407"/>
                  <a:pt x="1588" y="407"/>
                  <a:pt x="1588" y="407"/>
                </a:cubicBezTo>
                <a:cubicBezTo>
                  <a:pt x="1590" y="406"/>
                  <a:pt x="1590" y="406"/>
                  <a:pt x="1590" y="406"/>
                </a:cubicBezTo>
                <a:cubicBezTo>
                  <a:pt x="1590" y="404"/>
                  <a:pt x="1590" y="404"/>
                  <a:pt x="1590" y="404"/>
                </a:cubicBezTo>
                <a:cubicBezTo>
                  <a:pt x="1589" y="404"/>
                  <a:pt x="1589" y="404"/>
                  <a:pt x="1589" y="404"/>
                </a:cubicBezTo>
                <a:cubicBezTo>
                  <a:pt x="1589" y="402"/>
                  <a:pt x="1589" y="402"/>
                  <a:pt x="1589" y="402"/>
                </a:cubicBezTo>
                <a:cubicBezTo>
                  <a:pt x="1593" y="400"/>
                  <a:pt x="1593" y="400"/>
                  <a:pt x="1593" y="400"/>
                </a:cubicBezTo>
                <a:cubicBezTo>
                  <a:pt x="1592" y="400"/>
                  <a:pt x="1592" y="400"/>
                  <a:pt x="1592" y="400"/>
                </a:cubicBezTo>
                <a:cubicBezTo>
                  <a:pt x="1593" y="398"/>
                  <a:pt x="1593" y="398"/>
                  <a:pt x="1593" y="398"/>
                </a:cubicBezTo>
                <a:cubicBezTo>
                  <a:pt x="1594" y="399"/>
                  <a:pt x="1594" y="399"/>
                  <a:pt x="1594" y="399"/>
                </a:cubicBezTo>
                <a:cubicBezTo>
                  <a:pt x="1596" y="398"/>
                  <a:pt x="1596" y="398"/>
                  <a:pt x="1596" y="398"/>
                </a:cubicBezTo>
                <a:cubicBezTo>
                  <a:pt x="1596" y="395"/>
                  <a:pt x="1596" y="395"/>
                  <a:pt x="1596" y="395"/>
                </a:cubicBezTo>
                <a:cubicBezTo>
                  <a:pt x="1595" y="393"/>
                  <a:pt x="1595" y="393"/>
                  <a:pt x="1595" y="393"/>
                </a:cubicBezTo>
                <a:cubicBezTo>
                  <a:pt x="1596" y="392"/>
                  <a:pt x="1596" y="392"/>
                  <a:pt x="1596" y="392"/>
                </a:cubicBezTo>
                <a:cubicBezTo>
                  <a:pt x="1598" y="392"/>
                  <a:pt x="1598" y="392"/>
                  <a:pt x="1598" y="392"/>
                </a:cubicBezTo>
                <a:cubicBezTo>
                  <a:pt x="1599" y="393"/>
                  <a:pt x="1599" y="393"/>
                  <a:pt x="1599" y="393"/>
                </a:cubicBezTo>
                <a:cubicBezTo>
                  <a:pt x="1600" y="393"/>
                  <a:pt x="1600" y="393"/>
                  <a:pt x="1600" y="393"/>
                </a:cubicBezTo>
                <a:cubicBezTo>
                  <a:pt x="1601" y="393"/>
                  <a:pt x="1601" y="393"/>
                  <a:pt x="1601" y="393"/>
                </a:cubicBezTo>
                <a:cubicBezTo>
                  <a:pt x="1602" y="392"/>
                  <a:pt x="1602" y="392"/>
                  <a:pt x="1602" y="392"/>
                </a:cubicBezTo>
                <a:cubicBezTo>
                  <a:pt x="1602" y="390"/>
                  <a:pt x="1602" y="390"/>
                  <a:pt x="1602" y="390"/>
                </a:cubicBezTo>
                <a:cubicBezTo>
                  <a:pt x="1600" y="388"/>
                  <a:pt x="1600" y="388"/>
                  <a:pt x="1600" y="388"/>
                </a:cubicBezTo>
                <a:cubicBezTo>
                  <a:pt x="1599" y="389"/>
                  <a:pt x="1599" y="389"/>
                  <a:pt x="1599" y="389"/>
                </a:cubicBezTo>
                <a:cubicBezTo>
                  <a:pt x="1597" y="389"/>
                  <a:pt x="1597" y="389"/>
                  <a:pt x="1597" y="389"/>
                </a:cubicBezTo>
                <a:cubicBezTo>
                  <a:pt x="1596" y="388"/>
                  <a:pt x="1596" y="388"/>
                  <a:pt x="1596" y="388"/>
                </a:cubicBezTo>
                <a:cubicBezTo>
                  <a:pt x="1595" y="386"/>
                  <a:pt x="1595" y="386"/>
                  <a:pt x="1595" y="386"/>
                </a:cubicBezTo>
                <a:cubicBezTo>
                  <a:pt x="1594" y="386"/>
                  <a:pt x="1594" y="386"/>
                  <a:pt x="1594" y="386"/>
                </a:cubicBezTo>
                <a:cubicBezTo>
                  <a:pt x="1595" y="385"/>
                  <a:pt x="1595" y="385"/>
                  <a:pt x="1595" y="385"/>
                </a:cubicBezTo>
                <a:cubicBezTo>
                  <a:pt x="1595" y="383"/>
                  <a:pt x="1595" y="383"/>
                  <a:pt x="1595" y="383"/>
                </a:cubicBezTo>
                <a:cubicBezTo>
                  <a:pt x="1593" y="382"/>
                  <a:pt x="1593" y="382"/>
                  <a:pt x="1593" y="382"/>
                </a:cubicBezTo>
                <a:cubicBezTo>
                  <a:pt x="1590" y="382"/>
                  <a:pt x="1590" y="382"/>
                  <a:pt x="1590" y="382"/>
                </a:cubicBezTo>
                <a:cubicBezTo>
                  <a:pt x="1588" y="382"/>
                  <a:pt x="1588" y="382"/>
                  <a:pt x="1588" y="382"/>
                </a:cubicBezTo>
                <a:cubicBezTo>
                  <a:pt x="1587" y="382"/>
                  <a:pt x="1587" y="382"/>
                  <a:pt x="1587" y="382"/>
                </a:cubicBezTo>
                <a:cubicBezTo>
                  <a:pt x="1586" y="383"/>
                  <a:pt x="1586" y="383"/>
                  <a:pt x="1586" y="383"/>
                </a:cubicBezTo>
                <a:cubicBezTo>
                  <a:pt x="1588" y="385"/>
                  <a:pt x="1588" y="385"/>
                  <a:pt x="1588" y="385"/>
                </a:cubicBezTo>
                <a:cubicBezTo>
                  <a:pt x="1587" y="386"/>
                  <a:pt x="1587" y="386"/>
                  <a:pt x="1587" y="386"/>
                </a:cubicBezTo>
                <a:cubicBezTo>
                  <a:pt x="1589" y="388"/>
                  <a:pt x="1589" y="388"/>
                  <a:pt x="1589" y="388"/>
                </a:cubicBezTo>
                <a:cubicBezTo>
                  <a:pt x="1589" y="389"/>
                  <a:pt x="1589" y="389"/>
                  <a:pt x="1589" y="389"/>
                </a:cubicBezTo>
                <a:cubicBezTo>
                  <a:pt x="1587" y="388"/>
                  <a:pt x="1587" y="388"/>
                  <a:pt x="1587" y="388"/>
                </a:cubicBezTo>
                <a:cubicBezTo>
                  <a:pt x="1585" y="388"/>
                  <a:pt x="1585" y="388"/>
                  <a:pt x="1585" y="388"/>
                </a:cubicBezTo>
                <a:cubicBezTo>
                  <a:pt x="1585" y="387"/>
                  <a:pt x="1585" y="387"/>
                  <a:pt x="1585" y="387"/>
                </a:cubicBezTo>
                <a:cubicBezTo>
                  <a:pt x="1586" y="386"/>
                  <a:pt x="1586" y="386"/>
                  <a:pt x="1586" y="386"/>
                </a:cubicBezTo>
                <a:cubicBezTo>
                  <a:pt x="1585" y="384"/>
                  <a:pt x="1585" y="384"/>
                  <a:pt x="1585" y="384"/>
                </a:cubicBezTo>
                <a:cubicBezTo>
                  <a:pt x="1585" y="384"/>
                  <a:pt x="1585" y="384"/>
                  <a:pt x="1585" y="384"/>
                </a:cubicBezTo>
                <a:cubicBezTo>
                  <a:pt x="1583" y="387"/>
                  <a:pt x="1583" y="387"/>
                  <a:pt x="1583" y="387"/>
                </a:cubicBezTo>
                <a:cubicBezTo>
                  <a:pt x="1584" y="388"/>
                  <a:pt x="1584" y="388"/>
                  <a:pt x="1584" y="388"/>
                </a:cubicBezTo>
                <a:cubicBezTo>
                  <a:pt x="1582" y="389"/>
                  <a:pt x="1582" y="389"/>
                  <a:pt x="1582" y="389"/>
                </a:cubicBezTo>
                <a:cubicBezTo>
                  <a:pt x="1581" y="388"/>
                  <a:pt x="1581" y="388"/>
                  <a:pt x="1581" y="388"/>
                </a:cubicBezTo>
                <a:cubicBezTo>
                  <a:pt x="1579" y="388"/>
                  <a:pt x="1579" y="388"/>
                  <a:pt x="1579" y="388"/>
                </a:cubicBezTo>
                <a:cubicBezTo>
                  <a:pt x="1578" y="387"/>
                  <a:pt x="1578" y="387"/>
                  <a:pt x="1578" y="387"/>
                </a:cubicBezTo>
                <a:cubicBezTo>
                  <a:pt x="1577" y="389"/>
                  <a:pt x="1577" y="389"/>
                  <a:pt x="1577" y="389"/>
                </a:cubicBezTo>
                <a:cubicBezTo>
                  <a:pt x="1579" y="390"/>
                  <a:pt x="1579" y="390"/>
                  <a:pt x="1579" y="390"/>
                </a:cubicBezTo>
                <a:cubicBezTo>
                  <a:pt x="1579" y="392"/>
                  <a:pt x="1579" y="392"/>
                  <a:pt x="1579" y="392"/>
                </a:cubicBezTo>
                <a:cubicBezTo>
                  <a:pt x="1577" y="391"/>
                  <a:pt x="1577" y="391"/>
                  <a:pt x="1577" y="391"/>
                </a:cubicBezTo>
                <a:cubicBezTo>
                  <a:pt x="1577" y="392"/>
                  <a:pt x="1577" y="392"/>
                  <a:pt x="1577" y="392"/>
                </a:cubicBezTo>
                <a:cubicBezTo>
                  <a:pt x="1577" y="394"/>
                  <a:pt x="1577" y="394"/>
                  <a:pt x="1577" y="394"/>
                </a:cubicBezTo>
                <a:cubicBezTo>
                  <a:pt x="1578" y="395"/>
                  <a:pt x="1578" y="395"/>
                  <a:pt x="1578" y="395"/>
                </a:cubicBezTo>
                <a:cubicBezTo>
                  <a:pt x="1578" y="397"/>
                  <a:pt x="1578" y="397"/>
                  <a:pt x="1578" y="397"/>
                </a:cubicBezTo>
                <a:cubicBezTo>
                  <a:pt x="1580" y="398"/>
                  <a:pt x="1580" y="398"/>
                  <a:pt x="1580" y="398"/>
                </a:cubicBezTo>
                <a:cubicBezTo>
                  <a:pt x="1577" y="400"/>
                  <a:pt x="1577" y="400"/>
                  <a:pt x="1577" y="400"/>
                </a:cubicBezTo>
                <a:cubicBezTo>
                  <a:pt x="1576" y="403"/>
                  <a:pt x="1576" y="403"/>
                  <a:pt x="1576" y="403"/>
                </a:cubicBezTo>
                <a:cubicBezTo>
                  <a:pt x="1577" y="403"/>
                  <a:pt x="1577" y="403"/>
                  <a:pt x="1577" y="403"/>
                </a:cubicBezTo>
                <a:cubicBezTo>
                  <a:pt x="1578" y="403"/>
                  <a:pt x="1578" y="403"/>
                  <a:pt x="1578" y="403"/>
                </a:cubicBezTo>
                <a:cubicBezTo>
                  <a:pt x="1581" y="405"/>
                  <a:pt x="1581" y="405"/>
                  <a:pt x="1581" y="405"/>
                </a:cubicBezTo>
                <a:cubicBezTo>
                  <a:pt x="1581" y="408"/>
                  <a:pt x="1581" y="408"/>
                  <a:pt x="1581" y="408"/>
                </a:cubicBezTo>
                <a:cubicBezTo>
                  <a:pt x="1580" y="408"/>
                  <a:pt x="1580" y="408"/>
                  <a:pt x="1580" y="408"/>
                </a:cubicBezTo>
                <a:cubicBezTo>
                  <a:pt x="1581" y="410"/>
                  <a:pt x="1581" y="410"/>
                  <a:pt x="1581" y="410"/>
                </a:cubicBezTo>
                <a:cubicBezTo>
                  <a:pt x="1581" y="410"/>
                  <a:pt x="1581" y="410"/>
                  <a:pt x="1581" y="410"/>
                </a:cubicBezTo>
                <a:cubicBezTo>
                  <a:pt x="1581" y="412"/>
                  <a:pt x="1581" y="412"/>
                  <a:pt x="1581" y="412"/>
                </a:cubicBezTo>
                <a:cubicBezTo>
                  <a:pt x="1582" y="413"/>
                  <a:pt x="1582" y="413"/>
                  <a:pt x="1582" y="413"/>
                </a:cubicBezTo>
                <a:cubicBezTo>
                  <a:pt x="1583" y="413"/>
                  <a:pt x="1583" y="413"/>
                  <a:pt x="1583" y="413"/>
                </a:cubicBezTo>
                <a:cubicBezTo>
                  <a:pt x="1583" y="414"/>
                  <a:pt x="1583" y="414"/>
                  <a:pt x="1583" y="414"/>
                </a:cubicBezTo>
                <a:cubicBezTo>
                  <a:pt x="1585" y="416"/>
                  <a:pt x="1585" y="416"/>
                  <a:pt x="1585" y="416"/>
                </a:cubicBezTo>
                <a:cubicBezTo>
                  <a:pt x="1583" y="417"/>
                  <a:pt x="1583" y="417"/>
                  <a:pt x="1583" y="417"/>
                </a:cubicBezTo>
                <a:cubicBezTo>
                  <a:pt x="1582" y="417"/>
                  <a:pt x="1582" y="417"/>
                  <a:pt x="1582" y="417"/>
                </a:cubicBezTo>
                <a:cubicBezTo>
                  <a:pt x="1582" y="419"/>
                  <a:pt x="1582" y="419"/>
                  <a:pt x="1582" y="419"/>
                </a:cubicBezTo>
                <a:cubicBezTo>
                  <a:pt x="1584" y="418"/>
                  <a:pt x="1584" y="418"/>
                  <a:pt x="1584" y="418"/>
                </a:cubicBezTo>
                <a:cubicBezTo>
                  <a:pt x="1584" y="420"/>
                  <a:pt x="1584" y="420"/>
                  <a:pt x="1584" y="420"/>
                </a:cubicBezTo>
                <a:cubicBezTo>
                  <a:pt x="1585" y="422"/>
                  <a:pt x="1585" y="422"/>
                  <a:pt x="1585" y="422"/>
                </a:cubicBezTo>
                <a:cubicBezTo>
                  <a:pt x="1584" y="423"/>
                  <a:pt x="1584" y="423"/>
                  <a:pt x="1584" y="423"/>
                </a:cubicBezTo>
                <a:cubicBezTo>
                  <a:pt x="1584" y="424"/>
                  <a:pt x="1584" y="424"/>
                  <a:pt x="1584" y="424"/>
                </a:cubicBezTo>
                <a:cubicBezTo>
                  <a:pt x="1585" y="425"/>
                  <a:pt x="1585" y="425"/>
                  <a:pt x="1585" y="425"/>
                </a:cubicBezTo>
                <a:cubicBezTo>
                  <a:pt x="1588" y="425"/>
                  <a:pt x="1588" y="425"/>
                  <a:pt x="1588" y="425"/>
                </a:cubicBezTo>
                <a:cubicBezTo>
                  <a:pt x="1591" y="429"/>
                  <a:pt x="1591" y="429"/>
                  <a:pt x="1591" y="429"/>
                </a:cubicBezTo>
                <a:cubicBezTo>
                  <a:pt x="1595" y="430"/>
                  <a:pt x="1595" y="430"/>
                  <a:pt x="1595" y="430"/>
                </a:cubicBezTo>
                <a:cubicBezTo>
                  <a:pt x="1591" y="429"/>
                  <a:pt x="1591" y="429"/>
                  <a:pt x="1591" y="429"/>
                </a:cubicBezTo>
                <a:cubicBezTo>
                  <a:pt x="1587" y="426"/>
                  <a:pt x="1587" y="426"/>
                  <a:pt x="1587" y="426"/>
                </a:cubicBezTo>
                <a:cubicBezTo>
                  <a:pt x="1585" y="427"/>
                  <a:pt x="1585" y="427"/>
                  <a:pt x="1585" y="427"/>
                </a:cubicBezTo>
                <a:cubicBezTo>
                  <a:pt x="1584" y="426"/>
                  <a:pt x="1584" y="426"/>
                  <a:pt x="1584" y="426"/>
                </a:cubicBezTo>
                <a:cubicBezTo>
                  <a:pt x="1582" y="426"/>
                  <a:pt x="1582" y="426"/>
                  <a:pt x="1582" y="426"/>
                </a:cubicBezTo>
                <a:cubicBezTo>
                  <a:pt x="1581" y="428"/>
                  <a:pt x="1581" y="428"/>
                  <a:pt x="1581" y="428"/>
                </a:cubicBezTo>
                <a:cubicBezTo>
                  <a:pt x="1581" y="430"/>
                  <a:pt x="1581" y="430"/>
                  <a:pt x="1581" y="430"/>
                </a:cubicBezTo>
                <a:cubicBezTo>
                  <a:pt x="1581" y="433"/>
                  <a:pt x="1581" y="433"/>
                  <a:pt x="1581" y="433"/>
                </a:cubicBezTo>
                <a:cubicBezTo>
                  <a:pt x="1582" y="435"/>
                  <a:pt x="1582" y="435"/>
                  <a:pt x="1582" y="435"/>
                </a:cubicBezTo>
                <a:cubicBezTo>
                  <a:pt x="1580" y="432"/>
                  <a:pt x="1580" y="432"/>
                  <a:pt x="1580" y="432"/>
                </a:cubicBezTo>
                <a:cubicBezTo>
                  <a:pt x="1580" y="430"/>
                  <a:pt x="1580" y="430"/>
                  <a:pt x="1580" y="430"/>
                </a:cubicBezTo>
                <a:cubicBezTo>
                  <a:pt x="1579" y="429"/>
                  <a:pt x="1579" y="429"/>
                  <a:pt x="1579" y="429"/>
                </a:cubicBezTo>
                <a:cubicBezTo>
                  <a:pt x="1578" y="429"/>
                  <a:pt x="1578" y="429"/>
                  <a:pt x="1578" y="429"/>
                </a:cubicBezTo>
                <a:cubicBezTo>
                  <a:pt x="1578" y="430"/>
                  <a:pt x="1578" y="430"/>
                  <a:pt x="1578" y="430"/>
                </a:cubicBezTo>
                <a:cubicBezTo>
                  <a:pt x="1579" y="432"/>
                  <a:pt x="1579" y="432"/>
                  <a:pt x="1579" y="432"/>
                </a:cubicBezTo>
                <a:cubicBezTo>
                  <a:pt x="1578" y="433"/>
                  <a:pt x="1578" y="433"/>
                  <a:pt x="1578" y="433"/>
                </a:cubicBezTo>
                <a:cubicBezTo>
                  <a:pt x="1576" y="431"/>
                  <a:pt x="1576" y="431"/>
                  <a:pt x="1576" y="431"/>
                </a:cubicBezTo>
                <a:cubicBezTo>
                  <a:pt x="1576" y="429"/>
                  <a:pt x="1576" y="429"/>
                  <a:pt x="1576" y="429"/>
                </a:cubicBezTo>
                <a:cubicBezTo>
                  <a:pt x="1574" y="427"/>
                  <a:pt x="1574" y="427"/>
                  <a:pt x="1574" y="427"/>
                </a:cubicBezTo>
                <a:cubicBezTo>
                  <a:pt x="1572" y="428"/>
                  <a:pt x="1572" y="428"/>
                  <a:pt x="1572" y="428"/>
                </a:cubicBezTo>
                <a:cubicBezTo>
                  <a:pt x="1568" y="429"/>
                  <a:pt x="1568" y="429"/>
                  <a:pt x="1568" y="429"/>
                </a:cubicBezTo>
                <a:cubicBezTo>
                  <a:pt x="1568" y="431"/>
                  <a:pt x="1568" y="431"/>
                  <a:pt x="1568" y="431"/>
                </a:cubicBezTo>
                <a:cubicBezTo>
                  <a:pt x="1568" y="433"/>
                  <a:pt x="1568" y="433"/>
                  <a:pt x="1568" y="433"/>
                </a:cubicBezTo>
                <a:cubicBezTo>
                  <a:pt x="1571" y="433"/>
                  <a:pt x="1571" y="433"/>
                  <a:pt x="1571" y="433"/>
                </a:cubicBezTo>
                <a:cubicBezTo>
                  <a:pt x="1571" y="435"/>
                  <a:pt x="1571" y="435"/>
                  <a:pt x="1571" y="435"/>
                </a:cubicBezTo>
                <a:cubicBezTo>
                  <a:pt x="1571" y="435"/>
                  <a:pt x="1571" y="435"/>
                  <a:pt x="1571" y="435"/>
                </a:cubicBezTo>
                <a:cubicBezTo>
                  <a:pt x="1569" y="435"/>
                  <a:pt x="1569" y="435"/>
                  <a:pt x="1569" y="435"/>
                </a:cubicBezTo>
                <a:cubicBezTo>
                  <a:pt x="1567" y="433"/>
                  <a:pt x="1567" y="433"/>
                  <a:pt x="1567" y="433"/>
                </a:cubicBezTo>
                <a:cubicBezTo>
                  <a:pt x="1565" y="432"/>
                  <a:pt x="1565" y="432"/>
                  <a:pt x="1565" y="432"/>
                </a:cubicBezTo>
                <a:cubicBezTo>
                  <a:pt x="1562" y="432"/>
                  <a:pt x="1562" y="432"/>
                  <a:pt x="1562" y="432"/>
                </a:cubicBezTo>
                <a:cubicBezTo>
                  <a:pt x="1560" y="434"/>
                  <a:pt x="1560" y="434"/>
                  <a:pt x="1560" y="434"/>
                </a:cubicBezTo>
                <a:cubicBezTo>
                  <a:pt x="1558" y="433"/>
                  <a:pt x="1558" y="433"/>
                  <a:pt x="1558" y="433"/>
                </a:cubicBezTo>
                <a:cubicBezTo>
                  <a:pt x="1557" y="434"/>
                  <a:pt x="1557" y="434"/>
                  <a:pt x="1557" y="434"/>
                </a:cubicBezTo>
                <a:cubicBezTo>
                  <a:pt x="1555" y="434"/>
                  <a:pt x="1555" y="434"/>
                  <a:pt x="1555" y="434"/>
                </a:cubicBezTo>
                <a:cubicBezTo>
                  <a:pt x="1552" y="436"/>
                  <a:pt x="1552" y="436"/>
                  <a:pt x="1552" y="436"/>
                </a:cubicBezTo>
                <a:cubicBezTo>
                  <a:pt x="1549" y="438"/>
                  <a:pt x="1549" y="438"/>
                  <a:pt x="1549" y="438"/>
                </a:cubicBezTo>
                <a:cubicBezTo>
                  <a:pt x="1548" y="438"/>
                  <a:pt x="1548" y="438"/>
                  <a:pt x="1548" y="438"/>
                </a:cubicBezTo>
                <a:cubicBezTo>
                  <a:pt x="1546" y="439"/>
                  <a:pt x="1546" y="439"/>
                  <a:pt x="1546" y="439"/>
                </a:cubicBezTo>
                <a:cubicBezTo>
                  <a:pt x="1546" y="441"/>
                  <a:pt x="1546" y="441"/>
                  <a:pt x="1546" y="441"/>
                </a:cubicBezTo>
                <a:cubicBezTo>
                  <a:pt x="1544" y="443"/>
                  <a:pt x="1544" y="443"/>
                  <a:pt x="1544" y="443"/>
                </a:cubicBezTo>
                <a:cubicBezTo>
                  <a:pt x="1544" y="445"/>
                  <a:pt x="1544" y="445"/>
                  <a:pt x="1544" y="445"/>
                </a:cubicBezTo>
                <a:cubicBezTo>
                  <a:pt x="1544" y="447"/>
                  <a:pt x="1544" y="447"/>
                  <a:pt x="1544" y="447"/>
                </a:cubicBezTo>
                <a:cubicBezTo>
                  <a:pt x="1543" y="449"/>
                  <a:pt x="1543" y="449"/>
                  <a:pt x="1543" y="449"/>
                </a:cubicBezTo>
                <a:cubicBezTo>
                  <a:pt x="1542" y="450"/>
                  <a:pt x="1542" y="450"/>
                  <a:pt x="1542" y="450"/>
                </a:cubicBezTo>
                <a:cubicBezTo>
                  <a:pt x="1541" y="451"/>
                  <a:pt x="1541" y="451"/>
                  <a:pt x="1541" y="451"/>
                </a:cubicBezTo>
                <a:cubicBezTo>
                  <a:pt x="1541" y="453"/>
                  <a:pt x="1541" y="453"/>
                  <a:pt x="1541" y="453"/>
                </a:cubicBezTo>
                <a:cubicBezTo>
                  <a:pt x="1543" y="455"/>
                  <a:pt x="1543" y="455"/>
                  <a:pt x="1543" y="455"/>
                </a:cubicBezTo>
                <a:cubicBezTo>
                  <a:pt x="1545" y="455"/>
                  <a:pt x="1545" y="455"/>
                  <a:pt x="1545" y="455"/>
                </a:cubicBezTo>
                <a:cubicBezTo>
                  <a:pt x="1543" y="455"/>
                  <a:pt x="1543" y="455"/>
                  <a:pt x="1543" y="455"/>
                </a:cubicBezTo>
                <a:cubicBezTo>
                  <a:pt x="1542" y="456"/>
                  <a:pt x="1542" y="456"/>
                  <a:pt x="1542" y="456"/>
                </a:cubicBezTo>
                <a:cubicBezTo>
                  <a:pt x="1541" y="457"/>
                  <a:pt x="1541" y="457"/>
                  <a:pt x="1541" y="457"/>
                </a:cubicBezTo>
                <a:cubicBezTo>
                  <a:pt x="1542" y="458"/>
                  <a:pt x="1542" y="458"/>
                  <a:pt x="1542" y="458"/>
                </a:cubicBezTo>
                <a:cubicBezTo>
                  <a:pt x="1543" y="458"/>
                  <a:pt x="1543" y="458"/>
                  <a:pt x="1543" y="458"/>
                </a:cubicBezTo>
                <a:cubicBezTo>
                  <a:pt x="1543" y="459"/>
                  <a:pt x="1543" y="459"/>
                  <a:pt x="1543" y="459"/>
                </a:cubicBezTo>
                <a:cubicBezTo>
                  <a:pt x="1542" y="459"/>
                  <a:pt x="1542" y="459"/>
                  <a:pt x="1542" y="459"/>
                </a:cubicBezTo>
                <a:cubicBezTo>
                  <a:pt x="1540" y="458"/>
                  <a:pt x="1540" y="458"/>
                  <a:pt x="1540" y="458"/>
                </a:cubicBezTo>
                <a:cubicBezTo>
                  <a:pt x="1538" y="457"/>
                  <a:pt x="1538" y="457"/>
                  <a:pt x="1538" y="457"/>
                </a:cubicBezTo>
                <a:cubicBezTo>
                  <a:pt x="1536" y="457"/>
                  <a:pt x="1536" y="457"/>
                  <a:pt x="1536" y="457"/>
                </a:cubicBezTo>
                <a:cubicBezTo>
                  <a:pt x="1537" y="458"/>
                  <a:pt x="1537" y="458"/>
                  <a:pt x="1537" y="458"/>
                </a:cubicBezTo>
                <a:cubicBezTo>
                  <a:pt x="1539" y="459"/>
                  <a:pt x="1539" y="459"/>
                  <a:pt x="1539" y="459"/>
                </a:cubicBezTo>
                <a:cubicBezTo>
                  <a:pt x="1540" y="460"/>
                  <a:pt x="1540" y="460"/>
                  <a:pt x="1540" y="460"/>
                </a:cubicBezTo>
                <a:cubicBezTo>
                  <a:pt x="1541" y="460"/>
                  <a:pt x="1541" y="460"/>
                  <a:pt x="1541" y="460"/>
                </a:cubicBezTo>
                <a:cubicBezTo>
                  <a:pt x="1543" y="461"/>
                  <a:pt x="1543" y="461"/>
                  <a:pt x="1543" y="461"/>
                </a:cubicBezTo>
                <a:cubicBezTo>
                  <a:pt x="1541" y="460"/>
                  <a:pt x="1541" y="460"/>
                  <a:pt x="1541" y="460"/>
                </a:cubicBezTo>
                <a:cubicBezTo>
                  <a:pt x="1540" y="460"/>
                  <a:pt x="1540" y="460"/>
                  <a:pt x="1540" y="460"/>
                </a:cubicBezTo>
                <a:cubicBezTo>
                  <a:pt x="1537" y="459"/>
                  <a:pt x="1537" y="459"/>
                  <a:pt x="1537" y="459"/>
                </a:cubicBezTo>
                <a:cubicBezTo>
                  <a:pt x="1535" y="459"/>
                  <a:pt x="1535" y="459"/>
                  <a:pt x="1535" y="459"/>
                </a:cubicBezTo>
                <a:cubicBezTo>
                  <a:pt x="1535" y="460"/>
                  <a:pt x="1535" y="460"/>
                  <a:pt x="1535" y="460"/>
                </a:cubicBezTo>
                <a:cubicBezTo>
                  <a:pt x="1533" y="461"/>
                  <a:pt x="1533" y="461"/>
                  <a:pt x="1533" y="461"/>
                </a:cubicBezTo>
                <a:cubicBezTo>
                  <a:pt x="1532" y="464"/>
                  <a:pt x="1532" y="464"/>
                  <a:pt x="1532" y="464"/>
                </a:cubicBezTo>
                <a:cubicBezTo>
                  <a:pt x="1531" y="464"/>
                  <a:pt x="1531" y="464"/>
                  <a:pt x="1531" y="464"/>
                </a:cubicBezTo>
                <a:cubicBezTo>
                  <a:pt x="1528" y="465"/>
                  <a:pt x="1528" y="465"/>
                  <a:pt x="1528" y="465"/>
                </a:cubicBezTo>
                <a:cubicBezTo>
                  <a:pt x="1527" y="465"/>
                  <a:pt x="1527" y="465"/>
                  <a:pt x="1527" y="465"/>
                </a:cubicBezTo>
                <a:cubicBezTo>
                  <a:pt x="1524" y="466"/>
                  <a:pt x="1524" y="466"/>
                  <a:pt x="1524" y="466"/>
                </a:cubicBezTo>
                <a:cubicBezTo>
                  <a:pt x="1523" y="468"/>
                  <a:pt x="1523" y="468"/>
                  <a:pt x="1523" y="468"/>
                </a:cubicBezTo>
                <a:cubicBezTo>
                  <a:pt x="1524" y="471"/>
                  <a:pt x="1524" y="471"/>
                  <a:pt x="1524" y="471"/>
                </a:cubicBezTo>
                <a:cubicBezTo>
                  <a:pt x="1523" y="475"/>
                  <a:pt x="1523" y="475"/>
                  <a:pt x="1523" y="475"/>
                </a:cubicBezTo>
                <a:cubicBezTo>
                  <a:pt x="1520" y="477"/>
                  <a:pt x="1520" y="477"/>
                  <a:pt x="1520" y="477"/>
                </a:cubicBezTo>
                <a:cubicBezTo>
                  <a:pt x="1520" y="479"/>
                  <a:pt x="1520" y="479"/>
                  <a:pt x="1520" y="479"/>
                </a:cubicBezTo>
                <a:cubicBezTo>
                  <a:pt x="1517" y="480"/>
                  <a:pt x="1517" y="480"/>
                  <a:pt x="1517" y="480"/>
                </a:cubicBezTo>
                <a:cubicBezTo>
                  <a:pt x="1515" y="480"/>
                  <a:pt x="1515" y="480"/>
                  <a:pt x="1515" y="480"/>
                </a:cubicBezTo>
                <a:cubicBezTo>
                  <a:pt x="1513" y="479"/>
                  <a:pt x="1513" y="479"/>
                  <a:pt x="1513" y="479"/>
                </a:cubicBezTo>
                <a:cubicBezTo>
                  <a:pt x="1510" y="481"/>
                  <a:pt x="1510" y="481"/>
                  <a:pt x="1510" y="481"/>
                </a:cubicBezTo>
                <a:cubicBezTo>
                  <a:pt x="1509" y="483"/>
                  <a:pt x="1509" y="483"/>
                  <a:pt x="1509" y="483"/>
                </a:cubicBezTo>
                <a:cubicBezTo>
                  <a:pt x="1509" y="484"/>
                  <a:pt x="1509" y="484"/>
                  <a:pt x="1509" y="484"/>
                </a:cubicBezTo>
                <a:cubicBezTo>
                  <a:pt x="1511" y="485"/>
                  <a:pt x="1511" y="485"/>
                  <a:pt x="1511" y="485"/>
                </a:cubicBezTo>
                <a:cubicBezTo>
                  <a:pt x="1509" y="486"/>
                  <a:pt x="1509" y="486"/>
                  <a:pt x="1509" y="486"/>
                </a:cubicBezTo>
                <a:cubicBezTo>
                  <a:pt x="1506" y="487"/>
                  <a:pt x="1506" y="487"/>
                  <a:pt x="1506" y="487"/>
                </a:cubicBezTo>
                <a:cubicBezTo>
                  <a:pt x="1502" y="486"/>
                  <a:pt x="1502" y="486"/>
                  <a:pt x="1502" y="486"/>
                </a:cubicBezTo>
                <a:cubicBezTo>
                  <a:pt x="1500" y="485"/>
                  <a:pt x="1500" y="485"/>
                  <a:pt x="1500" y="485"/>
                </a:cubicBezTo>
                <a:cubicBezTo>
                  <a:pt x="1499" y="486"/>
                  <a:pt x="1499" y="486"/>
                  <a:pt x="1499" y="486"/>
                </a:cubicBezTo>
                <a:cubicBezTo>
                  <a:pt x="1498" y="485"/>
                  <a:pt x="1498" y="485"/>
                  <a:pt x="1498" y="485"/>
                </a:cubicBezTo>
                <a:cubicBezTo>
                  <a:pt x="1497" y="484"/>
                  <a:pt x="1497" y="484"/>
                  <a:pt x="1497" y="484"/>
                </a:cubicBezTo>
                <a:cubicBezTo>
                  <a:pt x="1497" y="482"/>
                  <a:pt x="1497" y="482"/>
                  <a:pt x="1497" y="482"/>
                </a:cubicBezTo>
                <a:cubicBezTo>
                  <a:pt x="1496" y="482"/>
                  <a:pt x="1496" y="482"/>
                  <a:pt x="1496" y="482"/>
                </a:cubicBezTo>
                <a:cubicBezTo>
                  <a:pt x="1494" y="482"/>
                  <a:pt x="1494" y="482"/>
                  <a:pt x="1494" y="482"/>
                </a:cubicBezTo>
                <a:cubicBezTo>
                  <a:pt x="1492" y="482"/>
                  <a:pt x="1492" y="482"/>
                  <a:pt x="1492" y="482"/>
                </a:cubicBezTo>
                <a:cubicBezTo>
                  <a:pt x="1491" y="482"/>
                  <a:pt x="1491" y="482"/>
                  <a:pt x="1491" y="482"/>
                </a:cubicBezTo>
                <a:cubicBezTo>
                  <a:pt x="1491" y="484"/>
                  <a:pt x="1491" y="484"/>
                  <a:pt x="1491" y="484"/>
                </a:cubicBezTo>
                <a:cubicBezTo>
                  <a:pt x="1491" y="485"/>
                  <a:pt x="1491" y="485"/>
                  <a:pt x="1491" y="485"/>
                </a:cubicBezTo>
                <a:cubicBezTo>
                  <a:pt x="1494" y="488"/>
                  <a:pt x="1494" y="488"/>
                  <a:pt x="1494" y="488"/>
                </a:cubicBezTo>
                <a:cubicBezTo>
                  <a:pt x="1494" y="489"/>
                  <a:pt x="1494" y="489"/>
                  <a:pt x="1494" y="489"/>
                </a:cubicBezTo>
                <a:cubicBezTo>
                  <a:pt x="1494" y="491"/>
                  <a:pt x="1494" y="491"/>
                  <a:pt x="1494" y="491"/>
                </a:cubicBezTo>
                <a:cubicBezTo>
                  <a:pt x="1494" y="492"/>
                  <a:pt x="1494" y="492"/>
                  <a:pt x="1494" y="492"/>
                </a:cubicBezTo>
                <a:cubicBezTo>
                  <a:pt x="1495" y="494"/>
                  <a:pt x="1495" y="494"/>
                  <a:pt x="1495" y="494"/>
                </a:cubicBezTo>
                <a:cubicBezTo>
                  <a:pt x="1495" y="495"/>
                  <a:pt x="1495" y="495"/>
                  <a:pt x="1495" y="495"/>
                </a:cubicBezTo>
                <a:cubicBezTo>
                  <a:pt x="1491" y="495"/>
                  <a:pt x="1491" y="495"/>
                  <a:pt x="1491" y="495"/>
                </a:cubicBezTo>
                <a:cubicBezTo>
                  <a:pt x="1490" y="495"/>
                  <a:pt x="1490" y="495"/>
                  <a:pt x="1490" y="495"/>
                </a:cubicBezTo>
                <a:cubicBezTo>
                  <a:pt x="1489" y="495"/>
                  <a:pt x="1489" y="495"/>
                  <a:pt x="1489" y="495"/>
                </a:cubicBezTo>
                <a:cubicBezTo>
                  <a:pt x="1487" y="495"/>
                  <a:pt x="1487" y="495"/>
                  <a:pt x="1487" y="495"/>
                </a:cubicBezTo>
                <a:cubicBezTo>
                  <a:pt x="1486" y="495"/>
                  <a:pt x="1486" y="495"/>
                  <a:pt x="1486" y="495"/>
                </a:cubicBezTo>
                <a:cubicBezTo>
                  <a:pt x="1484" y="497"/>
                  <a:pt x="1484" y="497"/>
                  <a:pt x="1484" y="497"/>
                </a:cubicBezTo>
                <a:cubicBezTo>
                  <a:pt x="1481" y="493"/>
                  <a:pt x="1481" y="493"/>
                  <a:pt x="1481" y="493"/>
                </a:cubicBezTo>
                <a:cubicBezTo>
                  <a:pt x="1479" y="492"/>
                  <a:pt x="1479" y="492"/>
                  <a:pt x="1479" y="492"/>
                </a:cubicBezTo>
                <a:cubicBezTo>
                  <a:pt x="1477" y="493"/>
                  <a:pt x="1477" y="493"/>
                  <a:pt x="1477" y="493"/>
                </a:cubicBezTo>
                <a:cubicBezTo>
                  <a:pt x="1475" y="495"/>
                  <a:pt x="1475" y="495"/>
                  <a:pt x="1475" y="495"/>
                </a:cubicBezTo>
                <a:cubicBezTo>
                  <a:pt x="1474" y="494"/>
                  <a:pt x="1474" y="494"/>
                  <a:pt x="1474" y="494"/>
                </a:cubicBezTo>
                <a:cubicBezTo>
                  <a:pt x="1473" y="495"/>
                  <a:pt x="1473" y="495"/>
                  <a:pt x="1473" y="495"/>
                </a:cubicBezTo>
                <a:cubicBezTo>
                  <a:pt x="1472" y="494"/>
                  <a:pt x="1472" y="494"/>
                  <a:pt x="1472" y="494"/>
                </a:cubicBezTo>
                <a:cubicBezTo>
                  <a:pt x="1470" y="495"/>
                  <a:pt x="1470" y="495"/>
                  <a:pt x="1470" y="495"/>
                </a:cubicBezTo>
                <a:cubicBezTo>
                  <a:pt x="1469" y="496"/>
                  <a:pt x="1469" y="496"/>
                  <a:pt x="1469" y="496"/>
                </a:cubicBezTo>
                <a:cubicBezTo>
                  <a:pt x="1466" y="496"/>
                  <a:pt x="1466" y="496"/>
                  <a:pt x="1466" y="496"/>
                </a:cubicBezTo>
                <a:cubicBezTo>
                  <a:pt x="1464" y="498"/>
                  <a:pt x="1464" y="498"/>
                  <a:pt x="1464" y="498"/>
                </a:cubicBezTo>
                <a:cubicBezTo>
                  <a:pt x="1465" y="499"/>
                  <a:pt x="1465" y="499"/>
                  <a:pt x="1465" y="499"/>
                </a:cubicBezTo>
                <a:cubicBezTo>
                  <a:pt x="1467" y="498"/>
                  <a:pt x="1467" y="498"/>
                  <a:pt x="1467" y="498"/>
                </a:cubicBezTo>
                <a:cubicBezTo>
                  <a:pt x="1468" y="499"/>
                  <a:pt x="1468" y="499"/>
                  <a:pt x="1468" y="499"/>
                </a:cubicBezTo>
                <a:cubicBezTo>
                  <a:pt x="1469" y="500"/>
                  <a:pt x="1469" y="500"/>
                  <a:pt x="1469" y="500"/>
                </a:cubicBezTo>
                <a:cubicBezTo>
                  <a:pt x="1467" y="499"/>
                  <a:pt x="1467" y="499"/>
                  <a:pt x="1467" y="499"/>
                </a:cubicBezTo>
                <a:cubicBezTo>
                  <a:pt x="1466" y="499"/>
                  <a:pt x="1466" y="499"/>
                  <a:pt x="1466" y="499"/>
                </a:cubicBezTo>
                <a:cubicBezTo>
                  <a:pt x="1467" y="501"/>
                  <a:pt x="1467" y="501"/>
                  <a:pt x="1467" y="501"/>
                </a:cubicBezTo>
                <a:cubicBezTo>
                  <a:pt x="1467" y="500"/>
                  <a:pt x="1467" y="500"/>
                  <a:pt x="1467" y="500"/>
                </a:cubicBezTo>
                <a:cubicBezTo>
                  <a:pt x="1468" y="500"/>
                  <a:pt x="1468" y="500"/>
                  <a:pt x="1468" y="500"/>
                </a:cubicBezTo>
                <a:cubicBezTo>
                  <a:pt x="1469" y="502"/>
                  <a:pt x="1469" y="502"/>
                  <a:pt x="1469" y="502"/>
                </a:cubicBezTo>
                <a:cubicBezTo>
                  <a:pt x="1468" y="502"/>
                  <a:pt x="1468" y="502"/>
                  <a:pt x="1468" y="502"/>
                </a:cubicBezTo>
                <a:cubicBezTo>
                  <a:pt x="1466" y="503"/>
                  <a:pt x="1466" y="503"/>
                  <a:pt x="1466" y="503"/>
                </a:cubicBezTo>
                <a:cubicBezTo>
                  <a:pt x="1466" y="503"/>
                  <a:pt x="1466" y="503"/>
                  <a:pt x="1466" y="503"/>
                </a:cubicBezTo>
                <a:cubicBezTo>
                  <a:pt x="1468" y="503"/>
                  <a:pt x="1468" y="503"/>
                  <a:pt x="1468" y="503"/>
                </a:cubicBezTo>
                <a:cubicBezTo>
                  <a:pt x="1468" y="506"/>
                  <a:pt x="1468" y="506"/>
                  <a:pt x="1468" y="506"/>
                </a:cubicBezTo>
                <a:cubicBezTo>
                  <a:pt x="1468" y="507"/>
                  <a:pt x="1468" y="507"/>
                  <a:pt x="1468" y="507"/>
                </a:cubicBezTo>
                <a:cubicBezTo>
                  <a:pt x="1470" y="505"/>
                  <a:pt x="1470" y="505"/>
                  <a:pt x="1470" y="505"/>
                </a:cubicBezTo>
                <a:cubicBezTo>
                  <a:pt x="1472" y="506"/>
                  <a:pt x="1472" y="506"/>
                  <a:pt x="1472" y="506"/>
                </a:cubicBezTo>
                <a:cubicBezTo>
                  <a:pt x="1473" y="506"/>
                  <a:pt x="1473" y="506"/>
                  <a:pt x="1473" y="506"/>
                </a:cubicBezTo>
                <a:cubicBezTo>
                  <a:pt x="1476" y="507"/>
                  <a:pt x="1476" y="507"/>
                  <a:pt x="1476" y="507"/>
                </a:cubicBezTo>
                <a:cubicBezTo>
                  <a:pt x="1477" y="508"/>
                  <a:pt x="1477" y="508"/>
                  <a:pt x="1477" y="508"/>
                </a:cubicBezTo>
                <a:cubicBezTo>
                  <a:pt x="1478" y="508"/>
                  <a:pt x="1478" y="508"/>
                  <a:pt x="1478" y="508"/>
                </a:cubicBezTo>
                <a:cubicBezTo>
                  <a:pt x="1480" y="509"/>
                  <a:pt x="1480" y="509"/>
                  <a:pt x="1480" y="509"/>
                </a:cubicBezTo>
                <a:cubicBezTo>
                  <a:pt x="1482" y="508"/>
                  <a:pt x="1482" y="508"/>
                  <a:pt x="1482" y="508"/>
                </a:cubicBezTo>
                <a:cubicBezTo>
                  <a:pt x="1483" y="508"/>
                  <a:pt x="1483" y="508"/>
                  <a:pt x="1483" y="508"/>
                </a:cubicBezTo>
                <a:cubicBezTo>
                  <a:pt x="1482" y="509"/>
                  <a:pt x="1482" y="509"/>
                  <a:pt x="1482" y="509"/>
                </a:cubicBezTo>
                <a:cubicBezTo>
                  <a:pt x="1483" y="510"/>
                  <a:pt x="1483" y="510"/>
                  <a:pt x="1483" y="510"/>
                </a:cubicBezTo>
                <a:cubicBezTo>
                  <a:pt x="1485" y="509"/>
                  <a:pt x="1485" y="509"/>
                  <a:pt x="1485" y="509"/>
                </a:cubicBezTo>
                <a:cubicBezTo>
                  <a:pt x="1486" y="510"/>
                  <a:pt x="1486" y="510"/>
                  <a:pt x="1486" y="510"/>
                </a:cubicBezTo>
                <a:cubicBezTo>
                  <a:pt x="1485" y="512"/>
                  <a:pt x="1485" y="512"/>
                  <a:pt x="1485" y="512"/>
                </a:cubicBezTo>
                <a:cubicBezTo>
                  <a:pt x="1486" y="513"/>
                  <a:pt x="1486" y="513"/>
                  <a:pt x="1486" y="513"/>
                </a:cubicBezTo>
                <a:cubicBezTo>
                  <a:pt x="1487" y="514"/>
                  <a:pt x="1487" y="514"/>
                  <a:pt x="1487" y="514"/>
                </a:cubicBezTo>
                <a:cubicBezTo>
                  <a:pt x="1489" y="512"/>
                  <a:pt x="1489" y="512"/>
                  <a:pt x="1489" y="512"/>
                </a:cubicBezTo>
                <a:cubicBezTo>
                  <a:pt x="1491" y="513"/>
                  <a:pt x="1491" y="513"/>
                  <a:pt x="1491" y="513"/>
                </a:cubicBezTo>
                <a:cubicBezTo>
                  <a:pt x="1492" y="514"/>
                  <a:pt x="1492" y="514"/>
                  <a:pt x="1492" y="514"/>
                </a:cubicBezTo>
                <a:cubicBezTo>
                  <a:pt x="1491" y="513"/>
                  <a:pt x="1491" y="513"/>
                  <a:pt x="1491" y="513"/>
                </a:cubicBezTo>
                <a:cubicBezTo>
                  <a:pt x="1489" y="513"/>
                  <a:pt x="1489" y="513"/>
                  <a:pt x="1489" y="513"/>
                </a:cubicBezTo>
                <a:cubicBezTo>
                  <a:pt x="1488" y="515"/>
                  <a:pt x="1488" y="515"/>
                  <a:pt x="1488" y="515"/>
                </a:cubicBezTo>
                <a:cubicBezTo>
                  <a:pt x="1489" y="516"/>
                  <a:pt x="1489" y="516"/>
                  <a:pt x="1489" y="516"/>
                </a:cubicBezTo>
                <a:cubicBezTo>
                  <a:pt x="1489" y="518"/>
                  <a:pt x="1489" y="518"/>
                  <a:pt x="1489" y="518"/>
                </a:cubicBezTo>
                <a:cubicBezTo>
                  <a:pt x="1488" y="519"/>
                  <a:pt x="1488" y="519"/>
                  <a:pt x="1488" y="519"/>
                </a:cubicBezTo>
                <a:cubicBezTo>
                  <a:pt x="1489" y="521"/>
                  <a:pt x="1489" y="521"/>
                  <a:pt x="1489" y="521"/>
                </a:cubicBezTo>
                <a:cubicBezTo>
                  <a:pt x="1490" y="521"/>
                  <a:pt x="1490" y="521"/>
                  <a:pt x="1490" y="521"/>
                </a:cubicBezTo>
                <a:cubicBezTo>
                  <a:pt x="1493" y="524"/>
                  <a:pt x="1493" y="524"/>
                  <a:pt x="1493" y="524"/>
                </a:cubicBezTo>
                <a:cubicBezTo>
                  <a:pt x="1495" y="524"/>
                  <a:pt x="1495" y="524"/>
                  <a:pt x="1495" y="524"/>
                </a:cubicBezTo>
                <a:cubicBezTo>
                  <a:pt x="1498" y="526"/>
                  <a:pt x="1498" y="526"/>
                  <a:pt x="1498" y="526"/>
                </a:cubicBezTo>
                <a:cubicBezTo>
                  <a:pt x="1498" y="527"/>
                  <a:pt x="1498" y="527"/>
                  <a:pt x="1498" y="527"/>
                </a:cubicBezTo>
                <a:cubicBezTo>
                  <a:pt x="1499" y="529"/>
                  <a:pt x="1499" y="529"/>
                  <a:pt x="1499" y="529"/>
                </a:cubicBezTo>
                <a:cubicBezTo>
                  <a:pt x="1498" y="531"/>
                  <a:pt x="1498" y="531"/>
                  <a:pt x="1498" y="531"/>
                </a:cubicBezTo>
                <a:cubicBezTo>
                  <a:pt x="1497" y="531"/>
                  <a:pt x="1497" y="531"/>
                  <a:pt x="1497" y="531"/>
                </a:cubicBezTo>
                <a:cubicBezTo>
                  <a:pt x="1497" y="533"/>
                  <a:pt x="1497" y="533"/>
                  <a:pt x="1497" y="533"/>
                </a:cubicBezTo>
                <a:cubicBezTo>
                  <a:pt x="1499" y="533"/>
                  <a:pt x="1499" y="533"/>
                  <a:pt x="1499" y="533"/>
                </a:cubicBezTo>
                <a:cubicBezTo>
                  <a:pt x="1502" y="536"/>
                  <a:pt x="1502" y="536"/>
                  <a:pt x="1502" y="536"/>
                </a:cubicBezTo>
                <a:cubicBezTo>
                  <a:pt x="1504" y="541"/>
                  <a:pt x="1504" y="541"/>
                  <a:pt x="1504" y="541"/>
                </a:cubicBezTo>
                <a:cubicBezTo>
                  <a:pt x="1501" y="539"/>
                  <a:pt x="1501" y="539"/>
                  <a:pt x="1501" y="539"/>
                </a:cubicBezTo>
                <a:cubicBezTo>
                  <a:pt x="1501" y="536"/>
                  <a:pt x="1501" y="536"/>
                  <a:pt x="1501" y="536"/>
                </a:cubicBezTo>
                <a:cubicBezTo>
                  <a:pt x="1499" y="535"/>
                  <a:pt x="1499" y="535"/>
                  <a:pt x="1499" y="535"/>
                </a:cubicBezTo>
                <a:cubicBezTo>
                  <a:pt x="1498" y="536"/>
                  <a:pt x="1498" y="536"/>
                  <a:pt x="1498" y="536"/>
                </a:cubicBezTo>
                <a:cubicBezTo>
                  <a:pt x="1497" y="541"/>
                  <a:pt x="1497" y="541"/>
                  <a:pt x="1497" y="541"/>
                </a:cubicBezTo>
                <a:cubicBezTo>
                  <a:pt x="1497" y="545"/>
                  <a:pt x="1497" y="545"/>
                  <a:pt x="1497" y="545"/>
                </a:cubicBezTo>
                <a:cubicBezTo>
                  <a:pt x="1498" y="546"/>
                  <a:pt x="1498" y="546"/>
                  <a:pt x="1498" y="546"/>
                </a:cubicBezTo>
                <a:cubicBezTo>
                  <a:pt x="1497" y="547"/>
                  <a:pt x="1497" y="547"/>
                  <a:pt x="1497" y="547"/>
                </a:cubicBezTo>
                <a:cubicBezTo>
                  <a:pt x="1496" y="554"/>
                  <a:pt x="1496" y="554"/>
                  <a:pt x="1496" y="554"/>
                </a:cubicBezTo>
                <a:cubicBezTo>
                  <a:pt x="1495" y="560"/>
                  <a:pt x="1495" y="560"/>
                  <a:pt x="1495" y="560"/>
                </a:cubicBezTo>
                <a:cubicBezTo>
                  <a:pt x="1492" y="561"/>
                  <a:pt x="1492" y="561"/>
                  <a:pt x="1492" y="561"/>
                </a:cubicBezTo>
                <a:cubicBezTo>
                  <a:pt x="1491" y="562"/>
                  <a:pt x="1491" y="562"/>
                  <a:pt x="1491" y="562"/>
                </a:cubicBezTo>
                <a:cubicBezTo>
                  <a:pt x="1490" y="562"/>
                  <a:pt x="1490" y="562"/>
                  <a:pt x="1490" y="562"/>
                </a:cubicBezTo>
                <a:cubicBezTo>
                  <a:pt x="1489" y="563"/>
                  <a:pt x="1489" y="563"/>
                  <a:pt x="1489" y="563"/>
                </a:cubicBezTo>
                <a:cubicBezTo>
                  <a:pt x="1484" y="560"/>
                  <a:pt x="1484" y="560"/>
                  <a:pt x="1484" y="560"/>
                </a:cubicBezTo>
                <a:cubicBezTo>
                  <a:pt x="1482" y="560"/>
                  <a:pt x="1482" y="560"/>
                  <a:pt x="1482" y="560"/>
                </a:cubicBezTo>
                <a:cubicBezTo>
                  <a:pt x="1480" y="562"/>
                  <a:pt x="1480" y="562"/>
                  <a:pt x="1480" y="562"/>
                </a:cubicBezTo>
                <a:cubicBezTo>
                  <a:pt x="1476" y="561"/>
                  <a:pt x="1476" y="561"/>
                  <a:pt x="1476" y="561"/>
                </a:cubicBezTo>
                <a:cubicBezTo>
                  <a:pt x="1476" y="560"/>
                  <a:pt x="1476" y="560"/>
                  <a:pt x="1476" y="560"/>
                </a:cubicBezTo>
                <a:cubicBezTo>
                  <a:pt x="1472" y="559"/>
                  <a:pt x="1472" y="559"/>
                  <a:pt x="1472" y="559"/>
                </a:cubicBezTo>
                <a:cubicBezTo>
                  <a:pt x="1467" y="561"/>
                  <a:pt x="1467" y="561"/>
                  <a:pt x="1467" y="561"/>
                </a:cubicBezTo>
                <a:cubicBezTo>
                  <a:pt x="1464" y="561"/>
                  <a:pt x="1464" y="561"/>
                  <a:pt x="1464" y="561"/>
                </a:cubicBezTo>
                <a:cubicBezTo>
                  <a:pt x="1457" y="559"/>
                  <a:pt x="1457" y="559"/>
                  <a:pt x="1457" y="559"/>
                </a:cubicBezTo>
                <a:cubicBezTo>
                  <a:pt x="1454" y="558"/>
                  <a:pt x="1454" y="558"/>
                  <a:pt x="1454" y="558"/>
                </a:cubicBezTo>
                <a:cubicBezTo>
                  <a:pt x="1453" y="557"/>
                  <a:pt x="1453" y="557"/>
                  <a:pt x="1453" y="557"/>
                </a:cubicBezTo>
                <a:cubicBezTo>
                  <a:pt x="1450" y="558"/>
                  <a:pt x="1450" y="558"/>
                  <a:pt x="1450" y="558"/>
                </a:cubicBezTo>
                <a:cubicBezTo>
                  <a:pt x="1448" y="559"/>
                  <a:pt x="1448" y="559"/>
                  <a:pt x="1448" y="559"/>
                </a:cubicBezTo>
                <a:cubicBezTo>
                  <a:pt x="1445" y="558"/>
                  <a:pt x="1445" y="558"/>
                  <a:pt x="1445" y="558"/>
                </a:cubicBezTo>
                <a:cubicBezTo>
                  <a:pt x="1443" y="558"/>
                  <a:pt x="1443" y="558"/>
                  <a:pt x="1443" y="558"/>
                </a:cubicBezTo>
                <a:cubicBezTo>
                  <a:pt x="1441" y="560"/>
                  <a:pt x="1441" y="560"/>
                  <a:pt x="1441" y="560"/>
                </a:cubicBezTo>
                <a:cubicBezTo>
                  <a:pt x="1439" y="557"/>
                  <a:pt x="1439" y="557"/>
                  <a:pt x="1439" y="557"/>
                </a:cubicBezTo>
                <a:cubicBezTo>
                  <a:pt x="1437" y="556"/>
                  <a:pt x="1437" y="556"/>
                  <a:pt x="1437" y="556"/>
                </a:cubicBezTo>
                <a:cubicBezTo>
                  <a:pt x="1435" y="557"/>
                  <a:pt x="1435" y="557"/>
                  <a:pt x="1435" y="557"/>
                </a:cubicBezTo>
                <a:cubicBezTo>
                  <a:pt x="1435" y="557"/>
                  <a:pt x="1435" y="557"/>
                  <a:pt x="1435" y="557"/>
                </a:cubicBezTo>
                <a:cubicBezTo>
                  <a:pt x="1431" y="559"/>
                  <a:pt x="1431" y="559"/>
                  <a:pt x="1431" y="559"/>
                </a:cubicBezTo>
                <a:cubicBezTo>
                  <a:pt x="1431" y="560"/>
                  <a:pt x="1431" y="560"/>
                  <a:pt x="1431" y="560"/>
                </a:cubicBezTo>
                <a:cubicBezTo>
                  <a:pt x="1432" y="561"/>
                  <a:pt x="1432" y="561"/>
                  <a:pt x="1432" y="561"/>
                </a:cubicBezTo>
                <a:cubicBezTo>
                  <a:pt x="1431" y="562"/>
                  <a:pt x="1431" y="562"/>
                  <a:pt x="1431" y="562"/>
                </a:cubicBezTo>
                <a:cubicBezTo>
                  <a:pt x="1428" y="563"/>
                  <a:pt x="1428" y="563"/>
                  <a:pt x="1428" y="563"/>
                </a:cubicBezTo>
                <a:cubicBezTo>
                  <a:pt x="1426" y="562"/>
                  <a:pt x="1426" y="562"/>
                  <a:pt x="1426" y="562"/>
                </a:cubicBezTo>
                <a:cubicBezTo>
                  <a:pt x="1422" y="563"/>
                  <a:pt x="1422" y="563"/>
                  <a:pt x="1422" y="563"/>
                </a:cubicBezTo>
                <a:cubicBezTo>
                  <a:pt x="1421" y="566"/>
                  <a:pt x="1421" y="566"/>
                  <a:pt x="1421" y="566"/>
                </a:cubicBezTo>
                <a:cubicBezTo>
                  <a:pt x="1422" y="568"/>
                  <a:pt x="1422" y="568"/>
                  <a:pt x="1422" y="568"/>
                </a:cubicBezTo>
                <a:cubicBezTo>
                  <a:pt x="1424" y="567"/>
                  <a:pt x="1424" y="567"/>
                  <a:pt x="1424" y="567"/>
                </a:cubicBezTo>
                <a:cubicBezTo>
                  <a:pt x="1424" y="568"/>
                  <a:pt x="1424" y="568"/>
                  <a:pt x="1424" y="568"/>
                </a:cubicBezTo>
                <a:cubicBezTo>
                  <a:pt x="1424" y="569"/>
                  <a:pt x="1424" y="569"/>
                  <a:pt x="1424" y="569"/>
                </a:cubicBezTo>
                <a:cubicBezTo>
                  <a:pt x="1424" y="572"/>
                  <a:pt x="1424" y="572"/>
                  <a:pt x="1424" y="572"/>
                </a:cubicBezTo>
                <a:cubicBezTo>
                  <a:pt x="1425" y="572"/>
                  <a:pt x="1425" y="572"/>
                  <a:pt x="1425" y="572"/>
                </a:cubicBezTo>
                <a:cubicBezTo>
                  <a:pt x="1426" y="570"/>
                  <a:pt x="1426" y="570"/>
                  <a:pt x="1426" y="570"/>
                </a:cubicBezTo>
                <a:cubicBezTo>
                  <a:pt x="1426" y="572"/>
                  <a:pt x="1426" y="572"/>
                  <a:pt x="1426" y="572"/>
                </a:cubicBezTo>
                <a:cubicBezTo>
                  <a:pt x="1427" y="573"/>
                  <a:pt x="1427" y="573"/>
                  <a:pt x="1427" y="573"/>
                </a:cubicBezTo>
                <a:cubicBezTo>
                  <a:pt x="1425" y="574"/>
                  <a:pt x="1425" y="574"/>
                  <a:pt x="1425" y="574"/>
                </a:cubicBezTo>
                <a:cubicBezTo>
                  <a:pt x="1427" y="575"/>
                  <a:pt x="1427" y="575"/>
                  <a:pt x="1427" y="575"/>
                </a:cubicBezTo>
                <a:cubicBezTo>
                  <a:pt x="1425" y="577"/>
                  <a:pt x="1425" y="577"/>
                  <a:pt x="1425" y="577"/>
                </a:cubicBezTo>
                <a:cubicBezTo>
                  <a:pt x="1425" y="577"/>
                  <a:pt x="1425" y="577"/>
                  <a:pt x="1425" y="577"/>
                </a:cubicBezTo>
                <a:cubicBezTo>
                  <a:pt x="1425" y="580"/>
                  <a:pt x="1425" y="580"/>
                  <a:pt x="1425" y="580"/>
                </a:cubicBezTo>
                <a:cubicBezTo>
                  <a:pt x="1426" y="583"/>
                  <a:pt x="1426" y="583"/>
                  <a:pt x="1426" y="583"/>
                </a:cubicBezTo>
                <a:cubicBezTo>
                  <a:pt x="1426" y="589"/>
                  <a:pt x="1426" y="589"/>
                  <a:pt x="1426" y="589"/>
                </a:cubicBezTo>
                <a:cubicBezTo>
                  <a:pt x="1426" y="590"/>
                  <a:pt x="1426" y="590"/>
                  <a:pt x="1426" y="590"/>
                </a:cubicBezTo>
                <a:cubicBezTo>
                  <a:pt x="1425" y="593"/>
                  <a:pt x="1425" y="593"/>
                  <a:pt x="1425" y="593"/>
                </a:cubicBezTo>
                <a:cubicBezTo>
                  <a:pt x="1427" y="595"/>
                  <a:pt x="1427" y="595"/>
                  <a:pt x="1427" y="595"/>
                </a:cubicBezTo>
                <a:cubicBezTo>
                  <a:pt x="1426" y="596"/>
                  <a:pt x="1426" y="596"/>
                  <a:pt x="1426" y="596"/>
                </a:cubicBezTo>
                <a:cubicBezTo>
                  <a:pt x="1425" y="599"/>
                  <a:pt x="1425" y="599"/>
                  <a:pt x="1425" y="599"/>
                </a:cubicBezTo>
                <a:cubicBezTo>
                  <a:pt x="1424" y="602"/>
                  <a:pt x="1424" y="602"/>
                  <a:pt x="1424" y="602"/>
                </a:cubicBezTo>
                <a:cubicBezTo>
                  <a:pt x="1422" y="605"/>
                  <a:pt x="1422" y="605"/>
                  <a:pt x="1422" y="605"/>
                </a:cubicBezTo>
                <a:cubicBezTo>
                  <a:pt x="1422" y="607"/>
                  <a:pt x="1422" y="607"/>
                  <a:pt x="1422" y="607"/>
                </a:cubicBezTo>
                <a:cubicBezTo>
                  <a:pt x="1419" y="611"/>
                  <a:pt x="1419" y="611"/>
                  <a:pt x="1419" y="611"/>
                </a:cubicBezTo>
                <a:cubicBezTo>
                  <a:pt x="1418" y="617"/>
                  <a:pt x="1418" y="617"/>
                  <a:pt x="1418" y="617"/>
                </a:cubicBezTo>
                <a:cubicBezTo>
                  <a:pt x="1418" y="619"/>
                  <a:pt x="1418" y="619"/>
                  <a:pt x="1418" y="619"/>
                </a:cubicBezTo>
                <a:cubicBezTo>
                  <a:pt x="1420" y="619"/>
                  <a:pt x="1420" y="619"/>
                  <a:pt x="1420" y="619"/>
                </a:cubicBezTo>
                <a:cubicBezTo>
                  <a:pt x="1421" y="617"/>
                  <a:pt x="1421" y="617"/>
                  <a:pt x="1421" y="617"/>
                </a:cubicBezTo>
                <a:cubicBezTo>
                  <a:pt x="1423" y="616"/>
                  <a:pt x="1423" y="616"/>
                  <a:pt x="1423" y="616"/>
                </a:cubicBezTo>
                <a:cubicBezTo>
                  <a:pt x="1423" y="617"/>
                  <a:pt x="1423" y="617"/>
                  <a:pt x="1423" y="617"/>
                </a:cubicBezTo>
                <a:cubicBezTo>
                  <a:pt x="1423" y="618"/>
                  <a:pt x="1423" y="618"/>
                  <a:pt x="1423" y="618"/>
                </a:cubicBezTo>
                <a:cubicBezTo>
                  <a:pt x="1420" y="620"/>
                  <a:pt x="1420" y="620"/>
                  <a:pt x="1420" y="620"/>
                </a:cubicBezTo>
                <a:cubicBezTo>
                  <a:pt x="1420" y="622"/>
                  <a:pt x="1420" y="622"/>
                  <a:pt x="1420" y="622"/>
                </a:cubicBezTo>
                <a:cubicBezTo>
                  <a:pt x="1421" y="623"/>
                  <a:pt x="1421" y="623"/>
                  <a:pt x="1421" y="623"/>
                </a:cubicBezTo>
                <a:cubicBezTo>
                  <a:pt x="1423" y="621"/>
                  <a:pt x="1423" y="621"/>
                  <a:pt x="1423" y="621"/>
                </a:cubicBezTo>
                <a:cubicBezTo>
                  <a:pt x="1425" y="621"/>
                  <a:pt x="1425" y="621"/>
                  <a:pt x="1425" y="621"/>
                </a:cubicBezTo>
                <a:cubicBezTo>
                  <a:pt x="1424" y="623"/>
                  <a:pt x="1424" y="623"/>
                  <a:pt x="1424" y="623"/>
                </a:cubicBezTo>
                <a:cubicBezTo>
                  <a:pt x="1425" y="625"/>
                  <a:pt x="1425" y="625"/>
                  <a:pt x="1425" y="625"/>
                </a:cubicBezTo>
                <a:cubicBezTo>
                  <a:pt x="1424" y="628"/>
                  <a:pt x="1424" y="628"/>
                  <a:pt x="1424" y="628"/>
                </a:cubicBezTo>
                <a:cubicBezTo>
                  <a:pt x="1424" y="633"/>
                  <a:pt x="1424" y="633"/>
                  <a:pt x="1424" y="633"/>
                </a:cubicBezTo>
                <a:cubicBezTo>
                  <a:pt x="1423" y="637"/>
                  <a:pt x="1423" y="637"/>
                  <a:pt x="1423" y="637"/>
                </a:cubicBezTo>
                <a:cubicBezTo>
                  <a:pt x="1422" y="638"/>
                  <a:pt x="1422" y="638"/>
                  <a:pt x="1422" y="638"/>
                </a:cubicBezTo>
                <a:cubicBezTo>
                  <a:pt x="1423" y="639"/>
                  <a:pt x="1423" y="639"/>
                  <a:pt x="1423" y="639"/>
                </a:cubicBezTo>
                <a:cubicBezTo>
                  <a:pt x="1426" y="637"/>
                  <a:pt x="1426" y="637"/>
                  <a:pt x="1426" y="637"/>
                </a:cubicBezTo>
                <a:cubicBezTo>
                  <a:pt x="1430" y="638"/>
                  <a:pt x="1430" y="638"/>
                  <a:pt x="1430" y="638"/>
                </a:cubicBezTo>
                <a:cubicBezTo>
                  <a:pt x="1432" y="640"/>
                  <a:pt x="1432" y="640"/>
                  <a:pt x="1432" y="640"/>
                </a:cubicBezTo>
                <a:cubicBezTo>
                  <a:pt x="1435" y="638"/>
                  <a:pt x="1435" y="638"/>
                  <a:pt x="1435" y="638"/>
                </a:cubicBezTo>
                <a:cubicBezTo>
                  <a:pt x="1438" y="638"/>
                  <a:pt x="1438" y="638"/>
                  <a:pt x="1438" y="638"/>
                </a:cubicBezTo>
                <a:cubicBezTo>
                  <a:pt x="1438" y="637"/>
                  <a:pt x="1438" y="637"/>
                  <a:pt x="1438" y="637"/>
                </a:cubicBezTo>
                <a:cubicBezTo>
                  <a:pt x="1438" y="637"/>
                  <a:pt x="1438" y="637"/>
                  <a:pt x="1438" y="637"/>
                </a:cubicBezTo>
                <a:cubicBezTo>
                  <a:pt x="1440" y="637"/>
                  <a:pt x="1440" y="637"/>
                  <a:pt x="1440" y="637"/>
                </a:cubicBezTo>
                <a:cubicBezTo>
                  <a:pt x="1443" y="638"/>
                  <a:pt x="1443" y="638"/>
                  <a:pt x="1443" y="638"/>
                </a:cubicBezTo>
                <a:cubicBezTo>
                  <a:pt x="1447" y="642"/>
                  <a:pt x="1447" y="642"/>
                  <a:pt x="1447" y="642"/>
                </a:cubicBezTo>
                <a:cubicBezTo>
                  <a:pt x="1447" y="642"/>
                  <a:pt x="1447" y="642"/>
                  <a:pt x="1447" y="642"/>
                </a:cubicBezTo>
                <a:cubicBezTo>
                  <a:pt x="1449" y="647"/>
                  <a:pt x="1449" y="647"/>
                  <a:pt x="1449" y="647"/>
                </a:cubicBezTo>
                <a:cubicBezTo>
                  <a:pt x="1452" y="650"/>
                  <a:pt x="1452" y="650"/>
                  <a:pt x="1452" y="650"/>
                </a:cubicBezTo>
                <a:cubicBezTo>
                  <a:pt x="1455" y="651"/>
                  <a:pt x="1455" y="651"/>
                  <a:pt x="1455" y="651"/>
                </a:cubicBezTo>
                <a:cubicBezTo>
                  <a:pt x="1458" y="649"/>
                  <a:pt x="1458" y="649"/>
                  <a:pt x="1458" y="649"/>
                </a:cubicBezTo>
                <a:cubicBezTo>
                  <a:pt x="1458" y="647"/>
                  <a:pt x="1458" y="647"/>
                  <a:pt x="1458" y="647"/>
                </a:cubicBezTo>
                <a:cubicBezTo>
                  <a:pt x="1460" y="646"/>
                  <a:pt x="1460" y="646"/>
                  <a:pt x="1460" y="646"/>
                </a:cubicBezTo>
                <a:cubicBezTo>
                  <a:pt x="1464" y="646"/>
                  <a:pt x="1464" y="646"/>
                  <a:pt x="1464" y="646"/>
                </a:cubicBezTo>
                <a:cubicBezTo>
                  <a:pt x="1467" y="643"/>
                  <a:pt x="1467" y="643"/>
                  <a:pt x="1467" y="643"/>
                </a:cubicBezTo>
                <a:cubicBezTo>
                  <a:pt x="1470" y="642"/>
                  <a:pt x="1470" y="642"/>
                  <a:pt x="1470" y="642"/>
                </a:cubicBezTo>
                <a:cubicBezTo>
                  <a:pt x="1472" y="641"/>
                  <a:pt x="1472" y="641"/>
                  <a:pt x="1472" y="641"/>
                </a:cubicBezTo>
                <a:cubicBezTo>
                  <a:pt x="1476" y="642"/>
                  <a:pt x="1476" y="642"/>
                  <a:pt x="1476" y="642"/>
                </a:cubicBezTo>
                <a:cubicBezTo>
                  <a:pt x="1479" y="643"/>
                  <a:pt x="1479" y="643"/>
                  <a:pt x="1479" y="643"/>
                </a:cubicBezTo>
                <a:cubicBezTo>
                  <a:pt x="1480" y="642"/>
                  <a:pt x="1480" y="642"/>
                  <a:pt x="1480" y="642"/>
                </a:cubicBezTo>
                <a:cubicBezTo>
                  <a:pt x="1481" y="642"/>
                  <a:pt x="1481" y="642"/>
                  <a:pt x="1481" y="642"/>
                </a:cubicBezTo>
                <a:cubicBezTo>
                  <a:pt x="1483" y="643"/>
                  <a:pt x="1483" y="643"/>
                  <a:pt x="1483" y="643"/>
                </a:cubicBezTo>
                <a:cubicBezTo>
                  <a:pt x="1485" y="642"/>
                  <a:pt x="1485" y="642"/>
                  <a:pt x="1485" y="642"/>
                </a:cubicBezTo>
                <a:cubicBezTo>
                  <a:pt x="1486" y="640"/>
                  <a:pt x="1486" y="640"/>
                  <a:pt x="1486" y="640"/>
                </a:cubicBezTo>
                <a:cubicBezTo>
                  <a:pt x="1488" y="642"/>
                  <a:pt x="1488" y="642"/>
                  <a:pt x="1488" y="642"/>
                </a:cubicBezTo>
                <a:cubicBezTo>
                  <a:pt x="1490" y="643"/>
                  <a:pt x="1490" y="643"/>
                  <a:pt x="1490" y="643"/>
                </a:cubicBezTo>
                <a:cubicBezTo>
                  <a:pt x="1492" y="639"/>
                  <a:pt x="1492" y="639"/>
                  <a:pt x="1492" y="639"/>
                </a:cubicBezTo>
                <a:cubicBezTo>
                  <a:pt x="1492" y="637"/>
                  <a:pt x="1492" y="637"/>
                  <a:pt x="1492" y="637"/>
                </a:cubicBezTo>
                <a:cubicBezTo>
                  <a:pt x="1498" y="634"/>
                  <a:pt x="1498" y="634"/>
                  <a:pt x="1498" y="634"/>
                </a:cubicBezTo>
                <a:cubicBezTo>
                  <a:pt x="1502" y="634"/>
                  <a:pt x="1502" y="634"/>
                  <a:pt x="1502" y="634"/>
                </a:cubicBezTo>
                <a:cubicBezTo>
                  <a:pt x="1503" y="633"/>
                  <a:pt x="1503" y="633"/>
                  <a:pt x="1503" y="633"/>
                </a:cubicBezTo>
                <a:cubicBezTo>
                  <a:pt x="1502" y="632"/>
                  <a:pt x="1502" y="632"/>
                  <a:pt x="1502" y="632"/>
                </a:cubicBezTo>
                <a:cubicBezTo>
                  <a:pt x="1502" y="629"/>
                  <a:pt x="1502" y="629"/>
                  <a:pt x="1502" y="629"/>
                </a:cubicBezTo>
                <a:cubicBezTo>
                  <a:pt x="1505" y="624"/>
                  <a:pt x="1505" y="624"/>
                  <a:pt x="1505" y="624"/>
                </a:cubicBezTo>
                <a:cubicBezTo>
                  <a:pt x="1505" y="622"/>
                  <a:pt x="1505" y="622"/>
                  <a:pt x="1505" y="622"/>
                </a:cubicBezTo>
                <a:cubicBezTo>
                  <a:pt x="1509" y="621"/>
                  <a:pt x="1509" y="621"/>
                  <a:pt x="1509" y="621"/>
                </a:cubicBezTo>
                <a:cubicBezTo>
                  <a:pt x="1511" y="619"/>
                  <a:pt x="1511" y="619"/>
                  <a:pt x="1511" y="619"/>
                </a:cubicBezTo>
                <a:cubicBezTo>
                  <a:pt x="1508" y="615"/>
                  <a:pt x="1508" y="615"/>
                  <a:pt x="1508" y="615"/>
                </a:cubicBezTo>
                <a:cubicBezTo>
                  <a:pt x="1507" y="615"/>
                  <a:pt x="1507" y="615"/>
                  <a:pt x="1507" y="615"/>
                </a:cubicBezTo>
                <a:cubicBezTo>
                  <a:pt x="1506" y="613"/>
                  <a:pt x="1506" y="613"/>
                  <a:pt x="1506" y="613"/>
                </a:cubicBezTo>
                <a:cubicBezTo>
                  <a:pt x="1505" y="610"/>
                  <a:pt x="1505" y="610"/>
                  <a:pt x="1505" y="610"/>
                </a:cubicBezTo>
                <a:cubicBezTo>
                  <a:pt x="1506" y="608"/>
                  <a:pt x="1506" y="608"/>
                  <a:pt x="1506" y="608"/>
                </a:cubicBezTo>
                <a:cubicBezTo>
                  <a:pt x="1510" y="602"/>
                  <a:pt x="1510" y="602"/>
                  <a:pt x="1510" y="602"/>
                </a:cubicBezTo>
                <a:cubicBezTo>
                  <a:pt x="1512" y="601"/>
                  <a:pt x="1512" y="601"/>
                  <a:pt x="1512" y="601"/>
                </a:cubicBezTo>
                <a:cubicBezTo>
                  <a:pt x="1515" y="596"/>
                  <a:pt x="1515" y="596"/>
                  <a:pt x="1515" y="596"/>
                </a:cubicBezTo>
                <a:cubicBezTo>
                  <a:pt x="1516" y="596"/>
                  <a:pt x="1516" y="596"/>
                  <a:pt x="1516" y="596"/>
                </a:cubicBezTo>
                <a:cubicBezTo>
                  <a:pt x="1515" y="596"/>
                  <a:pt x="1515" y="596"/>
                  <a:pt x="1515" y="596"/>
                </a:cubicBezTo>
                <a:cubicBezTo>
                  <a:pt x="1516" y="597"/>
                  <a:pt x="1516" y="597"/>
                  <a:pt x="1516" y="597"/>
                </a:cubicBezTo>
                <a:cubicBezTo>
                  <a:pt x="1517" y="596"/>
                  <a:pt x="1517" y="596"/>
                  <a:pt x="1517" y="596"/>
                </a:cubicBezTo>
                <a:cubicBezTo>
                  <a:pt x="1517" y="593"/>
                  <a:pt x="1517" y="593"/>
                  <a:pt x="1517" y="593"/>
                </a:cubicBezTo>
                <a:cubicBezTo>
                  <a:pt x="1516" y="592"/>
                  <a:pt x="1516" y="592"/>
                  <a:pt x="1516" y="592"/>
                </a:cubicBezTo>
                <a:cubicBezTo>
                  <a:pt x="1519" y="591"/>
                  <a:pt x="1519" y="591"/>
                  <a:pt x="1519" y="591"/>
                </a:cubicBezTo>
                <a:cubicBezTo>
                  <a:pt x="1521" y="589"/>
                  <a:pt x="1521" y="589"/>
                  <a:pt x="1521" y="589"/>
                </a:cubicBezTo>
                <a:cubicBezTo>
                  <a:pt x="1525" y="590"/>
                  <a:pt x="1525" y="590"/>
                  <a:pt x="1525" y="590"/>
                </a:cubicBezTo>
                <a:cubicBezTo>
                  <a:pt x="1525" y="590"/>
                  <a:pt x="1528" y="588"/>
                  <a:pt x="1528" y="588"/>
                </a:cubicBezTo>
                <a:cubicBezTo>
                  <a:pt x="1528" y="588"/>
                  <a:pt x="1530" y="586"/>
                  <a:pt x="1530" y="586"/>
                </a:cubicBezTo>
                <a:cubicBezTo>
                  <a:pt x="1534" y="584"/>
                  <a:pt x="1534" y="584"/>
                  <a:pt x="1534" y="584"/>
                </a:cubicBezTo>
                <a:cubicBezTo>
                  <a:pt x="1535" y="582"/>
                  <a:pt x="1535" y="582"/>
                  <a:pt x="1535" y="582"/>
                </a:cubicBezTo>
                <a:cubicBezTo>
                  <a:pt x="1535" y="579"/>
                  <a:pt x="1535" y="579"/>
                  <a:pt x="1535" y="579"/>
                </a:cubicBezTo>
                <a:cubicBezTo>
                  <a:pt x="1535" y="576"/>
                  <a:pt x="1535" y="576"/>
                  <a:pt x="1535" y="576"/>
                </a:cubicBezTo>
                <a:cubicBezTo>
                  <a:pt x="1536" y="575"/>
                  <a:pt x="1536" y="575"/>
                  <a:pt x="1536" y="575"/>
                </a:cubicBezTo>
                <a:cubicBezTo>
                  <a:pt x="1536" y="574"/>
                  <a:pt x="1536" y="574"/>
                  <a:pt x="1536" y="574"/>
                </a:cubicBezTo>
                <a:cubicBezTo>
                  <a:pt x="1536" y="573"/>
                  <a:pt x="1536" y="573"/>
                  <a:pt x="1536" y="573"/>
                </a:cubicBezTo>
                <a:cubicBezTo>
                  <a:pt x="1535" y="570"/>
                  <a:pt x="1535" y="570"/>
                  <a:pt x="1535" y="570"/>
                </a:cubicBezTo>
                <a:cubicBezTo>
                  <a:pt x="1536" y="567"/>
                  <a:pt x="1536" y="567"/>
                  <a:pt x="1536" y="567"/>
                </a:cubicBezTo>
                <a:cubicBezTo>
                  <a:pt x="1536" y="565"/>
                  <a:pt x="1536" y="565"/>
                  <a:pt x="1536" y="565"/>
                </a:cubicBezTo>
                <a:cubicBezTo>
                  <a:pt x="1538" y="563"/>
                  <a:pt x="1538" y="563"/>
                  <a:pt x="1538" y="563"/>
                </a:cubicBezTo>
                <a:cubicBezTo>
                  <a:pt x="1542" y="559"/>
                  <a:pt x="1542" y="559"/>
                  <a:pt x="1542" y="559"/>
                </a:cubicBezTo>
                <a:cubicBezTo>
                  <a:pt x="1543" y="559"/>
                  <a:pt x="1543" y="559"/>
                  <a:pt x="1543" y="559"/>
                </a:cubicBezTo>
                <a:cubicBezTo>
                  <a:pt x="1544" y="560"/>
                  <a:pt x="1544" y="560"/>
                  <a:pt x="1544" y="560"/>
                </a:cubicBezTo>
                <a:cubicBezTo>
                  <a:pt x="1547" y="560"/>
                  <a:pt x="1547" y="560"/>
                  <a:pt x="1547" y="560"/>
                </a:cubicBezTo>
                <a:cubicBezTo>
                  <a:pt x="1549" y="562"/>
                  <a:pt x="1549" y="562"/>
                  <a:pt x="1549" y="562"/>
                </a:cubicBezTo>
                <a:cubicBezTo>
                  <a:pt x="1551" y="562"/>
                  <a:pt x="1551" y="562"/>
                  <a:pt x="1551" y="562"/>
                </a:cubicBezTo>
                <a:cubicBezTo>
                  <a:pt x="1552" y="561"/>
                  <a:pt x="1552" y="561"/>
                  <a:pt x="1552" y="561"/>
                </a:cubicBezTo>
                <a:cubicBezTo>
                  <a:pt x="1554" y="560"/>
                  <a:pt x="1554" y="560"/>
                  <a:pt x="1554" y="560"/>
                </a:cubicBezTo>
                <a:cubicBezTo>
                  <a:pt x="1560" y="564"/>
                  <a:pt x="1560" y="564"/>
                  <a:pt x="1560" y="564"/>
                </a:cubicBezTo>
                <a:cubicBezTo>
                  <a:pt x="1562" y="566"/>
                  <a:pt x="1562" y="566"/>
                  <a:pt x="1562" y="566"/>
                </a:cubicBezTo>
                <a:cubicBezTo>
                  <a:pt x="1566" y="566"/>
                  <a:pt x="1566" y="566"/>
                  <a:pt x="1566" y="566"/>
                </a:cubicBezTo>
                <a:cubicBezTo>
                  <a:pt x="1568" y="564"/>
                  <a:pt x="1568" y="564"/>
                  <a:pt x="1568" y="564"/>
                </a:cubicBezTo>
                <a:cubicBezTo>
                  <a:pt x="1568" y="563"/>
                  <a:pt x="1568" y="563"/>
                  <a:pt x="1568" y="563"/>
                </a:cubicBezTo>
                <a:cubicBezTo>
                  <a:pt x="1569" y="561"/>
                  <a:pt x="1569" y="561"/>
                  <a:pt x="1569" y="561"/>
                </a:cubicBezTo>
                <a:cubicBezTo>
                  <a:pt x="1576" y="556"/>
                  <a:pt x="1576" y="556"/>
                  <a:pt x="1576" y="556"/>
                </a:cubicBezTo>
                <a:cubicBezTo>
                  <a:pt x="1576" y="556"/>
                  <a:pt x="1576" y="556"/>
                  <a:pt x="1576" y="556"/>
                </a:cubicBezTo>
                <a:cubicBezTo>
                  <a:pt x="1581" y="555"/>
                  <a:pt x="1581" y="555"/>
                  <a:pt x="1581" y="555"/>
                </a:cubicBezTo>
                <a:cubicBezTo>
                  <a:pt x="1583" y="553"/>
                  <a:pt x="1583" y="553"/>
                  <a:pt x="1583" y="553"/>
                </a:cubicBezTo>
                <a:cubicBezTo>
                  <a:pt x="1583" y="552"/>
                  <a:pt x="1583" y="552"/>
                  <a:pt x="1583" y="552"/>
                </a:cubicBezTo>
                <a:cubicBezTo>
                  <a:pt x="1588" y="549"/>
                  <a:pt x="1588" y="549"/>
                  <a:pt x="1588" y="549"/>
                </a:cubicBezTo>
                <a:cubicBezTo>
                  <a:pt x="1595" y="550"/>
                  <a:pt x="1595" y="550"/>
                  <a:pt x="1595" y="550"/>
                </a:cubicBezTo>
                <a:cubicBezTo>
                  <a:pt x="1597" y="552"/>
                  <a:pt x="1597" y="552"/>
                  <a:pt x="1597" y="552"/>
                </a:cubicBezTo>
                <a:cubicBezTo>
                  <a:pt x="1600" y="553"/>
                  <a:pt x="1600" y="553"/>
                  <a:pt x="1600" y="553"/>
                </a:cubicBezTo>
                <a:cubicBezTo>
                  <a:pt x="1600" y="554"/>
                  <a:pt x="1600" y="554"/>
                  <a:pt x="1600" y="554"/>
                </a:cubicBezTo>
                <a:cubicBezTo>
                  <a:pt x="1601" y="555"/>
                  <a:pt x="1601" y="555"/>
                  <a:pt x="1601" y="555"/>
                </a:cubicBezTo>
                <a:cubicBezTo>
                  <a:pt x="1602" y="557"/>
                  <a:pt x="1602" y="557"/>
                  <a:pt x="1602" y="557"/>
                </a:cubicBezTo>
                <a:cubicBezTo>
                  <a:pt x="1604" y="560"/>
                  <a:pt x="1604" y="560"/>
                  <a:pt x="1604" y="560"/>
                </a:cubicBezTo>
                <a:cubicBezTo>
                  <a:pt x="1604" y="562"/>
                  <a:pt x="1604" y="562"/>
                  <a:pt x="1604" y="562"/>
                </a:cubicBezTo>
                <a:cubicBezTo>
                  <a:pt x="1605" y="563"/>
                  <a:pt x="1605" y="563"/>
                  <a:pt x="1605" y="563"/>
                </a:cubicBezTo>
                <a:cubicBezTo>
                  <a:pt x="1605" y="565"/>
                  <a:pt x="1605" y="565"/>
                  <a:pt x="1605" y="565"/>
                </a:cubicBezTo>
                <a:cubicBezTo>
                  <a:pt x="1608" y="567"/>
                  <a:pt x="1608" y="567"/>
                  <a:pt x="1608" y="567"/>
                </a:cubicBezTo>
                <a:cubicBezTo>
                  <a:pt x="1609" y="568"/>
                  <a:pt x="1609" y="568"/>
                  <a:pt x="1609" y="568"/>
                </a:cubicBezTo>
                <a:cubicBezTo>
                  <a:pt x="1612" y="571"/>
                  <a:pt x="1612" y="571"/>
                  <a:pt x="1612" y="571"/>
                </a:cubicBezTo>
                <a:cubicBezTo>
                  <a:pt x="1612" y="573"/>
                  <a:pt x="1612" y="573"/>
                  <a:pt x="1612" y="573"/>
                </a:cubicBezTo>
                <a:cubicBezTo>
                  <a:pt x="1615" y="573"/>
                  <a:pt x="1615" y="573"/>
                  <a:pt x="1615" y="573"/>
                </a:cubicBezTo>
                <a:cubicBezTo>
                  <a:pt x="1617" y="575"/>
                  <a:pt x="1617" y="575"/>
                  <a:pt x="1617" y="575"/>
                </a:cubicBezTo>
                <a:cubicBezTo>
                  <a:pt x="1617" y="577"/>
                  <a:pt x="1617" y="577"/>
                  <a:pt x="1617" y="577"/>
                </a:cubicBezTo>
                <a:cubicBezTo>
                  <a:pt x="1619" y="577"/>
                  <a:pt x="1619" y="577"/>
                  <a:pt x="1619" y="577"/>
                </a:cubicBezTo>
                <a:cubicBezTo>
                  <a:pt x="1623" y="583"/>
                  <a:pt x="1623" y="583"/>
                  <a:pt x="1623" y="583"/>
                </a:cubicBezTo>
                <a:cubicBezTo>
                  <a:pt x="1627" y="586"/>
                  <a:pt x="1627" y="586"/>
                  <a:pt x="1627" y="586"/>
                </a:cubicBezTo>
                <a:cubicBezTo>
                  <a:pt x="1629" y="586"/>
                  <a:pt x="1629" y="586"/>
                  <a:pt x="1629" y="586"/>
                </a:cubicBezTo>
                <a:cubicBezTo>
                  <a:pt x="1630" y="587"/>
                  <a:pt x="1630" y="587"/>
                  <a:pt x="1630" y="587"/>
                </a:cubicBezTo>
                <a:cubicBezTo>
                  <a:pt x="1631" y="589"/>
                  <a:pt x="1631" y="589"/>
                  <a:pt x="1631" y="589"/>
                </a:cubicBezTo>
                <a:cubicBezTo>
                  <a:pt x="1633" y="589"/>
                  <a:pt x="1633" y="589"/>
                  <a:pt x="1633" y="589"/>
                </a:cubicBezTo>
                <a:cubicBezTo>
                  <a:pt x="1634" y="588"/>
                  <a:pt x="1634" y="588"/>
                  <a:pt x="1634" y="588"/>
                </a:cubicBezTo>
                <a:cubicBezTo>
                  <a:pt x="1636" y="588"/>
                  <a:pt x="1636" y="588"/>
                  <a:pt x="1636" y="588"/>
                </a:cubicBezTo>
                <a:cubicBezTo>
                  <a:pt x="1638" y="589"/>
                  <a:pt x="1638" y="589"/>
                  <a:pt x="1638" y="589"/>
                </a:cubicBezTo>
                <a:cubicBezTo>
                  <a:pt x="1640" y="593"/>
                  <a:pt x="1640" y="593"/>
                  <a:pt x="1640" y="593"/>
                </a:cubicBezTo>
                <a:cubicBezTo>
                  <a:pt x="1641" y="593"/>
                  <a:pt x="1641" y="593"/>
                  <a:pt x="1641" y="593"/>
                </a:cubicBezTo>
                <a:cubicBezTo>
                  <a:pt x="1643" y="593"/>
                  <a:pt x="1643" y="593"/>
                  <a:pt x="1643" y="593"/>
                </a:cubicBezTo>
                <a:cubicBezTo>
                  <a:pt x="1644" y="594"/>
                  <a:pt x="1644" y="594"/>
                  <a:pt x="1644" y="594"/>
                </a:cubicBezTo>
                <a:cubicBezTo>
                  <a:pt x="1644" y="595"/>
                  <a:pt x="1644" y="595"/>
                  <a:pt x="1644" y="595"/>
                </a:cubicBezTo>
                <a:cubicBezTo>
                  <a:pt x="1646" y="595"/>
                  <a:pt x="1646" y="595"/>
                  <a:pt x="1646" y="595"/>
                </a:cubicBezTo>
                <a:cubicBezTo>
                  <a:pt x="1648" y="595"/>
                  <a:pt x="1648" y="595"/>
                  <a:pt x="1648" y="595"/>
                </a:cubicBezTo>
                <a:cubicBezTo>
                  <a:pt x="1649" y="597"/>
                  <a:pt x="1649" y="597"/>
                  <a:pt x="1649" y="597"/>
                </a:cubicBezTo>
                <a:cubicBezTo>
                  <a:pt x="1649" y="599"/>
                  <a:pt x="1649" y="599"/>
                  <a:pt x="1649" y="599"/>
                </a:cubicBezTo>
                <a:cubicBezTo>
                  <a:pt x="1648" y="600"/>
                  <a:pt x="1648" y="600"/>
                  <a:pt x="1648" y="600"/>
                </a:cubicBezTo>
                <a:cubicBezTo>
                  <a:pt x="1649" y="601"/>
                  <a:pt x="1649" y="601"/>
                  <a:pt x="1649" y="601"/>
                </a:cubicBezTo>
                <a:cubicBezTo>
                  <a:pt x="1651" y="601"/>
                  <a:pt x="1651" y="601"/>
                  <a:pt x="1651" y="601"/>
                </a:cubicBezTo>
                <a:cubicBezTo>
                  <a:pt x="1652" y="602"/>
                  <a:pt x="1652" y="602"/>
                  <a:pt x="1652" y="602"/>
                </a:cubicBezTo>
                <a:cubicBezTo>
                  <a:pt x="1655" y="603"/>
                  <a:pt x="1655" y="603"/>
                  <a:pt x="1655" y="603"/>
                </a:cubicBezTo>
                <a:cubicBezTo>
                  <a:pt x="1656" y="602"/>
                  <a:pt x="1656" y="602"/>
                  <a:pt x="1656" y="602"/>
                </a:cubicBezTo>
                <a:cubicBezTo>
                  <a:pt x="1657" y="603"/>
                  <a:pt x="1657" y="603"/>
                  <a:pt x="1657" y="603"/>
                </a:cubicBezTo>
                <a:cubicBezTo>
                  <a:pt x="1658" y="606"/>
                  <a:pt x="1658" y="606"/>
                  <a:pt x="1658" y="606"/>
                </a:cubicBezTo>
                <a:cubicBezTo>
                  <a:pt x="1659" y="610"/>
                  <a:pt x="1659" y="610"/>
                  <a:pt x="1659" y="610"/>
                </a:cubicBezTo>
                <a:cubicBezTo>
                  <a:pt x="1660" y="611"/>
                  <a:pt x="1660" y="611"/>
                  <a:pt x="1660" y="611"/>
                </a:cubicBezTo>
                <a:cubicBezTo>
                  <a:pt x="1661" y="615"/>
                  <a:pt x="1661" y="615"/>
                  <a:pt x="1661" y="615"/>
                </a:cubicBezTo>
                <a:cubicBezTo>
                  <a:pt x="1662" y="616"/>
                  <a:pt x="1662" y="616"/>
                  <a:pt x="1662" y="616"/>
                </a:cubicBezTo>
                <a:cubicBezTo>
                  <a:pt x="1662" y="618"/>
                  <a:pt x="1662" y="618"/>
                  <a:pt x="1662" y="618"/>
                </a:cubicBezTo>
                <a:cubicBezTo>
                  <a:pt x="1661" y="619"/>
                  <a:pt x="1661" y="619"/>
                  <a:pt x="1661" y="619"/>
                </a:cubicBezTo>
                <a:cubicBezTo>
                  <a:pt x="1660" y="619"/>
                  <a:pt x="1660" y="619"/>
                  <a:pt x="1660" y="619"/>
                </a:cubicBezTo>
                <a:cubicBezTo>
                  <a:pt x="1659" y="620"/>
                  <a:pt x="1659" y="620"/>
                  <a:pt x="1659" y="620"/>
                </a:cubicBezTo>
                <a:cubicBezTo>
                  <a:pt x="1660" y="622"/>
                  <a:pt x="1660" y="622"/>
                  <a:pt x="1660" y="622"/>
                </a:cubicBezTo>
                <a:cubicBezTo>
                  <a:pt x="1659" y="624"/>
                  <a:pt x="1659" y="624"/>
                  <a:pt x="1659" y="624"/>
                </a:cubicBezTo>
                <a:cubicBezTo>
                  <a:pt x="1658" y="625"/>
                  <a:pt x="1658" y="625"/>
                  <a:pt x="1658" y="625"/>
                </a:cubicBezTo>
                <a:cubicBezTo>
                  <a:pt x="1657" y="626"/>
                  <a:pt x="1657" y="626"/>
                  <a:pt x="1657" y="626"/>
                </a:cubicBezTo>
                <a:cubicBezTo>
                  <a:pt x="1656" y="626"/>
                  <a:pt x="1656" y="626"/>
                  <a:pt x="1656" y="626"/>
                </a:cubicBezTo>
                <a:cubicBezTo>
                  <a:pt x="1657" y="628"/>
                  <a:pt x="1657" y="628"/>
                  <a:pt x="1657" y="628"/>
                </a:cubicBezTo>
                <a:cubicBezTo>
                  <a:pt x="1659" y="630"/>
                  <a:pt x="1659" y="630"/>
                  <a:pt x="1659" y="630"/>
                </a:cubicBezTo>
                <a:cubicBezTo>
                  <a:pt x="1662" y="630"/>
                  <a:pt x="1662" y="630"/>
                  <a:pt x="1662" y="630"/>
                </a:cubicBezTo>
                <a:cubicBezTo>
                  <a:pt x="1663" y="628"/>
                  <a:pt x="1663" y="628"/>
                  <a:pt x="1663" y="628"/>
                </a:cubicBezTo>
                <a:cubicBezTo>
                  <a:pt x="1663" y="626"/>
                  <a:pt x="1663" y="626"/>
                  <a:pt x="1663" y="626"/>
                </a:cubicBezTo>
                <a:cubicBezTo>
                  <a:pt x="1666" y="624"/>
                  <a:pt x="1666" y="624"/>
                  <a:pt x="1666" y="624"/>
                </a:cubicBezTo>
                <a:cubicBezTo>
                  <a:pt x="1666" y="619"/>
                  <a:pt x="1666" y="619"/>
                  <a:pt x="1666" y="619"/>
                </a:cubicBezTo>
                <a:cubicBezTo>
                  <a:pt x="1668" y="617"/>
                  <a:pt x="1668" y="617"/>
                  <a:pt x="1668" y="617"/>
                </a:cubicBezTo>
                <a:cubicBezTo>
                  <a:pt x="1670" y="617"/>
                  <a:pt x="1670" y="617"/>
                  <a:pt x="1670" y="617"/>
                </a:cubicBezTo>
                <a:cubicBezTo>
                  <a:pt x="1671" y="615"/>
                  <a:pt x="1671" y="615"/>
                  <a:pt x="1671" y="615"/>
                </a:cubicBezTo>
                <a:cubicBezTo>
                  <a:pt x="1670" y="614"/>
                  <a:pt x="1670" y="614"/>
                  <a:pt x="1670" y="614"/>
                </a:cubicBezTo>
                <a:cubicBezTo>
                  <a:pt x="1670" y="612"/>
                  <a:pt x="1670" y="612"/>
                  <a:pt x="1670" y="612"/>
                </a:cubicBezTo>
                <a:cubicBezTo>
                  <a:pt x="1670" y="611"/>
                  <a:pt x="1670" y="611"/>
                  <a:pt x="1670" y="611"/>
                </a:cubicBezTo>
                <a:cubicBezTo>
                  <a:pt x="1667" y="608"/>
                  <a:pt x="1667" y="608"/>
                  <a:pt x="1667" y="608"/>
                </a:cubicBezTo>
                <a:cubicBezTo>
                  <a:pt x="1665" y="608"/>
                  <a:pt x="1665" y="608"/>
                  <a:pt x="1665" y="608"/>
                </a:cubicBezTo>
                <a:cubicBezTo>
                  <a:pt x="1665" y="607"/>
                  <a:pt x="1665" y="607"/>
                  <a:pt x="1665" y="607"/>
                </a:cubicBezTo>
                <a:cubicBezTo>
                  <a:pt x="1665" y="605"/>
                  <a:pt x="1665" y="605"/>
                  <a:pt x="1665" y="605"/>
                </a:cubicBezTo>
                <a:cubicBezTo>
                  <a:pt x="1666" y="604"/>
                  <a:pt x="1666" y="604"/>
                  <a:pt x="1666" y="604"/>
                </a:cubicBezTo>
                <a:cubicBezTo>
                  <a:pt x="1666" y="603"/>
                  <a:pt x="1666" y="603"/>
                  <a:pt x="1666" y="603"/>
                </a:cubicBezTo>
                <a:cubicBezTo>
                  <a:pt x="1666" y="601"/>
                  <a:pt x="1666" y="601"/>
                  <a:pt x="1666" y="601"/>
                </a:cubicBezTo>
                <a:cubicBezTo>
                  <a:pt x="1668" y="600"/>
                  <a:pt x="1668" y="600"/>
                  <a:pt x="1668" y="600"/>
                </a:cubicBezTo>
                <a:cubicBezTo>
                  <a:pt x="1668" y="598"/>
                  <a:pt x="1668" y="598"/>
                  <a:pt x="1668" y="598"/>
                </a:cubicBezTo>
                <a:cubicBezTo>
                  <a:pt x="1669" y="597"/>
                  <a:pt x="1669" y="597"/>
                  <a:pt x="1669" y="597"/>
                </a:cubicBezTo>
                <a:cubicBezTo>
                  <a:pt x="1671" y="597"/>
                  <a:pt x="1671" y="597"/>
                  <a:pt x="1671" y="597"/>
                </a:cubicBezTo>
                <a:cubicBezTo>
                  <a:pt x="1673" y="598"/>
                  <a:pt x="1673" y="598"/>
                  <a:pt x="1673" y="598"/>
                </a:cubicBezTo>
                <a:cubicBezTo>
                  <a:pt x="1673" y="599"/>
                  <a:pt x="1673" y="599"/>
                  <a:pt x="1673" y="599"/>
                </a:cubicBezTo>
                <a:cubicBezTo>
                  <a:pt x="1676" y="599"/>
                  <a:pt x="1676" y="599"/>
                  <a:pt x="1676" y="599"/>
                </a:cubicBezTo>
                <a:cubicBezTo>
                  <a:pt x="1677" y="600"/>
                  <a:pt x="1677" y="600"/>
                  <a:pt x="1677" y="600"/>
                </a:cubicBezTo>
                <a:cubicBezTo>
                  <a:pt x="1677" y="601"/>
                  <a:pt x="1677" y="601"/>
                  <a:pt x="1677" y="601"/>
                </a:cubicBezTo>
                <a:cubicBezTo>
                  <a:pt x="1678" y="603"/>
                  <a:pt x="1678" y="603"/>
                  <a:pt x="1678" y="603"/>
                </a:cubicBezTo>
                <a:cubicBezTo>
                  <a:pt x="1679" y="605"/>
                  <a:pt x="1679" y="605"/>
                  <a:pt x="1679" y="605"/>
                </a:cubicBezTo>
                <a:cubicBezTo>
                  <a:pt x="1681" y="605"/>
                  <a:pt x="1681" y="605"/>
                  <a:pt x="1681" y="605"/>
                </a:cubicBezTo>
                <a:cubicBezTo>
                  <a:pt x="1681" y="605"/>
                  <a:pt x="1681" y="605"/>
                  <a:pt x="1681" y="605"/>
                </a:cubicBezTo>
                <a:cubicBezTo>
                  <a:pt x="1682" y="604"/>
                  <a:pt x="1682" y="604"/>
                  <a:pt x="1682" y="604"/>
                </a:cubicBezTo>
                <a:cubicBezTo>
                  <a:pt x="1682" y="603"/>
                  <a:pt x="1682" y="603"/>
                  <a:pt x="1682" y="603"/>
                </a:cubicBezTo>
                <a:cubicBezTo>
                  <a:pt x="1682" y="602"/>
                  <a:pt x="1682" y="602"/>
                  <a:pt x="1682" y="602"/>
                </a:cubicBezTo>
                <a:cubicBezTo>
                  <a:pt x="1683" y="599"/>
                  <a:pt x="1683" y="599"/>
                  <a:pt x="1683" y="599"/>
                </a:cubicBezTo>
                <a:cubicBezTo>
                  <a:pt x="1682" y="598"/>
                  <a:pt x="1682" y="598"/>
                  <a:pt x="1682" y="598"/>
                </a:cubicBezTo>
                <a:cubicBezTo>
                  <a:pt x="1680" y="596"/>
                  <a:pt x="1680" y="596"/>
                  <a:pt x="1680" y="596"/>
                </a:cubicBezTo>
                <a:cubicBezTo>
                  <a:pt x="1677" y="596"/>
                  <a:pt x="1677" y="596"/>
                  <a:pt x="1677" y="596"/>
                </a:cubicBezTo>
                <a:cubicBezTo>
                  <a:pt x="1675" y="593"/>
                  <a:pt x="1675" y="593"/>
                  <a:pt x="1675" y="593"/>
                </a:cubicBezTo>
                <a:cubicBezTo>
                  <a:pt x="1672" y="591"/>
                  <a:pt x="1672" y="591"/>
                  <a:pt x="1672" y="591"/>
                </a:cubicBezTo>
                <a:cubicBezTo>
                  <a:pt x="1664" y="587"/>
                  <a:pt x="1664" y="587"/>
                  <a:pt x="1664" y="587"/>
                </a:cubicBezTo>
                <a:cubicBezTo>
                  <a:pt x="1660" y="586"/>
                  <a:pt x="1660" y="586"/>
                  <a:pt x="1660" y="586"/>
                </a:cubicBezTo>
                <a:cubicBezTo>
                  <a:pt x="1658" y="586"/>
                  <a:pt x="1658" y="586"/>
                  <a:pt x="1658" y="586"/>
                </a:cubicBezTo>
                <a:cubicBezTo>
                  <a:pt x="1657" y="584"/>
                  <a:pt x="1657" y="584"/>
                  <a:pt x="1657" y="584"/>
                </a:cubicBezTo>
                <a:cubicBezTo>
                  <a:pt x="1657" y="583"/>
                  <a:pt x="1657" y="583"/>
                  <a:pt x="1657" y="583"/>
                </a:cubicBezTo>
                <a:cubicBezTo>
                  <a:pt x="1660" y="582"/>
                  <a:pt x="1660" y="582"/>
                  <a:pt x="1660" y="582"/>
                </a:cubicBezTo>
                <a:cubicBezTo>
                  <a:pt x="1660" y="580"/>
                  <a:pt x="1660" y="580"/>
                  <a:pt x="1660" y="580"/>
                </a:cubicBezTo>
                <a:cubicBezTo>
                  <a:pt x="1658" y="579"/>
                  <a:pt x="1658" y="579"/>
                  <a:pt x="1658" y="579"/>
                </a:cubicBezTo>
                <a:cubicBezTo>
                  <a:pt x="1656" y="580"/>
                  <a:pt x="1656" y="580"/>
                  <a:pt x="1656" y="580"/>
                </a:cubicBezTo>
                <a:cubicBezTo>
                  <a:pt x="1654" y="579"/>
                  <a:pt x="1654" y="579"/>
                  <a:pt x="1654" y="579"/>
                </a:cubicBezTo>
                <a:cubicBezTo>
                  <a:pt x="1650" y="579"/>
                  <a:pt x="1650" y="579"/>
                  <a:pt x="1650" y="579"/>
                </a:cubicBezTo>
                <a:cubicBezTo>
                  <a:pt x="1649" y="578"/>
                  <a:pt x="1649" y="578"/>
                  <a:pt x="1649" y="578"/>
                </a:cubicBezTo>
                <a:cubicBezTo>
                  <a:pt x="1647" y="578"/>
                  <a:pt x="1647" y="578"/>
                  <a:pt x="1647" y="578"/>
                </a:cubicBezTo>
                <a:cubicBezTo>
                  <a:pt x="1646" y="577"/>
                  <a:pt x="1646" y="577"/>
                  <a:pt x="1646" y="577"/>
                </a:cubicBezTo>
                <a:cubicBezTo>
                  <a:pt x="1643" y="574"/>
                  <a:pt x="1643" y="574"/>
                  <a:pt x="1643" y="574"/>
                </a:cubicBezTo>
                <a:cubicBezTo>
                  <a:pt x="1641" y="572"/>
                  <a:pt x="1641" y="572"/>
                  <a:pt x="1641" y="572"/>
                </a:cubicBezTo>
                <a:cubicBezTo>
                  <a:pt x="1640" y="570"/>
                  <a:pt x="1640" y="570"/>
                  <a:pt x="1640" y="570"/>
                </a:cubicBezTo>
                <a:cubicBezTo>
                  <a:pt x="1638" y="568"/>
                  <a:pt x="1638" y="568"/>
                  <a:pt x="1638" y="568"/>
                </a:cubicBezTo>
                <a:cubicBezTo>
                  <a:pt x="1638" y="566"/>
                  <a:pt x="1638" y="566"/>
                  <a:pt x="1638" y="566"/>
                </a:cubicBezTo>
                <a:cubicBezTo>
                  <a:pt x="1637" y="566"/>
                  <a:pt x="1637" y="566"/>
                  <a:pt x="1637" y="566"/>
                </a:cubicBezTo>
                <a:cubicBezTo>
                  <a:pt x="1637" y="564"/>
                  <a:pt x="1637" y="564"/>
                  <a:pt x="1637" y="564"/>
                </a:cubicBezTo>
                <a:cubicBezTo>
                  <a:pt x="1630" y="557"/>
                  <a:pt x="1630" y="557"/>
                  <a:pt x="1630" y="557"/>
                </a:cubicBezTo>
                <a:cubicBezTo>
                  <a:pt x="1629" y="556"/>
                  <a:pt x="1629" y="556"/>
                  <a:pt x="1629" y="556"/>
                </a:cubicBezTo>
                <a:cubicBezTo>
                  <a:pt x="1627" y="554"/>
                  <a:pt x="1627" y="554"/>
                  <a:pt x="1627" y="554"/>
                </a:cubicBezTo>
                <a:cubicBezTo>
                  <a:pt x="1622" y="552"/>
                  <a:pt x="1622" y="552"/>
                  <a:pt x="1622" y="552"/>
                </a:cubicBezTo>
                <a:cubicBezTo>
                  <a:pt x="1621" y="550"/>
                  <a:pt x="1621" y="550"/>
                  <a:pt x="1621" y="550"/>
                </a:cubicBezTo>
                <a:cubicBezTo>
                  <a:pt x="1621" y="547"/>
                  <a:pt x="1621" y="547"/>
                  <a:pt x="1621" y="547"/>
                </a:cubicBezTo>
                <a:cubicBezTo>
                  <a:pt x="1620" y="545"/>
                  <a:pt x="1620" y="545"/>
                  <a:pt x="1620" y="545"/>
                </a:cubicBezTo>
                <a:cubicBezTo>
                  <a:pt x="1621" y="544"/>
                  <a:pt x="1621" y="544"/>
                  <a:pt x="1621" y="544"/>
                </a:cubicBezTo>
                <a:cubicBezTo>
                  <a:pt x="1622" y="542"/>
                  <a:pt x="1622" y="542"/>
                  <a:pt x="1622" y="542"/>
                </a:cubicBezTo>
                <a:cubicBezTo>
                  <a:pt x="1621" y="540"/>
                  <a:pt x="1621" y="540"/>
                  <a:pt x="1621" y="540"/>
                </a:cubicBezTo>
                <a:cubicBezTo>
                  <a:pt x="1620" y="538"/>
                  <a:pt x="1620" y="538"/>
                  <a:pt x="1620" y="538"/>
                </a:cubicBezTo>
                <a:cubicBezTo>
                  <a:pt x="1621" y="536"/>
                  <a:pt x="1621" y="536"/>
                  <a:pt x="1621" y="536"/>
                </a:cubicBezTo>
                <a:cubicBezTo>
                  <a:pt x="1623" y="536"/>
                  <a:pt x="1623" y="536"/>
                  <a:pt x="1623" y="536"/>
                </a:cubicBezTo>
                <a:cubicBezTo>
                  <a:pt x="1625" y="534"/>
                  <a:pt x="1625" y="534"/>
                  <a:pt x="1625" y="534"/>
                </a:cubicBezTo>
                <a:cubicBezTo>
                  <a:pt x="1627" y="534"/>
                  <a:pt x="1627" y="534"/>
                  <a:pt x="1627" y="534"/>
                </a:cubicBezTo>
                <a:cubicBezTo>
                  <a:pt x="1629" y="533"/>
                  <a:pt x="1629" y="533"/>
                  <a:pt x="1629" y="533"/>
                </a:cubicBezTo>
                <a:cubicBezTo>
                  <a:pt x="1630" y="532"/>
                  <a:pt x="1630" y="532"/>
                  <a:pt x="1630" y="532"/>
                </a:cubicBezTo>
                <a:cubicBezTo>
                  <a:pt x="1632" y="533"/>
                  <a:pt x="1632" y="533"/>
                  <a:pt x="1632" y="533"/>
                </a:cubicBezTo>
                <a:cubicBezTo>
                  <a:pt x="1632" y="533"/>
                  <a:pt x="1632" y="533"/>
                  <a:pt x="1632" y="533"/>
                </a:cubicBezTo>
                <a:cubicBezTo>
                  <a:pt x="1634" y="534"/>
                  <a:pt x="1634" y="534"/>
                  <a:pt x="1634" y="534"/>
                </a:cubicBezTo>
                <a:cubicBezTo>
                  <a:pt x="1634" y="535"/>
                  <a:pt x="1634" y="535"/>
                  <a:pt x="1634" y="535"/>
                </a:cubicBezTo>
                <a:cubicBezTo>
                  <a:pt x="1633" y="536"/>
                  <a:pt x="1633" y="536"/>
                  <a:pt x="1633" y="536"/>
                </a:cubicBezTo>
                <a:cubicBezTo>
                  <a:pt x="1633" y="537"/>
                  <a:pt x="1633" y="537"/>
                  <a:pt x="1633" y="537"/>
                </a:cubicBezTo>
                <a:cubicBezTo>
                  <a:pt x="1633" y="538"/>
                  <a:pt x="1633" y="538"/>
                  <a:pt x="1633" y="538"/>
                </a:cubicBezTo>
                <a:cubicBezTo>
                  <a:pt x="1633" y="542"/>
                  <a:pt x="1633" y="542"/>
                  <a:pt x="1633" y="542"/>
                </a:cubicBezTo>
                <a:cubicBezTo>
                  <a:pt x="1635" y="544"/>
                  <a:pt x="1635" y="544"/>
                  <a:pt x="1635" y="544"/>
                </a:cubicBezTo>
                <a:cubicBezTo>
                  <a:pt x="1635" y="544"/>
                  <a:pt x="1635" y="544"/>
                  <a:pt x="1635" y="544"/>
                </a:cubicBezTo>
                <a:cubicBezTo>
                  <a:pt x="1636" y="545"/>
                  <a:pt x="1636" y="545"/>
                  <a:pt x="1636" y="545"/>
                </a:cubicBezTo>
                <a:cubicBezTo>
                  <a:pt x="1639" y="541"/>
                  <a:pt x="1639" y="541"/>
                  <a:pt x="1639" y="541"/>
                </a:cubicBezTo>
                <a:cubicBezTo>
                  <a:pt x="1639" y="539"/>
                  <a:pt x="1639" y="539"/>
                  <a:pt x="1639" y="539"/>
                </a:cubicBezTo>
                <a:cubicBezTo>
                  <a:pt x="1641" y="537"/>
                  <a:pt x="1641" y="537"/>
                  <a:pt x="1641" y="537"/>
                </a:cubicBezTo>
                <a:cubicBezTo>
                  <a:pt x="1643" y="537"/>
                  <a:pt x="1643" y="537"/>
                  <a:pt x="1643" y="537"/>
                </a:cubicBezTo>
                <a:cubicBezTo>
                  <a:pt x="1643" y="539"/>
                  <a:pt x="1643" y="539"/>
                  <a:pt x="1643" y="539"/>
                </a:cubicBezTo>
                <a:cubicBezTo>
                  <a:pt x="1645" y="541"/>
                  <a:pt x="1645" y="541"/>
                  <a:pt x="1645" y="541"/>
                </a:cubicBezTo>
                <a:cubicBezTo>
                  <a:pt x="1646" y="544"/>
                  <a:pt x="1646" y="544"/>
                  <a:pt x="1646" y="544"/>
                </a:cubicBezTo>
                <a:cubicBezTo>
                  <a:pt x="1648" y="547"/>
                  <a:pt x="1648" y="547"/>
                  <a:pt x="1648" y="547"/>
                </a:cubicBezTo>
                <a:cubicBezTo>
                  <a:pt x="1651" y="550"/>
                  <a:pt x="1651" y="550"/>
                  <a:pt x="1651" y="550"/>
                </a:cubicBezTo>
                <a:cubicBezTo>
                  <a:pt x="1651" y="550"/>
                  <a:pt x="1651" y="550"/>
                  <a:pt x="1651" y="550"/>
                </a:cubicBezTo>
                <a:cubicBezTo>
                  <a:pt x="1653" y="552"/>
                  <a:pt x="1653" y="552"/>
                  <a:pt x="1653" y="552"/>
                </a:cubicBezTo>
                <a:cubicBezTo>
                  <a:pt x="1652" y="551"/>
                  <a:pt x="1652" y="551"/>
                  <a:pt x="1652" y="551"/>
                </a:cubicBezTo>
                <a:cubicBezTo>
                  <a:pt x="1650" y="551"/>
                  <a:pt x="1650" y="551"/>
                  <a:pt x="1650" y="551"/>
                </a:cubicBezTo>
                <a:cubicBezTo>
                  <a:pt x="1649" y="553"/>
                  <a:pt x="1649" y="553"/>
                  <a:pt x="1649" y="553"/>
                </a:cubicBezTo>
                <a:cubicBezTo>
                  <a:pt x="1650" y="555"/>
                  <a:pt x="1650" y="555"/>
                  <a:pt x="1650" y="555"/>
                </a:cubicBezTo>
                <a:cubicBezTo>
                  <a:pt x="1652" y="555"/>
                  <a:pt x="1652" y="555"/>
                  <a:pt x="1652" y="555"/>
                </a:cubicBezTo>
                <a:cubicBezTo>
                  <a:pt x="1654" y="557"/>
                  <a:pt x="1654" y="557"/>
                  <a:pt x="1654" y="557"/>
                </a:cubicBezTo>
                <a:cubicBezTo>
                  <a:pt x="1657" y="558"/>
                  <a:pt x="1657" y="558"/>
                  <a:pt x="1657" y="558"/>
                </a:cubicBezTo>
                <a:cubicBezTo>
                  <a:pt x="1657" y="559"/>
                  <a:pt x="1657" y="559"/>
                  <a:pt x="1657" y="559"/>
                </a:cubicBezTo>
                <a:cubicBezTo>
                  <a:pt x="1659" y="561"/>
                  <a:pt x="1659" y="561"/>
                  <a:pt x="1659" y="561"/>
                </a:cubicBezTo>
                <a:cubicBezTo>
                  <a:pt x="1661" y="560"/>
                  <a:pt x="1661" y="560"/>
                  <a:pt x="1661" y="560"/>
                </a:cubicBezTo>
                <a:cubicBezTo>
                  <a:pt x="1665" y="561"/>
                  <a:pt x="1665" y="561"/>
                  <a:pt x="1665" y="561"/>
                </a:cubicBezTo>
                <a:cubicBezTo>
                  <a:pt x="1668" y="562"/>
                  <a:pt x="1668" y="562"/>
                  <a:pt x="1668" y="562"/>
                </a:cubicBezTo>
                <a:cubicBezTo>
                  <a:pt x="1673" y="567"/>
                  <a:pt x="1673" y="567"/>
                  <a:pt x="1673" y="567"/>
                </a:cubicBezTo>
                <a:cubicBezTo>
                  <a:pt x="1671" y="567"/>
                  <a:pt x="1671" y="567"/>
                  <a:pt x="1671" y="567"/>
                </a:cubicBezTo>
                <a:cubicBezTo>
                  <a:pt x="1669" y="566"/>
                  <a:pt x="1669" y="566"/>
                  <a:pt x="1669" y="566"/>
                </a:cubicBezTo>
                <a:cubicBezTo>
                  <a:pt x="1670" y="567"/>
                  <a:pt x="1670" y="567"/>
                  <a:pt x="1670" y="567"/>
                </a:cubicBezTo>
                <a:cubicBezTo>
                  <a:pt x="1672" y="568"/>
                  <a:pt x="1672" y="568"/>
                  <a:pt x="1672" y="568"/>
                </a:cubicBezTo>
                <a:cubicBezTo>
                  <a:pt x="1674" y="568"/>
                  <a:pt x="1674" y="568"/>
                  <a:pt x="1674" y="568"/>
                </a:cubicBezTo>
                <a:cubicBezTo>
                  <a:pt x="1677" y="569"/>
                  <a:pt x="1677" y="569"/>
                  <a:pt x="1677" y="569"/>
                </a:cubicBezTo>
                <a:cubicBezTo>
                  <a:pt x="1678" y="568"/>
                  <a:pt x="1678" y="568"/>
                  <a:pt x="1678" y="568"/>
                </a:cubicBezTo>
                <a:cubicBezTo>
                  <a:pt x="1681" y="571"/>
                  <a:pt x="1681" y="571"/>
                  <a:pt x="1681" y="571"/>
                </a:cubicBezTo>
                <a:cubicBezTo>
                  <a:pt x="1681" y="572"/>
                  <a:pt x="1681" y="572"/>
                  <a:pt x="1681" y="572"/>
                </a:cubicBezTo>
                <a:cubicBezTo>
                  <a:pt x="1683" y="573"/>
                  <a:pt x="1683" y="573"/>
                  <a:pt x="1683" y="573"/>
                </a:cubicBezTo>
                <a:cubicBezTo>
                  <a:pt x="1687" y="578"/>
                  <a:pt x="1687" y="578"/>
                  <a:pt x="1687" y="578"/>
                </a:cubicBezTo>
                <a:cubicBezTo>
                  <a:pt x="1687" y="579"/>
                  <a:pt x="1687" y="579"/>
                  <a:pt x="1687" y="579"/>
                </a:cubicBezTo>
                <a:cubicBezTo>
                  <a:pt x="1690" y="580"/>
                  <a:pt x="1690" y="580"/>
                  <a:pt x="1690" y="580"/>
                </a:cubicBezTo>
                <a:cubicBezTo>
                  <a:pt x="1693" y="582"/>
                  <a:pt x="1693" y="582"/>
                  <a:pt x="1693" y="582"/>
                </a:cubicBezTo>
                <a:cubicBezTo>
                  <a:pt x="1692" y="583"/>
                  <a:pt x="1692" y="583"/>
                  <a:pt x="1692" y="583"/>
                </a:cubicBezTo>
                <a:cubicBezTo>
                  <a:pt x="1691" y="584"/>
                  <a:pt x="1691" y="584"/>
                  <a:pt x="1691" y="584"/>
                </a:cubicBezTo>
                <a:cubicBezTo>
                  <a:pt x="1690" y="588"/>
                  <a:pt x="1690" y="588"/>
                  <a:pt x="1690" y="588"/>
                </a:cubicBezTo>
                <a:cubicBezTo>
                  <a:pt x="1692" y="591"/>
                  <a:pt x="1692" y="591"/>
                  <a:pt x="1692" y="591"/>
                </a:cubicBezTo>
                <a:cubicBezTo>
                  <a:pt x="1691" y="593"/>
                  <a:pt x="1691" y="593"/>
                  <a:pt x="1691" y="593"/>
                </a:cubicBezTo>
                <a:cubicBezTo>
                  <a:pt x="1691" y="596"/>
                  <a:pt x="1691" y="596"/>
                  <a:pt x="1691" y="596"/>
                </a:cubicBezTo>
                <a:cubicBezTo>
                  <a:pt x="1692" y="598"/>
                  <a:pt x="1692" y="598"/>
                  <a:pt x="1692" y="598"/>
                </a:cubicBezTo>
                <a:cubicBezTo>
                  <a:pt x="1691" y="600"/>
                  <a:pt x="1691" y="600"/>
                  <a:pt x="1691" y="600"/>
                </a:cubicBezTo>
                <a:cubicBezTo>
                  <a:pt x="1692" y="601"/>
                  <a:pt x="1692" y="601"/>
                  <a:pt x="1692" y="601"/>
                </a:cubicBezTo>
                <a:cubicBezTo>
                  <a:pt x="1696" y="601"/>
                  <a:pt x="1696" y="601"/>
                  <a:pt x="1696" y="601"/>
                </a:cubicBezTo>
                <a:cubicBezTo>
                  <a:pt x="1698" y="606"/>
                  <a:pt x="1698" y="606"/>
                  <a:pt x="1698" y="606"/>
                </a:cubicBezTo>
                <a:cubicBezTo>
                  <a:pt x="1699" y="607"/>
                  <a:pt x="1699" y="607"/>
                  <a:pt x="1699" y="607"/>
                </a:cubicBezTo>
                <a:cubicBezTo>
                  <a:pt x="1700" y="608"/>
                  <a:pt x="1700" y="608"/>
                  <a:pt x="1700" y="608"/>
                </a:cubicBezTo>
                <a:cubicBezTo>
                  <a:pt x="1700" y="611"/>
                  <a:pt x="1700" y="611"/>
                  <a:pt x="1700" y="611"/>
                </a:cubicBezTo>
                <a:cubicBezTo>
                  <a:pt x="1703" y="613"/>
                  <a:pt x="1703" y="613"/>
                  <a:pt x="1703" y="613"/>
                </a:cubicBezTo>
                <a:cubicBezTo>
                  <a:pt x="1705" y="616"/>
                  <a:pt x="1705" y="616"/>
                  <a:pt x="1705" y="616"/>
                </a:cubicBezTo>
                <a:cubicBezTo>
                  <a:pt x="1706" y="616"/>
                  <a:pt x="1706" y="616"/>
                  <a:pt x="1706" y="616"/>
                </a:cubicBezTo>
                <a:cubicBezTo>
                  <a:pt x="1706" y="617"/>
                  <a:pt x="1706" y="617"/>
                  <a:pt x="1706" y="617"/>
                </a:cubicBezTo>
                <a:cubicBezTo>
                  <a:pt x="1709" y="621"/>
                  <a:pt x="1709" y="621"/>
                  <a:pt x="1709" y="621"/>
                </a:cubicBezTo>
                <a:cubicBezTo>
                  <a:pt x="1710" y="624"/>
                  <a:pt x="1710" y="624"/>
                  <a:pt x="1710" y="624"/>
                </a:cubicBezTo>
                <a:cubicBezTo>
                  <a:pt x="1711" y="625"/>
                  <a:pt x="1711" y="625"/>
                  <a:pt x="1711" y="625"/>
                </a:cubicBezTo>
                <a:cubicBezTo>
                  <a:pt x="1713" y="623"/>
                  <a:pt x="1713" y="623"/>
                  <a:pt x="1713" y="623"/>
                </a:cubicBezTo>
                <a:cubicBezTo>
                  <a:pt x="1714" y="625"/>
                  <a:pt x="1714" y="625"/>
                  <a:pt x="1714" y="625"/>
                </a:cubicBezTo>
                <a:cubicBezTo>
                  <a:pt x="1717" y="625"/>
                  <a:pt x="1717" y="625"/>
                  <a:pt x="1717" y="625"/>
                </a:cubicBezTo>
                <a:cubicBezTo>
                  <a:pt x="1718" y="623"/>
                  <a:pt x="1718" y="623"/>
                  <a:pt x="1718" y="623"/>
                </a:cubicBezTo>
                <a:cubicBezTo>
                  <a:pt x="1719" y="623"/>
                  <a:pt x="1719" y="623"/>
                  <a:pt x="1719" y="623"/>
                </a:cubicBezTo>
                <a:cubicBezTo>
                  <a:pt x="1722" y="625"/>
                  <a:pt x="1722" y="625"/>
                  <a:pt x="1722" y="625"/>
                </a:cubicBezTo>
                <a:cubicBezTo>
                  <a:pt x="1724" y="624"/>
                  <a:pt x="1724" y="624"/>
                  <a:pt x="1724" y="624"/>
                </a:cubicBezTo>
                <a:cubicBezTo>
                  <a:pt x="1724" y="626"/>
                  <a:pt x="1724" y="626"/>
                  <a:pt x="1724" y="626"/>
                </a:cubicBezTo>
                <a:cubicBezTo>
                  <a:pt x="1725" y="626"/>
                  <a:pt x="1725" y="626"/>
                  <a:pt x="1725" y="626"/>
                </a:cubicBezTo>
                <a:cubicBezTo>
                  <a:pt x="1726" y="626"/>
                  <a:pt x="1726" y="626"/>
                  <a:pt x="1726" y="626"/>
                </a:cubicBezTo>
                <a:cubicBezTo>
                  <a:pt x="1728" y="627"/>
                  <a:pt x="1728" y="627"/>
                  <a:pt x="1728" y="627"/>
                </a:cubicBezTo>
                <a:cubicBezTo>
                  <a:pt x="1727" y="628"/>
                  <a:pt x="1727" y="628"/>
                  <a:pt x="1727" y="628"/>
                </a:cubicBezTo>
                <a:cubicBezTo>
                  <a:pt x="1726" y="629"/>
                  <a:pt x="1726" y="629"/>
                  <a:pt x="1726" y="629"/>
                </a:cubicBezTo>
                <a:cubicBezTo>
                  <a:pt x="1724" y="628"/>
                  <a:pt x="1724" y="628"/>
                  <a:pt x="1724" y="628"/>
                </a:cubicBezTo>
                <a:cubicBezTo>
                  <a:pt x="1722" y="628"/>
                  <a:pt x="1722" y="628"/>
                  <a:pt x="1722" y="628"/>
                </a:cubicBezTo>
                <a:cubicBezTo>
                  <a:pt x="1718" y="625"/>
                  <a:pt x="1718" y="625"/>
                  <a:pt x="1718" y="625"/>
                </a:cubicBezTo>
                <a:cubicBezTo>
                  <a:pt x="1717" y="626"/>
                  <a:pt x="1717" y="626"/>
                  <a:pt x="1717" y="626"/>
                </a:cubicBezTo>
                <a:cubicBezTo>
                  <a:pt x="1715" y="627"/>
                  <a:pt x="1715" y="627"/>
                  <a:pt x="1715" y="627"/>
                </a:cubicBezTo>
                <a:cubicBezTo>
                  <a:pt x="1713" y="626"/>
                  <a:pt x="1713" y="626"/>
                  <a:pt x="1713" y="626"/>
                </a:cubicBezTo>
                <a:cubicBezTo>
                  <a:pt x="1712" y="628"/>
                  <a:pt x="1712" y="628"/>
                  <a:pt x="1712" y="628"/>
                </a:cubicBezTo>
                <a:cubicBezTo>
                  <a:pt x="1711" y="628"/>
                  <a:pt x="1711" y="628"/>
                  <a:pt x="1711" y="628"/>
                </a:cubicBezTo>
                <a:cubicBezTo>
                  <a:pt x="1710" y="630"/>
                  <a:pt x="1710" y="630"/>
                  <a:pt x="1710" y="630"/>
                </a:cubicBezTo>
                <a:cubicBezTo>
                  <a:pt x="1712" y="632"/>
                  <a:pt x="1712" y="632"/>
                  <a:pt x="1712" y="632"/>
                </a:cubicBezTo>
                <a:cubicBezTo>
                  <a:pt x="1714" y="633"/>
                  <a:pt x="1714" y="633"/>
                  <a:pt x="1714" y="633"/>
                </a:cubicBezTo>
                <a:cubicBezTo>
                  <a:pt x="1716" y="635"/>
                  <a:pt x="1716" y="635"/>
                  <a:pt x="1716" y="635"/>
                </a:cubicBezTo>
                <a:cubicBezTo>
                  <a:pt x="1717" y="637"/>
                  <a:pt x="1717" y="637"/>
                  <a:pt x="1717" y="637"/>
                </a:cubicBezTo>
                <a:cubicBezTo>
                  <a:pt x="1716" y="638"/>
                  <a:pt x="1716" y="638"/>
                  <a:pt x="1716" y="638"/>
                </a:cubicBezTo>
                <a:cubicBezTo>
                  <a:pt x="1716" y="639"/>
                  <a:pt x="1716" y="639"/>
                  <a:pt x="1716" y="639"/>
                </a:cubicBezTo>
                <a:cubicBezTo>
                  <a:pt x="1718" y="642"/>
                  <a:pt x="1718" y="642"/>
                  <a:pt x="1718" y="642"/>
                </a:cubicBezTo>
                <a:cubicBezTo>
                  <a:pt x="1719" y="643"/>
                  <a:pt x="1719" y="643"/>
                  <a:pt x="1719" y="643"/>
                </a:cubicBezTo>
                <a:cubicBezTo>
                  <a:pt x="1720" y="642"/>
                  <a:pt x="1720" y="642"/>
                  <a:pt x="1720" y="642"/>
                </a:cubicBezTo>
                <a:cubicBezTo>
                  <a:pt x="1719" y="641"/>
                  <a:pt x="1719" y="641"/>
                  <a:pt x="1719" y="641"/>
                </a:cubicBezTo>
                <a:cubicBezTo>
                  <a:pt x="1720" y="639"/>
                  <a:pt x="1720" y="639"/>
                  <a:pt x="1720" y="639"/>
                </a:cubicBezTo>
                <a:cubicBezTo>
                  <a:pt x="1721" y="641"/>
                  <a:pt x="1721" y="641"/>
                  <a:pt x="1721" y="641"/>
                </a:cubicBezTo>
                <a:cubicBezTo>
                  <a:pt x="1723" y="643"/>
                  <a:pt x="1723" y="643"/>
                  <a:pt x="1723" y="643"/>
                </a:cubicBezTo>
                <a:cubicBezTo>
                  <a:pt x="1724" y="644"/>
                  <a:pt x="1724" y="644"/>
                  <a:pt x="1724" y="644"/>
                </a:cubicBezTo>
                <a:cubicBezTo>
                  <a:pt x="1723" y="646"/>
                  <a:pt x="1723" y="646"/>
                  <a:pt x="1723" y="646"/>
                </a:cubicBezTo>
                <a:cubicBezTo>
                  <a:pt x="1725" y="647"/>
                  <a:pt x="1725" y="647"/>
                  <a:pt x="1725" y="647"/>
                </a:cubicBezTo>
                <a:cubicBezTo>
                  <a:pt x="1725" y="644"/>
                  <a:pt x="1725" y="644"/>
                  <a:pt x="1725" y="644"/>
                </a:cubicBezTo>
                <a:cubicBezTo>
                  <a:pt x="1726" y="642"/>
                  <a:pt x="1726" y="642"/>
                  <a:pt x="1726" y="642"/>
                </a:cubicBezTo>
                <a:cubicBezTo>
                  <a:pt x="1727" y="642"/>
                  <a:pt x="1727" y="642"/>
                  <a:pt x="1727" y="642"/>
                </a:cubicBezTo>
                <a:cubicBezTo>
                  <a:pt x="1728" y="644"/>
                  <a:pt x="1728" y="644"/>
                  <a:pt x="1728" y="644"/>
                </a:cubicBezTo>
                <a:cubicBezTo>
                  <a:pt x="1731" y="646"/>
                  <a:pt x="1731" y="646"/>
                  <a:pt x="1731" y="646"/>
                </a:cubicBezTo>
                <a:cubicBezTo>
                  <a:pt x="1730" y="644"/>
                  <a:pt x="1730" y="644"/>
                  <a:pt x="1730" y="644"/>
                </a:cubicBezTo>
                <a:cubicBezTo>
                  <a:pt x="1730" y="642"/>
                  <a:pt x="1730" y="642"/>
                  <a:pt x="1730" y="642"/>
                </a:cubicBezTo>
                <a:cubicBezTo>
                  <a:pt x="1729" y="640"/>
                  <a:pt x="1729" y="640"/>
                  <a:pt x="1729" y="640"/>
                </a:cubicBezTo>
                <a:cubicBezTo>
                  <a:pt x="1728" y="637"/>
                  <a:pt x="1728" y="637"/>
                  <a:pt x="1728" y="637"/>
                </a:cubicBezTo>
                <a:cubicBezTo>
                  <a:pt x="1726" y="635"/>
                  <a:pt x="1726" y="635"/>
                  <a:pt x="1726" y="635"/>
                </a:cubicBezTo>
                <a:cubicBezTo>
                  <a:pt x="1727" y="634"/>
                  <a:pt x="1727" y="634"/>
                  <a:pt x="1727" y="634"/>
                </a:cubicBezTo>
                <a:cubicBezTo>
                  <a:pt x="1728" y="634"/>
                  <a:pt x="1728" y="634"/>
                  <a:pt x="1728" y="634"/>
                </a:cubicBezTo>
                <a:cubicBezTo>
                  <a:pt x="1730" y="635"/>
                  <a:pt x="1730" y="635"/>
                  <a:pt x="1730" y="635"/>
                </a:cubicBezTo>
                <a:cubicBezTo>
                  <a:pt x="1729" y="636"/>
                  <a:pt x="1729" y="636"/>
                  <a:pt x="1729" y="636"/>
                </a:cubicBezTo>
                <a:cubicBezTo>
                  <a:pt x="1730" y="637"/>
                  <a:pt x="1730" y="637"/>
                  <a:pt x="1730" y="637"/>
                </a:cubicBezTo>
                <a:cubicBezTo>
                  <a:pt x="1731" y="636"/>
                  <a:pt x="1731" y="636"/>
                  <a:pt x="1731" y="636"/>
                </a:cubicBezTo>
                <a:cubicBezTo>
                  <a:pt x="1733" y="636"/>
                  <a:pt x="1733" y="636"/>
                  <a:pt x="1733" y="636"/>
                </a:cubicBezTo>
                <a:cubicBezTo>
                  <a:pt x="1733" y="636"/>
                  <a:pt x="1733" y="636"/>
                  <a:pt x="1733" y="636"/>
                </a:cubicBezTo>
                <a:cubicBezTo>
                  <a:pt x="1733" y="635"/>
                  <a:pt x="1733" y="635"/>
                  <a:pt x="1733" y="635"/>
                </a:cubicBezTo>
                <a:cubicBezTo>
                  <a:pt x="1732" y="634"/>
                  <a:pt x="1732" y="634"/>
                  <a:pt x="1732" y="634"/>
                </a:cubicBezTo>
                <a:cubicBezTo>
                  <a:pt x="1732" y="634"/>
                  <a:pt x="1732" y="634"/>
                  <a:pt x="1732" y="634"/>
                </a:cubicBezTo>
                <a:cubicBezTo>
                  <a:pt x="1730" y="633"/>
                  <a:pt x="1730" y="633"/>
                  <a:pt x="1730" y="633"/>
                </a:cubicBezTo>
                <a:cubicBezTo>
                  <a:pt x="1730" y="632"/>
                  <a:pt x="1730" y="632"/>
                  <a:pt x="1730" y="632"/>
                </a:cubicBezTo>
                <a:cubicBezTo>
                  <a:pt x="1728" y="630"/>
                  <a:pt x="1728" y="630"/>
                  <a:pt x="1728" y="630"/>
                </a:cubicBezTo>
                <a:cubicBezTo>
                  <a:pt x="1730" y="630"/>
                  <a:pt x="1730" y="630"/>
                  <a:pt x="1730" y="630"/>
                </a:cubicBezTo>
                <a:cubicBezTo>
                  <a:pt x="1732" y="630"/>
                  <a:pt x="1732" y="630"/>
                  <a:pt x="1732" y="630"/>
                </a:cubicBezTo>
                <a:cubicBezTo>
                  <a:pt x="1733" y="629"/>
                  <a:pt x="1733" y="629"/>
                  <a:pt x="1733" y="629"/>
                </a:cubicBezTo>
                <a:cubicBezTo>
                  <a:pt x="1736" y="631"/>
                  <a:pt x="1736" y="631"/>
                  <a:pt x="1736" y="631"/>
                </a:cubicBezTo>
                <a:cubicBezTo>
                  <a:pt x="1736" y="631"/>
                  <a:pt x="1736" y="631"/>
                  <a:pt x="1736" y="631"/>
                </a:cubicBezTo>
                <a:cubicBezTo>
                  <a:pt x="1738" y="632"/>
                  <a:pt x="1738" y="632"/>
                  <a:pt x="1738" y="632"/>
                </a:cubicBezTo>
                <a:cubicBezTo>
                  <a:pt x="1738" y="631"/>
                  <a:pt x="1738" y="631"/>
                  <a:pt x="1738" y="631"/>
                </a:cubicBezTo>
                <a:cubicBezTo>
                  <a:pt x="1737" y="628"/>
                  <a:pt x="1737" y="628"/>
                  <a:pt x="1737" y="628"/>
                </a:cubicBezTo>
                <a:cubicBezTo>
                  <a:pt x="1737" y="626"/>
                  <a:pt x="1737" y="626"/>
                  <a:pt x="1737" y="626"/>
                </a:cubicBezTo>
                <a:cubicBezTo>
                  <a:pt x="1736" y="624"/>
                  <a:pt x="1736" y="624"/>
                  <a:pt x="1736" y="624"/>
                </a:cubicBezTo>
                <a:cubicBezTo>
                  <a:pt x="1732" y="622"/>
                  <a:pt x="1732" y="622"/>
                  <a:pt x="1732" y="622"/>
                </a:cubicBezTo>
                <a:cubicBezTo>
                  <a:pt x="1730" y="621"/>
                  <a:pt x="1730" y="621"/>
                  <a:pt x="1730" y="621"/>
                </a:cubicBezTo>
                <a:cubicBezTo>
                  <a:pt x="1730" y="620"/>
                  <a:pt x="1730" y="620"/>
                  <a:pt x="1730" y="620"/>
                </a:cubicBezTo>
                <a:cubicBezTo>
                  <a:pt x="1728" y="620"/>
                  <a:pt x="1728" y="620"/>
                  <a:pt x="1728" y="620"/>
                </a:cubicBezTo>
                <a:cubicBezTo>
                  <a:pt x="1727" y="619"/>
                  <a:pt x="1727" y="619"/>
                  <a:pt x="1727" y="619"/>
                </a:cubicBezTo>
                <a:cubicBezTo>
                  <a:pt x="1725" y="619"/>
                  <a:pt x="1725" y="619"/>
                  <a:pt x="1725" y="619"/>
                </a:cubicBezTo>
                <a:cubicBezTo>
                  <a:pt x="1723" y="617"/>
                  <a:pt x="1723" y="617"/>
                  <a:pt x="1723" y="617"/>
                </a:cubicBezTo>
                <a:cubicBezTo>
                  <a:pt x="1726" y="617"/>
                  <a:pt x="1726" y="617"/>
                  <a:pt x="1726" y="617"/>
                </a:cubicBezTo>
                <a:cubicBezTo>
                  <a:pt x="1727" y="615"/>
                  <a:pt x="1727" y="615"/>
                  <a:pt x="1727" y="615"/>
                </a:cubicBezTo>
                <a:cubicBezTo>
                  <a:pt x="1727" y="614"/>
                  <a:pt x="1727" y="614"/>
                  <a:pt x="1727" y="614"/>
                </a:cubicBezTo>
                <a:cubicBezTo>
                  <a:pt x="1725" y="614"/>
                  <a:pt x="1725" y="614"/>
                  <a:pt x="1725" y="614"/>
                </a:cubicBezTo>
                <a:cubicBezTo>
                  <a:pt x="1726" y="612"/>
                  <a:pt x="1726" y="612"/>
                  <a:pt x="1726" y="612"/>
                </a:cubicBezTo>
                <a:cubicBezTo>
                  <a:pt x="1726" y="611"/>
                  <a:pt x="1726" y="611"/>
                  <a:pt x="1726" y="611"/>
                </a:cubicBezTo>
                <a:cubicBezTo>
                  <a:pt x="1727" y="612"/>
                  <a:pt x="1727" y="612"/>
                  <a:pt x="1727" y="612"/>
                </a:cubicBezTo>
                <a:cubicBezTo>
                  <a:pt x="1729" y="613"/>
                  <a:pt x="1729" y="613"/>
                  <a:pt x="1729" y="613"/>
                </a:cubicBezTo>
                <a:cubicBezTo>
                  <a:pt x="1728" y="614"/>
                  <a:pt x="1728" y="614"/>
                  <a:pt x="1728" y="614"/>
                </a:cubicBezTo>
                <a:cubicBezTo>
                  <a:pt x="1728" y="615"/>
                  <a:pt x="1728" y="615"/>
                  <a:pt x="1728" y="615"/>
                </a:cubicBezTo>
                <a:cubicBezTo>
                  <a:pt x="1729" y="615"/>
                  <a:pt x="1729" y="615"/>
                  <a:pt x="1729" y="615"/>
                </a:cubicBezTo>
                <a:cubicBezTo>
                  <a:pt x="1730" y="612"/>
                  <a:pt x="1730" y="612"/>
                  <a:pt x="1730" y="612"/>
                </a:cubicBezTo>
                <a:cubicBezTo>
                  <a:pt x="1729" y="611"/>
                  <a:pt x="1729" y="611"/>
                  <a:pt x="1729" y="611"/>
                </a:cubicBezTo>
                <a:cubicBezTo>
                  <a:pt x="1726" y="607"/>
                  <a:pt x="1726" y="607"/>
                  <a:pt x="1726" y="607"/>
                </a:cubicBezTo>
                <a:cubicBezTo>
                  <a:pt x="1724" y="606"/>
                  <a:pt x="1724" y="606"/>
                  <a:pt x="1724" y="606"/>
                </a:cubicBezTo>
                <a:cubicBezTo>
                  <a:pt x="1724" y="605"/>
                  <a:pt x="1724" y="605"/>
                  <a:pt x="1724" y="605"/>
                </a:cubicBezTo>
                <a:cubicBezTo>
                  <a:pt x="1722" y="603"/>
                  <a:pt x="1722" y="603"/>
                  <a:pt x="1722" y="603"/>
                </a:cubicBezTo>
                <a:cubicBezTo>
                  <a:pt x="1722" y="602"/>
                  <a:pt x="1722" y="602"/>
                  <a:pt x="1722" y="602"/>
                </a:cubicBezTo>
                <a:cubicBezTo>
                  <a:pt x="1722" y="598"/>
                  <a:pt x="1722" y="598"/>
                  <a:pt x="1722" y="598"/>
                </a:cubicBezTo>
                <a:cubicBezTo>
                  <a:pt x="1723" y="595"/>
                  <a:pt x="1723" y="595"/>
                  <a:pt x="1723" y="595"/>
                </a:cubicBezTo>
                <a:cubicBezTo>
                  <a:pt x="1726" y="595"/>
                  <a:pt x="1726" y="595"/>
                  <a:pt x="1726" y="595"/>
                </a:cubicBezTo>
                <a:cubicBezTo>
                  <a:pt x="1726" y="597"/>
                  <a:pt x="1726" y="597"/>
                  <a:pt x="1726" y="597"/>
                </a:cubicBezTo>
                <a:cubicBezTo>
                  <a:pt x="1725" y="597"/>
                  <a:pt x="1725" y="597"/>
                  <a:pt x="1725" y="597"/>
                </a:cubicBezTo>
                <a:cubicBezTo>
                  <a:pt x="1725" y="598"/>
                  <a:pt x="1725" y="598"/>
                  <a:pt x="1725" y="598"/>
                </a:cubicBezTo>
                <a:cubicBezTo>
                  <a:pt x="1728" y="599"/>
                  <a:pt x="1728" y="599"/>
                  <a:pt x="1728" y="599"/>
                </a:cubicBezTo>
                <a:cubicBezTo>
                  <a:pt x="1729" y="602"/>
                  <a:pt x="1729" y="602"/>
                  <a:pt x="1729" y="602"/>
                </a:cubicBezTo>
                <a:cubicBezTo>
                  <a:pt x="1731" y="603"/>
                  <a:pt x="1731" y="603"/>
                  <a:pt x="1731" y="603"/>
                </a:cubicBezTo>
                <a:cubicBezTo>
                  <a:pt x="1733" y="603"/>
                  <a:pt x="1733" y="603"/>
                  <a:pt x="1733" y="603"/>
                </a:cubicBezTo>
                <a:cubicBezTo>
                  <a:pt x="1731" y="602"/>
                  <a:pt x="1731" y="602"/>
                  <a:pt x="1731" y="602"/>
                </a:cubicBezTo>
                <a:cubicBezTo>
                  <a:pt x="1730" y="601"/>
                  <a:pt x="1730" y="601"/>
                  <a:pt x="1730" y="601"/>
                </a:cubicBezTo>
                <a:cubicBezTo>
                  <a:pt x="1731" y="599"/>
                  <a:pt x="1731" y="599"/>
                  <a:pt x="1731" y="599"/>
                </a:cubicBezTo>
                <a:cubicBezTo>
                  <a:pt x="1733" y="600"/>
                  <a:pt x="1733" y="600"/>
                  <a:pt x="1733" y="600"/>
                </a:cubicBezTo>
                <a:cubicBezTo>
                  <a:pt x="1734" y="602"/>
                  <a:pt x="1734" y="602"/>
                  <a:pt x="1734" y="602"/>
                </a:cubicBezTo>
                <a:cubicBezTo>
                  <a:pt x="1736" y="603"/>
                  <a:pt x="1736" y="603"/>
                  <a:pt x="1736" y="603"/>
                </a:cubicBezTo>
                <a:cubicBezTo>
                  <a:pt x="1737" y="602"/>
                  <a:pt x="1737" y="602"/>
                  <a:pt x="1737" y="602"/>
                </a:cubicBezTo>
                <a:cubicBezTo>
                  <a:pt x="1735" y="600"/>
                  <a:pt x="1735" y="600"/>
                  <a:pt x="1735" y="600"/>
                </a:cubicBezTo>
                <a:cubicBezTo>
                  <a:pt x="1734" y="600"/>
                  <a:pt x="1734" y="600"/>
                  <a:pt x="1734" y="600"/>
                </a:cubicBezTo>
                <a:cubicBezTo>
                  <a:pt x="1734" y="599"/>
                  <a:pt x="1734" y="599"/>
                  <a:pt x="1734" y="599"/>
                </a:cubicBezTo>
                <a:cubicBezTo>
                  <a:pt x="1737" y="599"/>
                  <a:pt x="1737" y="599"/>
                  <a:pt x="1737" y="599"/>
                </a:cubicBezTo>
                <a:cubicBezTo>
                  <a:pt x="1739" y="600"/>
                  <a:pt x="1739" y="600"/>
                  <a:pt x="1739" y="600"/>
                </a:cubicBezTo>
                <a:cubicBezTo>
                  <a:pt x="1739" y="600"/>
                  <a:pt x="1739" y="600"/>
                  <a:pt x="1739" y="600"/>
                </a:cubicBezTo>
                <a:cubicBezTo>
                  <a:pt x="1737" y="598"/>
                  <a:pt x="1737" y="598"/>
                  <a:pt x="1737" y="598"/>
                </a:cubicBezTo>
                <a:cubicBezTo>
                  <a:pt x="1735" y="597"/>
                  <a:pt x="1735" y="597"/>
                  <a:pt x="1735" y="597"/>
                </a:cubicBezTo>
                <a:cubicBezTo>
                  <a:pt x="1733" y="595"/>
                  <a:pt x="1733" y="595"/>
                  <a:pt x="1733" y="595"/>
                </a:cubicBezTo>
                <a:cubicBezTo>
                  <a:pt x="1734" y="594"/>
                  <a:pt x="1734" y="594"/>
                  <a:pt x="1734" y="594"/>
                </a:cubicBezTo>
                <a:cubicBezTo>
                  <a:pt x="1736" y="595"/>
                  <a:pt x="1736" y="595"/>
                  <a:pt x="1736" y="595"/>
                </a:cubicBezTo>
                <a:cubicBezTo>
                  <a:pt x="1738" y="594"/>
                  <a:pt x="1738" y="594"/>
                  <a:pt x="1738" y="594"/>
                </a:cubicBezTo>
                <a:cubicBezTo>
                  <a:pt x="1739" y="591"/>
                  <a:pt x="1739" y="591"/>
                  <a:pt x="1739" y="591"/>
                </a:cubicBezTo>
                <a:cubicBezTo>
                  <a:pt x="1740" y="590"/>
                  <a:pt x="1740" y="590"/>
                  <a:pt x="1740" y="590"/>
                </a:cubicBezTo>
                <a:cubicBezTo>
                  <a:pt x="1742" y="592"/>
                  <a:pt x="1742" y="592"/>
                  <a:pt x="1742" y="592"/>
                </a:cubicBezTo>
                <a:cubicBezTo>
                  <a:pt x="1744" y="592"/>
                  <a:pt x="1744" y="592"/>
                  <a:pt x="1744" y="592"/>
                </a:cubicBezTo>
                <a:cubicBezTo>
                  <a:pt x="1746" y="590"/>
                  <a:pt x="1746" y="590"/>
                  <a:pt x="1746" y="590"/>
                </a:cubicBezTo>
                <a:cubicBezTo>
                  <a:pt x="1746" y="589"/>
                  <a:pt x="1746" y="589"/>
                  <a:pt x="1746" y="589"/>
                </a:cubicBezTo>
                <a:cubicBezTo>
                  <a:pt x="1747" y="589"/>
                  <a:pt x="1747" y="589"/>
                  <a:pt x="1747" y="589"/>
                </a:cubicBezTo>
                <a:cubicBezTo>
                  <a:pt x="1748" y="591"/>
                  <a:pt x="1748" y="591"/>
                  <a:pt x="1748" y="591"/>
                </a:cubicBezTo>
                <a:cubicBezTo>
                  <a:pt x="1752" y="591"/>
                  <a:pt x="1752" y="591"/>
                  <a:pt x="1752" y="591"/>
                </a:cubicBezTo>
                <a:cubicBezTo>
                  <a:pt x="1755" y="592"/>
                  <a:pt x="1755" y="592"/>
                  <a:pt x="1755" y="592"/>
                </a:cubicBezTo>
                <a:cubicBezTo>
                  <a:pt x="1756" y="592"/>
                  <a:pt x="1756" y="592"/>
                  <a:pt x="1756" y="592"/>
                </a:cubicBezTo>
                <a:cubicBezTo>
                  <a:pt x="1756" y="594"/>
                  <a:pt x="1756" y="594"/>
                  <a:pt x="1756" y="594"/>
                </a:cubicBezTo>
                <a:cubicBezTo>
                  <a:pt x="1758" y="595"/>
                  <a:pt x="1758" y="595"/>
                  <a:pt x="1758" y="595"/>
                </a:cubicBezTo>
                <a:cubicBezTo>
                  <a:pt x="1759" y="594"/>
                  <a:pt x="1759" y="594"/>
                  <a:pt x="1759" y="594"/>
                </a:cubicBezTo>
                <a:cubicBezTo>
                  <a:pt x="1760" y="595"/>
                  <a:pt x="1760" y="595"/>
                  <a:pt x="1760" y="595"/>
                </a:cubicBezTo>
                <a:cubicBezTo>
                  <a:pt x="1762" y="594"/>
                  <a:pt x="1762" y="594"/>
                  <a:pt x="1762" y="594"/>
                </a:cubicBezTo>
                <a:cubicBezTo>
                  <a:pt x="1760" y="596"/>
                  <a:pt x="1760" y="596"/>
                  <a:pt x="1760" y="596"/>
                </a:cubicBezTo>
                <a:cubicBezTo>
                  <a:pt x="1759" y="596"/>
                  <a:pt x="1759" y="596"/>
                  <a:pt x="1759" y="596"/>
                </a:cubicBezTo>
                <a:cubicBezTo>
                  <a:pt x="1758" y="599"/>
                  <a:pt x="1758" y="599"/>
                  <a:pt x="1758" y="599"/>
                </a:cubicBezTo>
                <a:cubicBezTo>
                  <a:pt x="1758" y="600"/>
                  <a:pt x="1758" y="600"/>
                  <a:pt x="1758" y="600"/>
                </a:cubicBezTo>
                <a:cubicBezTo>
                  <a:pt x="1763" y="597"/>
                  <a:pt x="1763" y="597"/>
                  <a:pt x="1763" y="597"/>
                </a:cubicBezTo>
                <a:cubicBezTo>
                  <a:pt x="1768" y="594"/>
                  <a:pt x="1768" y="594"/>
                  <a:pt x="1768" y="594"/>
                </a:cubicBezTo>
                <a:cubicBezTo>
                  <a:pt x="1769" y="591"/>
                  <a:pt x="1769" y="591"/>
                  <a:pt x="1769" y="591"/>
                </a:cubicBezTo>
                <a:cubicBezTo>
                  <a:pt x="1771" y="590"/>
                  <a:pt x="1771" y="590"/>
                  <a:pt x="1771" y="590"/>
                </a:cubicBezTo>
                <a:cubicBezTo>
                  <a:pt x="1774" y="590"/>
                  <a:pt x="1774" y="590"/>
                  <a:pt x="1774" y="590"/>
                </a:cubicBezTo>
                <a:cubicBezTo>
                  <a:pt x="1775" y="589"/>
                  <a:pt x="1775" y="589"/>
                  <a:pt x="1775" y="589"/>
                </a:cubicBezTo>
                <a:cubicBezTo>
                  <a:pt x="1778" y="589"/>
                  <a:pt x="1778" y="589"/>
                  <a:pt x="1778" y="589"/>
                </a:cubicBezTo>
                <a:cubicBezTo>
                  <a:pt x="1779" y="590"/>
                  <a:pt x="1779" y="590"/>
                  <a:pt x="1779" y="590"/>
                </a:cubicBezTo>
                <a:cubicBezTo>
                  <a:pt x="1781" y="590"/>
                  <a:pt x="1781" y="590"/>
                  <a:pt x="1781" y="590"/>
                </a:cubicBezTo>
                <a:cubicBezTo>
                  <a:pt x="1783" y="589"/>
                  <a:pt x="1783" y="589"/>
                  <a:pt x="1783" y="589"/>
                </a:cubicBezTo>
                <a:cubicBezTo>
                  <a:pt x="1783" y="587"/>
                  <a:pt x="1783" y="587"/>
                  <a:pt x="1783" y="587"/>
                </a:cubicBezTo>
                <a:cubicBezTo>
                  <a:pt x="1781" y="586"/>
                  <a:pt x="1781" y="586"/>
                  <a:pt x="1781" y="586"/>
                </a:cubicBezTo>
                <a:cubicBezTo>
                  <a:pt x="1779" y="584"/>
                  <a:pt x="1779" y="584"/>
                  <a:pt x="1779" y="584"/>
                </a:cubicBezTo>
                <a:cubicBezTo>
                  <a:pt x="1777" y="584"/>
                  <a:pt x="1777" y="584"/>
                  <a:pt x="1777" y="584"/>
                </a:cubicBezTo>
                <a:cubicBezTo>
                  <a:pt x="1774" y="581"/>
                  <a:pt x="1774" y="581"/>
                  <a:pt x="1774" y="581"/>
                </a:cubicBezTo>
                <a:cubicBezTo>
                  <a:pt x="1773" y="577"/>
                  <a:pt x="1773" y="577"/>
                  <a:pt x="1773" y="577"/>
                </a:cubicBezTo>
                <a:cubicBezTo>
                  <a:pt x="1773" y="577"/>
                  <a:pt x="1773" y="577"/>
                  <a:pt x="1773" y="577"/>
                </a:cubicBezTo>
                <a:cubicBezTo>
                  <a:pt x="1772" y="575"/>
                  <a:pt x="1772" y="575"/>
                  <a:pt x="1772" y="575"/>
                </a:cubicBezTo>
                <a:cubicBezTo>
                  <a:pt x="1770" y="572"/>
                  <a:pt x="1770" y="572"/>
                  <a:pt x="1770" y="572"/>
                </a:cubicBezTo>
                <a:cubicBezTo>
                  <a:pt x="1768" y="572"/>
                  <a:pt x="1768" y="572"/>
                  <a:pt x="1768" y="572"/>
                </a:cubicBezTo>
                <a:cubicBezTo>
                  <a:pt x="1768" y="571"/>
                  <a:pt x="1768" y="571"/>
                  <a:pt x="1768" y="571"/>
                </a:cubicBezTo>
                <a:cubicBezTo>
                  <a:pt x="1771" y="568"/>
                  <a:pt x="1771" y="568"/>
                  <a:pt x="1771" y="568"/>
                </a:cubicBezTo>
                <a:cubicBezTo>
                  <a:pt x="1771" y="566"/>
                  <a:pt x="1771" y="566"/>
                  <a:pt x="1771" y="566"/>
                </a:cubicBezTo>
                <a:cubicBezTo>
                  <a:pt x="1771" y="562"/>
                  <a:pt x="1771" y="562"/>
                  <a:pt x="1771" y="562"/>
                </a:cubicBezTo>
                <a:cubicBezTo>
                  <a:pt x="1774" y="559"/>
                  <a:pt x="1774" y="559"/>
                  <a:pt x="1774" y="559"/>
                </a:cubicBezTo>
                <a:cubicBezTo>
                  <a:pt x="1775" y="560"/>
                  <a:pt x="1775" y="560"/>
                  <a:pt x="1775" y="560"/>
                </a:cubicBezTo>
                <a:cubicBezTo>
                  <a:pt x="1777" y="558"/>
                  <a:pt x="1777" y="558"/>
                  <a:pt x="1777" y="558"/>
                </a:cubicBezTo>
                <a:cubicBezTo>
                  <a:pt x="1777" y="555"/>
                  <a:pt x="1777" y="555"/>
                  <a:pt x="1777" y="555"/>
                </a:cubicBezTo>
                <a:cubicBezTo>
                  <a:pt x="1777" y="554"/>
                  <a:pt x="1777" y="554"/>
                  <a:pt x="1777" y="554"/>
                </a:cubicBezTo>
                <a:cubicBezTo>
                  <a:pt x="1776" y="552"/>
                  <a:pt x="1776" y="552"/>
                  <a:pt x="1776" y="552"/>
                </a:cubicBezTo>
                <a:cubicBezTo>
                  <a:pt x="1777" y="550"/>
                  <a:pt x="1777" y="550"/>
                  <a:pt x="1777" y="550"/>
                </a:cubicBezTo>
                <a:cubicBezTo>
                  <a:pt x="1777" y="547"/>
                  <a:pt x="1777" y="547"/>
                  <a:pt x="1777" y="547"/>
                </a:cubicBezTo>
                <a:cubicBezTo>
                  <a:pt x="1777" y="545"/>
                  <a:pt x="1777" y="545"/>
                  <a:pt x="1777" y="545"/>
                </a:cubicBezTo>
                <a:cubicBezTo>
                  <a:pt x="1778" y="544"/>
                  <a:pt x="1778" y="544"/>
                  <a:pt x="1778" y="544"/>
                </a:cubicBezTo>
                <a:cubicBezTo>
                  <a:pt x="1778" y="542"/>
                  <a:pt x="1778" y="542"/>
                  <a:pt x="1778" y="542"/>
                </a:cubicBezTo>
                <a:cubicBezTo>
                  <a:pt x="1782" y="542"/>
                  <a:pt x="1782" y="542"/>
                  <a:pt x="1782" y="542"/>
                </a:cubicBezTo>
                <a:cubicBezTo>
                  <a:pt x="1784" y="541"/>
                  <a:pt x="1784" y="541"/>
                  <a:pt x="1784" y="541"/>
                </a:cubicBezTo>
                <a:cubicBezTo>
                  <a:pt x="1786" y="539"/>
                  <a:pt x="1786" y="539"/>
                  <a:pt x="1786" y="539"/>
                </a:cubicBezTo>
                <a:cubicBezTo>
                  <a:pt x="1786" y="537"/>
                  <a:pt x="1786" y="537"/>
                  <a:pt x="1786" y="537"/>
                </a:cubicBezTo>
                <a:cubicBezTo>
                  <a:pt x="1784" y="536"/>
                  <a:pt x="1784" y="536"/>
                  <a:pt x="1784" y="536"/>
                </a:cubicBezTo>
                <a:cubicBezTo>
                  <a:pt x="1786" y="535"/>
                  <a:pt x="1786" y="535"/>
                  <a:pt x="1786" y="535"/>
                </a:cubicBezTo>
                <a:cubicBezTo>
                  <a:pt x="1786" y="535"/>
                  <a:pt x="1786" y="535"/>
                  <a:pt x="1786" y="535"/>
                </a:cubicBezTo>
                <a:cubicBezTo>
                  <a:pt x="1786" y="533"/>
                  <a:pt x="1786" y="533"/>
                  <a:pt x="1786" y="533"/>
                </a:cubicBezTo>
                <a:cubicBezTo>
                  <a:pt x="1785" y="532"/>
                  <a:pt x="1785" y="532"/>
                  <a:pt x="1785" y="532"/>
                </a:cubicBezTo>
                <a:cubicBezTo>
                  <a:pt x="1785" y="531"/>
                  <a:pt x="1785" y="531"/>
                  <a:pt x="1785" y="531"/>
                </a:cubicBezTo>
                <a:cubicBezTo>
                  <a:pt x="1785" y="530"/>
                  <a:pt x="1785" y="530"/>
                  <a:pt x="1785" y="530"/>
                </a:cubicBezTo>
                <a:cubicBezTo>
                  <a:pt x="1786" y="531"/>
                  <a:pt x="1786" y="531"/>
                  <a:pt x="1786" y="531"/>
                </a:cubicBezTo>
                <a:cubicBezTo>
                  <a:pt x="1787" y="531"/>
                  <a:pt x="1787" y="531"/>
                  <a:pt x="1787" y="531"/>
                </a:cubicBezTo>
                <a:cubicBezTo>
                  <a:pt x="1791" y="526"/>
                  <a:pt x="1791" y="526"/>
                  <a:pt x="1791" y="526"/>
                </a:cubicBezTo>
                <a:cubicBezTo>
                  <a:pt x="1791" y="525"/>
                  <a:pt x="1791" y="525"/>
                  <a:pt x="1791" y="525"/>
                </a:cubicBezTo>
                <a:cubicBezTo>
                  <a:pt x="1792" y="525"/>
                  <a:pt x="1792" y="525"/>
                  <a:pt x="1792" y="525"/>
                </a:cubicBezTo>
                <a:cubicBezTo>
                  <a:pt x="1794" y="522"/>
                  <a:pt x="1794" y="522"/>
                  <a:pt x="1794" y="522"/>
                </a:cubicBezTo>
                <a:cubicBezTo>
                  <a:pt x="1794" y="520"/>
                  <a:pt x="1794" y="520"/>
                  <a:pt x="1794" y="520"/>
                </a:cubicBezTo>
                <a:cubicBezTo>
                  <a:pt x="1795" y="519"/>
                  <a:pt x="1795" y="519"/>
                  <a:pt x="1795" y="519"/>
                </a:cubicBezTo>
                <a:cubicBezTo>
                  <a:pt x="1798" y="518"/>
                  <a:pt x="1798" y="518"/>
                  <a:pt x="1798" y="518"/>
                </a:cubicBezTo>
                <a:cubicBezTo>
                  <a:pt x="1800" y="516"/>
                  <a:pt x="1800" y="516"/>
                  <a:pt x="1800" y="516"/>
                </a:cubicBezTo>
                <a:cubicBezTo>
                  <a:pt x="1801" y="517"/>
                  <a:pt x="1801" y="517"/>
                  <a:pt x="1801" y="517"/>
                </a:cubicBezTo>
                <a:cubicBezTo>
                  <a:pt x="1801" y="518"/>
                  <a:pt x="1801" y="518"/>
                  <a:pt x="1801" y="518"/>
                </a:cubicBezTo>
                <a:cubicBezTo>
                  <a:pt x="1802" y="518"/>
                  <a:pt x="1802" y="518"/>
                  <a:pt x="1802" y="518"/>
                </a:cubicBezTo>
                <a:cubicBezTo>
                  <a:pt x="1803" y="516"/>
                  <a:pt x="1803" y="516"/>
                  <a:pt x="1803" y="516"/>
                </a:cubicBezTo>
                <a:cubicBezTo>
                  <a:pt x="1804" y="515"/>
                  <a:pt x="1804" y="515"/>
                  <a:pt x="1804" y="515"/>
                </a:cubicBezTo>
                <a:cubicBezTo>
                  <a:pt x="1805" y="516"/>
                  <a:pt x="1805" y="516"/>
                  <a:pt x="1805" y="516"/>
                </a:cubicBezTo>
                <a:cubicBezTo>
                  <a:pt x="1806" y="517"/>
                  <a:pt x="1806" y="517"/>
                  <a:pt x="1806" y="517"/>
                </a:cubicBezTo>
                <a:cubicBezTo>
                  <a:pt x="1808" y="518"/>
                  <a:pt x="1808" y="518"/>
                  <a:pt x="1808" y="518"/>
                </a:cubicBezTo>
                <a:cubicBezTo>
                  <a:pt x="1811" y="517"/>
                  <a:pt x="1811" y="517"/>
                  <a:pt x="1811" y="517"/>
                </a:cubicBezTo>
                <a:cubicBezTo>
                  <a:pt x="1809" y="518"/>
                  <a:pt x="1809" y="518"/>
                  <a:pt x="1809" y="518"/>
                </a:cubicBezTo>
                <a:cubicBezTo>
                  <a:pt x="1807" y="519"/>
                  <a:pt x="1807" y="519"/>
                  <a:pt x="1807" y="519"/>
                </a:cubicBezTo>
                <a:cubicBezTo>
                  <a:pt x="1805" y="518"/>
                  <a:pt x="1805" y="518"/>
                  <a:pt x="1805" y="518"/>
                </a:cubicBezTo>
                <a:cubicBezTo>
                  <a:pt x="1802" y="519"/>
                  <a:pt x="1802" y="519"/>
                  <a:pt x="1802" y="519"/>
                </a:cubicBezTo>
                <a:cubicBezTo>
                  <a:pt x="1800" y="519"/>
                  <a:pt x="1800" y="519"/>
                  <a:pt x="1800" y="519"/>
                </a:cubicBezTo>
                <a:cubicBezTo>
                  <a:pt x="1801" y="520"/>
                  <a:pt x="1801" y="520"/>
                  <a:pt x="1801" y="520"/>
                </a:cubicBezTo>
                <a:cubicBezTo>
                  <a:pt x="1804" y="520"/>
                  <a:pt x="1804" y="520"/>
                  <a:pt x="1804" y="520"/>
                </a:cubicBezTo>
                <a:cubicBezTo>
                  <a:pt x="1807" y="521"/>
                  <a:pt x="1807" y="521"/>
                  <a:pt x="1807" y="521"/>
                </a:cubicBezTo>
                <a:cubicBezTo>
                  <a:pt x="1807" y="522"/>
                  <a:pt x="1807" y="522"/>
                  <a:pt x="1807" y="522"/>
                </a:cubicBezTo>
                <a:cubicBezTo>
                  <a:pt x="1806" y="522"/>
                  <a:pt x="1806" y="522"/>
                  <a:pt x="1806" y="522"/>
                </a:cubicBezTo>
                <a:cubicBezTo>
                  <a:pt x="1807" y="524"/>
                  <a:pt x="1807" y="524"/>
                  <a:pt x="1807" y="524"/>
                </a:cubicBezTo>
                <a:cubicBezTo>
                  <a:pt x="1809" y="524"/>
                  <a:pt x="1809" y="524"/>
                  <a:pt x="1809" y="524"/>
                </a:cubicBezTo>
                <a:cubicBezTo>
                  <a:pt x="1810" y="525"/>
                  <a:pt x="1810" y="525"/>
                  <a:pt x="1810" y="525"/>
                </a:cubicBezTo>
                <a:cubicBezTo>
                  <a:pt x="1812" y="524"/>
                  <a:pt x="1812" y="524"/>
                  <a:pt x="1812" y="524"/>
                </a:cubicBezTo>
                <a:cubicBezTo>
                  <a:pt x="1815" y="523"/>
                  <a:pt x="1815" y="523"/>
                  <a:pt x="1815" y="523"/>
                </a:cubicBezTo>
                <a:cubicBezTo>
                  <a:pt x="1817" y="524"/>
                  <a:pt x="1817" y="524"/>
                  <a:pt x="1817" y="524"/>
                </a:cubicBezTo>
                <a:cubicBezTo>
                  <a:pt x="1819" y="525"/>
                  <a:pt x="1819" y="525"/>
                  <a:pt x="1819" y="525"/>
                </a:cubicBezTo>
                <a:cubicBezTo>
                  <a:pt x="1820" y="524"/>
                  <a:pt x="1820" y="524"/>
                  <a:pt x="1820" y="524"/>
                </a:cubicBezTo>
                <a:cubicBezTo>
                  <a:pt x="1821" y="524"/>
                  <a:pt x="1821" y="524"/>
                  <a:pt x="1821" y="524"/>
                </a:cubicBezTo>
                <a:cubicBezTo>
                  <a:pt x="1821" y="527"/>
                  <a:pt x="1821" y="527"/>
                  <a:pt x="1821" y="527"/>
                </a:cubicBezTo>
                <a:cubicBezTo>
                  <a:pt x="1822" y="528"/>
                  <a:pt x="1822" y="528"/>
                  <a:pt x="1822" y="528"/>
                </a:cubicBezTo>
                <a:cubicBezTo>
                  <a:pt x="1821" y="529"/>
                  <a:pt x="1821" y="529"/>
                  <a:pt x="1821" y="529"/>
                </a:cubicBezTo>
                <a:cubicBezTo>
                  <a:pt x="1818" y="529"/>
                  <a:pt x="1818" y="529"/>
                  <a:pt x="1818" y="529"/>
                </a:cubicBezTo>
                <a:cubicBezTo>
                  <a:pt x="1815" y="531"/>
                  <a:pt x="1815" y="531"/>
                  <a:pt x="1815" y="531"/>
                </a:cubicBezTo>
                <a:cubicBezTo>
                  <a:pt x="1813" y="535"/>
                  <a:pt x="1813" y="535"/>
                  <a:pt x="1813" y="535"/>
                </a:cubicBezTo>
                <a:cubicBezTo>
                  <a:pt x="1814" y="535"/>
                  <a:pt x="1814" y="535"/>
                  <a:pt x="1814" y="535"/>
                </a:cubicBezTo>
                <a:cubicBezTo>
                  <a:pt x="1816" y="534"/>
                  <a:pt x="1816" y="534"/>
                  <a:pt x="1816" y="534"/>
                </a:cubicBezTo>
                <a:cubicBezTo>
                  <a:pt x="1818" y="535"/>
                  <a:pt x="1818" y="535"/>
                  <a:pt x="1818" y="535"/>
                </a:cubicBezTo>
                <a:cubicBezTo>
                  <a:pt x="1819" y="535"/>
                  <a:pt x="1819" y="535"/>
                  <a:pt x="1819" y="535"/>
                </a:cubicBezTo>
                <a:cubicBezTo>
                  <a:pt x="1822" y="538"/>
                  <a:pt x="1822" y="538"/>
                  <a:pt x="1822" y="538"/>
                </a:cubicBezTo>
                <a:cubicBezTo>
                  <a:pt x="1823" y="539"/>
                  <a:pt x="1823" y="539"/>
                  <a:pt x="1823" y="539"/>
                </a:cubicBezTo>
                <a:cubicBezTo>
                  <a:pt x="1821" y="543"/>
                  <a:pt x="1821" y="543"/>
                  <a:pt x="1821" y="543"/>
                </a:cubicBezTo>
                <a:cubicBezTo>
                  <a:pt x="1821" y="543"/>
                  <a:pt x="1821" y="543"/>
                  <a:pt x="1821" y="543"/>
                </a:cubicBezTo>
                <a:cubicBezTo>
                  <a:pt x="1823" y="545"/>
                  <a:pt x="1823" y="545"/>
                  <a:pt x="1823" y="545"/>
                </a:cubicBezTo>
                <a:cubicBezTo>
                  <a:pt x="1826" y="545"/>
                  <a:pt x="1826" y="545"/>
                  <a:pt x="1826" y="545"/>
                </a:cubicBezTo>
                <a:cubicBezTo>
                  <a:pt x="1830" y="543"/>
                  <a:pt x="1830" y="543"/>
                  <a:pt x="1830" y="543"/>
                </a:cubicBezTo>
                <a:cubicBezTo>
                  <a:pt x="1834" y="540"/>
                  <a:pt x="1834" y="540"/>
                  <a:pt x="1834" y="540"/>
                </a:cubicBezTo>
                <a:cubicBezTo>
                  <a:pt x="1838" y="540"/>
                  <a:pt x="1838" y="540"/>
                  <a:pt x="1838" y="540"/>
                </a:cubicBezTo>
                <a:cubicBezTo>
                  <a:pt x="1839" y="538"/>
                  <a:pt x="1839" y="538"/>
                  <a:pt x="1839" y="538"/>
                </a:cubicBezTo>
                <a:cubicBezTo>
                  <a:pt x="1842" y="536"/>
                  <a:pt x="1842" y="536"/>
                  <a:pt x="1842" y="536"/>
                </a:cubicBezTo>
                <a:cubicBezTo>
                  <a:pt x="1846" y="537"/>
                  <a:pt x="1846" y="537"/>
                  <a:pt x="1846" y="537"/>
                </a:cubicBezTo>
                <a:cubicBezTo>
                  <a:pt x="1849" y="537"/>
                  <a:pt x="1849" y="537"/>
                  <a:pt x="1849" y="537"/>
                </a:cubicBezTo>
                <a:cubicBezTo>
                  <a:pt x="1850" y="535"/>
                  <a:pt x="1850" y="535"/>
                  <a:pt x="1850" y="535"/>
                </a:cubicBezTo>
                <a:cubicBezTo>
                  <a:pt x="1849" y="533"/>
                  <a:pt x="1849" y="533"/>
                  <a:pt x="1849" y="533"/>
                </a:cubicBezTo>
                <a:cubicBezTo>
                  <a:pt x="1850" y="532"/>
                  <a:pt x="1850" y="532"/>
                  <a:pt x="1850" y="532"/>
                </a:cubicBezTo>
                <a:cubicBezTo>
                  <a:pt x="1851" y="531"/>
                  <a:pt x="1851" y="531"/>
                  <a:pt x="1851" y="531"/>
                </a:cubicBezTo>
                <a:cubicBezTo>
                  <a:pt x="1849" y="531"/>
                  <a:pt x="1849" y="531"/>
                  <a:pt x="1849" y="531"/>
                </a:cubicBezTo>
                <a:cubicBezTo>
                  <a:pt x="1845" y="531"/>
                  <a:pt x="1845" y="531"/>
                  <a:pt x="1845" y="531"/>
                </a:cubicBezTo>
                <a:cubicBezTo>
                  <a:pt x="1845" y="533"/>
                  <a:pt x="1845" y="533"/>
                  <a:pt x="1845" y="533"/>
                </a:cubicBezTo>
                <a:cubicBezTo>
                  <a:pt x="1843" y="532"/>
                  <a:pt x="1843" y="532"/>
                  <a:pt x="1843" y="532"/>
                </a:cubicBezTo>
                <a:cubicBezTo>
                  <a:pt x="1841" y="532"/>
                  <a:pt x="1841" y="532"/>
                  <a:pt x="1841" y="532"/>
                </a:cubicBezTo>
                <a:cubicBezTo>
                  <a:pt x="1840" y="534"/>
                  <a:pt x="1840" y="534"/>
                  <a:pt x="1840" y="534"/>
                </a:cubicBezTo>
                <a:cubicBezTo>
                  <a:pt x="1839" y="534"/>
                  <a:pt x="1839" y="534"/>
                  <a:pt x="1839" y="534"/>
                </a:cubicBezTo>
                <a:cubicBezTo>
                  <a:pt x="1834" y="528"/>
                  <a:pt x="1834" y="528"/>
                  <a:pt x="1834" y="528"/>
                </a:cubicBezTo>
                <a:cubicBezTo>
                  <a:pt x="1833" y="526"/>
                  <a:pt x="1833" y="526"/>
                  <a:pt x="1833" y="526"/>
                </a:cubicBezTo>
                <a:cubicBezTo>
                  <a:pt x="1831" y="523"/>
                  <a:pt x="1831" y="523"/>
                  <a:pt x="1831" y="523"/>
                </a:cubicBezTo>
                <a:cubicBezTo>
                  <a:pt x="1831" y="524"/>
                  <a:pt x="1831" y="524"/>
                  <a:pt x="1831" y="524"/>
                </a:cubicBezTo>
                <a:cubicBezTo>
                  <a:pt x="1832" y="527"/>
                  <a:pt x="1832" y="527"/>
                  <a:pt x="1832" y="527"/>
                </a:cubicBezTo>
                <a:cubicBezTo>
                  <a:pt x="1835" y="531"/>
                  <a:pt x="1835" y="531"/>
                  <a:pt x="1835" y="531"/>
                </a:cubicBezTo>
                <a:cubicBezTo>
                  <a:pt x="1839" y="534"/>
                  <a:pt x="1839" y="534"/>
                  <a:pt x="1839" y="534"/>
                </a:cubicBezTo>
                <a:cubicBezTo>
                  <a:pt x="1838" y="535"/>
                  <a:pt x="1838" y="535"/>
                  <a:pt x="1838" y="535"/>
                </a:cubicBezTo>
                <a:cubicBezTo>
                  <a:pt x="1835" y="534"/>
                  <a:pt x="1835" y="534"/>
                  <a:pt x="1835" y="534"/>
                </a:cubicBezTo>
                <a:cubicBezTo>
                  <a:pt x="1834" y="533"/>
                  <a:pt x="1834" y="533"/>
                  <a:pt x="1834" y="533"/>
                </a:cubicBezTo>
                <a:cubicBezTo>
                  <a:pt x="1834" y="530"/>
                  <a:pt x="1834" y="530"/>
                  <a:pt x="1834" y="530"/>
                </a:cubicBezTo>
                <a:cubicBezTo>
                  <a:pt x="1833" y="530"/>
                  <a:pt x="1833" y="530"/>
                  <a:pt x="1833" y="530"/>
                </a:cubicBezTo>
                <a:cubicBezTo>
                  <a:pt x="1831" y="531"/>
                  <a:pt x="1831" y="531"/>
                  <a:pt x="1831" y="531"/>
                </a:cubicBezTo>
                <a:cubicBezTo>
                  <a:pt x="1832" y="529"/>
                  <a:pt x="1832" y="529"/>
                  <a:pt x="1832" y="529"/>
                </a:cubicBezTo>
                <a:cubicBezTo>
                  <a:pt x="1831" y="529"/>
                  <a:pt x="1831" y="529"/>
                  <a:pt x="1831" y="529"/>
                </a:cubicBezTo>
                <a:cubicBezTo>
                  <a:pt x="1830" y="530"/>
                  <a:pt x="1830" y="530"/>
                  <a:pt x="1830" y="530"/>
                </a:cubicBezTo>
                <a:cubicBezTo>
                  <a:pt x="1830" y="529"/>
                  <a:pt x="1830" y="529"/>
                  <a:pt x="1830" y="529"/>
                </a:cubicBezTo>
                <a:cubicBezTo>
                  <a:pt x="1831" y="528"/>
                  <a:pt x="1831" y="528"/>
                  <a:pt x="1831" y="528"/>
                </a:cubicBezTo>
                <a:cubicBezTo>
                  <a:pt x="1830" y="527"/>
                  <a:pt x="1830" y="527"/>
                  <a:pt x="1830" y="527"/>
                </a:cubicBezTo>
                <a:cubicBezTo>
                  <a:pt x="1829" y="527"/>
                  <a:pt x="1829" y="527"/>
                  <a:pt x="1829" y="527"/>
                </a:cubicBezTo>
                <a:cubicBezTo>
                  <a:pt x="1828" y="526"/>
                  <a:pt x="1828" y="526"/>
                  <a:pt x="1828" y="526"/>
                </a:cubicBezTo>
                <a:cubicBezTo>
                  <a:pt x="1826" y="525"/>
                  <a:pt x="1826" y="525"/>
                  <a:pt x="1826" y="525"/>
                </a:cubicBezTo>
                <a:cubicBezTo>
                  <a:pt x="1823" y="525"/>
                  <a:pt x="1823" y="525"/>
                  <a:pt x="1823" y="525"/>
                </a:cubicBezTo>
                <a:cubicBezTo>
                  <a:pt x="1822" y="524"/>
                  <a:pt x="1822" y="524"/>
                  <a:pt x="1822" y="524"/>
                </a:cubicBezTo>
                <a:cubicBezTo>
                  <a:pt x="1822" y="524"/>
                  <a:pt x="1822" y="524"/>
                  <a:pt x="1822" y="524"/>
                </a:cubicBezTo>
                <a:cubicBezTo>
                  <a:pt x="1824" y="524"/>
                  <a:pt x="1824" y="524"/>
                  <a:pt x="1824" y="524"/>
                </a:cubicBezTo>
                <a:cubicBezTo>
                  <a:pt x="1826" y="523"/>
                  <a:pt x="1826" y="523"/>
                  <a:pt x="1826" y="523"/>
                </a:cubicBezTo>
                <a:cubicBezTo>
                  <a:pt x="1827" y="524"/>
                  <a:pt x="1827" y="524"/>
                  <a:pt x="1827" y="524"/>
                </a:cubicBezTo>
                <a:cubicBezTo>
                  <a:pt x="1829" y="524"/>
                  <a:pt x="1829" y="524"/>
                  <a:pt x="1829" y="524"/>
                </a:cubicBezTo>
                <a:cubicBezTo>
                  <a:pt x="1830" y="523"/>
                  <a:pt x="1830" y="523"/>
                  <a:pt x="1830" y="523"/>
                </a:cubicBezTo>
                <a:cubicBezTo>
                  <a:pt x="1831" y="522"/>
                  <a:pt x="1831" y="522"/>
                  <a:pt x="1831" y="522"/>
                </a:cubicBezTo>
                <a:cubicBezTo>
                  <a:pt x="1834" y="519"/>
                  <a:pt x="1834" y="519"/>
                  <a:pt x="1834" y="519"/>
                </a:cubicBezTo>
                <a:cubicBezTo>
                  <a:pt x="1835" y="518"/>
                  <a:pt x="1835" y="518"/>
                  <a:pt x="1835" y="518"/>
                </a:cubicBezTo>
                <a:cubicBezTo>
                  <a:pt x="1836" y="519"/>
                  <a:pt x="1836" y="519"/>
                  <a:pt x="1836" y="519"/>
                </a:cubicBezTo>
                <a:cubicBezTo>
                  <a:pt x="1836" y="519"/>
                  <a:pt x="1836" y="519"/>
                  <a:pt x="1836" y="519"/>
                </a:cubicBezTo>
                <a:cubicBezTo>
                  <a:pt x="1834" y="522"/>
                  <a:pt x="1834" y="522"/>
                  <a:pt x="1834" y="522"/>
                </a:cubicBezTo>
                <a:cubicBezTo>
                  <a:pt x="1833" y="522"/>
                  <a:pt x="1833" y="522"/>
                  <a:pt x="1833" y="522"/>
                </a:cubicBezTo>
                <a:cubicBezTo>
                  <a:pt x="1834" y="523"/>
                  <a:pt x="1834" y="523"/>
                  <a:pt x="1834" y="523"/>
                </a:cubicBezTo>
                <a:cubicBezTo>
                  <a:pt x="1835" y="523"/>
                  <a:pt x="1835" y="523"/>
                  <a:pt x="1835" y="523"/>
                </a:cubicBezTo>
                <a:cubicBezTo>
                  <a:pt x="1837" y="519"/>
                  <a:pt x="1837" y="519"/>
                  <a:pt x="1837" y="519"/>
                </a:cubicBezTo>
                <a:cubicBezTo>
                  <a:pt x="1838" y="518"/>
                  <a:pt x="1838" y="518"/>
                  <a:pt x="1838" y="518"/>
                </a:cubicBezTo>
                <a:cubicBezTo>
                  <a:pt x="1837" y="517"/>
                  <a:pt x="1837" y="517"/>
                  <a:pt x="1837" y="517"/>
                </a:cubicBezTo>
                <a:cubicBezTo>
                  <a:pt x="1836" y="515"/>
                  <a:pt x="1836" y="515"/>
                  <a:pt x="1836" y="515"/>
                </a:cubicBezTo>
                <a:cubicBezTo>
                  <a:pt x="1837" y="515"/>
                  <a:pt x="1837" y="515"/>
                  <a:pt x="1837" y="515"/>
                </a:cubicBezTo>
                <a:cubicBezTo>
                  <a:pt x="1838" y="518"/>
                  <a:pt x="1838" y="518"/>
                  <a:pt x="1838" y="518"/>
                </a:cubicBezTo>
                <a:cubicBezTo>
                  <a:pt x="1840" y="518"/>
                  <a:pt x="1840" y="518"/>
                  <a:pt x="1840" y="518"/>
                </a:cubicBezTo>
                <a:cubicBezTo>
                  <a:pt x="1842" y="517"/>
                  <a:pt x="1842" y="517"/>
                  <a:pt x="1842" y="517"/>
                </a:cubicBezTo>
                <a:cubicBezTo>
                  <a:pt x="1844" y="517"/>
                  <a:pt x="1844" y="517"/>
                  <a:pt x="1844" y="517"/>
                </a:cubicBezTo>
                <a:cubicBezTo>
                  <a:pt x="1846" y="516"/>
                  <a:pt x="1846" y="516"/>
                  <a:pt x="1846" y="516"/>
                </a:cubicBezTo>
                <a:cubicBezTo>
                  <a:pt x="1848" y="516"/>
                  <a:pt x="1848" y="516"/>
                  <a:pt x="1848" y="516"/>
                </a:cubicBezTo>
                <a:cubicBezTo>
                  <a:pt x="1849" y="516"/>
                  <a:pt x="1849" y="516"/>
                  <a:pt x="1849" y="516"/>
                </a:cubicBezTo>
                <a:cubicBezTo>
                  <a:pt x="1851" y="514"/>
                  <a:pt x="1851" y="514"/>
                  <a:pt x="1851" y="514"/>
                </a:cubicBezTo>
                <a:cubicBezTo>
                  <a:pt x="1852" y="512"/>
                  <a:pt x="1852" y="512"/>
                  <a:pt x="1852" y="512"/>
                </a:cubicBezTo>
                <a:cubicBezTo>
                  <a:pt x="1854" y="512"/>
                  <a:pt x="1854" y="512"/>
                  <a:pt x="1854" y="512"/>
                </a:cubicBezTo>
                <a:cubicBezTo>
                  <a:pt x="1855" y="510"/>
                  <a:pt x="1855" y="510"/>
                  <a:pt x="1855" y="510"/>
                </a:cubicBezTo>
                <a:cubicBezTo>
                  <a:pt x="1856" y="509"/>
                  <a:pt x="1856" y="509"/>
                  <a:pt x="1856" y="509"/>
                </a:cubicBezTo>
                <a:cubicBezTo>
                  <a:pt x="1859" y="509"/>
                  <a:pt x="1859" y="509"/>
                  <a:pt x="1859" y="509"/>
                </a:cubicBezTo>
                <a:cubicBezTo>
                  <a:pt x="1861" y="508"/>
                  <a:pt x="1861" y="508"/>
                  <a:pt x="1861" y="508"/>
                </a:cubicBezTo>
                <a:cubicBezTo>
                  <a:pt x="1862" y="508"/>
                  <a:pt x="1862" y="508"/>
                  <a:pt x="1862" y="508"/>
                </a:cubicBezTo>
                <a:cubicBezTo>
                  <a:pt x="1863" y="510"/>
                  <a:pt x="1863" y="510"/>
                  <a:pt x="1863" y="510"/>
                </a:cubicBezTo>
                <a:cubicBezTo>
                  <a:pt x="1865" y="509"/>
                  <a:pt x="1865" y="509"/>
                  <a:pt x="1865" y="509"/>
                </a:cubicBezTo>
                <a:cubicBezTo>
                  <a:pt x="1865" y="504"/>
                  <a:pt x="1865" y="504"/>
                  <a:pt x="1865" y="504"/>
                </a:cubicBezTo>
                <a:cubicBezTo>
                  <a:pt x="1865" y="509"/>
                  <a:pt x="1865" y="509"/>
                  <a:pt x="1865" y="509"/>
                </a:cubicBezTo>
                <a:cubicBezTo>
                  <a:pt x="1865" y="509"/>
                  <a:pt x="1865" y="509"/>
                  <a:pt x="1865" y="509"/>
                </a:cubicBezTo>
                <a:cubicBezTo>
                  <a:pt x="1865" y="509"/>
                  <a:pt x="1865" y="509"/>
                  <a:pt x="1865" y="509"/>
                </a:cubicBezTo>
                <a:cubicBezTo>
                  <a:pt x="1867" y="509"/>
                  <a:pt x="1867" y="509"/>
                  <a:pt x="1867" y="509"/>
                </a:cubicBezTo>
                <a:cubicBezTo>
                  <a:pt x="1869" y="507"/>
                  <a:pt x="1869" y="507"/>
                  <a:pt x="1869" y="507"/>
                </a:cubicBezTo>
                <a:cubicBezTo>
                  <a:pt x="1872" y="507"/>
                  <a:pt x="1872" y="507"/>
                  <a:pt x="1872" y="507"/>
                </a:cubicBezTo>
                <a:cubicBezTo>
                  <a:pt x="1873" y="508"/>
                  <a:pt x="1873" y="508"/>
                  <a:pt x="1873" y="508"/>
                </a:cubicBezTo>
                <a:cubicBezTo>
                  <a:pt x="1872" y="510"/>
                  <a:pt x="1872" y="510"/>
                  <a:pt x="1872" y="510"/>
                </a:cubicBezTo>
                <a:cubicBezTo>
                  <a:pt x="1867" y="513"/>
                  <a:pt x="1867" y="513"/>
                  <a:pt x="1867" y="513"/>
                </a:cubicBezTo>
                <a:cubicBezTo>
                  <a:pt x="1865" y="514"/>
                  <a:pt x="1865" y="514"/>
                  <a:pt x="1865" y="514"/>
                </a:cubicBezTo>
                <a:cubicBezTo>
                  <a:pt x="1866" y="515"/>
                  <a:pt x="1866" y="515"/>
                  <a:pt x="1866" y="515"/>
                </a:cubicBezTo>
                <a:cubicBezTo>
                  <a:pt x="1867" y="515"/>
                  <a:pt x="1867" y="515"/>
                  <a:pt x="1867" y="515"/>
                </a:cubicBezTo>
                <a:cubicBezTo>
                  <a:pt x="1866" y="517"/>
                  <a:pt x="1866" y="517"/>
                  <a:pt x="1866" y="517"/>
                </a:cubicBezTo>
                <a:cubicBezTo>
                  <a:pt x="1863" y="516"/>
                  <a:pt x="1863" y="516"/>
                  <a:pt x="1863" y="516"/>
                </a:cubicBezTo>
                <a:cubicBezTo>
                  <a:pt x="1860" y="517"/>
                  <a:pt x="1860" y="517"/>
                  <a:pt x="1860" y="517"/>
                </a:cubicBezTo>
                <a:cubicBezTo>
                  <a:pt x="1861" y="519"/>
                  <a:pt x="1861" y="519"/>
                  <a:pt x="1861" y="519"/>
                </a:cubicBezTo>
                <a:cubicBezTo>
                  <a:pt x="1863" y="521"/>
                  <a:pt x="1863" y="521"/>
                  <a:pt x="1863" y="521"/>
                </a:cubicBezTo>
                <a:cubicBezTo>
                  <a:pt x="1864" y="520"/>
                  <a:pt x="1864" y="520"/>
                  <a:pt x="1864" y="520"/>
                </a:cubicBezTo>
                <a:cubicBezTo>
                  <a:pt x="1864" y="521"/>
                  <a:pt x="1864" y="521"/>
                  <a:pt x="1864" y="521"/>
                </a:cubicBezTo>
                <a:cubicBezTo>
                  <a:pt x="1866" y="522"/>
                  <a:pt x="1866" y="522"/>
                  <a:pt x="1866" y="522"/>
                </a:cubicBezTo>
                <a:cubicBezTo>
                  <a:pt x="1866" y="523"/>
                  <a:pt x="1866" y="523"/>
                  <a:pt x="1866" y="523"/>
                </a:cubicBezTo>
                <a:cubicBezTo>
                  <a:pt x="1865" y="523"/>
                  <a:pt x="1865" y="523"/>
                  <a:pt x="1865" y="523"/>
                </a:cubicBezTo>
                <a:cubicBezTo>
                  <a:pt x="1864" y="524"/>
                  <a:pt x="1864" y="524"/>
                  <a:pt x="1864" y="524"/>
                </a:cubicBezTo>
                <a:cubicBezTo>
                  <a:pt x="1863" y="524"/>
                  <a:pt x="1863" y="524"/>
                  <a:pt x="1863" y="524"/>
                </a:cubicBezTo>
                <a:cubicBezTo>
                  <a:pt x="1862" y="525"/>
                  <a:pt x="1862" y="525"/>
                  <a:pt x="1862" y="525"/>
                </a:cubicBezTo>
                <a:cubicBezTo>
                  <a:pt x="1862" y="525"/>
                  <a:pt x="1862" y="525"/>
                  <a:pt x="1862" y="525"/>
                </a:cubicBezTo>
                <a:cubicBezTo>
                  <a:pt x="1860" y="528"/>
                  <a:pt x="1860" y="528"/>
                  <a:pt x="1860" y="528"/>
                </a:cubicBezTo>
                <a:cubicBezTo>
                  <a:pt x="1860" y="530"/>
                  <a:pt x="1860" y="530"/>
                  <a:pt x="1860" y="530"/>
                </a:cubicBezTo>
                <a:cubicBezTo>
                  <a:pt x="1861" y="530"/>
                  <a:pt x="1861" y="530"/>
                  <a:pt x="1861" y="530"/>
                </a:cubicBezTo>
                <a:cubicBezTo>
                  <a:pt x="1860" y="533"/>
                  <a:pt x="1860" y="533"/>
                  <a:pt x="1860" y="533"/>
                </a:cubicBezTo>
                <a:cubicBezTo>
                  <a:pt x="1858" y="533"/>
                  <a:pt x="1858" y="533"/>
                  <a:pt x="1858" y="533"/>
                </a:cubicBezTo>
                <a:cubicBezTo>
                  <a:pt x="1858" y="533"/>
                  <a:pt x="1858" y="533"/>
                  <a:pt x="1858" y="533"/>
                </a:cubicBezTo>
                <a:cubicBezTo>
                  <a:pt x="1856" y="532"/>
                  <a:pt x="1856" y="532"/>
                  <a:pt x="1856" y="532"/>
                </a:cubicBezTo>
                <a:cubicBezTo>
                  <a:pt x="1854" y="531"/>
                  <a:pt x="1854" y="531"/>
                  <a:pt x="1854" y="531"/>
                </a:cubicBezTo>
                <a:cubicBezTo>
                  <a:pt x="1854" y="532"/>
                  <a:pt x="1854" y="532"/>
                  <a:pt x="1854" y="532"/>
                </a:cubicBezTo>
                <a:cubicBezTo>
                  <a:pt x="1855" y="534"/>
                  <a:pt x="1855" y="534"/>
                  <a:pt x="1855" y="534"/>
                </a:cubicBezTo>
                <a:cubicBezTo>
                  <a:pt x="1853" y="534"/>
                  <a:pt x="1853" y="534"/>
                  <a:pt x="1853" y="534"/>
                </a:cubicBezTo>
                <a:cubicBezTo>
                  <a:pt x="1852" y="536"/>
                  <a:pt x="1852" y="536"/>
                  <a:pt x="1852" y="536"/>
                </a:cubicBezTo>
                <a:cubicBezTo>
                  <a:pt x="1854" y="536"/>
                  <a:pt x="1854" y="536"/>
                  <a:pt x="1854" y="536"/>
                </a:cubicBezTo>
                <a:cubicBezTo>
                  <a:pt x="1855" y="536"/>
                  <a:pt x="1855" y="536"/>
                  <a:pt x="1855" y="536"/>
                </a:cubicBezTo>
                <a:cubicBezTo>
                  <a:pt x="1858" y="538"/>
                  <a:pt x="1858" y="538"/>
                  <a:pt x="1858" y="538"/>
                </a:cubicBezTo>
                <a:cubicBezTo>
                  <a:pt x="1858" y="540"/>
                  <a:pt x="1858" y="540"/>
                  <a:pt x="1858" y="540"/>
                </a:cubicBezTo>
                <a:cubicBezTo>
                  <a:pt x="1860" y="542"/>
                  <a:pt x="1860" y="542"/>
                  <a:pt x="1860" y="542"/>
                </a:cubicBezTo>
                <a:cubicBezTo>
                  <a:pt x="1864" y="542"/>
                  <a:pt x="1864" y="542"/>
                  <a:pt x="1864" y="542"/>
                </a:cubicBezTo>
                <a:cubicBezTo>
                  <a:pt x="1868" y="544"/>
                  <a:pt x="1868" y="544"/>
                  <a:pt x="1868" y="544"/>
                </a:cubicBezTo>
                <a:cubicBezTo>
                  <a:pt x="1871" y="545"/>
                  <a:pt x="1871" y="545"/>
                  <a:pt x="1871" y="545"/>
                </a:cubicBezTo>
                <a:cubicBezTo>
                  <a:pt x="1877" y="549"/>
                  <a:pt x="1877" y="549"/>
                  <a:pt x="1877" y="549"/>
                </a:cubicBezTo>
                <a:cubicBezTo>
                  <a:pt x="1879" y="552"/>
                  <a:pt x="1879" y="552"/>
                  <a:pt x="1879" y="552"/>
                </a:cubicBezTo>
                <a:cubicBezTo>
                  <a:pt x="1880" y="553"/>
                  <a:pt x="1880" y="553"/>
                  <a:pt x="1880" y="553"/>
                </a:cubicBezTo>
                <a:cubicBezTo>
                  <a:pt x="1881" y="554"/>
                  <a:pt x="1881" y="554"/>
                  <a:pt x="1881" y="554"/>
                </a:cubicBezTo>
                <a:cubicBezTo>
                  <a:pt x="1883" y="555"/>
                  <a:pt x="1883" y="555"/>
                  <a:pt x="1883" y="555"/>
                </a:cubicBezTo>
                <a:cubicBezTo>
                  <a:pt x="1884" y="555"/>
                  <a:pt x="1884" y="555"/>
                  <a:pt x="1884" y="555"/>
                </a:cubicBezTo>
                <a:cubicBezTo>
                  <a:pt x="1885" y="557"/>
                  <a:pt x="1885" y="557"/>
                  <a:pt x="1885" y="557"/>
                </a:cubicBezTo>
                <a:cubicBezTo>
                  <a:pt x="1887" y="557"/>
                  <a:pt x="1887" y="557"/>
                  <a:pt x="1887" y="557"/>
                </a:cubicBezTo>
                <a:cubicBezTo>
                  <a:pt x="1888" y="557"/>
                  <a:pt x="1888" y="557"/>
                  <a:pt x="1888" y="557"/>
                </a:cubicBezTo>
                <a:cubicBezTo>
                  <a:pt x="1889" y="560"/>
                  <a:pt x="1889" y="560"/>
                  <a:pt x="1889" y="560"/>
                </a:cubicBezTo>
                <a:cubicBezTo>
                  <a:pt x="1891" y="560"/>
                  <a:pt x="1891" y="560"/>
                  <a:pt x="1891" y="560"/>
                </a:cubicBezTo>
                <a:cubicBezTo>
                  <a:pt x="1892" y="561"/>
                  <a:pt x="1892" y="561"/>
                  <a:pt x="1892" y="561"/>
                </a:cubicBezTo>
                <a:cubicBezTo>
                  <a:pt x="1893" y="560"/>
                  <a:pt x="1893" y="560"/>
                  <a:pt x="1893" y="560"/>
                </a:cubicBezTo>
                <a:cubicBezTo>
                  <a:pt x="1896" y="562"/>
                  <a:pt x="1896" y="562"/>
                  <a:pt x="1896" y="562"/>
                </a:cubicBezTo>
                <a:cubicBezTo>
                  <a:pt x="1896" y="563"/>
                  <a:pt x="1896" y="563"/>
                  <a:pt x="1896" y="563"/>
                </a:cubicBezTo>
                <a:cubicBezTo>
                  <a:pt x="1899" y="564"/>
                  <a:pt x="1899" y="564"/>
                  <a:pt x="1899" y="564"/>
                </a:cubicBezTo>
                <a:cubicBezTo>
                  <a:pt x="1901" y="567"/>
                  <a:pt x="1901" y="567"/>
                  <a:pt x="1901" y="567"/>
                </a:cubicBezTo>
                <a:cubicBezTo>
                  <a:pt x="1902" y="569"/>
                  <a:pt x="1902" y="569"/>
                  <a:pt x="1902" y="569"/>
                </a:cubicBezTo>
                <a:cubicBezTo>
                  <a:pt x="1903" y="573"/>
                  <a:pt x="1903" y="573"/>
                  <a:pt x="1903" y="573"/>
                </a:cubicBezTo>
                <a:cubicBezTo>
                  <a:pt x="1904" y="576"/>
                  <a:pt x="1904" y="576"/>
                  <a:pt x="1904" y="576"/>
                </a:cubicBezTo>
                <a:cubicBezTo>
                  <a:pt x="1904" y="577"/>
                  <a:pt x="1904" y="577"/>
                  <a:pt x="1904" y="577"/>
                </a:cubicBezTo>
                <a:cubicBezTo>
                  <a:pt x="1904" y="579"/>
                  <a:pt x="1904" y="579"/>
                  <a:pt x="1904" y="579"/>
                </a:cubicBezTo>
                <a:cubicBezTo>
                  <a:pt x="1904" y="579"/>
                  <a:pt x="1904" y="579"/>
                  <a:pt x="1904" y="579"/>
                </a:cubicBezTo>
                <a:cubicBezTo>
                  <a:pt x="1904" y="579"/>
                  <a:pt x="1904" y="579"/>
                  <a:pt x="1904" y="579"/>
                </a:cubicBezTo>
                <a:cubicBezTo>
                  <a:pt x="1903" y="580"/>
                  <a:pt x="1903" y="580"/>
                  <a:pt x="1903" y="580"/>
                </a:cubicBezTo>
                <a:cubicBezTo>
                  <a:pt x="1902" y="583"/>
                  <a:pt x="1902" y="583"/>
                  <a:pt x="1902" y="583"/>
                </a:cubicBezTo>
                <a:cubicBezTo>
                  <a:pt x="1900" y="584"/>
                  <a:pt x="1900" y="584"/>
                  <a:pt x="1900" y="584"/>
                </a:cubicBezTo>
                <a:cubicBezTo>
                  <a:pt x="1896" y="586"/>
                  <a:pt x="1896" y="586"/>
                  <a:pt x="1896" y="586"/>
                </a:cubicBezTo>
                <a:cubicBezTo>
                  <a:pt x="1896" y="587"/>
                  <a:pt x="1896" y="587"/>
                  <a:pt x="1896" y="587"/>
                </a:cubicBezTo>
                <a:cubicBezTo>
                  <a:pt x="1892" y="588"/>
                  <a:pt x="1892" y="588"/>
                  <a:pt x="1892" y="588"/>
                </a:cubicBezTo>
                <a:cubicBezTo>
                  <a:pt x="1891" y="589"/>
                  <a:pt x="1891" y="589"/>
                  <a:pt x="1891" y="589"/>
                </a:cubicBezTo>
                <a:cubicBezTo>
                  <a:pt x="1887" y="588"/>
                  <a:pt x="1887" y="588"/>
                  <a:pt x="1887" y="588"/>
                </a:cubicBezTo>
                <a:cubicBezTo>
                  <a:pt x="1886" y="587"/>
                  <a:pt x="1886" y="587"/>
                  <a:pt x="1886" y="587"/>
                </a:cubicBezTo>
                <a:cubicBezTo>
                  <a:pt x="1884" y="587"/>
                  <a:pt x="1884" y="587"/>
                  <a:pt x="1884" y="587"/>
                </a:cubicBezTo>
                <a:cubicBezTo>
                  <a:pt x="1884" y="587"/>
                  <a:pt x="1884" y="587"/>
                  <a:pt x="1884" y="587"/>
                </a:cubicBezTo>
                <a:cubicBezTo>
                  <a:pt x="1882" y="587"/>
                  <a:pt x="1882" y="587"/>
                  <a:pt x="1882" y="587"/>
                </a:cubicBezTo>
                <a:cubicBezTo>
                  <a:pt x="1878" y="587"/>
                  <a:pt x="1878" y="587"/>
                  <a:pt x="1878" y="587"/>
                </a:cubicBezTo>
                <a:cubicBezTo>
                  <a:pt x="1874" y="589"/>
                  <a:pt x="1874" y="589"/>
                  <a:pt x="1874" y="589"/>
                </a:cubicBezTo>
                <a:cubicBezTo>
                  <a:pt x="1870" y="588"/>
                  <a:pt x="1870" y="588"/>
                  <a:pt x="1870" y="588"/>
                </a:cubicBezTo>
                <a:cubicBezTo>
                  <a:pt x="1868" y="587"/>
                  <a:pt x="1868" y="587"/>
                  <a:pt x="1868" y="587"/>
                </a:cubicBezTo>
                <a:cubicBezTo>
                  <a:pt x="1867" y="588"/>
                  <a:pt x="1867" y="588"/>
                  <a:pt x="1867" y="588"/>
                </a:cubicBezTo>
                <a:cubicBezTo>
                  <a:pt x="1863" y="586"/>
                  <a:pt x="1863" y="586"/>
                  <a:pt x="1863" y="586"/>
                </a:cubicBezTo>
                <a:cubicBezTo>
                  <a:pt x="1861" y="586"/>
                  <a:pt x="1861" y="586"/>
                  <a:pt x="1861" y="586"/>
                </a:cubicBezTo>
                <a:cubicBezTo>
                  <a:pt x="1857" y="583"/>
                  <a:pt x="1857" y="583"/>
                  <a:pt x="1857" y="583"/>
                </a:cubicBezTo>
                <a:cubicBezTo>
                  <a:pt x="1856" y="583"/>
                  <a:pt x="1856" y="583"/>
                  <a:pt x="1856" y="583"/>
                </a:cubicBezTo>
                <a:cubicBezTo>
                  <a:pt x="1855" y="584"/>
                  <a:pt x="1855" y="584"/>
                  <a:pt x="1855" y="584"/>
                </a:cubicBezTo>
                <a:cubicBezTo>
                  <a:pt x="1854" y="584"/>
                  <a:pt x="1854" y="584"/>
                  <a:pt x="1854" y="584"/>
                </a:cubicBezTo>
                <a:cubicBezTo>
                  <a:pt x="1852" y="582"/>
                  <a:pt x="1852" y="582"/>
                  <a:pt x="1852" y="582"/>
                </a:cubicBezTo>
                <a:cubicBezTo>
                  <a:pt x="1852" y="579"/>
                  <a:pt x="1852" y="579"/>
                  <a:pt x="1852" y="579"/>
                </a:cubicBezTo>
                <a:cubicBezTo>
                  <a:pt x="1850" y="578"/>
                  <a:pt x="1850" y="578"/>
                  <a:pt x="1850" y="578"/>
                </a:cubicBezTo>
                <a:cubicBezTo>
                  <a:pt x="1849" y="578"/>
                  <a:pt x="1849" y="578"/>
                  <a:pt x="1849" y="578"/>
                </a:cubicBezTo>
                <a:cubicBezTo>
                  <a:pt x="1846" y="581"/>
                  <a:pt x="1846" y="581"/>
                  <a:pt x="1846" y="581"/>
                </a:cubicBezTo>
                <a:cubicBezTo>
                  <a:pt x="1846" y="580"/>
                  <a:pt x="1846" y="580"/>
                  <a:pt x="1846" y="580"/>
                </a:cubicBezTo>
                <a:cubicBezTo>
                  <a:pt x="1845" y="581"/>
                  <a:pt x="1845" y="581"/>
                  <a:pt x="1845" y="581"/>
                </a:cubicBezTo>
                <a:cubicBezTo>
                  <a:pt x="1841" y="577"/>
                  <a:pt x="1841" y="577"/>
                  <a:pt x="1841" y="577"/>
                </a:cubicBezTo>
                <a:cubicBezTo>
                  <a:pt x="1841" y="575"/>
                  <a:pt x="1841" y="575"/>
                  <a:pt x="1841" y="575"/>
                </a:cubicBezTo>
                <a:cubicBezTo>
                  <a:pt x="1840" y="575"/>
                  <a:pt x="1840" y="575"/>
                  <a:pt x="1840" y="575"/>
                </a:cubicBezTo>
                <a:cubicBezTo>
                  <a:pt x="1838" y="576"/>
                  <a:pt x="1838" y="576"/>
                  <a:pt x="1838" y="576"/>
                </a:cubicBezTo>
                <a:cubicBezTo>
                  <a:pt x="1834" y="576"/>
                  <a:pt x="1834" y="576"/>
                  <a:pt x="1834" y="576"/>
                </a:cubicBezTo>
                <a:cubicBezTo>
                  <a:pt x="1833" y="576"/>
                  <a:pt x="1833" y="576"/>
                  <a:pt x="1833" y="576"/>
                </a:cubicBezTo>
                <a:cubicBezTo>
                  <a:pt x="1831" y="576"/>
                  <a:pt x="1831" y="576"/>
                  <a:pt x="1831" y="576"/>
                </a:cubicBezTo>
                <a:cubicBezTo>
                  <a:pt x="1826" y="576"/>
                  <a:pt x="1826" y="576"/>
                  <a:pt x="1826" y="576"/>
                </a:cubicBezTo>
                <a:cubicBezTo>
                  <a:pt x="1823" y="577"/>
                  <a:pt x="1823" y="577"/>
                  <a:pt x="1823" y="577"/>
                </a:cubicBezTo>
                <a:cubicBezTo>
                  <a:pt x="1819" y="579"/>
                  <a:pt x="1819" y="579"/>
                  <a:pt x="1819" y="579"/>
                </a:cubicBezTo>
                <a:cubicBezTo>
                  <a:pt x="1817" y="579"/>
                  <a:pt x="1817" y="579"/>
                  <a:pt x="1817" y="579"/>
                </a:cubicBezTo>
                <a:cubicBezTo>
                  <a:pt x="1813" y="580"/>
                  <a:pt x="1813" y="580"/>
                  <a:pt x="1813" y="580"/>
                </a:cubicBezTo>
                <a:cubicBezTo>
                  <a:pt x="1812" y="581"/>
                  <a:pt x="1812" y="581"/>
                  <a:pt x="1812" y="581"/>
                </a:cubicBezTo>
                <a:cubicBezTo>
                  <a:pt x="1810" y="582"/>
                  <a:pt x="1810" y="582"/>
                  <a:pt x="1810" y="582"/>
                </a:cubicBezTo>
                <a:cubicBezTo>
                  <a:pt x="1808" y="583"/>
                  <a:pt x="1808" y="583"/>
                  <a:pt x="1808" y="583"/>
                </a:cubicBezTo>
                <a:cubicBezTo>
                  <a:pt x="1807" y="584"/>
                  <a:pt x="1807" y="584"/>
                  <a:pt x="1807" y="584"/>
                </a:cubicBezTo>
                <a:cubicBezTo>
                  <a:pt x="1806" y="586"/>
                  <a:pt x="1806" y="586"/>
                  <a:pt x="1806" y="586"/>
                </a:cubicBezTo>
                <a:cubicBezTo>
                  <a:pt x="1806" y="587"/>
                  <a:pt x="1806" y="587"/>
                  <a:pt x="1806" y="587"/>
                </a:cubicBezTo>
                <a:cubicBezTo>
                  <a:pt x="1806" y="588"/>
                  <a:pt x="1806" y="588"/>
                  <a:pt x="1806" y="588"/>
                </a:cubicBezTo>
                <a:cubicBezTo>
                  <a:pt x="1802" y="588"/>
                  <a:pt x="1802" y="588"/>
                  <a:pt x="1802" y="588"/>
                </a:cubicBezTo>
                <a:cubicBezTo>
                  <a:pt x="1797" y="586"/>
                  <a:pt x="1797" y="586"/>
                  <a:pt x="1797" y="586"/>
                </a:cubicBezTo>
                <a:cubicBezTo>
                  <a:pt x="1795" y="586"/>
                  <a:pt x="1795" y="586"/>
                  <a:pt x="1795" y="586"/>
                </a:cubicBezTo>
                <a:cubicBezTo>
                  <a:pt x="1794" y="587"/>
                  <a:pt x="1794" y="587"/>
                  <a:pt x="1794" y="587"/>
                </a:cubicBezTo>
                <a:cubicBezTo>
                  <a:pt x="1792" y="587"/>
                  <a:pt x="1792" y="587"/>
                  <a:pt x="1792" y="587"/>
                </a:cubicBezTo>
                <a:cubicBezTo>
                  <a:pt x="1789" y="587"/>
                  <a:pt x="1789" y="587"/>
                  <a:pt x="1789" y="587"/>
                </a:cubicBezTo>
                <a:cubicBezTo>
                  <a:pt x="1787" y="587"/>
                  <a:pt x="1787" y="587"/>
                  <a:pt x="1787" y="587"/>
                </a:cubicBezTo>
                <a:cubicBezTo>
                  <a:pt x="1784" y="588"/>
                  <a:pt x="1784" y="588"/>
                  <a:pt x="1784" y="588"/>
                </a:cubicBezTo>
                <a:cubicBezTo>
                  <a:pt x="1784" y="589"/>
                  <a:pt x="1784" y="589"/>
                  <a:pt x="1784" y="589"/>
                </a:cubicBezTo>
                <a:cubicBezTo>
                  <a:pt x="1786" y="592"/>
                  <a:pt x="1786" y="592"/>
                  <a:pt x="1786" y="592"/>
                </a:cubicBezTo>
                <a:cubicBezTo>
                  <a:pt x="1789" y="592"/>
                  <a:pt x="1789" y="592"/>
                  <a:pt x="1789" y="592"/>
                </a:cubicBezTo>
                <a:cubicBezTo>
                  <a:pt x="1791" y="593"/>
                  <a:pt x="1791" y="593"/>
                  <a:pt x="1791" y="593"/>
                </a:cubicBezTo>
                <a:cubicBezTo>
                  <a:pt x="1791" y="594"/>
                  <a:pt x="1791" y="594"/>
                  <a:pt x="1791" y="594"/>
                </a:cubicBezTo>
                <a:cubicBezTo>
                  <a:pt x="1787" y="594"/>
                  <a:pt x="1787" y="594"/>
                  <a:pt x="1787" y="594"/>
                </a:cubicBezTo>
                <a:cubicBezTo>
                  <a:pt x="1783" y="595"/>
                  <a:pt x="1783" y="595"/>
                  <a:pt x="1783" y="595"/>
                </a:cubicBezTo>
                <a:cubicBezTo>
                  <a:pt x="1782" y="596"/>
                  <a:pt x="1782" y="596"/>
                  <a:pt x="1782" y="596"/>
                </a:cubicBezTo>
                <a:cubicBezTo>
                  <a:pt x="1782" y="597"/>
                  <a:pt x="1782" y="597"/>
                  <a:pt x="1782" y="597"/>
                </a:cubicBezTo>
                <a:cubicBezTo>
                  <a:pt x="1784" y="597"/>
                  <a:pt x="1784" y="597"/>
                  <a:pt x="1784" y="597"/>
                </a:cubicBezTo>
                <a:cubicBezTo>
                  <a:pt x="1785" y="598"/>
                  <a:pt x="1785" y="598"/>
                  <a:pt x="1785" y="598"/>
                </a:cubicBezTo>
                <a:cubicBezTo>
                  <a:pt x="1783" y="599"/>
                  <a:pt x="1783" y="599"/>
                  <a:pt x="1783" y="599"/>
                </a:cubicBezTo>
                <a:cubicBezTo>
                  <a:pt x="1779" y="599"/>
                  <a:pt x="1779" y="599"/>
                  <a:pt x="1779" y="599"/>
                </a:cubicBezTo>
                <a:cubicBezTo>
                  <a:pt x="1777" y="598"/>
                  <a:pt x="1777" y="598"/>
                  <a:pt x="1777" y="598"/>
                </a:cubicBezTo>
                <a:cubicBezTo>
                  <a:pt x="1774" y="599"/>
                  <a:pt x="1774" y="599"/>
                  <a:pt x="1774" y="599"/>
                </a:cubicBezTo>
                <a:cubicBezTo>
                  <a:pt x="1773" y="597"/>
                  <a:pt x="1773" y="597"/>
                  <a:pt x="1773" y="597"/>
                </a:cubicBezTo>
                <a:cubicBezTo>
                  <a:pt x="1772" y="597"/>
                  <a:pt x="1772" y="597"/>
                  <a:pt x="1772" y="597"/>
                </a:cubicBezTo>
                <a:cubicBezTo>
                  <a:pt x="1770" y="599"/>
                  <a:pt x="1770" y="599"/>
                  <a:pt x="1770" y="599"/>
                </a:cubicBezTo>
                <a:cubicBezTo>
                  <a:pt x="1769" y="599"/>
                  <a:pt x="1769" y="599"/>
                  <a:pt x="1769" y="599"/>
                </a:cubicBezTo>
                <a:cubicBezTo>
                  <a:pt x="1766" y="597"/>
                  <a:pt x="1766" y="597"/>
                  <a:pt x="1766" y="597"/>
                </a:cubicBezTo>
                <a:cubicBezTo>
                  <a:pt x="1764" y="597"/>
                  <a:pt x="1764" y="597"/>
                  <a:pt x="1764" y="597"/>
                </a:cubicBezTo>
                <a:cubicBezTo>
                  <a:pt x="1759" y="601"/>
                  <a:pt x="1759" y="601"/>
                  <a:pt x="1759" y="601"/>
                </a:cubicBezTo>
                <a:cubicBezTo>
                  <a:pt x="1758" y="602"/>
                  <a:pt x="1758" y="602"/>
                  <a:pt x="1758" y="602"/>
                </a:cubicBezTo>
                <a:cubicBezTo>
                  <a:pt x="1758" y="604"/>
                  <a:pt x="1758" y="604"/>
                  <a:pt x="1758" y="604"/>
                </a:cubicBezTo>
                <a:cubicBezTo>
                  <a:pt x="1758" y="605"/>
                  <a:pt x="1758" y="605"/>
                  <a:pt x="1758" y="605"/>
                </a:cubicBezTo>
                <a:cubicBezTo>
                  <a:pt x="1758" y="607"/>
                  <a:pt x="1758" y="607"/>
                  <a:pt x="1758" y="607"/>
                </a:cubicBezTo>
                <a:cubicBezTo>
                  <a:pt x="1758" y="608"/>
                  <a:pt x="1758" y="608"/>
                  <a:pt x="1758" y="608"/>
                </a:cubicBezTo>
                <a:cubicBezTo>
                  <a:pt x="1758" y="610"/>
                  <a:pt x="1758" y="610"/>
                  <a:pt x="1758" y="610"/>
                </a:cubicBezTo>
                <a:cubicBezTo>
                  <a:pt x="1761" y="609"/>
                  <a:pt x="1761" y="609"/>
                  <a:pt x="1761" y="609"/>
                </a:cubicBezTo>
                <a:cubicBezTo>
                  <a:pt x="1762" y="609"/>
                  <a:pt x="1762" y="609"/>
                  <a:pt x="1762" y="609"/>
                </a:cubicBezTo>
                <a:cubicBezTo>
                  <a:pt x="1764" y="608"/>
                  <a:pt x="1764" y="608"/>
                  <a:pt x="1764" y="608"/>
                </a:cubicBezTo>
                <a:cubicBezTo>
                  <a:pt x="1766" y="609"/>
                  <a:pt x="1766" y="609"/>
                  <a:pt x="1766" y="609"/>
                </a:cubicBezTo>
                <a:cubicBezTo>
                  <a:pt x="1764" y="611"/>
                  <a:pt x="1764" y="611"/>
                  <a:pt x="1764" y="611"/>
                </a:cubicBezTo>
                <a:cubicBezTo>
                  <a:pt x="1764" y="612"/>
                  <a:pt x="1764" y="612"/>
                  <a:pt x="1764" y="612"/>
                </a:cubicBezTo>
                <a:cubicBezTo>
                  <a:pt x="1765" y="614"/>
                  <a:pt x="1765" y="614"/>
                  <a:pt x="1765" y="614"/>
                </a:cubicBezTo>
                <a:cubicBezTo>
                  <a:pt x="1765" y="615"/>
                  <a:pt x="1765" y="615"/>
                  <a:pt x="1765" y="615"/>
                </a:cubicBezTo>
                <a:cubicBezTo>
                  <a:pt x="1765" y="616"/>
                  <a:pt x="1765" y="616"/>
                  <a:pt x="1765" y="616"/>
                </a:cubicBezTo>
                <a:cubicBezTo>
                  <a:pt x="1766" y="616"/>
                  <a:pt x="1766" y="616"/>
                  <a:pt x="1766" y="616"/>
                </a:cubicBezTo>
                <a:cubicBezTo>
                  <a:pt x="1767" y="615"/>
                  <a:pt x="1767" y="615"/>
                  <a:pt x="1767" y="615"/>
                </a:cubicBezTo>
                <a:cubicBezTo>
                  <a:pt x="1768" y="616"/>
                  <a:pt x="1768" y="616"/>
                  <a:pt x="1768" y="616"/>
                </a:cubicBezTo>
                <a:cubicBezTo>
                  <a:pt x="1766" y="618"/>
                  <a:pt x="1766" y="618"/>
                  <a:pt x="1766" y="618"/>
                </a:cubicBezTo>
                <a:cubicBezTo>
                  <a:pt x="1764" y="619"/>
                  <a:pt x="1764" y="619"/>
                  <a:pt x="1764" y="619"/>
                </a:cubicBezTo>
                <a:cubicBezTo>
                  <a:pt x="1765" y="620"/>
                  <a:pt x="1765" y="620"/>
                  <a:pt x="1765" y="620"/>
                </a:cubicBezTo>
                <a:cubicBezTo>
                  <a:pt x="1766" y="620"/>
                  <a:pt x="1766" y="620"/>
                  <a:pt x="1766" y="620"/>
                </a:cubicBezTo>
                <a:cubicBezTo>
                  <a:pt x="1765" y="621"/>
                  <a:pt x="1765" y="621"/>
                  <a:pt x="1765" y="621"/>
                </a:cubicBezTo>
                <a:cubicBezTo>
                  <a:pt x="1764" y="623"/>
                  <a:pt x="1764" y="623"/>
                  <a:pt x="1764" y="623"/>
                </a:cubicBezTo>
                <a:cubicBezTo>
                  <a:pt x="1763" y="623"/>
                  <a:pt x="1763" y="623"/>
                  <a:pt x="1763" y="623"/>
                </a:cubicBezTo>
                <a:cubicBezTo>
                  <a:pt x="1762" y="620"/>
                  <a:pt x="1762" y="620"/>
                  <a:pt x="1762" y="620"/>
                </a:cubicBezTo>
                <a:cubicBezTo>
                  <a:pt x="1761" y="620"/>
                  <a:pt x="1761" y="620"/>
                  <a:pt x="1761" y="620"/>
                </a:cubicBezTo>
                <a:cubicBezTo>
                  <a:pt x="1761" y="621"/>
                  <a:pt x="1761" y="621"/>
                  <a:pt x="1761" y="621"/>
                </a:cubicBezTo>
                <a:cubicBezTo>
                  <a:pt x="1761" y="623"/>
                  <a:pt x="1761" y="623"/>
                  <a:pt x="1761" y="623"/>
                </a:cubicBezTo>
                <a:cubicBezTo>
                  <a:pt x="1760" y="624"/>
                  <a:pt x="1760" y="624"/>
                  <a:pt x="1760" y="624"/>
                </a:cubicBezTo>
                <a:cubicBezTo>
                  <a:pt x="1761" y="626"/>
                  <a:pt x="1761" y="626"/>
                  <a:pt x="1761" y="626"/>
                </a:cubicBezTo>
                <a:cubicBezTo>
                  <a:pt x="1762" y="627"/>
                  <a:pt x="1762" y="627"/>
                  <a:pt x="1762" y="627"/>
                </a:cubicBezTo>
                <a:cubicBezTo>
                  <a:pt x="1763" y="626"/>
                  <a:pt x="1763" y="626"/>
                  <a:pt x="1763" y="626"/>
                </a:cubicBezTo>
                <a:cubicBezTo>
                  <a:pt x="1765" y="627"/>
                  <a:pt x="1765" y="627"/>
                  <a:pt x="1765" y="627"/>
                </a:cubicBezTo>
                <a:cubicBezTo>
                  <a:pt x="1766" y="627"/>
                  <a:pt x="1766" y="627"/>
                  <a:pt x="1766" y="627"/>
                </a:cubicBezTo>
                <a:cubicBezTo>
                  <a:pt x="1769" y="629"/>
                  <a:pt x="1769" y="629"/>
                  <a:pt x="1769" y="629"/>
                </a:cubicBezTo>
                <a:cubicBezTo>
                  <a:pt x="1769" y="631"/>
                  <a:pt x="1769" y="631"/>
                  <a:pt x="1769" y="631"/>
                </a:cubicBezTo>
                <a:cubicBezTo>
                  <a:pt x="1768" y="633"/>
                  <a:pt x="1768" y="633"/>
                  <a:pt x="1768" y="633"/>
                </a:cubicBezTo>
                <a:cubicBezTo>
                  <a:pt x="1769" y="634"/>
                  <a:pt x="1769" y="634"/>
                  <a:pt x="1769" y="634"/>
                </a:cubicBezTo>
                <a:cubicBezTo>
                  <a:pt x="1769" y="635"/>
                  <a:pt x="1769" y="635"/>
                  <a:pt x="1769" y="635"/>
                </a:cubicBezTo>
                <a:cubicBezTo>
                  <a:pt x="1770" y="635"/>
                  <a:pt x="1770" y="635"/>
                  <a:pt x="1770" y="635"/>
                </a:cubicBezTo>
                <a:cubicBezTo>
                  <a:pt x="1773" y="637"/>
                  <a:pt x="1773" y="637"/>
                  <a:pt x="1773" y="637"/>
                </a:cubicBezTo>
                <a:cubicBezTo>
                  <a:pt x="1772" y="639"/>
                  <a:pt x="1772" y="639"/>
                  <a:pt x="1772" y="639"/>
                </a:cubicBezTo>
                <a:cubicBezTo>
                  <a:pt x="1770" y="639"/>
                  <a:pt x="1770" y="639"/>
                  <a:pt x="1770" y="639"/>
                </a:cubicBezTo>
                <a:cubicBezTo>
                  <a:pt x="1770" y="640"/>
                  <a:pt x="1770" y="640"/>
                  <a:pt x="1770" y="640"/>
                </a:cubicBezTo>
                <a:cubicBezTo>
                  <a:pt x="1771" y="640"/>
                  <a:pt x="1771" y="640"/>
                  <a:pt x="1771" y="640"/>
                </a:cubicBezTo>
                <a:cubicBezTo>
                  <a:pt x="1774" y="640"/>
                  <a:pt x="1774" y="640"/>
                  <a:pt x="1774" y="640"/>
                </a:cubicBezTo>
                <a:cubicBezTo>
                  <a:pt x="1779" y="640"/>
                  <a:pt x="1779" y="640"/>
                  <a:pt x="1779" y="640"/>
                </a:cubicBezTo>
                <a:cubicBezTo>
                  <a:pt x="1778" y="640"/>
                  <a:pt x="1778" y="640"/>
                  <a:pt x="1778" y="640"/>
                </a:cubicBezTo>
                <a:cubicBezTo>
                  <a:pt x="1777" y="641"/>
                  <a:pt x="1777" y="641"/>
                  <a:pt x="1777" y="641"/>
                </a:cubicBezTo>
                <a:cubicBezTo>
                  <a:pt x="1775" y="642"/>
                  <a:pt x="1775" y="642"/>
                  <a:pt x="1775" y="642"/>
                </a:cubicBezTo>
                <a:cubicBezTo>
                  <a:pt x="1772" y="642"/>
                  <a:pt x="1772" y="642"/>
                  <a:pt x="1772" y="642"/>
                </a:cubicBezTo>
                <a:cubicBezTo>
                  <a:pt x="1771" y="643"/>
                  <a:pt x="1771" y="643"/>
                  <a:pt x="1771" y="643"/>
                </a:cubicBezTo>
                <a:cubicBezTo>
                  <a:pt x="1772" y="644"/>
                  <a:pt x="1772" y="644"/>
                  <a:pt x="1772" y="644"/>
                </a:cubicBezTo>
                <a:cubicBezTo>
                  <a:pt x="1774" y="643"/>
                  <a:pt x="1774" y="643"/>
                  <a:pt x="1774" y="643"/>
                </a:cubicBezTo>
                <a:cubicBezTo>
                  <a:pt x="1776" y="643"/>
                  <a:pt x="1776" y="643"/>
                  <a:pt x="1776" y="643"/>
                </a:cubicBezTo>
                <a:cubicBezTo>
                  <a:pt x="1777" y="643"/>
                  <a:pt x="1777" y="643"/>
                  <a:pt x="1777" y="643"/>
                </a:cubicBezTo>
                <a:cubicBezTo>
                  <a:pt x="1777" y="644"/>
                  <a:pt x="1777" y="644"/>
                  <a:pt x="1777" y="644"/>
                </a:cubicBezTo>
                <a:cubicBezTo>
                  <a:pt x="1778" y="645"/>
                  <a:pt x="1778" y="645"/>
                  <a:pt x="1778" y="645"/>
                </a:cubicBezTo>
                <a:cubicBezTo>
                  <a:pt x="1779" y="643"/>
                  <a:pt x="1779" y="643"/>
                  <a:pt x="1779" y="643"/>
                </a:cubicBezTo>
                <a:cubicBezTo>
                  <a:pt x="1780" y="641"/>
                  <a:pt x="1780" y="641"/>
                  <a:pt x="1780" y="641"/>
                </a:cubicBezTo>
                <a:cubicBezTo>
                  <a:pt x="1782" y="641"/>
                  <a:pt x="1782" y="641"/>
                  <a:pt x="1782" y="641"/>
                </a:cubicBezTo>
                <a:cubicBezTo>
                  <a:pt x="1783" y="643"/>
                  <a:pt x="1783" y="643"/>
                  <a:pt x="1783" y="643"/>
                </a:cubicBezTo>
                <a:cubicBezTo>
                  <a:pt x="1784" y="643"/>
                  <a:pt x="1784" y="643"/>
                  <a:pt x="1784" y="643"/>
                </a:cubicBezTo>
                <a:cubicBezTo>
                  <a:pt x="1786" y="644"/>
                  <a:pt x="1786" y="644"/>
                  <a:pt x="1786" y="644"/>
                </a:cubicBezTo>
                <a:cubicBezTo>
                  <a:pt x="1787" y="642"/>
                  <a:pt x="1787" y="642"/>
                  <a:pt x="1787" y="642"/>
                </a:cubicBezTo>
                <a:cubicBezTo>
                  <a:pt x="1788" y="643"/>
                  <a:pt x="1788" y="643"/>
                  <a:pt x="1788" y="643"/>
                </a:cubicBezTo>
                <a:cubicBezTo>
                  <a:pt x="1788" y="644"/>
                  <a:pt x="1788" y="644"/>
                  <a:pt x="1788" y="644"/>
                </a:cubicBezTo>
                <a:cubicBezTo>
                  <a:pt x="1787" y="644"/>
                  <a:pt x="1787" y="644"/>
                  <a:pt x="1787" y="644"/>
                </a:cubicBezTo>
                <a:cubicBezTo>
                  <a:pt x="1788" y="646"/>
                  <a:pt x="1788" y="646"/>
                  <a:pt x="1788" y="646"/>
                </a:cubicBezTo>
                <a:cubicBezTo>
                  <a:pt x="1789" y="647"/>
                  <a:pt x="1789" y="647"/>
                  <a:pt x="1789" y="647"/>
                </a:cubicBezTo>
                <a:cubicBezTo>
                  <a:pt x="1791" y="649"/>
                  <a:pt x="1791" y="649"/>
                  <a:pt x="1791" y="649"/>
                </a:cubicBezTo>
                <a:cubicBezTo>
                  <a:pt x="1792" y="648"/>
                  <a:pt x="1792" y="648"/>
                  <a:pt x="1792" y="648"/>
                </a:cubicBezTo>
                <a:cubicBezTo>
                  <a:pt x="1794" y="649"/>
                  <a:pt x="1794" y="649"/>
                  <a:pt x="1794" y="649"/>
                </a:cubicBezTo>
                <a:cubicBezTo>
                  <a:pt x="1796" y="649"/>
                  <a:pt x="1796" y="649"/>
                  <a:pt x="1796" y="649"/>
                </a:cubicBezTo>
                <a:cubicBezTo>
                  <a:pt x="1797" y="648"/>
                  <a:pt x="1797" y="648"/>
                  <a:pt x="1797" y="648"/>
                </a:cubicBezTo>
                <a:cubicBezTo>
                  <a:pt x="1799" y="648"/>
                  <a:pt x="1799" y="648"/>
                  <a:pt x="1799" y="648"/>
                </a:cubicBezTo>
                <a:cubicBezTo>
                  <a:pt x="1801" y="647"/>
                  <a:pt x="1801" y="647"/>
                  <a:pt x="1801" y="647"/>
                </a:cubicBezTo>
                <a:cubicBezTo>
                  <a:pt x="1802" y="648"/>
                  <a:pt x="1802" y="648"/>
                  <a:pt x="1802" y="648"/>
                </a:cubicBezTo>
                <a:cubicBezTo>
                  <a:pt x="1804" y="647"/>
                  <a:pt x="1804" y="647"/>
                  <a:pt x="1804" y="647"/>
                </a:cubicBezTo>
                <a:cubicBezTo>
                  <a:pt x="1803" y="645"/>
                  <a:pt x="1803" y="645"/>
                  <a:pt x="1803" y="645"/>
                </a:cubicBezTo>
                <a:cubicBezTo>
                  <a:pt x="1804" y="644"/>
                  <a:pt x="1804" y="644"/>
                  <a:pt x="1804" y="644"/>
                </a:cubicBezTo>
                <a:cubicBezTo>
                  <a:pt x="1803" y="641"/>
                  <a:pt x="1803" y="641"/>
                  <a:pt x="1803" y="641"/>
                </a:cubicBezTo>
                <a:cubicBezTo>
                  <a:pt x="1808" y="641"/>
                  <a:pt x="1808" y="641"/>
                  <a:pt x="1808" y="641"/>
                </a:cubicBezTo>
                <a:cubicBezTo>
                  <a:pt x="1811" y="641"/>
                  <a:pt x="1811" y="641"/>
                  <a:pt x="1811" y="641"/>
                </a:cubicBezTo>
                <a:cubicBezTo>
                  <a:pt x="1816" y="644"/>
                  <a:pt x="1816" y="644"/>
                  <a:pt x="1816" y="644"/>
                </a:cubicBezTo>
                <a:cubicBezTo>
                  <a:pt x="1818" y="644"/>
                  <a:pt x="1818" y="644"/>
                  <a:pt x="1818" y="644"/>
                </a:cubicBezTo>
                <a:cubicBezTo>
                  <a:pt x="1821" y="648"/>
                  <a:pt x="1821" y="648"/>
                  <a:pt x="1821" y="648"/>
                </a:cubicBezTo>
                <a:cubicBezTo>
                  <a:pt x="1824" y="650"/>
                  <a:pt x="1824" y="650"/>
                  <a:pt x="1824" y="650"/>
                </a:cubicBezTo>
                <a:cubicBezTo>
                  <a:pt x="1833" y="649"/>
                  <a:pt x="1833" y="649"/>
                  <a:pt x="1833" y="649"/>
                </a:cubicBezTo>
                <a:cubicBezTo>
                  <a:pt x="1836" y="647"/>
                  <a:pt x="1836" y="647"/>
                  <a:pt x="1836" y="647"/>
                </a:cubicBezTo>
                <a:cubicBezTo>
                  <a:pt x="1837" y="647"/>
                  <a:pt x="1837" y="647"/>
                  <a:pt x="1837" y="647"/>
                </a:cubicBezTo>
                <a:cubicBezTo>
                  <a:pt x="1837" y="648"/>
                  <a:pt x="1837" y="648"/>
                  <a:pt x="1837" y="648"/>
                </a:cubicBezTo>
                <a:cubicBezTo>
                  <a:pt x="1839" y="647"/>
                  <a:pt x="1839" y="647"/>
                  <a:pt x="1839" y="647"/>
                </a:cubicBezTo>
                <a:cubicBezTo>
                  <a:pt x="1839" y="645"/>
                  <a:pt x="1839" y="645"/>
                  <a:pt x="1839" y="645"/>
                </a:cubicBezTo>
                <a:cubicBezTo>
                  <a:pt x="1843" y="640"/>
                  <a:pt x="1843" y="640"/>
                  <a:pt x="1843" y="640"/>
                </a:cubicBezTo>
                <a:cubicBezTo>
                  <a:pt x="1844" y="640"/>
                  <a:pt x="1844" y="640"/>
                  <a:pt x="1844" y="640"/>
                </a:cubicBezTo>
                <a:cubicBezTo>
                  <a:pt x="1849" y="642"/>
                  <a:pt x="1849" y="642"/>
                  <a:pt x="1849" y="642"/>
                </a:cubicBezTo>
                <a:cubicBezTo>
                  <a:pt x="1851" y="643"/>
                  <a:pt x="1851" y="643"/>
                  <a:pt x="1851" y="643"/>
                </a:cubicBezTo>
                <a:cubicBezTo>
                  <a:pt x="1854" y="642"/>
                  <a:pt x="1854" y="642"/>
                  <a:pt x="1854" y="642"/>
                </a:cubicBezTo>
                <a:cubicBezTo>
                  <a:pt x="1854" y="641"/>
                  <a:pt x="1854" y="641"/>
                  <a:pt x="1854" y="641"/>
                </a:cubicBezTo>
                <a:cubicBezTo>
                  <a:pt x="1857" y="640"/>
                  <a:pt x="1857" y="640"/>
                  <a:pt x="1857" y="640"/>
                </a:cubicBezTo>
                <a:cubicBezTo>
                  <a:pt x="1858" y="640"/>
                  <a:pt x="1858" y="640"/>
                  <a:pt x="1858" y="640"/>
                </a:cubicBezTo>
                <a:cubicBezTo>
                  <a:pt x="1859" y="642"/>
                  <a:pt x="1859" y="642"/>
                  <a:pt x="1859" y="642"/>
                </a:cubicBezTo>
                <a:cubicBezTo>
                  <a:pt x="1857" y="644"/>
                  <a:pt x="1857" y="644"/>
                  <a:pt x="1857" y="644"/>
                </a:cubicBezTo>
                <a:cubicBezTo>
                  <a:pt x="1855" y="646"/>
                  <a:pt x="1855" y="646"/>
                  <a:pt x="1855" y="646"/>
                </a:cubicBezTo>
                <a:cubicBezTo>
                  <a:pt x="1855" y="647"/>
                  <a:pt x="1855" y="647"/>
                  <a:pt x="1855" y="647"/>
                </a:cubicBezTo>
                <a:cubicBezTo>
                  <a:pt x="1857" y="649"/>
                  <a:pt x="1857" y="649"/>
                  <a:pt x="1857" y="649"/>
                </a:cubicBezTo>
                <a:cubicBezTo>
                  <a:pt x="1857" y="650"/>
                  <a:pt x="1857" y="650"/>
                  <a:pt x="1857" y="650"/>
                </a:cubicBezTo>
                <a:cubicBezTo>
                  <a:pt x="1856" y="650"/>
                  <a:pt x="1856" y="650"/>
                  <a:pt x="1856" y="650"/>
                </a:cubicBezTo>
                <a:cubicBezTo>
                  <a:pt x="1855" y="651"/>
                  <a:pt x="1855" y="651"/>
                  <a:pt x="1855" y="651"/>
                </a:cubicBezTo>
                <a:cubicBezTo>
                  <a:pt x="1856" y="654"/>
                  <a:pt x="1856" y="654"/>
                  <a:pt x="1856" y="654"/>
                </a:cubicBezTo>
                <a:cubicBezTo>
                  <a:pt x="1857" y="657"/>
                  <a:pt x="1857" y="657"/>
                  <a:pt x="1857" y="657"/>
                </a:cubicBezTo>
                <a:cubicBezTo>
                  <a:pt x="1858" y="660"/>
                  <a:pt x="1858" y="660"/>
                  <a:pt x="1858" y="660"/>
                </a:cubicBezTo>
                <a:cubicBezTo>
                  <a:pt x="1857" y="662"/>
                  <a:pt x="1857" y="662"/>
                  <a:pt x="1857" y="662"/>
                </a:cubicBezTo>
                <a:cubicBezTo>
                  <a:pt x="1857" y="666"/>
                  <a:pt x="1857" y="666"/>
                  <a:pt x="1857" y="666"/>
                </a:cubicBezTo>
                <a:cubicBezTo>
                  <a:pt x="1857" y="667"/>
                  <a:pt x="1857" y="667"/>
                  <a:pt x="1857" y="667"/>
                </a:cubicBezTo>
                <a:cubicBezTo>
                  <a:pt x="1856" y="667"/>
                  <a:pt x="1856" y="667"/>
                  <a:pt x="1856" y="667"/>
                </a:cubicBezTo>
                <a:cubicBezTo>
                  <a:pt x="1855" y="674"/>
                  <a:pt x="1855" y="674"/>
                  <a:pt x="1855" y="674"/>
                </a:cubicBezTo>
                <a:cubicBezTo>
                  <a:pt x="1854" y="677"/>
                  <a:pt x="1854" y="677"/>
                  <a:pt x="1854" y="677"/>
                </a:cubicBezTo>
                <a:cubicBezTo>
                  <a:pt x="1852" y="679"/>
                  <a:pt x="1852" y="679"/>
                  <a:pt x="1852" y="679"/>
                </a:cubicBezTo>
                <a:cubicBezTo>
                  <a:pt x="1852" y="682"/>
                  <a:pt x="1852" y="682"/>
                  <a:pt x="1852" y="682"/>
                </a:cubicBezTo>
                <a:cubicBezTo>
                  <a:pt x="1851" y="682"/>
                  <a:pt x="1851" y="682"/>
                  <a:pt x="1851" y="682"/>
                </a:cubicBezTo>
                <a:cubicBezTo>
                  <a:pt x="1849" y="685"/>
                  <a:pt x="1849" y="685"/>
                  <a:pt x="1849" y="685"/>
                </a:cubicBezTo>
                <a:cubicBezTo>
                  <a:pt x="1849" y="692"/>
                  <a:pt x="1849" y="692"/>
                  <a:pt x="1849" y="692"/>
                </a:cubicBezTo>
                <a:cubicBezTo>
                  <a:pt x="1846" y="698"/>
                  <a:pt x="1846" y="698"/>
                  <a:pt x="1846" y="698"/>
                </a:cubicBezTo>
                <a:cubicBezTo>
                  <a:pt x="1843" y="702"/>
                  <a:pt x="1843" y="702"/>
                  <a:pt x="1843" y="702"/>
                </a:cubicBezTo>
                <a:cubicBezTo>
                  <a:pt x="1841" y="704"/>
                  <a:pt x="1841" y="704"/>
                  <a:pt x="1841" y="704"/>
                </a:cubicBezTo>
                <a:cubicBezTo>
                  <a:pt x="1838" y="705"/>
                  <a:pt x="1838" y="705"/>
                  <a:pt x="1838" y="705"/>
                </a:cubicBezTo>
                <a:cubicBezTo>
                  <a:pt x="1832" y="704"/>
                  <a:pt x="1832" y="704"/>
                  <a:pt x="1832" y="704"/>
                </a:cubicBezTo>
                <a:cubicBezTo>
                  <a:pt x="1827" y="705"/>
                  <a:pt x="1827" y="705"/>
                  <a:pt x="1827" y="705"/>
                </a:cubicBezTo>
                <a:cubicBezTo>
                  <a:pt x="1823" y="703"/>
                  <a:pt x="1823" y="703"/>
                  <a:pt x="1823" y="703"/>
                </a:cubicBezTo>
                <a:cubicBezTo>
                  <a:pt x="1823" y="705"/>
                  <a:pt x="1823" y="705"/>
                  <a:pt x="1823" y="705"/>
                </a:cubicBezTo>
                <a:cubicBezTo>
                  <a:pt x="1824" y="707"/>
                  <a:pt x="1824" y="707"/>
                  <a:pt x="1824" y="707"/>
                </a:cubicBezTo>
                <a:cubicBezTo>
                  <a:pt x="1824" y="708"/>
                  <a:pt x="1824" y="708"/>
                  <a:pt x="1824" y="708"/>
                </a:cubicBezTo>
                <a:cubicBezTo>
                  <a:pt x="1823" y="706"/>
                  <a:pt x="1823" y="706"/>
                  <a:pt x="1823" y="706"/>
                </a:cubicBezTo>
                <a:cubicBezTo>
                  <a:pt x="1821" y="705"/>
                  <a:pt x="1821" y="705"/>
                  <a:pt x="1821" y="705"/>
                </a:cubicBezTo>
                <a:cubicBezTo>
                  <a:pt x="1820" y="703"/>
                  <a:pt x="1820" y="703"/>
                  <a:pt x="1820" y="703"/>
                </a:cubicBezTo>
                <a:cubicBezTo>
                  <a:pt x="1821" y="702"/>
                  <a:pt x="1821" y="702"/>
                  <a:pt x="1821" y="702"/>
                </a:cubicBezTo>
                <a:cubicBezTo>
                  <a:pt x="1820" y="702"/>
                  <a:pt x="1820" y="702"/>
                  <a:pt x="1820" y="702"/>
                </a:cubicBezTo>
                <a:cubicBezTo>
                  <a:pt x="1819" y="702"/>
                  <a:pt x="1819" y="702"/>
                  <a:pt x="1819" y="702"/>
                </a:cubicBezTo>
                <a:cubicBezTo>
                  <a:pt x="1817" y="701"/>
                  <a:pt x="1817" y="701"/>
                  <a:pt x="1817" y="701"/>
                </a:cubicBezTo>
                <a:cubicBezTo>
                  <a:pt x="1813" y="700"/>
                  <a:pt x="1813" y="700"/>
                  <a:pt x="1813" y="700"/>
                </a:cubicBezTo>
                <a:cubicBezTo>
                  <a:pt x="1813" y="701"/>
                  <a:pt x="1813" y="701"/>
                  <a:pt x="1813" y="701"/>
                </a:cubicBezTo>
                <a:cubicBezTo>
                  <a:pt x="1814" y="701"/>
                  <a:pt x="1814" y="701"/>
                  <a:pt x="1814" y="701"/>
                </a:cubicBezTo>
                <a:cubicBezTo>
                  <a:pt x="1814" y="702"/>
                  <a:pt x="1814" y="702"/>
                  <a:pt x="1814" y="702"/>
                </a:cubicBezTo>
                <a:cubicBezTo>
                  <a:pt x="1812" y="702"/>
                  <a:pt x="1812" y="702"/>
                  <a:pt x="1812" y="702"/>
                </a:cubicBezTo>
                <a:cubicBezTo>
                  <a:pt x="1811" y="702"/>
                  <a:pt x="1811" y="702"/>
                  <a:pt x="1811" y="702"/>
                </a:cubicBezTo>
                <a:cubicBezTo>
                  <a:pt x="1808" y="703"/>
                  <a:pt x="1808" y="703"/>
                  <a:pt x="1808" y="703"/>
                </a:cubicBezTo>
                <a:cubicBezTo>
                  <a:pt x="1808" y="702"/>
                  <a:pt x="1808" y="702"/>
                  <a:pt x="1808" y="702"/>
                </a:cubicBezTo>
                <a:cubicBezTo>
                  <a:pt x="1808" y="702"/>
                  <a:pt x="1808" y="702"/>
                  <a:pt x="1808" y="702"/>
                </a:cubicBezTo>
                <a:cubicBezTo>
                  <a:pt x="1810" y="701"/>
                  <a:pt x="1810" y="701"/>
                  <a:pt x="1810" y="701"/>
                </a:cubicBezTo>
                <a:cubicBezTo>
                  <a:pt x="1811" y="701"/>
                  <a:pt x="1811" y="701"/>
                  <a:pt x="1811" y="701"/>
                </a:cubicBezTo>
                <a:cubicBezTo>
                  <a:pt x="1809" y="701"/>
                  <a:pt x="1809" y="701"/>
                  <a:pt x="1809" y="701"/>
                </a:cubicBezTo>
                <a:cubicBezTo>
                  <a:pt x="1806" y="701"/>
                  <a:pt x="1806" y="701"/>
                  <a:pt x="1806" y="701"/>
                </a:cubicBezTo>
                <a:cubicBezTo>
                  <a:pt x="1805" y="702"/>
                  <a:pt x="1805" y="702"/>
                  <a:pt x="1805" y="702"/>
                </a:cubicBezTo>
                <a:cubicBezTo>
                  <a:pt x="1802" y="703"/>
                  <a:pt x="1802" y="703"/>
                  <a:pt x="1802" y="703"/>
                </a:cubicBezTo>
                <a:cubicBezTo>
                  <a:pt x="1801" y="704"/>
                  <a:pt x="1801" y="704"/>
                  <a:pt x="1801" y="704"/>
                </a:cubicBezTo>
                <a:cubicBezTo>
                  <a:pt x="1799" y="705"/>
                  <a:pt x="1799" y="705"/>
                  <a:pt x="1799" y="705"/>
                </a:cubicBezTo>
                <a:cubicBezTo>
                  <a:pt x="1796" y="707"/>
                  <a:pt x="1796" y="707"/>
                  <a:pt x="1796" y="707"/>
                </a:cubicBezTo>
                <a:cubicBezTo>
                  <a:pt x="1796" y="708"/>
                  <a:pt x="1796" y="708"/>
                  <a:pt x="1796" y="708"/>
                </a:cubicBezTo>
                <a:cubicBezTo>
                  <a:pt x="1793" y="708"/>
                  <a:pt x="1793" y="708"/>
                  <a:pt x="1793" y="708"/>
                </a:cubicBezTo>
                <a:cubicBezTo>
                  <a:pt x="1789" y="706"/>
                  <a:pt x="1789" y="706"/>
                  <a:pt x="1789" y="706"/>
                </a:cubicBezTo>
                <a:cubicBezTo>
                  <a:pt x="1787" y="705"/>
                  <a:pt x="1787" y="705"/>
                  <a:pt x="1787" y="705"/>
                </a:cubicBezTo>
                <a:cubicBezTo>
                  <a:pt x="1783" y="706"/>
                  <a:pt x="1783" y="706"/>
                  <a:pt x="1783" y="706"/>
                </a:cubicBezTo>
                <a:cubicBezTo>
                  <a:pt x="1780" y="704"/>
                  <a:pt x="1780" y="704"/>
                  <a:pt x="1780" y="704"/>
                </a:cubicBezTo>
                <a:cubicBezTo>
                  <a:pt x="1779" y="704"/>
                  <a:pt x="1779" y="704"/>
                  <a:pt x="1779" y="704"/>
                </a:cubicBezTo>
                <a:cubicBezTo>
                  <a:pt x="1778" y="705"/>
                  <a:pt x="1778" y="705"/>
                  <a:pt x="1778" y="705"/>
                </a:cubicBezTo>
                <a:cubicBezTo>
                  <a:pt x="1775" y="703"/>
                  <a:pt x="1775" y="703"/>
                  <a:pt x="1775" y="703"/>
                </a:cubicBezTo>
                <a:cubicBezTo>
                  <a:pt x="1772" y="702"/>
                  <a:pt x="1772" y="702"/>
                  <a:pt x="1772" y="702"/>
                </a:cubicBezTo>
                <a:cubicBezTo>
                  <a:pt x="1764" y="701"/>
                  <a:pt x="1764" y="701"/>
                  <a:pt x="1764" y="701"/>
                </a:cubicBezTo>
                <a:cubicBezTo>
                  <a:pt x="1760" y="700"/>
                  <a:pt x="1760" y="700"/>
                  <a:pt x="1760" y="700"/>
                </a:cubicBezTo>
                <a:cubicBezTo>
                  <a:pt x="1755" y="700"/>
                  <a:pt x="1755" y="700"/>
                  <a:pt x="1755" y="700"/>
                </a:cubicBezTo>
                <a:cubicBezTo>
                  <a:pt x="1754" y="700"/>
                  <a:pt x="1754" y="700"/>
                  <a:pt x="1754" y="700"/>
                </a:cubicBezTo>
                <a:cubicBezTo>
                  <a:pt x="1754" y="700"/>
                  <a:pt x="1754" y="700"/>
                  <a:pt x="1754" y="700"/>
                </a:cubicBezTo>
                <a:cubicBezTo>
                  <a:pt x="1753" y="698"/>
                  <a:pt x="1753" y="698"/>
                  <a:pt x="1753" y="698"/>
                </a:cubicBezTo>
                <a:cubicBezTo>
                  <a:pt x="1752" y="696"/>
                  <a:pt x="1752" y="696"/>
                  <a:pt x="1752" y="696"/>
                </a:cubicBezTo>
                <a:cubicBezTo>
                  <a:pt x="1750" y="696"/>
                  <a:pt x="1750" y="696"/>
                  <a:pt x="1750" y="696"/>
                </a:cubicBezTo>
                <a:cubicBezTo>
                  <a:pt x="1748" y="696"/>
                  <a:pt x="1748" y="696"/>
                  <a:pt x="1748" y="696"/>
                </a:cubicBezTo>
                <a:cubicBezTo>
                  <a:pt x="1741" y="695"/>
                  <a:pt x="1741" y="695"/>
                  <a:pt x="1741" y="695"/>
                </a:cubicBezTo>
                <a:cubicBezTo>
                  <a:pt x="1740" y="694"/>
                  <a:pt x="1740" y="694"/>
                  <a:pt x="1740" y="694"/>
                </a:cubicBezTo>
                <a:cubicBezTo>
                  <a:pt x="1737" y="694"/>
                  <a:pt x="1737" y="694"/>
                  <a:pt x="1737" y="694"/>
                </a:cubicBezTo>
                <a:cubicBezTo>
                  <a:pt x="1733" y="693"/>
                  <a:pt x="1733" y="693"/>
                  <a:pt x="1733" y="693"/>
                </a:cubicBezTo>
                <a:cubicBezTo>
                  <a:pt x="1733" y="692"/>
                  <a:pt x="1733" y="692"/>
                  <a:pt x="1733" y="692"/>
                </a:cubicBezTo>
                <a:cubicBezTo>
                  <a:pt x="1733" y="691"/>
                  <a:pt x="1733" y="691"/>
                  <a:pt x="1733" y="691"/>
                </a:cubicBezTo>
                <a:cubicBezTo>
                  <a:pt x="1733" y="690"/>
                  <a:pt x="1733" y="690"/>
                  <a:pt x="1733" y="690"/>
                </a:cubicBezTo>
                <a:cubicBezTo>
                  <a:pt x="1729" y="688"/>
                  <a:pt x="1729" y="688"/>
                  <a:pt x="1729" y="688"/>
                </a:cubicBezTo>
                <a:cubicBezTo>
                  <a:pt x="1727" y="688"/>
                  <a:pt x="1727" y="688"/>
                  <a:pt x="1727" y="688"/>
                </a:cubicBezTo>
                <a:cubicBezTo>
                  <a:pt x="1723" y="687"/>
                  <a:pt x="1723" y="687"/>
                  <a:pt x="1723" y="687"/>
                </a:cubicBezTo>
                <a:cubicBezTo>
                  <a:pt x="1722" y="686"/>
                  <a:pt x="1722" y="686"/>
                  <a:pt x="1722" y="686"/>
                </a:cubicBezTo>
                <a:cubicBezTo>
                  <a:pt x="1721" y="687"/>
                  <a:pt x="1721" y="687"/>
                  <a:pt x="1721" y="687"/>
                </a:cubicBezTo>
                <a:cubicBezTo>
                  <a:pt x="1719" y="686"/>
                  <a:pt x="1719" y="686"/>
                  <a:pt x="1719" y="686"/>
                </a:cubicBezTo>
                <a:cubicBezTo>
                  <a:pt x="1719" y="686"/>
                  <a:pt x="1719" y="686"/>
                  <a:pt x="1719" y="686"/>
                </a:cubicBezTo>
                <a:cubicBezTo>
                  <a:pt x="1715" y="688"/>
                  <a:pt x="1715" y="688"/>
                  <a:pt x="1715" y="688"/>
                </a:cubicBezTo>
                <a:cubicBezTo>
                  <a:pt x="1710" y="688"/>
                  <a:pt x="1710" y="688"/>
                  <a:pt x="1710" y="688"/>
                </a:cubicBezTo>
                <a:cubicBezTo>
                  <a:pt x="1706" y="690"/>
                  <a:pt x="1706" y="690"/>
                  <a:pt x="1706" y="690"/>
                </a:cubicBezTo>
                <a:cubicBezTo>
                  <a:pt x="1704" y="693"/>
                  <a:pt x="1704" y="693"/>
                  <a:pt x="1704" y="693"/>
                </a:cubicBezTo>
                <a:cubicBezTo>
                  <a:pt x="1703" y="695"/>
                  <a:pt x="1703" y="695"/>
                  <a:pt x="1703" y="695"/>
                </a:cubicBezTo>
                <a:cubicBezTo>
                  <a:pt x="1702" y="696"/>
                  <a:pt x="1702" y="696"/>
                  <a:pt x="1702" y="696"/>
                </a:cubicBezTo>
                <a:cubicBezTo>
                  <a:pt x="1701" y="702"/>
                  <a:pt x="1701" y="702"/>
                  <a:pt x="1701" y="702"/>
                </a:cubicBezTo>
                <a:cubicBezTo>
                  <a:pt x="1703" y="704"/>
                  <a:pt x="1703" y="704"/>
                  <a:pt x="1703" y="704"/>
                </a:cubicBezTo>
                <a:cubicBezTo>
                  <a:pt x="1704" y="709"/>
                  <a:pt x="1704" y="709"/>
                  <a:pt x="1704" y="709"/>
                </a:cubicBezTo>
                <a:cubicBezTo>
                  <a:pt x="1704" y="711"/>
                  <a:pt x="1704" y="711"/>
                  <a:pt x="1704" y="711"/>
                </a:cubicBezTo>
                <a:cubicBezTo>
                  <a:pt x="1701" y="713"/>
                  <a:pt x="1701" y="713"/>
                  <a:pt x="1701" y="713"/>
                </a:cubicBezTo>
                <a:cubicBezTo>
                  <a:pt x="1701" y="714"/>
                  <a:pt x="1701" y="714"/>
                  <a:pt x="1701" y="714"/>
                </a:cubicBezTo>
                <a:cubicBezTo>
                  <a:pt x="1697" y="717"/>
                  <a:pt x="1697" y="717"/>
                  <a:pt x="1697" y="717"/>
                </a:cubicBezTo>
                <a:cubicBezTo>
                  <a:pt x="1695" y="718"/>
                  <a:pt x="1695" y="718"/>
                  <a:pt x="1695" y="718"/>
                </a:cubicBezTo>
                <a:cubicBezTo>
                  <a:pt x="1691" y="716"/>
                  <a:pt x="1691" y="716"/>
                  <a:pt x="1691" y="716"/>
                </a:cubicBezTo>
                <a:cubicBezTo>
                  <a:pt x="1687" y="713"/>
                  <a:pt x="1687" y="713"/>
                  <a:pt x="1687" y="713"/>
                </a:cubicBezTo>
                <a:cubicBezTo>
                  <a:pt x="1684" y="711"/>
                  <a:pt x="1684" y="711"/>
                  <a:pt x="1684" y="711"/>
                </a:cubicBezTo>
                <a:cubicBezTo>
                  <a:pt x="1679" y="708"/>
                  <a:pt x="1679" y="708"/>
                  <a:pt x="1679" y="708"/>
                </a:cubicBezTo>
                <a:cubicBezTo>
                  <a:pt x="1672" y="705"/>
                  <a:pt x="1672" y="705"/>
                  <a:pt x="1672" y="705"/>
                </a:cubicBezTo>
                <a:cubicBezTo>
                  <a:pt x="1668" y="705"/>
                  <a:pt x="1668" y="705"/>
                  <a:pt x="1668" y="705"/>
                </a:cubicBezTo>
                <a:cubicBezTo>
                  <a:pt x="1667" y="705"/>
                  <a:pt x="1667" y="705"/>
                  <a:pt x="1667" y="705"/>
                </a:cubicBezTo>
                <a:cubicBezTo>
                  <a:pt x="1663" y="705"/>
                  <a:pt x="1663" y="705"/>
                  <a:pt x="1663" y="705"/>
                </a:cubicBezTo>
                <a:cubicBezTo>
                  <a:pt x="1660" y="704"/>
                  <a:pt x="1660" y="704"/>
                  <a:pt x="1660" y="704"/>
                </a:cubicBezTo>
                <a:cubicBezTo>
                  <a:pt x="1657" y="698"/>
                  <a:pt x="1657" y="698"/>
                  <a:pt x="1657" y="698"/>
                </a:cubicBezTo>
                <a:cubicBezTo>
                  <a:pt x="1657" y="694"/>
                  <a:pt x="1657" y="694"/>
                  <a:pt x="1657" y="694"/>
                </a:cubicBezTo>
                <a:cubicBezTo>
                  <a:pt x="1654" y="691"/>
                  <a:pt x="1654" y="691"/>
                  <a:pt x="1654" y="691"/>
                </a:cubicBezTo>
                <a:cubicBezTo>
                  <a:pt x="1648" y="690"/>
                  <a:pt x="1648" y="690"/>
                  <a:pt x="1648" y="690"/>
                </a:cubicBezTo>
                <a:cubicBezTo>
                  <a:pt x="1644" y="688"/>
                  <a:pt x="1644" y="688"/>
                  <a:pt x="1644" y="688"/>
                </a:cubicBezTo>
                <a:cubicBezTo>
                  <a:pt x="1639" y="688"/>
                  <a:pt x="1639" y="688"/>
                  <a:pt x="1639" y="688"/>
                </a:cubicBezTo>
                <a:cubicBezTo>
                  <a:pt x="1636" y="687"/>
                  <a:pt x="1636" y="687"/>
                  <a:pt x="1636" y="687"/>
                </a:cubicBezTo>
                <a:cubicBezTo>
                  <a:pt x="1629" y="688"/>
                  <a:pt x="1629" y="688"/>
                  <a:pt x="1629" y="688"/>
                </a:cubicBezTo>
                <a:cubicBezTo>
                  <a:pt x="1624" y="687"/>
                  <a:pt x="1624" y="687"/>
                  <a:pt x="1624" y="687"/>
                </a:cubicBezTo>
                <a:cubicBezTo>
                  <a:pt x="1622" y="685"/>
                  <a:pt x="1622" y="685"/>
                  <a:pt x="1622" y="685"/>
                </a:cubicBezTo>
                <a:cubicBezTo>
                  <a:pt x="1619" y="685"/>
                  <a:pt x="1619" y="685"/>
                  <a:pt x="1619" y="685"/>
                </a:cubicBezTo>
                <a:cubicBezTo>
                  <a:pt x="1618" y="684"/>
                  <a:pt x="1618" y="684"/>
                  <a:pt x="1618" y="684"/>
                </a:cubicBezTo>
                <a:cubicBezTo>
                  <a:pt x="1615" y="682"/>
                  <a:pt x="1615" y="682"/>
                  <a:pt x="1615" y="682"/>
                </a:cubicBezTo>
                <a:cubicBezTo>
                  <a:pt x="1615" y="681"/>
                  <a:pt x="1615" y="681"/>
                  <a:pt x="1615" y="681"/>
                </a:cubicBezTo>
                <a:cubicBezTo>
                  <a:pt x="1615" y="680"/>
                  <a:pt x="1615" y="680"/>
                  <a:pt x="1615" y="680"/>
                </a:cubicBezTo>
                <a:cubicBezTo>
                  <a:pt x="1613" y="679"/>
                  <a:pt x="1613" y="679"/>
                  <a:pt x="1613" y="679"/>
                </a:cubicBezTo>
                <a:cubicBezTo>
                  <a:pt x="1613" y="680"/>
                  <a:pt x="1613" y="680"/>
                  <a:pt x="1613" y="680"/>
                </a:cubicBezTo>
                <a:cubicBezTo>
                  <a:pt x="1613" y="680"/>
                  <a:pt x="1613" y="680"/>
                  <a:pt x="1613" y="680"/>
                </a:cubicBezTo>
                <a:cubicBezTo>
                  <a:pt x="1612" y="681"/>
                  <a:pt x="1612" y="681"/>
                  <a:pt x="1612" y="681"/>
                </a:cubicBezTo>
                <a:cubicBezTo>
                  <a:pt x="1611" y="680"/>
                  <a:pt x="1611" y="680"/>
                  <a:pt x="1611" y="680"/>
                </a:cubicBezTo>
                <a:cubicBezTo>
                  <a:pt x="1610" y="679"/>
                  <a:pt x="1610" y="679"/>
                  <a:pt x="1610" y="679"/>
                </a:cubicBezTo>
                <a:cubicBezTo>
                  <a:pt x="1609" y="679"/>
                  <a:pt x="1609" y="679"/>
                  <a:pt x="1609" y="679"/>
                </a:cubicBezTo>
                <a:cubicBezTo>
                  <a:pt x="1606" y="677"/>
                  <a:pt x="1606" y="677"/>
                  <a:pt x="1606" y="677"/>
                </a:cubicBezTo>
                <a:cubicBezTo>
                  <a:pt x="1604" y="674"/>
                  <a:pt x="1604" y="674"/>
                  <a:pt x="1604" y="674"/>
                </a:cubicBezTo>
                <a:cubicBezTo>
                  <a:pt x="1605" y="671"/>
                  <a:pt x="1605" y="671"/>
                  <a:pt x="1605" y="671"/>
                </a:cubicBezTo>
                <a:cubicBezTo>
                  <a:pt x="1610" y="667"/>
                  <a:pt x="1610" y="667"/>
                  <a:pt x="1610" y="667"/>
                </a:cubicBezTo>
                <a:cubicBezTo>
                  <a:pt x="1613" y="665"/>
                  <a:pt x="1613" y="665"/>
                  <a:pt x="1613" y="665"/>
                </a:cubicBezTo>
                <a:cubicBezTo>
                  <a:pt x="1614" y="664"/>
                  <a:pt x="1614" y="664"/>
                  <a:pt x="1614" y="664"/>
                </a:cubicBezTo>
                <a:cubicBezTo>
                  <a:pt x="1613" y="663"/>
                  <a:pt x="1613" y="663"/>
                  <a:pt x="1613" y="663"/>
                </a:cubicBezTo>
                <a:cubicBezTo>
                  <a:pt x="1614" y="661"/>
                  <a:pt x="1614" y="661"/>
                  <a:pt x="1614" y="661"/>
                </a:cubicBezTo>
                <a:cubicBezTo>
                  <a:pt x="1613" y="660"/>
                  <a:pt x="1613" y="660"/>
                  <a:pt x="1613" y="660"/>
                </a:cubicBezTo>
                <a:cubicBezTo>
                  <a:pt x="1613" y="659"/>
                  <a:pt x="1613" y="659"/>
                  <a:pt x="1613" y="659"/>
                </a:cubicBezTo>
                <a:cubicBezTo>
                  <a:pt x="1613" y="656"/>
                  <a:pt x="1613" y="656"/>
                  <a:pt x="1613" y="656"/>
                </a:cubicBezTo>
                <a:cubicBezTo>
                  <a:pt x="1610" y="655"/>
                  <a:pt x="1610" y="655"/>
                  <a:pt x="1610" y="655"/>
                </a:cubicBezTo>
                <a:cubicBezTo>
                  <a:pt x="1607" y="652"/>
                  <a:pt x="1607" y="652"/>
                  <a:pt x="1607" y="652"/>
                </a:cubicBezTo>
                <a:cubicBezTo>
                  <a:pt x="1608" y="649"/>
                  <a:pt x="1608" y="649"/>
                  <a:pt x="1608" y="649"/>
                </a:cubicBezTo>
                <a:cubicBezTo>
                  <a:pt x="1610" y="647"/>
                  <a:pt x="1610" y="647"/>
                  <a:pt x="1610" y="647"/>
                </a:cubicBezTo>
                <a:cubicBezTo>
                  <a:pt x="1610" y="645"/>
                  <a:pt x="1610" y="645"/>
                  <a:pt x="1610" y="645"/>
                </a:cubicBezTo>
                <a:cubicBezTo>
                  <a:pt x="1612" y="642"/>
                  <a:pt x="1612" y="642"/>
                  <a:pt x="1612" y="642"/>
                </a:cubicBezTo>
                <a:cubicBezTo>
                  <a:pt x="1612" y="640"/>
                  <a:pt x="1612" y="640"/>
                  <a:pt x="1612" y="640"/>
                </a:cubicBezTo>
                <a:cubicBezTo>
                  <a:pt x="1612" y="640"/>
                  <a:pt x="1612" y="640"/>
                  <a:pt x="1612" y="640"/>
                </a:cubicBezTo>
                <a:cubicBezTo>
                  <a:pt x="1608" y="643"/>
                  <a:pt x="1608" y="643"/>
                  <a:pt x="1608" y="643"/>
                </a:cubicBezTo>
                <a:cubicBezTo>
                  <a:pt x="1607" y="644"/>
                  <a:pt x="1607" y="644"/>
                  <a:pt x="1607" y="644"/>
                </a:cubicBezTo>
                <a:cubicBezTo>
                  <a:pt x="1606" y="644"/>
                  <a:pt x="1606" y="644"/>
                  <a:pt x="1606" y="644"/>
                </a:cubicBezTo>
                <a:cubicBezTo>
                  <a:pt x="1604" y="640"/>
                  <a:pt x="1604" y="640"/>
                  <a:pt x="1604" y="640"/>
                </a:cubicBezTo>
                <a:cubicBezTo>
                  <a:pt x="1603" y="640"/>
                  <a:pt x="1603" y="640"/>
                  <a:pt x="1603" y="640"/>
                </a:cubicBezTo>
                <a:cubicBezTo>
                  <a:pt x="1603" y="638"/>
                  <a:pt x="1603" y="638"/>
                  <a:pt x="1603" y="638"/>
                </a:cubicBezTo>
                <a:cubicBezTo>
                  <a:pt x="1602" y="637"/>
                  <a:pt x="1602" y="637"/>
                  <a:pt x="1602" y="637"/>
                </a:cubicBezTo>
                <a:cubicBezTo>
                  <a:pt x="1600" y="637"/>
                  <a:pt x="1600" y="637"/>
                  <a:pt x="1600" y="637"/>
                </a:cubicBezTo>
                <a:cubicBezTo>
                  <a:pt x="1600" y="639"/>
                  <a:pt x="1600" y="639"/>
                  <a:pt x="1600" y="639"/>
                </a:cubicBezTo>
                <a:cubicBezTo>
                  <a:pt x="1599" y="637"/>
                  <a:pt x="1599" y="637"/>
                  <a:pt x="1599" y="637"/>
                </a:cubicBezTo>
                <a:cubicBezTo>
                  <a:pt x="1596" y="638"/>
                  <a:pt x="1596" y="638"/>
                  <a:pt x="1596" y="638"/>
                </a:cubicBezTo>
                <a:cubicBezTo>
                  <a:pt x="1592" y="640"/>
                  <a:pt x="1592" y="640"/>
                  <a:pt x="1592" y="640"/>
                </a:cubicBezTo>
                <a:cubicBezTo>
                  <a:pt x="1590" y="642"/>
                  <a:pt x="1590" y="642"/>
                  <a:pt x="1590" y="642"/>
                </a:cubicBezTo>
                <a:cubicBezTo>
                  <a:pt x="1590" y="642"/>
                  <a:pt x="1590" y="642"/>
                  <a:pt x="1590" y="642"/>
                </a:cubicBezTo>
                <a:cubicBezTo>
                  <a:pt x="1589" y="641"/>
                  <a:pt x="1589" y="641"/>
                  <a:pt x="1589" y="641"/>
                </a:cubicBezTo>
                <a:cubicBezTo>
                  <a:pt x="1586" y="642"/>
                  <a:pt x="1586" y="642"/>
                  <a:pt x="1586" y="642"/>
                </a:cubicBezTo>
                <a:cubicBezTo>
                  <a:pt x="1585" y="642"/>
                  <a:pt x="1585" y="642"/>
                  <a:pt x="1585" y="642"/>
                </a:cubicBezTo>
                <a:cubicBezTo>
                  <a:pt x="1581" y="643"/>
                  <a:pt x="1581" y="643"/>
                  <a:pt x="1581" y="643"/>
                </a:cubicBezTo>
                <a:cubicBezTo>
                  <a:pt x="1578" y="641"/>
                  <a:pt x="1578" y="641"/>
                  <a:pt x="1578" y="641"/>
                </a:cubicBezTo>
                <a:cubicBezTo>
                  <a:pt x="1576" y="640"/>
                  <a:pt x="1576" y="640"/>
                  <a:pt x="1576" y="640"/>
                </a:cubicBezTo>
                <a:cubicBezTo>
                  <a:pt x="1576" y="641"/>
                  <a:pt x="1576" y="641"/>
                  <a:pt x="1576" y="641"/>
                </a:cubicBezTo>
                <a:cubicBezTo>
                  <a:pt x="1574" y="643"/>
                  <a:pt x="1574" y="643"/>
                  <a:pt x="1574" y="643"/>
                </a:cubicBezTo>
                <a:cubicBezTo>
                  <a:pt x="1570" y="642"/>
                  <a:pt x="1570" y="642"/>
                  <a:pt x="1570" y="642"/>
                </a:cubicBezTo>
                <a:cubicBezTo>
                  <a:pt x="1570" y="641"/>
                  <a:pt x="1570" y="641"/>
                  <a:pt x="1570" y="641"/>
                </a:cubicBezTo>
                <a:cubicBezTo>
                  <a:pt x="1569" y="640"/>
                  <a:pt x="1569" y="640"/>
                  <a:pt x="1569" y="640"/>
                </a:cubicBezTo>
                <a:cubicBezTo>
                  <a:pt x="1566" y="640"/>
                  <a:pt x="1566" y="640"/>
                  <a:pt x="1566" y="640"/>
                </a:cubicBezTo>
                <a:cubicBezTo>
                  <a:pt x="1566" y="642"/>
                  <a:pt x="1566" y="642"/>
                  <a:pt x="1566" y="642"/>
                </a:cubicBezTo>
                <a:cubicBezTo>
                  <a:pt x="1564" y="642"/>
                  <a:pt x="1564" y="642"/>
                  <a:pt x="1564" y="642"/>
                </a:cubicBezTo>
                <a:cubicBezTo>
                  <a:pt x="1563" y="643"/>
                  <a:pt x="1563" y="643"/>
                  <a:pt x="1563" y="643"/>
                </a:cubicBezTo>
                <a:cubicBezTo>
                  <a:pt x="1562" y="643"/>
                  <a:pt x="1562" y="643"/>
                  <a:pt x="1562" y="643"/>
                </a:cubicBezTo>
                <a:cubicBezTo>
                  <a:pt x="1560" y="643"/>
                  <a:pt x="1560" y="643"/>
                  <a:pt x="1560" y="643"/>
                </a:cubicBezTo>
                <a:cubicBezTo>
                  <a:pt x="1558" y="645"/>
                  <a:pt x="1558" y="645"/>
                  <a:pt x="1558" y="645"/>
                </a:cubicBezTo>
                <a:cubicBezTo>
                  <a:pt x="1556" y="645"/>
                  <a:pt x="1556" y="645"/>
                  <a:pt x="1556" y="645"/>
                </a:cubicBezTo>
                <a:cubicBezTo>
                  <a:pt x="1555" y="642"/>
                  <a:pt x="1555" y="642"/>
                  <a:pt x="1555" y="642"/>
                </a:cubicBezTo>
                <a:cubicBezTo>
                  <a:pt x="1552" y="642"/>
                  <a:pt x="1552" y="642"/>
                  <a:pt x="1552" y="642"/>
                </a:cubicBezTo>
                <a:cubicBezTo>
                  <a:pt x="1551" y="642"/>
                  <a:pt x="1551" y="642"/>
                  <a:pt x="1551" y="642"/>
                </a:cubicBezTo>
                <a:cubicBezTo>
                  <a:pt x="1548" y="642"/>
                  <a:pt x="1548" y="642"/>
                  <a:pt x="1548" y="642"/>
                </a:cubicBezTo>
                <a:cubicBezTo>
                  <a:pt x="1546" y="642"/>
                  <a:pt x="1546" y="642"/>
                  <a:pt x="1546" y="642"/>
                </a:cubicBezTo>
                <a:cubicBezTo>
                  <a:pt x="1545" y="642"/>
                  <a:pt x="1545" y="642"/>
                  <a:pt x="1545" y="642"/>
                </a:cubicBezTo>
                <a:cubicBezTo>
                  <a:pt x="1543" y="642"/>
                  <a:pt x="1543" y="642"/>
                  <a:pt x="1543" y="642"/>
                </a:cubicBezTo>
                <a:cubicBezTo>
                  <a:pt x="1542" y="642"/>
                  <a:pt x="1542" y="642"/>
                  <a:pt x="1542" y="642"/>
                </a:cubicBezTo>
                <a:cubicBezTo>
                  <a:pt x="1541" y="644"/>
                  <a:pt x="1541" y="644"/>
                  <a:pt x="1541" y="644"/>
                </a:cubicBezTo>
                <a:cubicBezTo>
                  <a:pt x="1538" y="644"/>
                  <a:pt x="1538" y="644"/>
                  <a:pt x="1538" y="644"/>
                </a:cubicBezTo>
                <a:cubicBezTo>
                  <a:pt x="1537" y="643"/>
                  <a:pt x="1537" y="643"/>
                  <a:pt x="1537" y="643"/>
                </a:cubicBezTo>
                <a:cubicBezTo>
                  <a:pt x="1534" y="646"/>
                  <a:pt x="1534" y="646"/>
                  <a:pt x="1534" y="646"/>
                </a:cubicBezTo>
                <a:cubicBezTo>
                  <a:pt x="1532" y="646"/>
                  <a:pt x="1532" y="646"/>
                  <a:pt x="1532" y="646"/>
                </a:cubicBezTo>
                <a:cubicBezTo>
                  <a:pt x="1530" y="644"/>
                  <a:pt x="1530" y="644"/>
                  <a:pt x="1530" y="644"/>
                </a:cubicBezTo>
                <a:cubicBezTo>
                  <a:pt x="1528" y="645"/>
                  <a:pt x="1528" y="645"/>
                  <a:pt x="1528" y="645"/>
                </a:cubicBezTo>
                <a:cubicBezTo>
                  <a:pt x="1524" y="645"/>
                  <a:pt x="1524" y="645"/>
                  <a:pt x="1524" y="645"/>
                </a:cubicBezTo>
                <a:cubicBezTo>
                  <a:pt x="1522" y="645"/>
                  <a:pt x="1522" y="645"/>
                  <a:pt x="1522" y="645"/>
                </a:cubicBezTo>
                <a:cubicBezTo>
                  <a:pt x="1517" y="649"/>
                  <a:pt x="1517" y="649"/>
                  <a:pt x="1517" y="649"/>
                </a:cubicBezTo>
                <a:cubicBezTo>
                  <a:pt x="1514" y="649"/>
                  <a:pt x="1514" y="649"/>
                  <a:pt x="1514" y="649"/>
                </a:cubicBezTo>
                <a:cubicBezTo>
                  <a:pt x="1513" y="649"/>
                  <a:pt x="1513" y="649"/>
                  <a:pt x="1513" y="649"/>
                </a:cubicBezTo>
                <a:cubicBezTo>
                  <a:pt x="1510" y="651"/>
                  <a:pt x="1510" y="651"/>
                  <a:pt x="1510" y="651"/>
                </a:cubicBezTo>
                <a:cubicBezTo>
                  <a:pt x="1510" y="652"/>
                  <a:pt x="1510" y="652"/>
                  <a:pt x="1510" y="652"/>
                </a:cubicBezTo>
                <a:cubicBezTo>
                  <a:pt x="1509" y="654"/>
                  <a:pt x="1509" y="654"/>
                  <a:pt x="1509" y="654"/>
                </a:cubicBezTo>
                <a:cubicBezTo>
                  <a:pt x="1508" y="654"/>
                  <a:pt x="1508" y="654"/>
                  <a:pt x="1508" y="654"/>
                </a:cubicBezTo>
                <a:cubicBezTo>
                  <a:pt x="1507" y="653"/>
                  <a:pt x="1507" y="653"/>
                  <a:pt x="1507" y="653"/>
                </a:cubicBezTo>
                <a:cubicBezTo>
                  <a:pt x="1506" y="653"/>
                  <a:pt x="1506" y="653"/>
                  <a:pt x="1506" y="653"/>
                </a:cubicBezTo>
                <a:cubicBezTo>
                  <a:pt x="1505" y="654"/>
                  <a:pt x="1505" y="654"/>
                  <a:pt x="1505" y="654"/>
                </a:cubicBezTo>
                <a:cubicBezTo>
                  <a:pt x="1504" y="655"/>
                  <a:pt x="1504" y="655"/>
                  <a:pt x="1504" y="655"/>
                </a:cubicBezTo>
                <a:cubicBezTo>
                  <a:pt x="1501" y="655"/>
                  <a:pt x="1501" y="655"/>
                  <a:pt x="1501" y="655"/>
                </a:cubicBezTo>
                <a:cubicBezTo>
                  <a:pt x="1499" y="656"/>
                  <a:pt x="1499" y="656"/>
                  <a:pt x="1499" y="656"/>
                </a:cubicBezTo>
                <a:cubicBezTo>
                  <a:pt x="1498" y="657"/>
                  <a:pt x="1498" y="657"/>
                  <a:pt x="1498" y="657"/>
                </a:cubicBezTo>
                <a:cubicBezTo>
                  <a:pt x="1497" y="659"/>
                  <a:pt x="1497" y="659"/>
                  <a:pt x="1497" y="659"/>
                </a:cubicBezTo>
                <a:cubicBezTo>
                  <a:pt x="1495" y="661"/>
                  <a:pt x="1495" y="661"/>
                  <a:pt x="1495" y="661"/>
                </a:cubicBezTo>
                <a:cubicBezTo>
                  <a:pt x="1492" y="662"/>
                  <a:pt x="1492" y="662"/>
                  <a:pt x="1492" y="662"/>
                </a:cubicBezTo>
                <a:cubicBezTo>
                  <a:pt x="1489" y="662"/>
                  <a:pt x="1489" y="662"/>
                  <a:pt x="1489" y="662"/>
                </a:cubicBezTo>
                <a:cubicBezTo>
                  <a:pt x="1488" y="662"/>
                  <a:pt x="1488" y="662"/>
                  <a:pt x="1488" y="662"/>
                </a:cubicBezTo>
                <a:cubicBezTo>
                  <a:pt x="1482" y="662"/>
                  <a:pt x="1482" y="662"/>
                  <a:pt x="1482" y="662"/>
                </a:cubicBezTo>
                <a:cubicBezTo>
                  <a:pt x="1481" y="660"/>
                  <a:pt x="1481" y="660"/>
                  <a:pt x="1481" y="660"/>
                </a:cubicBezTo>
                <a:cubicBezTo>
                  <a:pt x="1480" y="658"/>
                  <a:pt x="1480" y="658"/>
                  <a:pt x="1480" y="658"/>
                </a:cubicBezTo>
                <a:cubicBezTo>
                  <a:pt x="1480" y="658"/>
                  <a:pt x="1480" y="658"/>
                  <a:pt x="1480" y="658"/>
                </a:cubicBezTo>
                <a:cubicBezTo>
                  <a:pt x="1480" y="658"/>
                  <a:pt x="1480" y="658"/>
                  <a:pt x="1480" y="658"/>
                </a:cubicBezTo>
                <a:cubicBezTo>
                  <a:pt x="1478" y="660"/>
                  <a:pt x="1478" y="660"/>
                  <a:pt x="1478" y="660"/>
                </a:cubicBezTo>
                <a:cubicBezTo>
                  <a:pt x="1475" y="661"/>
                  <a:pt x="1475" y="661"/>
                  <a:pt x="1475" y="661"/>
                </a:cubicBezTo>
                <a:cubicBezTo>
                  <a:pt x="1471" y="660"/>
                  <a:pt x="1471" y="660"/>
                  <a:pt x="1471" y="660"/>
                </a:cubicBezTo>
                <a:cubicBezTo>
                  <a:pt x="1470" y="660"/>
                  <a:pt x="1470" y="660"/>
                  <a:pt x="1470" y="660"/>
                </a:cubicBezTo>
                <a:cubicBezTo>
                  <a:pt x="1468" y="661"/>
                  <a:pt x="1468" y="661"/>
                  <a:pt x="1468" y="661"/>
                </a:cubicBezTo>
                <a:cubicBezTo>
                  <a:pt x="1464" y="661"/>
                  <a:pt x="1464" y="661"/>
                  <a:pt x="1464" y="661"/>
                </a:cubicBezTo>
                <a:cubicBezTo>
                  <a:pt x="1462" y="661"/>
                  <a:pt x="1462" y="661"/>
                  <a:pt x="1462" y="661"/>
                </a:cubicBezTo>
                <a:cubicBezTo>
                  <a:pt x="1459" y="658"/>
                  <a:pt x="1459" y="658"/>
                  <a:pt x="1459" y="658"/>
                </a:cubicBezTo>
                <a:cubicBezTo>
                  <a:pt x="1458" y="657"/>
                  <a:pt x="1458" y="657"/>
                  <a:pt x="1458" y="657"/>
                </a:cubicBezTo>
                <a:cubicBezTo>
                  <a:pt x="1458" y="655"/>
                  <a:pt x="1458" y="655"/>
                  <a:pt x="1458" y="655"/>
                </a:cubicBezTo>
                <a:cubicBezTo>
                  <a:pt x="1458" y="654"/>
                  <a:pt x="1458" y="654"/>
                  <a:pt x="1458" y="654"/>
                </a:cubicBezTo>
                <a:cubicBezTo>
                  <a:pt x="1458" y="654"/>
                  <a:pt x="1458" y="654"/>
                  <a:pt x="1458" y="654"/>
                </a:cubicBezTo>
                <a:cubicBezTo>
                  <a:pt x="1458" y="653"/>
                  <a:pt x="1458" y="653"/>
                  <a:pt x="1458" y="653"/>
                </a:cubicBezTo>
                <a:cubicBezTo>
                  <a:pt x="1456" y="654"/>
                  <a:pt x="1456" y="654"/>
                  <a:pt x="1456" y="654"/>
                </a:cubicBezTo>
                <a:cubicBezTo>
                  <a:pt x="1455" y="654"/>
                  <a:pt x="1455" y="654"/>
                  <a:pt x="1455" y="654"/>
                </a:cubicBezTo>
                <a:cubicBezTo>
                  <a:pt x="1453" y="654"/>
                  <a:pt x="1453" y="654"/>
                  <a:pt x="1453" y="654"/>
                </a:cubicBezTo>
                <a:cubicBezTo>
                  <a:pt x="1451" y="656"/>
                  <a:pt x="1451" y="656"/>
                  <a:pt x="1451" y="656"/>
                </a:cubicBezTo>
                <a:cubicBezTo>
                  <a:pt x="1451" y="662"/>
                  <a:pt x="1451" y="662"/>
                  <a:pt x="1451" y="662"/>
                </a:cubicBezTo>
                <a:cubicBezTo>
                  <a:pt x="1449" y="665"/>
                  <a:pt x="1449" y="665"/>
                  <a:pt x="1449" y="665"/>
                </a:cubicBezTo>
                <a:cubicBezTo>
                  <a:pt x="1448" y="669"/>
                  <a:pt x="1448" y="669"/>
                  <a:pt x="1448" y="669"/>
                </a:cubicBezTo>
                <a:cubicBezTo>
                  <a:pt x="1447" y="671"/>
                  <a:pt x="1447" y="671"/>
                  <a:pt x="1447" y="671"/>
                </a:cubicBezTo>
                <a:cubicBezTo>
                  <a:pt x="1442" y="676"/>
                  <a:pt x="1442" y="676"/>
                  <a:pt x="1442" y="676"/>
                </a:cubicBezTo>
                <a:cubicBezTo>
                  <a:pt x="1441" y="676"/>
                  <a:pt x="1441" y="676"/>
                  <a:pt x="1441" y="676"/>
                </a:cubicBezTo>
                <a:cubicBezTo>
                  <a:pt x="1439" y="677"/>
                  <a:pt x="1439" y="677"/>
                  <a:pt x="1439" y="677"/>
                </a:cubicBezTo>
                <a:cubicBezTo>
                  <a:pt x="1435" y="679"/>
                  <a:pt x="1435" y="679"/>
                  <a:pt x="1435" y="679"/>
                </a:cubicBezTo>
                <a:cubicBezTo>
                  <a:pt x="1433" y="682"/>
                  <a:pt x="1433" y="682"/>
                  <a:pt x="1433" y="682"/>
                </a:cubicBezTo>
                <a:cubicBezTo>
                  <a:pt x="1431" y="682"/>
                  <a:pt x="1431" y="682"/>
                  <a:pt x="1431" y="682"/>
                </a:cubicBezTo>
                <a:cubicBezTo>
                  <a:pt x="1427" y="684"/>
                  <a:pt x="1427" y="684"/>
                  <a:pt x="1427" y="684"/>
                </a:cubicBezTo>
                <a:cubicBezTo>
                  <a:pt x="1425" y="685"/>
                  <a:pt x="1425" y="685"/>
                  <a:pt x="1425" y="685"/>
                </a:cubicBezTo>
                <a:cubicBezTo>
                  <a:pt x="1424" y="687"/>
                  <a:pt x="1424" y="687"/>
                  <a:pt x="1424" y="687"/>
                </a:cubicBezTo>
                <a:cubicBezTo>
                  <a:pt x="1419" y="691"/>
                  <a:pt x="1419" y="691"/>
                  <a:pt x="1419" y="691"/>
                </a:cubicBezTo>
                <a:cubicBezTo>
                  <a:pt x="1421" y="694"/>
                  <a:pt x="1421" y="694"/>
                  <a:pt x="1421" y="694"/>
                </a:cubicBezTo>
                <a:cubicBezTo>
                  <a:pt x="1420" y="697"/>
                  <a:pt x="1420" y="697"/>
                  <a:pt x="1420" y="697"/>
                </a:cubicBezTo>
                <a:cubicBezTo>
                  <a:pt x="1416" y="700"/>
                  <a:pt x="1416" y="700"/>
                  <a:pt x="1416" y="700"/>
                </a:cubicBezTo>
                <a:cubicBezTo>
                  <a:pt x="1414" y="706"/>
                  <a:pt x="1414" y="706"/>
                  <a:pt x="1414" y="706"/>
                </a:cubicBezTo>
                <a:cubicBezTo>
                  <a:pt x="1413" y="708"/>
                  <a:pt x="1413" y="708"/>
                  <a:pt x="1413" y="708"/>
                </a:cubicBezTo>
                <a:cubicBezTo>
                  <a:pt x="1415" y="711"/>
                  <a:pt x="1415" y="711"/>
                  <a:pt x="1415" y="711"/>
                </a:cubicBezTo>
                <a:cubicBezTo>
                  <a:pt x="1414" y="715"/>
                  <a:pt x="1414" y="715"/>
                  <a:pt x="1414" y="715"/>
                </a:cubicBezTo>
                <a:cubicBezTo>
                  <a:pt x="1415" y="716"/>
                  <a:pt x="1415" y="716"/>
                  <a:pt x="1415" y="716"/>
                </a:cubicBezTo>
                <a:cubicBezTo>
                  <a:pt x="1416" y="717"/>
                  <a:pt x="1416" y="717"/>
                  <a:pt x="1416" y="717"/>
                </a:cubicBezTo>
                <a:cubicBezTo>
                  <a:pt x="1415" y="720"/>
                  <a:pt x="1415" y="720"/>
                  <a:pt x="1415" y="720"/>
                </a:cubicBezTo>
                <a:cubicBezTo>
                  <a:pt x="1409" y="727"/>
                  <a:pt x="1409" y="727"/>
                  <a:pt x="1409" y="727"/>
                </a:cubicBezTo>
                <a:cubicBezTo>
                  <a:pt x="1408" y="730"/>
                  <a:pt x="1408" y="730"/>
                  <a:pt x="1408" y="730"/>
                </a:cubicBezTo>
                <a:cubicBezTo>
                  <a:pt x="1405" y="733"/>
                  <a:pt x="1405" y="733"/>
                  <a:pt x="1405" y="733"/>
                </a:cubicBezTo>
                <a:cubicBezTo>
                  <a:pt x="1402" y="734"/>
                  <a:pt x="1402" y="734"/>
                  <a:pt x="1402" y="734"/>
                </a:cubicBezTo>
                <a:cubicBezTo>
                  <a:pt x="1395" y="740"/>
                  <a:pt x="1395" y="740"/>
                  <a:pt x="1395" y="740"/>
                </a:cubicBezTo>
                <a:cubicBezTo>
                  <a:pt x="1385" y="742"/>
                  <a:pt x="1385" y="742"/>
                  <a:pt x="1385" y="742"/>
                </a:cubicBezTo>
                <a:cubicBezTo>
                  <a:pt x="1383" y="745"/>
                  <a:pt x="1383" y="745"/>
                  <a:pt x="1383" y="745"/>
                </a:cubicBezTo>
                <a:cubicBezTo>
                  <a:pt x="1379" y="751"/>
                  <a:pt x="1379" y="751"/>
                  <a:pt x="1379" y="751"/>
                </a:cubicBezTo>
                <a:cubicBezTo>
                  <a:pt x="1379" y="755"/>
                  <a:pt x="1379" y="755"/>
                  <a:pt x="1379" y="755"/>
                </a:cubicBezTo>
                <a:cubicBezTo>
                  <a:pt x="1377" y="755"/>
                  <a:pt x="1377" y="755"/>
                  <a:pt x="1377" y="755"/>
                </a:cubicBezTo>
                <a:cubicBezTo>
                  <a:pt x="1370" y="758"/>
                  <a:pt x="1370" y="758"/>
                  <a:pt x="1370" y="758"/>
                </a:cubicBezTo>
                <a:cubicBezTo>
                  <a:pt x="1369" y="760"/>
                  <a:pt x="1369" y="760"/>
                  <a:pt x="1369" y="760"/>
                </a:cubicBezTo>
                <a:cubicBezTo>
                  <a:pt x="1366" y="762"/>
                  <a:pt x="1366" y="762"/>
                  <a:pt x="1366" y="762"/>
                </a:cubicBezTo>
                <a:cubicBezTo>
                  <a:pt x="1367" y="765"/>
                  <a:pt x="1367" y="765"/>
                  <a:pt x="1367" y="765"/>
                </a:cubicBezTo>
                <a:cubicBezTo>
                  <a:pt x="1361" y="774"/>
                  <a:pt x="1361" y="774"/>
                  <a:pt x="1361" y="774"/>
                </a:cubicBezTo>
                <a:cubicBezTo>
                  <a:pt x="1361" y="777"/>
                  <a:pt x="1361" y="777"/>
                  <a:pt x="1361" y="777"/>
                </a:cubicBezTo>
                <a:cubicBezTo>
                  <a:pt x="1356" y="781"/>
                  <a:pt x="1356" y="781"/>
                  <a:pt x="1356" y="781"/>
                </a:cubicBezTo>
                <a:cubicBezTo>
                  <a:pt x="1354" y="782"/>
                  <a:pt x="1354" y="782"/>
                  <a:pt x="1354" y="782"/>
                </a:cubicBezTo>
                <a:cubicBezTo>
                  <a:pt x="1352" y="787"/>
                  <a:pt x="1352" y="787"/>
                  <a:pt x="1352" y="787"/>
                </a:cubicBezTo>
                <a:cubicBezTo>
                  <a:pt x="1352" y="789"/>
                  <a:pt x="1352" y="789"/>
                  <a:pt x="1352" y="789"/>
                </a:cubicBezTo>
                <a:cubicBezTo>
                  <a:pt x="1348" y="794"/>
                  <a:pt x="1348" y="794"/>
                  <a:pt x="1348" y="794"/>
                </a:cubicBezTo>
                <a:cubicBezTo>
                  <a:pt x="1348" y="795"/>
                  <a:pt x="1348" y="795"/>
                  <a:pt x="1348" y="795"/>
                </a:cubicBezTo>
                <a:cubicBezTo>
                  <a:pt x="1349" y="796"/>
                  <a:pt x="1349" y="796"/>
                  <a:pt x="1349" y="796"/>
                </a:cubicBezTo>
                <a:cubicBezTo>
                  <a:pt x="1347" y="797"/>
                  <a:pt x="1347" y="797"/>
                  <a:pt x="1347" y="797"/>
                </a:cubicBezTo>
                <a:cubicBezTo>
                  <a:pt x="1344" y="803"/>
                  <a:pt x="1344" y="803"/>
                  <a:pt x="1344" y="803"/>
                </a:cubicBezTo>
                <a:cubicBezTo>
                  <a:pt x="1343" y="803"/>
                  <a:pt x="1343" y="803"/>
                  <a:pt x="1343" y="803"/>
                </a:cubicBezTo>
                <a:cubicBezTo>
                  <a:pt x="1342" y="805"/>
                  <a:pt x="1342" y="805"/>
                  <a:pt x="1342" y="805"/>
                </a:cubicBezTo>
                <a:cubicBezTo>
                  <a:pt x="1342" y="807"/>
                  <a:pt x="1342" y="807"/>
                  <a:pt x="1342" y="807"/>
                </a:cubicBezTo>
                <a:cubicBezTo>
                  <a:pt x="1341" y="809"/>
                  <a:pt x="1341" y="809"/>
                  <a:pt x="1341" y="809"/>
                </a:cubicBezTo>
                <a:cubicBezTo>
                  <a:pt x="1341" y="813"/>
                  <a:pt x="1341" y="813"/>
                  <a:pt x="1341" y="813"/>
                </a:cubicBezTo>
                <a:cubicBezTo>
                  <a:pt x="1341" y="813"/>
                  <a:pt x="1341" y="813"/>
                  <a:pt x="1341" y="813"/>
                </a:cubicBezTo>
                <a:cubicBezTo>
                  <a:pt x="1340" y="815"/>
                  <a:pt x="1340" y="815"/>
                  <a:pt x="1340" y="815"/>
                </a:cubicBezTo>
                <a:cubicBezTo>
                  <a:pt x="1340" y="819"/>
                  <a:pt x="1340" y="819"/>
                  <a:pt x="1340" y="819"/>
                </a:cubicBezTo>
                <a:cubicBezTo>
                  <a:pt x="1342" y="817"/>
                  <a:pt x="1342" y="817"/>
                  <a:pt x="1342" y="817"/>
                </a:cubicBezTo>
                <a:cubicBezTo>
                  <a:pt x="1343" y="819"/>
                  <a:pt x="1343" y="819"/>
                  <a:pt x="1343" y="819"/>
                </a:cubicBezTo>
                <a:cubicBezTo>
                  <a:pt x="1344" y="819"/>
                  <a:pt x="1344" y="819"/>
                  <a:pt x="1344" y="819"/>
                </a:cubicBezTo>
                <a:cubicBezTo>
                  <a:pt x="1345" y="818"/>
                  <a:pt x="1345" y="818"/>
                  <a:pt x="1345" y="818"/>
                </a:cubicBezTo>
                <a:cubicBezTo>
                  <a:pt x="1348" y="823"/>
                  <a:pt x="1348" y="823"/>
                  <a:pt x="1348" y="823"/>
                </a:cubicBezTo>
                <a:cubicBezTo>
                  <a:pt x="1347" y="824"/>
                  <a:pt x="1347" y="824"/>
                  <a:pt x="1347" y="824"/>
                </a:cubicBezTo>
                <a:cubicBezTo>
                  <a:pt x="1348" y="826"/>
                  <a:pt x="1348" y="826"/>
                  <a:pt x="1348" y="826"/>
                </a:cubicBezTo>
                <a:cubicBezTo>
                  <a:pt x="1347" y="830"/>
                  <a:pt x="1347" y="830"/>
                  <a:pt x="1347" y="830"/>
                </a:cubicBezTo>
                <a:cubicBezTo>
                  <a:pt x="1345" y="830"/>
                  <a:pt x="1345" y="830"/>
                  <a:pt x="1345" y="830"/>
                </a:cubicBezTo>
                <a:cubicBezTo>
                  <a:pt x="1344" y="831"/>
                  <a:pt x="1344" y="831"/>
                  <a:pt x="1344" y="831"/>
                </a:cubicBezTo>
                <a:cubicBezTo>
                  <a:pt x="1347" y="835"/>
                  <a:pt x="1347" y="835"/>
                  <a:pt x="1347" y="835"/>
                </a:cubicBezTo>
                <a:cubicBezTo>
                  <a:pt x="1349" y="845"/>
                  <a:pt x="1349" y="845"/>
                  <a:pt x="1349" y="845"/>
                </a:cubicBezTo>
                <a:cubicBezTo>
                  <a:pt x="1349" y="853"/>
                  <a:pt x="1349" y="853"/>
                  <a:pt x="1349" y="853"/>
                </a:cubicBezTo>
                <a:cubicBezTo>
                  <a:pt x="1346" y="856"/>
                  <a:pt x="1346" y="856"/>
                  <a:pt x="1346" y="856"/>
                </a:cubicBezTo>
                <a:cubicBezTo>
                  <a:pt x="1344" y="862"/>
                  <a:pt x="1344" y="862"/>
                  <a:pt x="1344" y="862"/>
                </a:cubicBezTo>
                <a:cubicBezTo>
                  <a:pt x="1344" y="867"/>
                  <a:pt x="1344" y="867"/>
                  <a:pt x="1344" y="867"/>
                </a:cubicBezTo>
                <a:cubicBezTo>
                  <a:pt x="1343" y="870"/>
                  <a:pt x="1343" y="870"/>
                  <a:pt x="1343" y="870"/>
                </a:cubicBezTo>
                <a:cubicBezTo>
                  <a:pt x="1341" y="875"/>
                  <a:pt x="1341" y="875"/>
                  <a:pt x="1341" y="875"/>
                </a:cubicBezTo>
                <a:cubicBezTo>
                  <a:pt x="1335" y="880"/>
                  <a:pt x="1335" y="880"/>
                  <a:pt x="1335" y="880"/>
                </a:cubicBezTo>
                <a:cubicBezTo>
                  <a:pt x="1338" y="883"/>
                  <a:pt x="1338" y="883"/>
                  <a:pt x="1338" y="883"/>
                </a:cubicBezTo>
                <a:cubicBezTo>
                  <a:pt x="1340" y="887"/>
                  <a:pt x="1340" y="887"/>
                  <a:pt x="1340" y="887"/>
                </a:cubicBezTo>
                <a:cubicBezTo>
                  <a:pt x="1342" y="887"/>
                  <a:pt x="1342" y="887"/>
                  <a:pt x="1342" y="887"/>
                </a:cubicBezTo>
                <a:cubicBezTo>
                  <a:pt x="1342" y="889"/>
                  <a:pt x="1342" y="889"/>
                  <a:pt x="1342" y="889"/>
                </a:cubicBezTo>
                <a:cubicBezTo>
                  <a:pt x="1341" y="890"/>
                  <a:pt x="1341" y="890"/>
                  <a:pt x="1341" y="890"/>
                </a:cubicBezTo>
                <a:cubicBezTo>
                  <a:pt x="1344" y="891"/>
                  <a:pt x="1344" y="891"/>
                  <a:pt x="1344" y="891"/>
                </a:cubicBezTo>
                <a:cubicBezTo>
                  <a:pt x="1342" y="892"/>
                  <a:pt x="1342" y="892"/>
                  <a:pt x="1342" y="892"/>
                </a:cubicBezTo>
                <a:cubicBezTo>
                  <a:pt x="1343" y="893"/>
                  <a:pt x="1343" y="893"/>
                  <a:pt x="1343" y="893"/>
                </a:cubicBezTo>
                <a:cubicBezTo>
                  <a:pt x="1343" y="895"/>
                  <a:pt x="1343" y="895"/>
                  <a:pt x="1343" y="895"/>
                </a:cubicBezTo>
                <a:cubicBezTo>
                  <a:pt x="1346" y="896"/>
                  <a:pt x="1346" y="896"/>
                  <a:pt x="1346" y="896"/>
                </a:cubicBezTo>
                <a:cubicBezTo>
                  <a:pt x="1348" y="895"/>
                  <a:pt x="1348" y="895"/>
                  <a:pt x="1348" y="895"/>
                </a:cubicBezTo>
                <a:cubicBezTo>
                  <a:pt x="1347" y="897"/>
                  <a:pt x="1347" y="897"/>
                  <a:pt x="1347" y="897"/>
                </a:cubicBezTo>
                <a:cubicBezTo>
                  <a:pt x="1344" y="897"/>
                  <a:pt x="1344" y="897"/>
                  <a:pt x="1344" y="897"/>
                </a:cubicBezTo>
                <a:cubicBezTo>
                  <a:pt x="1342" y="894"/>
                  <a:pt x="1342" y="894"/>
                  <a:pt x="1342" y="894"/>
                </a:cubicBezTo>
                <a:cubicBezTo>
                  <a:pt x="1340" y="896"/>
                  <a:pt x="1340" y="896"/>
                  <a:pt x="1340" y="896"/>
                </a:cubicBezTo>
                <a:cubicBezTo>
                  <a:pt x="1341" y="897"/>
                  <a:pt x="1341" y="897"/>
                  <a:pt x="1341" y="897"/>
                </a:cubicBezTo>
                <a:cubicBezTo>
                  <a:pt x="1341" y="901"/>
                  <a:pt x="1341" y="901"/>
                  <a:pt x="1341" y="901"/>
                </a:cubicBezTo>
                <a:cubicBezTo>
                  <a:pt x="1340" y="902"/>
                  <a:pt x="1340" y="902"/>
                  <a:pt x="1340" y="902"/>
                </a:cubicBezTo>
                <a:cubicBezTo>
                  <a:pt x="1341" y="902"/>
                  <a:pt x="1341" y="902"/>
                  <a:pt x="1341" y="902"/>
                </a:cubicBezTo>
                <a:cubicBezTo>
                  <a:pt x="1343" y="901"/>
                  <a:pt x="1343" y="901"/>
                  <a:pt x="1343" y="901"/>
                </a:cubicBezTo>
                <a:cubicBezTo>
                  <a:pt x="1346" y="902"/>
                  <a:pt x="1346" y="902"/>
                  <a:pt x="1346" y="902"/>
                </a:cubicBezTo>
                <a:cubicBezTo>
                  <a:pt x="1344" y="904"/>
                  <a:pt x="1344" y="904"/>
                  <a:pt x="1344" y="904"/>
                </a:cubicBezTo>
                <a:cubicBezTo>
                  <a:pt x="1343" y="903"/>
                  <a:pt x="1343" y="903"/>
                  <a:pt x="1343" y="903"/>
                </a:cubicBezTo>
                <a:cubicBezTo>
                  <a:pt x="1341" y="903"/>
                  <a:pt x="1341" y="903"/>
                  <a:pt x="1341" y="903"/>
                </a:cubicBezTo>
                <a:cubicBezTo>
                  <a:pt x="1342" y="904"/>
                  <a:pt x="1342" y="904"/>
                  <a:pt x="1342" y="904"/>
                </a:cubicBezTo>
                <a:cubicBezTo>
                  <a:pt x="1342" y="906"/>
                  <a:pt x="1342" y="906"/>
                  <a:pt x="1342" y="906"/>
                </a:cubicBezTo>
                <a:cubicBezTo>
                  <a:pt x="1342" y="906"/>
                  <a:pt x="1342" y="906"/>
                  <a:pt x="1342" y="906"/>
                </a:cubicBezTo>
                <a:cubicBezTo>
                  <a:pt x="1343" y="907"/>
                  <a:pt x="1343" y="907"/>
                  <a:pt x="1343" y="907"/>
                </a:cubicBezTo>
                <a:cubicBezTo>
                  <a:pt x="1346" y="907"/>
                  <a:pt x="1346" y="907"/>
                  <a:pt x="1346" y="907"/>
                </a:cubicBezTo>
                <a:cubicBezTo>
                  <a:pt x="1348" y="907"/>
                  <a:pt x="1348" y="907"/>
                  <a:pt x="1348" y="907"/>
                </a:cubicBezTo>
                <a:cubicBezTo>
                  <a:pt x="1346" y="909"/>
                  <a:pt x="1346" y="909"/>
                  <a:pt x="1346" y="909"/>
                </a:cubicBezTo>
                <a:cubicBezTo>
                  <a:pt x="1348" y="911"/>
                  <a:pt x="1348" y="911"/>
                  <a:pt x="1348" y="911"/>
                </a:cubicBezTo>
                <a:cubicBezTo>
                  <a:pt x="1350" y="911"/>
                  <a:pt x="1350" y="911"/>
                  <a:pt x="1350" y="911"/>
                </a:cubicBezTo>
                <a:cubicBezTo>
                  <a:pt x="1350" y="912"/>
                  <a:pt x="1350" y="912"/>
                  <a:pt x="1350" y="912"/>
                </a:cubicBezTo>
                <a:cubicBezTo>
                  <a:pt x="1351" y="912"/>
                  <a:pt x="1351" y="912"/>
                  <a:pt x="1351" y="912"/>
                </a:cubicBezTo>
                <a:cubicBezTo>
                  <a:pt x="1354" y="911"/>
                  <a:pt x="1354" y="911"/>
                  <a:pt x="1354" y="911"/>
                </a:cubicBezTo>
                <a:cubicBezTo>
                  <a:pt x="1356" y="911"/>
                  <a:pt x="1356" y="911"/>
                  <a:pt x="1356" y="911"/>
                </a:cubicBezTo>
                <a:cubicBezTo>
                  <a:pt x="1359" y="912"/>
                  <a:pt x="1359" y="912"/>
                  <a:pt x="1359" y="912"/>
                </a:cubicBezTo>
                <a:cubicBezTo>
                  <a:pt x="1358" y="913"/>
                  <a:pt x="1358" y="913"/>
                  <a:pt x="1358" y="913"/>
                </a:cubicBezTo>
                <a:cubicBezTo>
                  <a:pt x="1353" y="913"/>
                  <a:pt x="1353" y="913"/>
                  <a:pt x="1353" y="913"/>
                </a:cubicBezTo>
                <a:cubicBezTo>
                  <a:pt x="1354" y="914"/>
                  <a:pt x="1354" y="914"/>
                  <a:pt x="1354" y="914"/>
                </a:cubicBezTo>
                <a:cubicBezTo>
                  <a:pt x="1356" y="914"/>
                  <a:pt x="1356" y="914"/>
                  <a:pt x="1356" y="914"/>
                </a:cubicBezTo>
                <a:cubicBezTo>
                  <a:pt x="1357" y="915"/>
                  <a:pt x="1357" y="915"/>
                  <a:pt x="1357" y="915"/>
                </a:cubicBezTo>
                <a:cubicBezTo>
                  <a:pt x="1356" y="916"/>
                  <a:pt x="1356" y="916"/>
                  <a:pt x="1356" y="916"/>
                </a:cubicBezTo>
                <a:cubicBezTo>
                  <a:pt x="1357" y="916"/>
                  <a:pt x="1357" y="916"/>
                  <a:pt x="1357" y="916"/>
                </a:cubicBezTo>
                <a:cubicBezTo>
                  <a:pt x="1355" y="918"/>
                  <a:pt x="1355" y="918"/>
                  <a:pt x="1355" y="918"/>
                </a:cubicBezTo>
                <a:cubicBezTo>
                  <a:pt x="1359" y="918"/>
                  <a:pt x="1359" y="918"/>
                  <a:pt x="1359" y="918"/>
                </a:cubicBezTo>
                <a:cubicBezTo>
                  <a:pt x="1359" y="920"/>
                  <a:pt x="1359" y="920"/>
                  <a:pt x="1359" y="920"/>
                </a:cubicBezTo>
                <a:cubicBezTo>
                  <a:pt x="1359" y="920"/>
                  <a:pt x="1359" y="920"/>
                  <a:pt x="1359" y="920"/>
                </a:cubicBezTo>
                <a:cubicBezTo>
                  <a:pt x="1362" y="920"/>
                  <a:pt x="1362" y="920"/>
                  <a:pt x="1362" y="920"/>
                </a:cubicBezTo>
                <a:cubicBezTo>
                  <a:pt x="1362" y="920"/>
                  <a:pt x="1362" y="920"/>
                  <a:pt x="1362" y="920"/>
                </a:cubicBezTo>
                <a:cubicBezTo>
                  <a:pt x="1364" y="921"/>
                  <a:pt x="1364" y="921"/>
                  <a:pt x="1364" y="921"/>
                </a:cubicBezTo>
                <a:cubicBezTo>
                  <a:pt x="1363" y="925"/>
                  <a:pt x="1363" y="925"/>
                  <a:pt x="1363" y="925"/>
                </a:cubicBezTo>
                <a:cubicBezTo>
                  <a:pt x="1365" y="928"/>
                  <a:pt x="1365" y="928"/>
                  <a:pt x="1365" y="928"/>
                </a:cubicBezTo>
                <a:cubicBezTo>
                  <a:pt x="1367" y="928"/>
                  <a:pt x="1367" y="928"/>
                  <a:pt x="1367" y="928"/>
                </a:cubicBezTo>
                <a:cubicBezTo>
                  <a:pt x="1369" y="929"/>
                  <a:pt x="1369" y="929"/>
                  <a:pt x="1369" y="929"/>
                </a:cubicBezTo>
                <a:cubicBezTo>
                  <a:pt x="1370" y="928"/>
                  <a:pt x="1370" y="928"/>
                  <a:pt x="1370" y="928"/>
                </a:cubicBezTo>
                <a:cubicBezTo>
                  <a:pt x="1371" y="928"/>
                  <a:pt x="1371" y="928"/>
                  <a:pt x="1371" y="928"/>
                </a:cubicBezTo>
                <a:cubicBezTo>
                  <a:pt x="1371" y="929"/>
                  <a:pt x="1371" y="929"/>
                  <a:pt x="1371" y="929"/>
                </a:cubicBezTo>
                <a:cubicBezTo>
                  <a:pt x="1370" y="931"/>
                  <a:pt x="1370" y="931"/>
                  <a:pt x="1370" y="931"/>
                </a:cubicBezTo>
                <a:cubicBezTo>
                  <a:pt x="1371" y="932"/>
                  <a:pt x="1371" y="932"/>
                  <a:pt x="1371" y="932"/>
                </a:cubicBezTo>
                <a:cubicBezTo>
                  <a:pt x="1374" y="932"/>
                  <a:pt x="1374" y="932"/>
                  <a:pt x="1374" y="932"/>
                </a:cubicBezTo>
                <a:cubicBezTo>
                  <a:pt x="1374" y="935"/>
                  <a:pt x="1374" y="935"/>
                  <a:pt x="1374" y="935"/>
                </a:cubicBezTo>
                <a:cubicBezTo>
                  <a:pt x="1377" y="936"/>
                  <a:pt x="1377" y="936"/>
                  <a:pt x="1377" y="936"/>
                </a:cubicBezTo>
                <a:cubicBezTo>
                  <a:pt x="1379" y="938"/>
                  <a:pt x="1379" y="938"/>
                  <a:pt x="1379" y="938"/>
                </a:cubicBezTo>
                <a:cubicBezTo>
                  <a:pt x="1379" y="938"/>
                  <a:pt x="1379" y="938"/>
                  <a:pt x="1379" y="938"/>
                </a:cubicBezTo>
                <a:cubicBezTo>
                  <a:pt x="1378" y="940"/>
                  <a:pt x="1378" y="940"/>
                  <a:pt x="1378" y="940"/>
                </a:cubicBezTo>
                <a:cubicBezTo>
                  <a:pt x="1377" y="941"/>
                  <a:pt x="1377" y="941"/>
                  <a:pt x="1377" y="941"/>
                </a:cubicBezTo>
                <a:cubicBezTo>
                  <a:pt x="1379" y="942"/>
                  <a:pt x="1379" y="942"/>
                  <a:pt x="1379" y="942"/>
                </a:cubicBezTo>
                <a:cubicBezTo>
                  <a:pt x="1378" y="944"/>
                  <a:pt x="1378" y="944"/>
                  <a:pt x="1378" y="944"/>
                </a:cubicBezTo>
                <a:cubicBezTo>
                  <a:pt x="1378" y="946"/>
                  <a:pt x="1378" y="946"/>
                  <a:pt x="1378" y="946"/>
                </a:cubicBezTo>
                <a:cubicBezTo>
                  <a:pt x="1380" y="946"/>
                  <a:pt x="1380" y="946"/>
                  <a:pt x="1380" y="946"/>
                </a:cubicBezTo>
                <a:cubicBezTo>
                  <a:pt x="1381" y="950"/>
                  <a:pt x="1381" y="950"/>
                  <a:pt x="1381" y="950"/>
                </a:cubicBezTo>
                <a:cubicBezTo>
                  <a:pt x="1381" y="952"/>
                  <a:pt x="1381" y="952"/>
                  <a:pt x="1381" y="952"/>
                </a:cubicBezTo>
                <a:cubicBezTo>
                  <a:pt x="1383" y="954"/>
                  <a:pt x="1383" y="954"/>
                  <a:pt x="1383" y="954"/>
                </a:cubicBezTo>
                <a:cubicBezTo>
                  <a:pt x="1386" y="954"/>
                  <a:pt x="1386" y="954"/>
                  <a:pt x="1386" y="954"/>
                </a:cubicBezTo>
                <a:cubicBezTo>
                  <a:pt x="1386" y="954"/>
                  <a:pt x="1386" y="954"/>
                  <a:pt x="1386" y="954"/>
                </a:cubicBezTo>
                <a:cubicBezTo>
                  <a:pt x="1385" y="956"/>
                  <a:pt x="1385" y="956"/>
                  <a:pt x="1385" y="956"/>
                </a:cubicBezTo>
                <a:cubicBezTo>
                  <a:pt x="1386" y="957"/>
                  <a:pt x="1386" y="957"/>
                  <a:pt x="1386" y="957"/>
                </a:cubicBezTo>
                <a:cubicBezTo>
                  <a:pt x="1387" y="959"/>
                  <a:pt x="1387" y="959"/>
                  <a:pt x="1387" y="959"/>
                </a:cubicBezTo>
                <a:cubicBezTo>
                  <a:pt x="1387" y="960"/>
                  <a:pt x="1387" y="960"/>
                  <a:pt x="1387" y="960"/>
                </a:cubicBezTo>
                <a:cubicBezTo>
                  <a:pt x="1389" y="960"/>
                  <a:pt x="1389" y="960"/>
                  <a:pt x="1389" y="960"/>
                </a:cubicBezTo>
                <a:cubicBezTo>
                  <a:pt x="1395" y="963"/>
                  <a:pt x="1395" y="963"/>
                  <a:pt x="1395" y="963"/>
                </a:cubicBezTo>
                <a:cubicBezTo>
                  <a:pt x="1398" y="963"/>
                  <a:pt x="1398" y="963"/>
                  <a:pt x="1398" y="963"/>
                </a:cubicBezTo>
                <a:cubicBezTo>
                  <a:pt x="1400" y="964"/>
                  <a:pt x="1400" y="964"/>
                  <a:pt x="1400" y="964"/>
                </a:cubicBezTo>
                <a:cubicBezTo>
                  <a:pt x="1399" y="965"/>
                  <a:pt x="1399" y="965"/>
                  <a:pt x="1399" y="965"/>
                </a:cubicBezTo>
                <a:cubicBezTo>
                  <a:pt x="1401" y="966"/>
                  <a:pt x="1401" y="966"/>
                  <a:pt x="1401" y="966"/>
                </a:cubicBezTo>
                <a:cubicBezTo>
                  <a:pt x="1403" y="970"/>
                  <a:pt x="1403" y="970"/>
                  <a:pt x="1403" y="970"/>
                </a:cubicBezTo>
                <a:cubicBezTo>
                  <a:pt x="1405" y="970"/>
                  <a:pt x="1405" y="970"/>
                  <a:pt x="1405" y="970"/>
                </a:cubicBezTo>
                <a:cubicBezTo>
                  <a:pt x="1409" y="973"/>
                  <a:pt x="1409" y="973"/>
                  <a:pt x="1409" y="973"/>
                </a:cubicBezTo>
                <a:cubicBezTo>
                  <a:pt x="1409" y="973"/>
                  <a:pt x="1409" y="973"/>
                  <a:pt x="1409" y="973"/>
                </a:cubicBezTo>
                <a:cubicBezTo>
                  <a:pt x="1409" y="973"/>
                  <a:pt x="1409" y="973"/>
                  <a:pt x="1409" y="973"/>
                </a:cubicBezTo>
                <a:cubicBezTo>
                  <a:pt x="1415" y="979"/>
                  <a:pt x="1415" y="979"/>
                  <a:pt x="1415" y="979"/>
                </a:cubicBezTo>
                <a:cubicBezTo>
                  <a:pt x="1418" y="979"/>
                  <a:pt x="1418" y="979"/>
                  <a:pt x="1418" y="979"/>
                </a:cubicBezTo>
                <a:cubicBezTo>
                  <a:pt x="1425" y="985"/>
                  <a:pt x="1425" y="985"/>
                  <a:pt x="1425" y="985"/>
                </a:cubicBezTo>
                <a:cubicBezTo>
                  <a:pt x="1435" y="989"/>
                  <a:pt x="1435" y="989"/>
                  <a:pt x="1435" y="989"/>
                </a:cubicBezTo>
                <a:cubicBezTo>
                  <a:pt x="1436" y="989"/>
                  <a:pt x="1436" y="989"/>
                  <a:pt x="1436" y="989"/>
                </a:cubicBezTo>
                <a:cubicBezTo>
                  <a:pt x="1440" y="986"/>
                  <a:pt x="1440" y="986"/>
                  <a:pt x="1440" y="986"/>
                </a:cubicBezTo>
                <a:cubicBezTo>
                  <a:pt x="1442" y="986"/>
                  <a:pt x="1442" y="986"/>
                  <a:pt x="1442" y="986"/>
                </a:cubicBezTo>
                <a:cubicBezTo>
                  <a:pt x="1443" y="985"/>
                  <a:pt x="1443" y="985"/>
                  <a:pt x="1443" y="985"/>
                </a:cubicBezTo>
                <a:cubicBezTo>
                  <a:pt x="1450" y="982"/>
                  <a:pt x="1450" y="982"/>
                  <a:pt x="1450" y="982"/>
                </a:cubicBezTo>
                <a:cubicBezTo>
                  <a:pt x="1450" y="981"/>
                  <a:pt x="1450" y="981"/>
                  <a:pt x="1450" y="981"/>
                </a:cubicBezTo>
                <a:cubicBezTo>
                  <a:pt x="1454" y="981"/>
                  <a:pt x="1454" y="981"/>
                  <a:pt x="1454" y="981"/>
                </a:cubicBezTo>
                <a:cubicBezTo>
                  <a:pt x="1467" y="981"/>
                  <a:pt x="1467" y="981"/>
                  <a:pt x="1467" y="981"/>
                </a:cubicBezTo>
                <a:cubicBezTo>
                  <a:pt x="1472" y="979"/>
                  <a:pt x="1472" y="979"/>
                  <a:pt x="1472" y="979"/>
                </a:cubicBezTo>
                <a:cubicBezTo>
                  <a:pt x="1477" y="981"/>
                  <a:pt x="1477" y="981"/>
                  <a:pt x="1477" y="981"/>
                </a:cubicBezTo>
                <a:cubicBezTo>
                  <a:pt x="1477" y="979"/>
                  <a:pt x="1477" y="979"/>
                  <a:pt x="1477" y="979"/>
                </a:cubicBezTo>
                <a:cubicBezTo>
                  <a:pt x="1479" y="978"/>
                  <a:pt x="1479" y="978"/>
                  <a:pt x="1479" y="978"/>
                </a:cubicBezTo>
                <a:cubicBezTo>
                  <a:pt x="1481" y="981"/>
                  <a:pt x="1481" y="981"/>
                  <a:pt x="1481" y="981"/>
                </a:cubicBezTo>
                <a:cubicBezTo>
                  <a:pt x="1481" y="982"/>
                  <a:pt x="1481" y="982"/>
                  <a:pt x="1481" y="982"/>
                </a:cubicBezTo>
                <a:cubicBezTo>
                  <a:pt x="1487" y="983"/>
                  <a:pt x="1487" y="983"/>
                  <a:pt x="1487" y="983"/>
                </a:cubicBezTo>
                <a:cubicBezTo>
                  <a:pt x="1491" y="985"/>
                  <a:pt x="1491" y="985"/>
                  <a:pt x="1491" y="985"/>
                </a:cubicBezTo>
                <a:cubicBezTo>
                  <a:pt x="1499" y="980"/>
                  <a:pt x="1499" y="980"/>
                  <a:pt x="1499" y="980"/>
                </a:cubicBezTo>
                <a:cubicBezTo>
                  <a:pt x="1505" y="980"/>
                  <a:pt x="1505" y="980"/>
                  <a:pt x="1505" y="980"/>
                </a:cubicBezTo>
                <a:cubicBezTo>
                  <a:pt x="1511" y="975"/>
                  <a:pt x="1511" y="975"/>
                  <a:pt x="1511" y="975"/>
                </a:cubicBezTo>
                <a:cubicBezTo>
                  <a:pt x="1516" y="973"/>
                  <a:pt x="1516" y="973"/>
                  <a:pt x="1516" y="973"/>
                </a:cubicBezTo>
                <a:cubicBezTo>
                  <a:pt x="1521" y="972"/>
                  <a:pt x="1521" y="972"/>
                  <a:pt x="1521" y="972"/>
                </a:cubicBezTo>
                <a:cubicBezTo>
                  <a:pt x="1522" y="972"/>
                  <a:pt x="1522" y="972"/>
                  <a:pt x="1522" y="972"/>
                </a:cubicBezTo>
                <a:cubicBezTo>
                  <a:pt x="1527" y="969"/>
                  <a:pt x="1527" y="969"/>
                  <a:pt x="1527" y="969"/>
                </a:cubicBezTo>
                <a:cubicBezTo>
                  <a:pt x="1528" y="969"/>
                  <a:pt x="1528" y="969"/>
                  <a:pt x="1528" y="969"/>
                </a:cubicBezTo>
                <a:cubicBezTo>
                  <a:pt x="1532" y="969"/>
                  <a:pt x="1532" y="969"/>
                  <a:pt x="1532" y="969"/>
                </a:cubicBezTo>
                <a:cubicBezTo>
                  <a:pt x="1539" y="967"/>
                  <a:pt x="1539" y="967"/>
                  <a:pt x="1539" y="967"/>
                </a:cubicBezTo>
                <a:cubicBezTo>
                  <a:pt x="1539" y="967"/>
                  <a:pt x="1539" y="967"/>
                  <a:pt x="1539" y="967"/>
                </a:cubicBezTo>
                <a:cubicBezTo>
                  <a:pt x="1543" y="968"/>
                  <a:pt x="1543" y="968"/>
                  <a:pt x="1543" y="968"/>
                </a:cubicBezTo>
                <a:cubicBezTo>
                  <a:pt x="1547" y="967"/>
                  <a:pt x="1547" y="967"/>
                  <a:pt x="1547" y="967"/>
                </a:cubicBezTo>
                <a:cubicBezTo>
                  <a:pt x="1554" y="971"/>
                  <a:pt x="1554" y="971"/>
                  <a:pt x="1554" y="971"/>
                </a:cubicBezTo>
                <a:cubicBezTo>
                  <a:pt x="1558" y="975"/>
                  <a:pt x="1558" y="975"/>
                  <a:pt x="1558" y="975"/>
                </a:cubicBezTo>
                <a:cubicBezTo>
                  <a:pt x="1561" y="980"/>
                  <a:pt x="1561" y="980"/>
                  <a:pt x="1561" y="980"/>
                </a:cubicBezTo>
                <a:cubicBezTo>
                  <a:pt x="1561" y="983"/>
                  <a:pt x="1561" y="983"/>
                  <a:pt x="1561" y="983"/>
                </a:cubicBezTo>
                <a:cubicBezTo>
                  <a:pt x="1562" y="983"/>
                  <a:pt x="1562" y="983"/>
                  <a:pt x="1562" y="983"/>
                </a:cubicBezTo>
                <a:cubicBezTo>
                  <a:pt x="1563" y="987"/>
                  <a:pt x="1563" y="987"/>
                  <a:pt x="1563" y="987"/>
                </a:cubicBezTo>
                <a:cubicBezTo>
                  <a:pt x="1566" y="989"/>
                  <a:pt x="1566" y="989"/>
                  <a:pt x="1566" y="989"/>
                </a:cubicBezTo>
                <a:cubicBezTo>
                  <a:pt x="1569" y="990"/>
                  <a:pt x="1569" y="990"/>
                  <a:pt x="1569" y="990"/>
                </a:cubicBezTo>
                <a:cubicBezTo>
                  <a:pt x="1579" y="990"/>
                  <a:pt x="1579" y="990"/>
                  <a:pt x="1579" y="990"/>
                </a:cubicBezTo>
                <a:cubicBezTo>
                  <a:pt x="1581" y="989"/>
                  <a:pt x="1581" y="989"/>
                  <a:pt x="1581" y="989"/>
                </a:cubicBezTo>
                <a:cubicBezTo>
                  <a:pt x="1583" y="989"/>
                  <a:pt x="1583" y="989"/>
                  <a:pt x="1583" y="989"/>
                </a:cubicBezTo>
                <a:cubicBezTo>
                  <a:pt x="1587" y="988"/>
                  <a:pt x="1587" y="988"/>
                  <a:pt x="1587" y="988"/>
                </a:cubicBezTo>
                <a:cubicBezTo>
                  <a:pt x="1589" y="988"/>
                  <a:pt x="1589" y="988"/>
                  <a:pt x="1589" y="988"/>
                </a:cubicBezTo>
                <a:cubicBezTo>
                  <a:pt x="1591" y="988"/>
                  <a:pt x="1591" y="988"/>
                  <a:pt x="1591" y="988"/>
                </a:cubicBezTo>
                <a:cubicBezTo>
                  <a:pt x="1592" y="985"/>
                  <a:pt x="1592" y="985"/>
                  <a:pt x="1592" y="985"/>
                </a:cubicBezTo>
                <a:cubicBezTo>
                  <a:pt x="1594" y="987"/>
                  <a:pt x="1594" y="987"/>
                  <a:pt x="1594" y="987"/>
                </a:cubicBezTo>
                <a:cubicBezTo>
                  <a:pt x="1595" y="986"/>
                  <a:pt x="1595" y="986"/>
                  <a:pt x="1595" y="986"/>
                </a:cubicBezTo>
                <a:cubicBezTo>
                  <a:pt x="1595" y="986"/>
                  <a:pt x="1595" y="986"/>
                  <a:pt x="1595" y="986"/>
                </a:cubicBezTo>
                <a:cubicBezTo>
                  <a:pt x="1596" y="987"/>
                  <a:pt x="1596" y="987"/>
                  <a:pt x="1596" y="987"/>
                </a:cubicBezTo>
                <a:cubicBezTo>
                  <a:pt x="1598" y="986"/>
                  <a:pt x="1598" y="986"/>
                  <a:pt x="1598" y="986"/>
                </a:cubicBezTo>
                <a:cubicBezTo>
                  <a:pt x="1599" y="992"/>
                  <a:pt x="1599" y="992"/>
                  <a:pt x="1599" y="992"/>
                </a:cubicBezTo>
                <a:cubicBezTo>
                  <a:pt x="1601" y="993"/>
                  <a:pt x="1601" y="993"/>
                  <a:pt x="1601" y="993"/>
                </a:cubicBezTo>
                <a:cubicBezTo>
                  <a:pt x="1602" y="994"/>
                  <a:pt x="1602" y="994"/>
                  <a:pt x="1602" y="994"/>
                </a:cubicBezTo>
                <a:cubicBezTo>
                  <a:pt x="1605" y="992"/>
                  <a:pt x="1605" y="992"/>
                  <a:pt x="1605" y="992"/>
                </a:cubicBezTo>
                <a:cubicBezTo>
                  <a:pt x="1606" y="995"/>
                  <a:pt x="1606" y="995"/>
                  <a:pt x="1606" y="995"/>
                </a:cubicBezTo>
                <a:cubicBezTo>
                  <a:pt x="1606" y="996"/>
                  <a:pt x="1606" y="996"/>
                  <a:pt x="1606" y="996"/>
                </a:cubicBezTo>
                <a:cubicBezTo>
                  <a:pt x="1606" y="999"/>
                  <a:pt x="1606" y="999"/>
                  <a:pt x="1606" y="999"/>
                </a:cubicBezTo>
                <a:cubicBezTo>
                  <a:pt x="1608" y="1002"/>
                  <a:pt x="1608" y="1002"/>
                  <a:pt x="1608" y="1002"/>
                </a:cubicBezTo>
                <a:cubicBezTo>
                  <a:pt x="1608" y="1005"/>
                  <a:pt x="1608" y="1005"/>
                  <a:pt x="1608" y="1005"/>
                </a:cubicBezTo>
                <a:cubicBezTo>
                  <a:pt x="1607" y="1009"/>
                  <a:pt x="1607" y="1009"/>
                  <a:pt x="1607" y="1009"/>
                </a:cubicBezTo>
                <a:cubicBezTo>
                  <a:pt x="1608" y="1010"/>
                  <a:pt x="1608" y="1010"/>
                  <a:pt x="1608" y="1010"/>
                </a:cubicBezTo>
                <a:cubicBezTo>
                  <a:pt x="1606" y="1012"/>
                  <a:pt x="1606" y="1012"/>
                  <a:pt x="1606" y="1012"/>
                </a:cubicBezTo>
                <a:cubicBezTo>
                  <a:pt x="1606" y="1012"/>
                  <a:pt x="1606" y="1012"/>
                  <a:pt x="1606" y="1012"/>
                </a:cubicBezTo>
                <a:cubicBezTo>
                  <a:pt x="1607" y="1014"/>
                  <a:pt x="1607" y="1014"/>
                  <a:pt x="1607" y="1014"/>
                </a:cubicBezTo>
                <a:cubicBezTo>
                  <a:pt x="1604" y="1018"/>
                  <a:pt x="1604" y="1018"/>
                  <a:pt x="1604" y="1018"/>
                </a:cubicBezTo>
                <a:cubicBezTo>
                  <a:pt x="1601" y="1023"/>
                  <a:pt x="1601" y="1023"/>
                  <a:pt x="1601" y="1023"/>
                </a:cubicBezTo>
                <a:cubicBezTo>
                  <a:pt x="1604" y="1024"/>
                  <a:pt x="1604" y="1024"/>
                  <a:pt x="1604" y="1024"/>
                </a:cubicBezTo>
                <a:cubicBezTo>
                  <a:pt x="1604" y="1025"/>
                  <a:pt x="1604" y="1025"/>
                  <a:pt x="1604" y="1025"/>
                </a:cubicBezTo>
                <a:cubicBezTo>
                  <a:pt x="1603" y="1027"/>
                  <a:pt x="1603" y="1027"/>
                  <a:pt x="1603" y="1027"/>
                </a:cubicBezTo>
                <a:cubicBezTo>
                  <a:pt x="1601" y="1027"/>
                  <a:pt x="1601" y="1027"/>
                  <a:pt x="1601" y="1027"/>
                </a:cubicBezTo>
                <a:cubicBezTo>
                  <a:pt x="1603" y="1030"/>
                  <a:pt x="1603" y="1030"/>
                  <a:pt x="1603" y="1030"/>
                </a:cubicBezTo>
                <a:cubicBezTo>
                  <a:pt x="1606" y="1031"/>
                  <a:pt x="1606" y="1031"/>
                  <a:pt x="1606" y="1031"/>
                </a:cubicBezTo>
                <a:cubicBezTo>
                  <a:pt x="1602" y="1032"/>
                  <a:pt x="1602" y="1032"/>
                  <a:pt x="1602" y="1032"/>
                </a:cubicBezTo>
                <a:cubicBezTo>
                  <a:pt x="1601" y="1031"/>
                  <a:pt x="1601" y="1031"/>
                  <a:pt x="1601" y="1031"/>
                </a:cubicBezTo>
                <a:cubicBezTo>
                  <a:pt x="1601" y="1034"/>
                  <a:pt x="1601" y="1034"/>
                  <a:pt x="1601" y="1034"/>
                </a:cubicBezTo>
                <a:cubicBezTo>
                  <a:pt x="1600" y="1040"/>
                  <a:pt x="1600" y="1040"/>
                  <a:pt x="1600" y="1040"/>
                </a:cubicBezTo>
                <a:cubicBezTo>
                  <a:pt x="1598" y="1041"/>
                  <a:pt x="1598" y="1041"/>
                  <a:pt x="1598" y="1041"/>
                </a:cubicBezTo>
                <a:cubicBezTo>
                  <a:pt x="1596" y="1040"/>
                  <a:pt x="1596" y="1040"/>
                  <a:pt x="1596" y="1040"/>
                </a:cubicBezTo>
                <a:cubicBezTo>
                  <a:pt x="1596" y="1041"/>
                  <a:pt x="1596" y="1041"/>
                  <a:pt x="1596" y="1041"/>
                </a:cubicBezTo>
                <a:cubicBezTo>
                  <a:pt x="1598" y="1046"/>
                  <a:pt x="1598" y="1046"/>
                  <a:pt x="1598" y="1046"/>
                </a:cubicBezTo>
                <a:cubicBezTo>
                  <a:pt x="1599" y="1047"/>
                  <a:pt x="1599" y="1047"/>
                  <a:pt x="1599" y="1047"/>
                </a:cubicBezTo>
                <a:cubicBezTo>
                  <a:pt x="1599" y="1048"/>
                  <a:pt x="1599" y="1048"/>
                  <a:pt x="1599" y="1048"/>
                </a:cubicBezTo>
                <a:cubicBezTo>
                  <a:pt x="1601" y="1051"/>
                  <a:pt x="1601" y="1051"/>
                  <a:pt x="1601" y="1051"/>
                </a:cubicBezTo>
                <a:cubicBezTo>
                  <a:pt x="1601" y="1054"/>
                  <a:pt x="1601" y="1054"/>
                  <a:pt x="1601" y="1054"/>
                </a:cubicBezTo>
                <a:cubicBezTo>
                  <a:pt x="1602" y="1055"/>
                  <a:pt x="1602" y="1055"/>
                  <a:pt x="1602" y="1055"/>
                </a:cubicBezTo>
                <a:cubicBezTo>
                  <a:pt x="1603" y="1058"/>
                  <a:pt x="1603" y="1058"/>
                  <a:pt x="1603" y="1058"/>
                </a:cubicBezTo>
                <a:cubicBezTo>
                  <a:pt x="1606" y="1060"/>
                  <a:pt x="1606" y="1060"/>
                  <a:pt x="1606" y="1060"/>
                </a:cubicBezTo>
                <a:cubicBezTo>
                  <a:pt x="1605" y="1060"/>
                  <a:pt x="1605" y="1060"/>
                  <a:pt x="1605" y="1060"/>
                </a:cubicBezTo>
                <a:cubicBezTo>
                  <a:pt x="1608" y="1063"/>
                  <a:pt x="1608" y="1063"/>
                  <a:pt x="1608" y="1063"/>
                </a:cubicBezTo>
                <a:cubicBezTo>
                  <a:pt x="1612" y="1067"/>
                  <a:pt x="1612" y="1067"/>
                  <a:pt x="1612" y="1067"/>
                </a:cubicBezTo>
                <a:cubicBezTo>
                  <a:pt x="1613" y="1069"/>
                  <a:pt x="1613" y="1069"/>
                  <a:pt x="1613" y="1069"/>
                </a:cubicBezTo>
                <a:cubicBezTo>
                  <a:pt x="1617" y="1071"/>
                  <a:pt x="1617" y="1071"/>
                  <a:pt x="1617" y="1071"/>
                </a:cubicBezTo>
                <a:cubicBezTo>
                  <a:pt x="1617" y="1073"/>
                  <a:pt x="1617" y="1073"/>
                  <a:pt x="1617" y="1073"/>
                </a:cubicBezTo>
                <a:cubicBezTo>
                  <a:pt x="1619" y="1073"/>
                  <a:pt x="1619" y="1073"/>
                  <a:pt x="1619" y="1073"/>
                </a:cubicBezTo>
                <a:cubicBezTo>
                  <a:pt x="1620" y="1074"/>
                  <a:pt x="1620" y="1074"/>
                  <a:pt x="1620" y="1074"/>
                </a:cubicBezTo>
                <a:cubicBezTo>
                  <a:pt x="1622" y="1076"/>
                  <a:pt x="1622" y="1076"/>
                  <a:pt x="1622" y="1076"/>
                </a:cubicBezTo>
                <a:cubicBezTo>
                  <a:pt x="1622" y="1077"/>
                  <a:pt x="1622" y="1077"/>
                  <a:pt x="1622" y="1077"/>
                </a:cubicBezTo>
                <a:cubicBezTo>
                  <a:pt x="1625" y="1079"/>
                  <a:pt x="1625" y="1079"/>
                  <a:pt x="1625" y="1079"/>
                </a:cubicBezTo>
                <a:cubicBezTo>
                  <a:pt x="1625" y="1081"/>
                  <a:pt x="1625" y="1081"/>
                  <a:pt x="1625" y="1081"/>
                </a:cubicBezTo>
                <a:cubicBezTo>
                  <a:pt x="1627" y="1083"/>
                  <a:pt x="1627" y="1083"/>
                  <a:pt x="1627" y="1083"/>
                </a:cubicBezTo>
                <a:cubicBezTo>
                  <a:pt x="1627" y="1084"/>
                  <a:pt x="1627" y="1084"/>
                  <a:pt x="1627" y="1084"/>
                </a:cubicBezTo>
                <a:cubicBezTo>
                  <a:pt x="1628" y="1086"/>
                  <a:pt x="1628" y="1086"/>
                  <a:pt x="1628" y="1086"/>
                </a:cubicBezTo>
                <a:cubicBezTo>
                  <a:pt x="1629" y="1087"/>
                  <a:pt x="1629" y="1087"/>
                  <a:pt x="1629" y="1087"/>
                </a:cubicBezTo>
                <a:cubicBezTo>
                  <a:pt x="1630" y="1090"/>
                  <a:pt x="1630" y="1090"/>
                  <a:pt x="1630" y="1090"/>
                </a:cubicBezTo>
                <a:cubicBezTo>
                  <a:pt x="1629" y="1092"/>
                  <a:pt x="1629" y="1092"/>
                  <a:pt x="1629" y="1092"/>
                </a:cubicBezTo>
                <a:cubicBezTo>
                  <a:pt x="1629" y="1093"/>
                  <a:pt x="1629" y="1093"/>
                  <a:pt x="1629" y="1093"/>
                </a:cubicBezTo>
                <a:cubicBezTo>
                  <a:pt x="1630" y="1095"/>
                  <a:pt x="1630" y="1095"/>
                  <a:pt x="1630" y="1095"/>
                </a:cubicBezTo>
                <a:cubicBezTo>
                  <a:pt x="1633" y="1095"/>
                  <a:pt x="1633" y="1095"/>
                  <a:pt x="1633" y="1095"/>
                </a:cubicBezTo>
                <a:cubicBezTo>
                  <a:pt x="1634" y="1096"/>
                  <a:pt x="1634" y="1096"/>
                  <a:pt x="1634" y="1096"/>
                </a:cubicBezTo>
                <a:cubicBezTo>
                  <a:pt x="1631" y="1097"/>
                  <a:pt x="1631" y="1097"/>
                  <a:pt x="1631" y="1097"/>
                </a:cubicBezTo>
                <a:cubicBezTo>
                  <a:pt x="1632" y="1098"/>
                  <a:pt x="1632" y="1098"/>
                  <a:pt x="1632" y="1098"/>
                </a:cubicBezTo>
                <a:cubicBezTo>
                  <a:pt x="1632" y="1100"/>
                  <a:pt x="1632" y="1100"/>
                  <a:pt x="1632" y="1100"/>
                </a:cubicBezTo>
                <a:cubicBezTo>
                  <a:pt x="1638" y="1106"/>
                  <a:pt x="1638" y="1106"/>
                  <a:pt x="1638" y="1106"/>
                </a:cubicBezTo>
                <a:cubicBezTo>
                  <a:pt x="1638" y="1114"/>
                  <a:pt x="1638" y="1114"/>
                  <a:pt x="1638" y="1114"/>
                </a:cubicBezTo>
                <a:cubicBezTo>
                  <a:pt x="1641" y="1118"/>
                  <a:pt x="1641" y="1118"/>
                  <a:pt x="1641" y="1118"/>
                </a:cubicBezTo>
                <a:cubicBezTo>
                  <a:pt x="1641" y="1122"/>
                  <a:pt x="1641" y="1122"/>
                  <a:pt x="1641" y="1122"/>
                </a:cubicBezTo>
                <a:cubicBezTo>
                  <a:pt x="1637" y="1126"/>
                  <a:pt x="1637" y="1126"/>
                  <a:pt x="1637" y="1126"/>
                </a:cubicBezTo>
                <a:cubicBezTo>
                  <a:pt x="1639" y="1127"/>
                  <a:pt x="1639" y="1127"/>
                  <a:pt x="1639" y="1127"/>
                </a:cubicBezTo>
                <a:cubicBezTo>
                  <a:pt x="1639" y="1131"/>
                  <a:pt x="1639" y="1131"/>
                  <a:pt x="1639" y="1131"/>
                </a:cubicBezTo>
                <a:cubicBezTo>
                  <a:pt x="1641" y="1133"/>
                  <a:pt x="1641" y="1133"/>
                  <a:pt x="1641" y="1133"/>
                </a:cubicBezTo>
                <a:cubicBezTo>
                  <a:pt x="1641" y="1136"/>
                  <a:pt x="1641" y="1136"/>
                  <a:pt x="1641" y="1136"/>
                </a:cubicBezTo>
                <a:cubicBezTo>
                  <a:pt x="1645" y="1142"/>
                  <a:pt x="1645" y="1142"/>
                  <a:pt x="1645" y="1142"/>
                </a:cubicBezTo>
                <a:cubicBezTo>
                  <a:pt x="1644" y="1144"/>
                  <a:pt x="1644" y="1144"/>
                  <a:pt x="1644" y="1144"/>
                </a:cubicBezTo>
                <a:cubicBezTo>
                  <a:pt x="1646" y="1146"/>
                  <a:pt x="1646" y="1146"/>
                  <a:pt x="1646" y="1146"/>
                </a:cubicBezTo>
                <a:cubicBezTo>
                  <a:pt x="1646" y="1154"/>
                  <a:pt x="1646" y="1154"/>
                  <a:pt x="1646" y="1154"/>
                </a:cubicBezTo>
                <a:cubicBezTo>
                  <a:pt x="1642" y="1162"/>
                  <a:pt x="1642" y="1162"/>
                  <a:pt x="1642" y="1162"/>
                </a:cubicBezTo>
                <a:cubicBezTo>
                  <a:pt x="1640" y="1162"/>
                  <a:pt x="1640" y="1162"/>
                  <a:pt x="1640" y="1162"/>
                </a:cubicBezTo>
                <a:cubicBezTo>
                  <a:pt x="1636" y="1165"/>
                  <a:pt x="1636" y="1165"/>
                  <a:pt x="1636" y="1165"/>
                </a:cubicBezTo>
                <a:cubicBezTo>
                  <a:pt x="1636" y="1168"/>
                  <a:pt x="1636" y="1168"/>
                  <a:pt x="1636" y="1168"/>
                </a:cubicBezTo>
                <a:cubicBezTo>
                  <a:pt x="1630" y="1173"/>
                  <a:pt x="1630" y="1173"/>
                  <a:pt x="1630" y="1173"/>
                </a:cubicBezTo>
                <a:cubicBezTo>
                  <a:pt x="1630" y="1176"/>
                  <a:pt x="1630" y="1176"/>
                  <a:pt x="1630" y="1176"/>
                </a:cubicBezTo>
                <a:cubicBezTo>
                  <a:pt x="1629" y="1177"/>
                  <a:pt x="1629" y="1177"/>
                  <a:pt x="1629" y="1177"/>
                </a:cubicBezTo>
                <a:cubicBezTo>
                  <a:pt x="1629" y="1185"/>
                  <a:pt x="1629" y="1185"/>
                  <a:pt x="1629" y="1185"/>
                </a:cubicBezTo>
                <a:cubicBezTo>
                  <a:pt x="1627" y="1188"/>
                  <a:pt x="1627" y="1188"/>
                  <a:pt x="1627" y="1188"/>
                </a:cubicBezTo>
                <a:cubicBezTo>
                  <a:pt x="1626" y="1192"/>
                  <a:pt x="1626" y="1192"/>
                  <a:pt x="1626" y="1192"/>
                </a:cubicBezTo>
                <a:cubicBezTo>
                  <a:pt x="1623" y="1195"/>
                  <a:pt x="1623" y="1195"/>
                  <a:pt x="1623" y="1195"/>
                </a:cubicBezTo>
                <a:cubicBezTo>
                  <a:pt x="1623" y="1199"/>
                  <a:pt x="1623" y="1199"/>
                  <a:pt x="1623" y="1199"/>
                </a:cubicBezTo>
                <a:cubicBezTo>
                  <a:pt x="1623" y="1202"/>
                  <a:pt x="1623" y="1202"/>
                  <a:pt x="1623" y="1202"/>
                </a:cubicBezTo>
                <a:cubicBezTo>
                  <a:pt x="1623" y="1207"/>
                  <a:pt x="1623" y="1207"/>
                  <a:pt x="1623" y="1207"/>
                </a:cubicBezTo>
                <a:cubicBezTo>
                  <a:pt x="1623" y="1210"/>
                  <a:pt x="1623" y="1210"/>
                  <a:pt x="1623" y="1210"/>
                </a:cubicBezTo>
                <a:cubicBezTo>
                  <a:pt x="1623" y="1211"/>
                  <a:pt x="1623" y="1211"/>
                  <a:pt x="1623" y="1211"/>
                </a:cubicBezTo>
                <a:cubicBezTo>
                  <a:pt x="1623" y="1220"/>
                  <a:pt x="1623" y="1220"/>
                  <a:pt x="1623" y="1220"/>
                </a:cubicBezTo>
                <a:cubicBezTo>
                  <a:pt x="1629" y="1226"/>
                  <a:pt x="1629" y="1226"/>
                  <a:pt x="1629" y="1226"/>
                </a:cubicBezTo>
                <a:cubicBezTo>
                  <a:pt x="1633" y="1232"/>
                  <a:pt x="1633" y="1232"/>
                  <a:pt x="1633" y="1232"/>
                </a:cubicBezTo>
                <a:cubicBezTo>
                  <a:pt x="1638" y="1243"/>
                  <a:pt x="1638" y="1243"/>
                  <a:pt x="1638" y="1243"/>
                </a:cubicBezTo>
                <a:cubicBezTo>
                  <a:pt x="1638" y="1248"/>
                  <a:pt x="1638" y="1248"/>
                  <a:pt x="1638" y="1248"/>
                </a:cubicBezTo>
                <a:cubicBezTo>
                  <a:pt x="1643" y="1255"/>
                  <a:pt x="1643" y="1255"/>
                  <a:pt x="1643" y="1255"/>
                </a:cubicBezTo>
                <a:cubicBezTo>
                  <a:pt x="1643" y="1258"/>
                  <a:pt x="1643" y="1258"/>
                  <a:pt x="1643" y="1258"/>
                </a:cubicBezTo>
                <a:cubicBezTo>
                  <a:pt x="1649" y="1265"/>
                  <a:pt x="1649" y="1265"/>
                  <a:pt x="1649" y="1265"/>
                </a:cubicBezTo>
                <a:cubicBezTo>
                  <a:pt x="1649" y="1269"/>
                  <a:pt x="1649" y="1269"/>
                  <a:pt x="1649" y="1269"/>
                </a:cubicBezTo>
                <a:cubicBezTo>
                  <a:pt x="1647" y="1270"/>
                  <a:pt x="1647" y="1270"/>
                  <a:pt x="1647" y="1270"/>
                </a:cubicBezTo>
                <a:cubicBezTo>
                  <a:pt x="1649" y="1275"/>
                  <a:pt x="1649" y="1275"/>
                  <a:pt x="1649" y="1275"/>
                </a:cubicBezTo>
                <a:cubicBezTo>
                  <a:pt x="1649" y="1283"/>
                  <a:pt x="1649" y="1283"/>
                  <a:pt x="1649" y="1283"/>
                </a:cubicBezTo>
                <a:cubicBezTo>
                  <a:pt x="1652" y="1291"/>
                  <a:pt x="1652" y="1291"/>
                  <a:pt x="1652" y="1291"/>
                </a:cubicBezTo>
                <a:cubicBezTo>
                  <a:pt x="1652" y="1295"/>
                  <a:pt x="1652" y="1295"/>
                  <a:pt x="1652" y="1295"/>
                </a:cubicBezTo>
                <a:cubicBezTo>
                  <a:pt x="1653" y="1298"/>
                  <a:pt x="1653" y="1298"/>
                  <a:pt x="1653" y="1298"/>
                </a:cubicBezTo>
                <a:cubicBezTo>
                  <a:pt x="1651" y="1299"/>
                  <a:pt x="1651" y="1299"/>
                  <a:pt x="1651" y="1299"/>
                </a:cubicBezTo>
                <a:cubicBezTo>
                  <a:pt x="1653" y="1301"/>
                  <a:pt x="1653" y="1301"/>
                  <a:pt x="1653" y="1301"/>
                </a:cubicBezTo>
                <a:cubicBezTo>
                  <a:pt x="1653" y="1306"/>
                  <a:pt x="1653" y="1306"/>
                  <a:pt x="1653" y="1306"/>
                </a:cubicBezTo>
                <a:cubicBezTo>
                  <a:pt x="1655" y="1307"/>
                  <a:pt x="1655" y="1307"/>
                  <a:pt x="1655" y="1307"/>
                </a:cubicBezTo>
                <a:cubicBezTo>
                  <a:pt x="1656" y="1308"/>
                  <a:pt x="1656" y="1308"/>
                  <a:pt x="1656" y="1308"/>
                </a:cubicBezTo>
                <a:cubicBezTo>
                  <a:pt x="1654" y="1309"/>
                  <a:pt x="1654" y="1309"/>
                  <a:pt x="1654" y="1309"/>
                </a:cubicBezTo>
                <a:cubicBezTo>
                  <a:pt x="1654" y="1311"/>
                  <a:pt x="1654" y="1311"/>
                  <a:pt x="1654" y="1311"/>
                </a:cubicBezTo>
                <a:cubicBezTo>
                  <a:pt x="1656" y="1313"/>
                  <a:pt x="1656" y="1313"/>
                  <a:pt x="1656" y="1313"/>
                </a:cubicBezTo>
                <a:cubicBezTo>
                  <a:pt x="1656" y="1317"/>
                  <a:pt x="1656" y="1317"/>
                  <a:pt x="1656" y="1317"/>
                </a:cubicBezTo>
                <a:cubicBezTo>
                  <a:pt x="1658" y="1320"/>
                  <a:pt x="1658" y="1320"/>
                  <a:pt x="1658" y="1320"/>
                </a:cubicBezTo>
                <a:cubicBezTo>
                  <a:pt x="1661" y="1324"/>
                  <a:pt x="1661" y="1324"/>
                  <a:pt x="1661" y="1324"/>
                </a:cubicBezTo>
                <a:cubicBezTo>
                  <a:pt x="1663" y="1327"/>
                  <a:pt x="1663" y="1327"/>
                  <a:pt x="1663" y="1327"/>
                </a:cubicBezTo>
                <a:cubicBezTo>
                  <a:pt x="1664" y="1328"/>
                  <a:pt x="1664" y="1328"/>
                  <a:pt x="1664" y="1328"/>
                </a:cubicBezTo>
                <a:cubicBezTo>
                  <a:pt x="1667" y="1331"/>
                  <a:pt x="1667" y="1331"/>
                  <a:pt x="1667" y="1331"/>
                </a:cubicBezTo>
                <a:cubicBezTo>
                  <a:pt x="1667" y="1331"/>
                  <a:pt x="1667" y="1331"/>
                  <a:pt x="1667" y="1331"/>
                </a:cubicBezTo>
                <a:cubicBezTo>
                  <a:pt x="1668" y="1334"/>
                  <a:pt x="1668" y="1334"/>
                  <a:pt x="1668" y="1334"/>
                </a:cubicBezTo>
                <a:cubicBezTo>
                  <a:pt x="1671" y="1336"/>
                  <a:pt x="1671" y="1336"/>
                  <a:pt x="1671" y="1336"/>
                </a:cubicBezTo>
                <a:cubicBezTo>
                  <a:pt x="1673" y="1343"/>
                  <a:pt x="1673" y="1343"/>
                  <a:pt x="1673" y="1343"/>
                </a:cubicBezTo>
                <a:cubicBezTo>
                  <a:pt x="1673" y="1345"/>
                  <a:pt x="1673" y="1345"/>
                  <a:pt x="1673" y="1345"/>
                </a:cubicBezTo>
                <a:cubicBezTo>
                  <a:pt x="1675" y="1351"/>
                  <a:pt x="1675" y="1351"/>
                  <a:pt x="1675" y="1351"/>
                </a:cubicBezTo>
                <a:cubicBezTo>
                  <a:pt x="1676" y="1357"/>
                  <a:pt x="1676" y="1357"/>
                  <a:pt x="1676" y="1357"/>
                </a:cubicBezTo>
                <a:cubicBezTo>
                  <a:pt x="1679" y="1361"/>
                  <a:pt x="1679" y="1361"/>
                  <a:pt x="1679" y="1361"/>
                </a:cubicBezTo>
                <a:cubicBezTo>
                  <a:pt x="1679" y="1363"/>
                  <a:pt x="1679" y="1363"/>
                  <a:pt x="1679" y="1363"/>
                </a:cubicBezTo>
                <a:cubicBezTo>
                  <a:pt x="1682" y="1368"/>
                  <a:pt x="1682" y="1368"/>
                  <a:pt x="1682" y="1368"/>
                </a:cubicBezTo>
                <a:cubicBezTo>
                  <a:pt x="1682" y="1369"/>
                  <a:pt x="1682" y="1369"/>
                  <a:pt x="1682" y="1369"/>
                </a:cubicBezTo>
                <a:cubicBezTo>
                  <a:pt x="1683" y="1373"/>
                  <a:pt x="1683" y="1373"/>
                  <a:pt x="1683" y="1373"/>
                </a:cubicBezTo>
                <a:cubicBezTo>
                  <a:pt x="1683" y="1376"/>
                  <a:pt x="1683" y="1376"/>
                  <a:pt x="1683" y="1376"/>
                </a:cubicBezTo>
                <a:cubicBezTo>
                  <a:pt x="1681" y="1377"/>
                  <a:pt x="1681" y="1377"/>
                  <a:pt x="1681" y="1377"/>
                </a:cubicBezTo>
                <a:cubicBezTo>
                  <a:pt x="1680" y="1377"/>
                  <a:pt x="1680" y="1377"/>
                  <a:pt x="1680" y="1377"/>
                </a:cubicBezTo>
                <a:cubicBezTo>
                  <a:pt x="1679" y="1376"/>
                  <a:pt x="1679" y="1376"/>
                  <a:pt x="1679" y="1376"/>
                </a:cubicBezTo>
                <a:cubicBezTo>
                  <a:pt x="1678" y="1377"/>
                  <a:pt x="1678" y="1377"/>
                  <a:pt x="1678" y="1377"/>
                </a:cubicBezTo>
                <a:cubicBezTo>
                  <a:pt x="1678" y="1380"/>
                  <a:pt x="1678" y="1380"/>
                  <a:pt x="1678" y="1380"/>
                </a:cubicBezTo>
                <a:cubicBezTo>
                  <a:pt x="1680" y="1382"/>
                  <a:pt x="1680" y="1382"/>
                  <a:pt x="1680" y="1382"/>
                </a:cubicBezTo>
                <a:cubicBezTo>
                  <a:pt x="1682" y="1384"/>
                  <a:pt x="1682" y="1384"/>
                  <a:pt x="1682" y="1384"/>
                </a:cubicBezTo>
                <a:cubicBezTo>
                  <a:pt x="1683" y="1387"/>
                  <a:pt x="1683" y="1387"/>
                  <a:pt x="1683" y="1387"/>
                </a:cubicBezTo>
                <a:cubicBezTo>
                  <a:pt x="1682" y="1389"/>
                  <a:pt x="1682" y="1389"/>
                  <a:pt x="1682" y="1389"/>
                </a:cubicBezTo>
                <a:cubicBezTo>
                  <a:pt x="1683" y="1392"/>
                  <a:pt x="1683" y="1392"/>
                  <a:pt x="1683" y="1392"/>
                </a:cubicBezTo>
                <a:cubicBezTo>
                  <a:pt x="1682" y="1394"/>
                  <a:pt x="1682" y="1394"/>
                  <a:pt x="1682" y="1394"/>
                </a:cubicBezTo>
                <a:cubicBezTo>
                  <a:pt x="1682" y="1396"/>
                  <a:pt x="1682" y="1396"/>
                  <a:pt x="1682" y="1396"/>
                </a:cubicBezTo>
                <a:cubicBezTo>
                  <a:pt x="1683" y="1397"/>
                  <a:pt x="1683" y="1397"/>
                  <a:pt x="1683" y="1397"/>
                </a:cubicBezTo>
                <a:cubicBezTo>
                  <a:pt x="1683" y="1395"/>
                  <a:pt x="1683" y="1395"/>
                  <a:pt x="1683" y="1395"/>
                </a:cubicBezTo>
                <a:cubicBezTo>
                  <a:pt x="1685" y="1393"/>
                  <a:pt x="1685" y="1393"/>
                  <a:pt x="1685" y="1393"/>
                </a:cubicBezTo>
                <a:cubicBezTo>
                  <a:pt x="1687" y="1394"/>
                  <a:pt x="1687" y="1394"/>
                  <a:pt x="1687" y="1394"/>
                </a:cubicBezTo>
                <a:cubicBezTo>
                  <a:pt x="1688" y="1396"/>
                  <a:pt x="1688" y="1396"/>
                  <a:pt x="1688" y="1396"/>
                </a:cubicBezTo>
                <a:cubicBezTo>
                  <a:pt x="1687" y="1396"/>
                  <a:pt x="1687" y="1396"/>
                  <a:pt x="1687" y="1396"/>
                </a:cubicBezTo>
                <a:cubicBezTo>
                  <a:pt x="1688" y="1397"/>
                  <a:pt x="1688" y="1397"/>
                  <a:pt x="1688" y="1397"/>
                </a:cubicBezTo>
                <a:cubicBezTo>
                  <a:pt x="1689" y="1396"/>
                  <a:pt x="1689" y="1396"/>
                  <a:pt x="1689" y="1396"/>
                </a:cubicBezTo>
                <a:cubicBezTo>
                  <a:pt x="1691" y="1397"/>
                  <a:pt x="1691" y="1397"/>
                  <a:pt x="1691" y="1397"/>
                </a:cubicBezTo>
                <a:cubicBezTo>
                  <a:pt x="1691" y="1400"/>
                  <a:pt x="1691" y="1400"/>
                  <a:pt x="1691" y="1400"/>
                </a:cubicBezTo>
                <a:cubicBezTo>
                  <a:pt x="1692" y="1399"/>
                  <a:pt x="1692" y="1399"/>
                  <a:pt x="1692" y="1399"/>
                </a:cubicBezTo>
                <a:cubicBezTo>
                  <a:pt x="1697" y="1401"/>
                  <a:pt x="1697" y="1401"/>
                  <a:pt x="1697" y="1401"/>
                </a:cubicBezTo>
                <a:cubicBezTo>
                  <a:pt x="1698" y="1401"/>
                  <a:pt x="1698" y="1401"/>
                  <a:pt x="1698" y="1401"/>
                </a:cubicBezTo>
                <a:cubicBezTo>
                  <a:pt x="1699" y="1401"/>
                  <a:pt x="1699" y="1401"/>
                  <a:pt x="1699" y="1401"/>
                </a:cubicBezTo>
                <a:cubicBezTo>
                  <a:pt x="1700" y="1400"/>
                  <a:pt x="1700" y="1400"/>
                  <a:pt x="1700" y="1400"/>
                </a:cubicBezTo>
                <a:cubicBezTo>
                  <a:pt x="1702" y="1399"/>
                  <a:pt x="1702" y="1399"/>
                  <a:pt x="1702" y="1399"/>
                </a:cubicBezTo>
                <a:cubicBezTo>
                  <a:pt x="1704" y="1397"/>
                  <a:pt x="1704" y="1397"/>
                  <a:pt x="1704" y="1397"/>
                </a:cubicBezTo>
                <a:cubicBezTo>
                  <a:pt x="1706" y="1397"/>
                  <a:pt x="1706" y="1397"/>
                  <a:pt x="1706" y="1397"/>
                </a:cubicBezTo>
                <a:cubicBezTo>
                  <a:pt x="1707" y="1397"/>
                  <a:pt x="1707" y="1397"/>
                  <a:pt x="1707" y="1397"/>
                </a:cubicBezTo>
                <a:cubicBezTo>
                  <a:pt x="1709" y="1397"/>
                  <a:pt x="1709" y="1397"/>
                  <a:pt x="1709" y="1397"/>
                </a:cubicBezTo>
                <a:cubicBezTo>
                  <a:pt x="1712" y="1398"/>
                  <a:pt x="1712" y="1398"/>
                  <a:pt x="1712" y="1398"/>
                </a:cubicBezTo>
                <a:cubicBezTo>
                  <a:pt x="1714" y="1397"/>
                  <a:pt x="1714" y="1397"/>
                  <a:pt x="1714" y="1397"/>
                </a:cubicBezTo>
                <a:cubicBezTo>
                  <a:pt x="1716" y="1397"/>
                  <a:pt x="1716" y="1397"/>
                  <a:pt x="1716" y="1397"/>
                </a:cubicBezTo>
                <a:cubicBezTo>
                  <a:pt x="1717" y="1396"/>
                  <a:pt x="1717" y="1396"/>
                  <a:pt x="1717" y="1396"/>
                </a:cubicBezTo>
                <a:cubicBezTo>
                  <a:pt x="1718" y="1395"/>
                  <a:pt x="1718" y="1395"/>
                  <a:pt x="1718" y="1395"/>
                </a:cubicBezTo>
                <a:cubicBezTo>
                  <a:pt x="1719" y="1395"/>
                  <a:pt x="1719" y="1395"/>
                  <a:pt x="1719" y="1395"/>
                </a:cubicBezTo>
                <a:cubicBezTo>
                  <a:pt x="1720" y="1395"/>
                  <a:pt x="1720" y="1395"/>
                  <a:pt x="1720" y="1395"/>
                </a:cubicBezTo>
                <a:cubicBezTo>
                  <a:pt x="1721" y="1394"/>
                  <a:pt x="1721" y="1394"/>
                  <a:pt x="1721" y="1394"/>
                </a:cubicBezTo>
                <a:cubicBezTo>
                  <a:pt x="1723" y="1393"/>
                  <a:pt x="1723" y="1393"/>
                  <a:pt x="1723" y="1393"/>
                </a:cubicBezTo>
                <a:cubicBezTo>
                  <a:pt x="1728" y="1393"/>
                  <a:pt x="1728" y="1393"/>
                  <a:pt x="1728" y="1393"/>
                </a:cubicBezTo>
                <a:cubicBezTo>
                  <a:pt x="1730" y="1394"/>
                  <a:pt x="1730" y="1394"/>
                  <a:pt x="1730" y="1394"/>
                </a:cubicBezTo>
                <a:cubicBezTo>
                  <a:pt x="1732" y="1394"/>
                  <a:pt x="1732" y="1394"/>
                  <a:pt x="1732" y="1394"/>
                </a:cubicBezTo>
                <a:cubicBezTo>
                  <a:pt x="1732" y="1393"/>
                  <a:pt x="1732" y="1393"/>
                  <a:pt x="1732" y="1393"/>
                </a:cubicBezTo>
                <a:cubicBezTo>
                  <a:pt x="1735" y="1392"/>
                  <a:pt x="1735" y="1392"/>
                  <a:pt x="1735" y="1392"/>
                </a:cubicBezTo>
                <a:cubicBezTo>
                  <a:pt x="1740" y="1393"/>
                  <a:pt x="1740" y="1393"/>
                  <a:pt x="1740" y="1393"/>
                </a:cubicBezTo>
                <a:cubicBezTo>
                  <a:pt x="1741" y="1394"/>
                  <a:pt x="1741" y="1394"/>
                  <a:pt x="1741" y="1394"/>
                </a:cubicBezTo>
                <a:cubicBezTo>
                  <a:pt x="1746" y="1395"/>
                  <a:pt x="1746" y="1395"/>
                  <a:pt x="1746" y="1395"/>
                </a:cubicBezTo>
                <a:cubicBezTo>
                  <a:pt x="1747" y="1395"/>
                  <a:pt x="1747" y="1395"/>
                  <a:pt x="1747" y="1395"/>
                </a:cubicBezTo>
                <a:cubicBezTo>
                  <a:pt x="1746" y="1394"/>
                  <a:pt x="1746" y="1394"/>
                  <a:pt x="1746" y="1394"/>
                </a:cubicBezTo>
                <a:cubicBezTo>
                  <a:pt x="1747" y="1392"/>
                  <a:pt x="1747" y="1392"/>
                  <a:pt x="1747" y="1392"/>
                </a:cubicBezTo>
                <a:cubicBezTo>
                  <a:pt x="1749" y="1392"/>
                  <a:pt x="1749" y="1392"/>
                  <a:pt x="1749" y="1392"/>
                </a:cubicBezTo>
                <a:cubicBezTo>
                  <a:pt x="1751" y="1393"/>
                  <a:pt x="1751" y="1393"/>
                  <a:pt x="1751" y="1393"/>
                </a:cubicBezTo>
                <a:cubicBezTo>
                  <a:pt x="1755" y="1393"/>
                  <a:pt x="1755" y="1393"/>
                  <a:pt x="1755" y="1393"/>
                </a:cubicBezTo>
                <a:cubicBezTo>
                  <a:pt x="1755" y="1393"/>
                  <a:pt x="1755" y="1393"/>
                  <a:pt x="1755" y="1393"/>
                </a:cubicBezTo>
                <a:cubicBezTo>
                  <a:pt x="1753" y="1391"/>
                  <a:pt x="1753" y="1391"/>
                  <a:pt x="1753" y="1391"/>
                </a:cubicBezTo>
                <a:cubicBezTo>
                  <a:pt x="1754" y="1390"/>
                  <a:pt x="1754" y="1390"/>
                  <a:pt x="1754" y="1390"/>
                </a:cubicBezTo>
                <a:cubicBezTo>
                  <a:pt x="1757" y="1389"/>
                  <a:pt x="1757" y="1389"/>
                  <a:pt x="1757" y="1389"/>
                </a:cubicBezTo>
                <a:cubicBezTo>
                  <a:pt x="1760" y="1389"/>
                  <a:pt x="1760" y="1389"/>
                  <a:pt x="1760" y="1389"/>
                </a:cubicBezTo>
                <a:cubicBezTo>
                  <a:pt x="1761" y="1390"/>
                  <a:pt x="1761" y="1390"/>
                  <a:pt x="1761" y="1390"/>
                </a:cubicBezTo>
                <a:cubicBezTo>
                  <a:pt x="1763" y="1389"/>
                  <a:pt x="1763" y="1389"/>
                  <a:pt x="1763" y="1389"/>
                </a:cubicBezTo>
                <a:cubicBezTo>
                  <a:pt x="1766" y="1388"/>
                  <a:pt x="1766" y="1388"/>
                  <a:pt x="1766" y="1388"/>
                </a:cubicBezTo>
                <a:cubicBezTo>
                  <a:pt x="1769" y="1387"/>
                  <a:pt x="1769" y="1387"/>
                  <a:pt x="1769" y="1387"/>
                </a:cubicBezTo>
                <a:cubicBezTo>
                  <a:pt x="1769" y="1386"/>
                  <a:pt x="1769" y="1386"/>
                  <a:pt x="1769" y="1386"/>
                </a:cubicBezTo>
                <a:cubicBezTo>
                  <a:pt x="1772" y="1386"/>
                  <a:pt x="1772" y="1386"/>
                  <a:pt x="1772" y="1386"/>
                </a:cubicBezTo>
                <a:cubicBezTo>
                  <a:pt x="1773" y="1384"/>
                  <a:pt x="1773" y="1384"/>
                  <a:pt x="1773" y="1384"/>
                </a:cubicBezTo>
                <a:cubicBezTo>
                  <a:pt x="1780" y="1380"/>
                  <a:pt x="1780" y="1380"/>
                  <a:pt x="1780" y="1380"/>
                </a:cubicBezTo>
                <a:cubicBezTo>
                  <a:pt x="1782" y="1378"/>
                  <a:pt x="1782" y="1378"/>
                  <a:pt x="1782" y="1378"/>
                </a:cubicBezTo>
                <a:cubicBezTo>
                  <a:pt x="1782" y="1377"/>
                  <a:pt x="1782" y="1377"/>
                  <a:pt x="1782" y="1377"/>
                </a:cubicBezTo>
                <a:cubicBezTo>
                  <a:pt x="1783" y="1377"/>
                  <a:pt x="1783" y="1377"/>
                  <a:pt x="1783" y="1377"/>
                </a:cubicBezTo>
                <a:cubicBezTo>
                  <a:pt x="1794" y="1366"/>
                  <a:pt x="1794" y="1366"/>
                  <a:pt x="1794" y="1366"/>
                </a:cubicBezTo>
                <a:cubicBezTo>
                  <a:pt x="1794" y="1366"/>
                  <a:pt x="1794" y="1366"/>
                  <a:pt x="1794" y="1366"/>
                </a:cubicBezTo>
                <a:cubicBezTo>
                  <a:pt x="1795" y="1366"/>
                  <a:pt x="1795" y="1366"/>
                  <a:pt x="1795" y="1366"/>
                </a:cubicBezTo>
                <a:cubicBezTo>
                  <a:pt x="1797" y="1363"/>
                  <a:pt x="1797" y="1363"/>
                  <a:pt x="1797" y="1363"/>
                </a:cubicBezTo>
                <a:cubicBezTo>
                  <a:pt x="1799" y="1363"/>
                  <a:pt x="1799" y="1363"/>
                  <a:pt x="1799" y="1363"/>
                </a:cubicBezTo>
                <a:cubicBezTo>
                  <a:pt x="1800" y="1360"/>
                  <a:pt x="1800" y="1360"/>
                  <a:pt x="1800" y="1360"/>
                </a:cubicBezTo>
                <a:cubicBezTo>
                  <a:pt x="1803" y="1357"/>
                  <a:pt x="1803" y="1357"/>
                  <a:pt x="1803" y="1357"/>
                </a:cubicBezTo>
                <a:cubicBezTo>
                  <a:pt x="1807" y="1350"/>
                  <a:pt x="1807" y="1350"/>
                  <a:pt x="1807" y="1350"/>
                </a:cubicBezTo>
                <a:cubicBezTo>
                  <a:pt x="1809" y="1347"/>
                  <a:pt x="1809" y="1347"/>
                  <a:pt x="1809" y="1347"/>
                </a:cubicBezTo>
                <a:cubicBezTo>
                  <a:pt x="1810" y="1347"/>
                  <a:pt x="1810" y="1347"/>
                  <a:pt x="1810" y="1347"/>
                </a:cubicBezTo>
                <a:cubicBezTo>
                  <a:pt x="1812" y="1344"/>
                  <a:pt x="1812" y="1344"/>
                  <a:pt x="1812" y="1344"/>
                </a:cubicBezTo>
                <a:cubicBezTo>
                  <a:pt x="1812" y="1343"/>
                  <a:pt x="1812" y="1343"/>
                  <a:pt x="1812" y="1343"/>
                </a:cubicBezTo>
                <a:cubicBezTo>
                  <a:pt x="1814" y="1341"/>
                  <a:pt x="1814" y="1341"/>
                  <a:pt x="1814" y="1341"/>
                </a:cubicBezTo>
                <a:cubicBezTo>
                  <a:pt x="1815" y="1339"/>
                  <a:pt x="1815" y="1339"/>
                  <a:pt x="1815" y="1339"/>
                </a:cubicBezTo>
                <a:cubicBezTo>
                  <a:pt x="1817" y="1337"/>
                  <a:pt x="1817" y="1337"/>
                  <a:pt x="1817" y="1337"/>
                </a:cubicBezTo>
                <a:cubicBezTo>
                  <a:pt x="1818" y="1336"/>
                  <a:pt x="1818" y="1336"/>
                  <a:pt x="1818" y="1336"/>
                </a:cubicBezTo>
                <a:cubicBezTo>
                  <a:pt x="1820" y="1335"/>
                  <a:pt x="1820" y="1335"/>
                  <a:pt x="1820" y="1335"/>
                </a:cubicBezTo>
                <a:cubicBezTo>
                  <a:pt x="1821" y="1334"/>
                  <a:pt x="1821" y="1334"/>
                  <a:pt x="1821" y="1334"/>
                </a:cubicBezTo>
                <a:cubicBezTo>
                  <a:pt x="1822" y="1334"/>
                  <a:pt x="1822" y="1334"/>
                  <a:pt x="1822" y="1334"/>
                </a:cubicBezTo>
                <a:cubicBezTo>
                  <a:pt x="1825" y="1331"/>
                  <a:pt x="1825" y="1331"/>
                  <a:pt x="1825" y="1331"/>
                </a:cubicBezTo>
                <a:cubicBezTo>
                  <a:pt x="1825" y="1329"/>
                  <a:pt x="1825" y="1329"/>
                  <a:pt x="1825" y="1329"/>
                </a:cubicBezTo>
                <a:cubicBezTo>
                  <a:pt x="1827" y="1327"/>
                  <a:pt x="1827" y="1327"/>
                  <a:pt x="1827" y="1327"/>
                </a:cubicBezTo>
                <a:cubicBezTo>
                  <a:pt x="1827" y="1323"/>
                  <a:pt x="1827" y="1323"/>
                  <a:pt x="1827" y="1323"/>
                </a:cubicBezTo>
                <a:cubicBezTo>
                  <a:pt x="1829" y="1320"/>
                  <a:pt x="1829" y="1320"/>
                  <a:pt x="1829" y="1320"/>
                </a:cubicBezTo>
                <a:cubicBezTo>
                  <a:pt x="1829" y="1317"/>
                  <a:pt x="1829" y="1317"/>
                  <a:pt x="1829" y="1317"/>
                </a:cubicBezTo>
                <a:cubicBezTo>
                  <a:pt x="1831" y="1314"/>
                  <a:pt x="1831" y="1314"/>
                  <a:pt x="1831" y="1314"/>
                </a:cubicBezTo>
                <a:cubicBezTo>
                  <a:pt x="1830" y="1313"/>
                  <a:pt x="1830" y="1313"/>
                  <a:pt x="1830" y="1313"/>
                </a:cubicBezTo>
                <a:cubicBezTo>
                  <a:pt x="1831" y="1312"/>
                  <a:pt x="1831" y="1312"/>
                  <a:pt x="1831" y="1312"/>
                </a:cubicBezTo>
                <a:cubicBezTo>
                  <a:pt x="1831" y="1311"/>
                  <a:pt x="1831" y="1311"/>
                  <a:pt x="1831" y="1311"/>
                </a:cubicBezTo>
                <a:cubicBezTo>
                  <a:pt x="1831" y="1310"/>
                  <a:pt x="1831" y="1310"/>
                  <a:pt x="1831" y="1310"/>
                </a:cubicBezTo>
                <a:cubicBezTo>
                  <a:pt x="1832" y="1308"/>
                  <a:pt x="1832" y="1308"/>
                  <a:pt x="1832" y="1308"/>
                </a:cubicBezTo>
                <a:cubicBezTo>
                  <a:pt x="1833" y="1305"/>
                  <a:pt x="1833" y="1305"/>
                  <a:pt x="1833" y="1305"/>
                </a:cubicBezTo>
                <a:cubicBezTo>
                  <a:pt x="1833" y="1304"/>
                  <a:pt x="1833" y="1304"/>
                  <a:pt x="1833" y="1304"/>
                </a:cubicBezTo>
                <a:cubicBezTo>
                  <a:pt x="1832" y="1304"/>
                  <a:pt x="1832" y="1304"/>
                  <a:pt x="1832" y="1304"/>
                </a:cubicBezTo>
                <a:cubicBezTo>
                  <a:pt x="1831" y="1306"/>
                  <a:pt x="1831" y="1306"/>
                  <a:pt x="1831" y="1306"/>
                </a:cubicBezTo>
                <a:cubicBezTo>
                  <a:pt x="1830" y="1306"/>
                  <a:pt x="1830" y="1306"/>
                  <a:pt x="1830" y="1306"/>
                </a:cubicBezTo>
                <a:cubicBezTo>
                  <a:pt x="1829" y="1307"/>
                  <a:pt x="1829" y="1307"/>
                  <a:pt x="1829" y="1307"/>
                </a:cubicBezTo>
                <a:cubicBezTo>
                  <a:pt x="1829" y="1305"/>
                  <a:pt x="1829" y="1305"/>
                  <a:pt x="1829" y="1305"/>
                </a:cubicBezTo>
                <a:cubicBezTo>
                  <a:pt x="1828" y="1303"/>
                  <a:pt x="1828" y="1303"/>
                  <a:pt x="1828" y="1303"/>
                </a:cubicBezTo>
                <a:cubicBezTo>
                  <a:pt x="1828" y="1303"/>
                  <a:pt x="1828" y="1303"/>
                  <a:pt x="1828" y="1303"/>
                </a:cubicBezTo>
                <a:cubicBezTo>
                  <a:pt x="1829" y="1302"/>
                  <a:pt x="1829" y="1302"/>
                  <a:pt x="1829" y="1302"/>
                </a:cubicBezTo>
                <a:cubicBezTo>
                  <a:pt x="1830" y="1302"/>
                  <a:pt x="1830" y="1302"/>
                  <a:pt x="1830" y="1302"/>
                </a:cubicBezTo>
                <a:cubicBezTo>
                  <a:pt x="1831" y="1300"/>
                  <a:pt x="1831" y="1300"/>
                  <a:pt x="1831" y="1300"/>
                </a:cubicBezTo>
                <a:cubicBezTo>
                  <a:pt x="1832" y="1298"/>
                  <a:pt x="1832" y="1298"/>
                  <a:pt x="1832" y="1298"/>
                </a:cubicBezTo>
                <a:cubicBezTo>
                  <a:pt x="1833" y="1297"/>
                  <a:pt x="1833" y="1297"/>
                  <a:pt x="1833" y="1297"/>
                </a:cubicBezTo>
                <a:cubicBezTo>
                  <a:pt x="1835" y="1297"/>
                  <a:pt x="1835" y="1297"/>
                  <a:pt x="1835" y="1297"/>
                </a:cubicBezTo>
                <a:cubicBezTo>
                  <a:pt x="1839" y="1293"/>
                  <a:pt x="1839" y="1293"/>
                  <a:pt x="1839" y="1293"/>
                </a:cubicBezTo>
                <a:cubicBezTo>
                  <a:pt x="1847" y="1292"/>
                  <a:pt x="1847" y="1292"/>
                  <a:pt x="1847" y="1292"/>
                </a:cubicBezTo>
                <a:cubicBezTo>
                  <a:pt x="1854" y="1289"/>
                  <a:pt x="1854" y="1289"/>
                  <a:pt x="1854" y="1289"/>
                </a:cubicBezTo>
                <a:cubicBezTo>
                  <a:pt x="1858" y="1285"/>
                  <a:pt x="1858" y="1285"/>
                  <a:pt x="1858" y="1285"/>
                </a:cubicBezTo>
                <a:cubicBezTo>
                  <a:pt x="1858" y="1282"/>
                  <a:pt x="1858" y="1282"/>
                  <a:pt x="1858" y="1282"/>
                </a:cubicBezTo>
                <a:cubicBezTo>
                  <a:pt x="1860" y="1280"/>
                  <a:pt x="1860" y="1280"/>
                  <a:pt x="1860" y="1280"/>
                </a:cubicBezTo>
                <a:cubicBezTo>
                  <a:pt x="1859" y="1279"/>
                  <a:pt x="1859" y="1279"/>
                  <a:pt x="1859" y="1279"/>
                </a:cubicBezTo>
                <a:cubicBezTo>
                  <a:pt x="1858" y="1280"/>
                  <a:pt x="1858" y="1280"/>
                  <a:pt x="1858" y="1280"/>
                </a:cubicBezTo>
                <a:cubicBezTo>
                  <a:pt x="1857" y="1278"/>
                  <a:pt x="1857" y="1278"/>
                  <a:pt x="1857" y="1278"/>
                </a:cubicBezTo>
                <a:cubicBezTo>
                  <a:pt x="1858" y="1278"/>
                  <a:pt x="1858" y="1278"/>
                  <a:pt x="1858" y="1278"/>
                </a:cubicBezTo>
                <a:cubicBezTo>
                  <a:pt x="1858" y="1276"/>
                  <a:pt x="1858" y="1276"/>
                  <a:pt x="1858" y="1276"/>
                </a:cubicBezTo>
                <a:cubicBezTo>
                  <a:pt x="1859" y="1275"/>
                  <a:pt x="1859" y="1275"/>
                  <a:pt x="1859" y="1275"/>
                </a:cubicBezTo>
                <a:cubicBezTo>
                  <a:pt x="1859" y="1273"/>
                  <a:pt x="1859" y="1273"/>
                  <a:pt x="1859" y="1273"/>
                </a:cubicBezTo>
                <a:cubicBezTo>
                  <a:pt x="1860" y="1270"/>
                  <a:pt x="1860" y="1270"/>
                  <a:pt x="1860" y="1270"/>
                </a:cubicBezTo>
                <a:cubicBezTo>
                  <a:pt x="1860" y="1270"/>
                  <a:pt x="1860" y="1270"/>
                  <a:pt x="1860" y="1270"/>
                </a:cubicBezTo>
                <a:cubicBezTo>
                  <a:pt x="1860" y="1267"/>
                  <a:pt x="1860" y="1267"/>
                  <a:pt x="1860" y="1267"/>
                </a:cubicBezTo>
                <a:cubicBezTo>
                  <a:pt x="1861" y="1266"/>
                  <a:pt x="1861" y="1266"/>
                  <a:pt x="1861" y="1266"/>
                </a:cubicBezTo>
                <a:cubicBezTo>
                  <a:pt x="1861" y="1263"/>
                  <a:pt x="1861" y="1263"/>
                  <a:pt x="1861" y="1263"/>
                </a:cubicBezTo>
                <a:cubicBezTo>
                  <a:pt x="1860" y="1263"/>
                  <a:pt x="1860" y="1263"/>
                  <a:pt x="1860" y="1263"/>
                </a:cubicBezTo>
                <a:cubicBezTo>
                  <a:pt x="1860" y="1261"/>
                  <a:pt x="1860" y="1261"/>
                  <a:pt x="1860" y="1261"/>
                </a:cubicBezTo>
                <a:cubicBezTo>
                  <a:pt x="1859" y="1264"/>
                  <a:pt x="1859" y="1264"/>
                  <a:pt x="1859" y="1264"/>
                </a:cubicBezTo>
                <a:cubicBezTo>
                  <a:pt x="1859" y="1265"/>
                  <a:pt x="1859" y="1265"/>
                  <a:pt x="1859" y="1265"/>
                </a:cubicBezTo>
                <a:cubicBezTo>
                  <a:pt x="1858" y="1265"/>
                  <a:pt x="1858" y="1265"/>
                  <a:pt x="1858" y="1265"/>
                </a:cubicBezTo>
                <a:cubicBezTo>
                  <a:pt x="1858" y="1263"/>
                  <a:pt x="1858" y="1263"/>
                  <a:pt x="1858" y="1263"/>
                </a:cubicBezTo>
                <a:cubicBezTo>
                  <a:pt x="1858" y="1257"/>
                  <a:pt x="1858" y="1257"/>
                  <a:pt x="1858" y="1257"/>
                </a:cubicBezTo>
                <a:cubicBezTo>
                  <a:pt x="1857" y="1255"/>
                  <a:pt x="1857" y="1255"/>
                  <a:pt x="1857" y="1255"/>
                </a:cubicBezTo>
                <a:cubicBezTo>
                  <a:pt x="1857" y="1252"/>
                  <a:pt x="1857" y="1252"/>
                  <a:pt x="1857" y="1252"/>
                </a:cubicBezTo>
                <a:cubicBezTo>
                  <a:pt x="1856" y="1250"/>
                  <a:pt x="1856" y="1250"/>
                  <a:pt x="1856" y="1250"/>
                </a:cubicBezTo>
                <a:cubicBezTo>
                  <a:pt x="1855" y="1250"/>
                  <a:pt x="1855" y="1250"/>
                  <a:pt x="1855" y="1250"/>
                </a:cubicBezTo>
                <a:cubicBezTo>
                  <a:pt x="1856" y="1249"/>
                  <a:pt x="1856" y="1249"/>
                  <a:pt x="1856" y="1249"/>
                </a:cubicBezTo>
                <a:cubicBezTo>
                  <a:pt x="1856" y="1248"/>
                  <a:pt x="1856" y="1248"/>
                  <a:pt x="1856" y="1248"/>
                </a:cubicBezTo>
                <a:cubicBezTo>
                  <a:pt x="1853" y="1244"/>
                  <a:pt x="1853" y="1244"/>
                  <a:pt x="1853" y="1244"/>
                </a:cubicBezTo>
                <a:cubicBezTo>
                  <a:pt x="1854" y="1242"/>
                  <a:pt x="1854" y="1242"/>
                  <a:pt x="1854" y="1242"/>
                </a:cubicBezTo>
                <a:cubicBezTo>
                  <a:pt x="1854" y="1241"/>
                  <a:pt x="1854" y="1241"/>
                  <a:pt x="1854" y="1241"/>
                </a:cubicBezTo>
                <a:cubicBezTo>
                  <a:pt x="1855" y="1240"/>
                  <a:pt x="1855" y="1240"/>
                  <a:pt x="1855" y="1240"/>
                </a:cubicBezTo>
                <a:cubicBezTo>
                  <a:pt x="1855" y="1238"/>
                  <a:pt x="1855" y="1238"/>
                  <a:pt x="1855" y="1238"/>
                </a:cubicBezTo>
                <a:cubicBezTo>
                  <a:pt x="1854" y="1237"/>
                  <a:pt x="1854" y="1237"/>
                  <a:pt x="1854" y="1237"/>
                </a:cubicBezTo>
                <a:cubicBezTo>
                  <a:pt x="1854" y="1236"/>
                  <a:pt x="1854" y="1236"/>
                  <a:pt x="1854" y="1236"/>
                </a:cubicBezTo>
                <a:cubicBezTo>
                  <a:pt x="1855" y="1236"/>
                  <a:pt x="1855" y="1236"/>
                  <a:pt x="1855" y="1236"/>
                </a:cubicBezTo>
                <a:cubicBezTo>
                  <a:pt x="1857" y="1237"/>
                  <a:pt x="1857" y="1237"/>
                  <a:pt x="1857" y="1237"/>
                </a:cubicBezTo>
                <a:cubicBezTo>
                  <a:pt x="1858" y="1236"/>
                  <a:pt x="1858" y="1236"/>
                  <a:pt x="1858" y="1236"/>
                </a:cubicBezTo>
                <a:cubicBezTo>
                  <a:pt x="1860" y="1236"/>
                  <a:pt x="1860" y="1236"/>
                  <a:pt x="1860" y="1236"/>
                </a:cubicBezTo>
                <a:cubicBezTo>
                  <a:pt x="1862" y="1234"/>
                  <a:pt x="1862" y="1234"/>
                  <a:pt x="1862" y="1234"/>
                </a:cubicBezTo>
                <a:cubicBezTo>
                  <a:pt x="1862" y="1232"/>
                  <a:pt x="1862" y="1232"/>
                  <a:pt x="1862" y="1232"/>
                </a:cubicBezTo>
                <a:cubicBezTo>
                  <a:pt x="1867" y="1229"/>
                  <a:pt x="1867" y="1229"/>
                  <a:pt x="1867" y="1229"/>
                </a:cubicBezTo>
                <a:cubicBezTo>
                  <a:pt x="1869" y="1228"/>
                  <a:pt x="1869" y="1228"/>
                  <a:pt x="1869" y="1228"/>
                </a:cubicBezTo>
                <a:cubicBezTo>
                  <a:pt x="1869" y="1227"/>
                  <a:pt x="1869" y="1227"/>
                  <a:pt x="1869" y="1227"/>
                </a:cubicBezTo>
                <a:cubicBezTo>
                  <a:pt x="1870" y="1227"/>
                  <a:pt x="1870" y="1227"/>
                  <a:pt x="1870" y="1227"/>
                </a:cubicBezTo>
                <a:cubicBezTo>
                  <a:pt x="1871" y="1226"/>
                  <a:pt x="1871" y="1226"/>
                  <a:pt x="1871" y="1226"/>
                </a:cubicBezTo>
                <a:cubicBezTo>
                  <a:pt x="1871" y="1225"/>
                  <a:pt x="1871" y="1225"/>
                  <a:pt x="1871" y="1225"/>
                </a:cubicBezTo>
                <a:cubicBezTo>
                  <a:pt x="1876" y="1222"/>
                  <a:pt x="1876" y="1222"/>
                  <a:pt x="1876" y="1222"/>
                </a:cubicBezTo>
                <a:cubicBezTo>
                  <a:pt x="1876" y="1221"/>
                  <a:pt x="1876" y="1221"/>
                  <a:pt x="1876" y="1221"/>
                </a:cubicBezTo>
                <a:cubicBezTo>
                  <a:pt x="1877" y="1221"/>
                  <a:pt x="1877" y="1221"/>
                  <a:pt x="1877" y="1221"/>
                </a:cubicBezTo>
                <a:cubicBezTo>
                  <a:pt x="1878" y="1218"/>
                  <a:pt x="1878" y="1218"/>
                  <a:pt x="1878" y="1218"/>
                </a:cubicBezTo>
                <a:cubicBezTo>
                  <a:pt x="1878" y="1219"/>
                  <a:pt x="1878" y="1219"/>
                  <a:pt x="1878" y="1219"/>
                </a:cubicBezTo>
                <a:cubicBezTo>
                  <a:pt x="1879" y="1219"/>
                  <a:pt x="1879" y="1219"/>
                  <a:pt x="1879" y="1219"/>
                </a:cubicBezTo>
                <a:cubicBezTo>
                  <a:pt x="1882" y="1216"/>
                  <a:pt x="1882" y="1216"/>
                  <a:pt x="1882" y="1216"/>
                </a:cubicBezTo>
                <a:cubicBezTo>
                  <a:pt x="1882" y="1215"/>
                  <a:pt x="1882" y="1215"/>
                  <a:pt x="1882" y="1215"/>
                </a:cubicBezTo>
                <a:cubicBezTo>
                  <a:pt x="1883" y="1215"/>
                  <a:pt x="1883" y="1215"/>
                  <a:pt x="1883" y="1215"/>
                </a:cubicBezTo>
                <a:cubicBezTo>
                  <a:pt x="1887" y="1213"/>
                  <a:pt x="1887" y="1213"/>
                  <a:pt x="1887" y="1213"/>
                </a:cubicBezTo>
                <a:cubicBezTo>
                  <a:pt x="1890" y="1211"/>
                  <a:pt x="1890" y="1211"/>
                  <a:pt x="1890" y="1211"/>
                </a:cubicBezTo>
                <a:cubicBezTo>
                  <a:pt x="1890" y="1211"/>
                  <a:pt x="1890" y="1211"/>
                  <a:pt x="1890" y="1211"/>
                </a:cubicBezTo>
                <a:cubicBezTo>
                  <a:pt x="1893" y="1211"/>
                  <a:pt x="1893" y="1211"/>
                  <a:pt x="1893" y="1211"/>
                </a:cubicBezTo>
                <a:cubicBezTo>
                  <a:pt x="1899" y="1208"/>
                  <a:pt x="1899" y="1208"/>
                  <a:pt x="1899" y="1208"/>
                </a:cubicBezTo>
                <a:cubicBezTo>
                  <a:pt x="1900" y="1206"/>
                  <a:pt x="1900" y="1206"/>
                  <a:pt x="1900" y="1206"/>
                </a:cubicBezTo>
                <a:cubicBezTo>
                  <a:pt x="1901" y="1206"/>
                  <a:pt x="1901" y="1206"/>
                  <a:pt x="1901" y="1206"/>
                </a:cubicBezTo>
                <a:cubicBezTo>
                  <a:pt x="1907" y="1202"/>
                  <a:pt x="1907" y="1202"/>
                  <a:pt x="1907" y="1202"/>
                </a:cubicBezTo>
                <a:cubicBezTo>
                  <a:pt x="1907" y="1201"/>
                  <a:pt x="1907" y="1201"/>
                  <a:pt x="1907" y="1201"/>
                </a:cubicBezTo>
                <a:cubicBezTo>
                  <a:pt x="1909" y="1200"/>
                  <a:pt x="1909" y="1200"/>
                  <a:pt x="1909" y="1200"/>
                </a:cubicBezTo>
                <a:cubicBezTo>
                  <a:pt x="1911" y="1198"/>
                  <a:pt x="1911" y="1198"/>
                  <a:pt x="1911" y="1198"/>
                </a:cubicBezTo>
                <a:cubicBezTo>
                  <a:pt x="1911" y="1196"/>
                  <a:pt x="1911" y="1196"/>
                  <a:pt x="1911" y="1196"/>
                </a:cubicBezTo>
                <a:cubicBezTo>
                  <a:pt x="1913" y="1193"/>
                  <a:pt x="1913" y="1193"/>
                  <a:pt x="1913" y="1193"/>
                </a:cubicBezTo>
                <a:cubicBezTo>
                  <a:pt x="1914" y="1193"/>
                  <a:pt x="1914" y="1193"/>
                  <a:pt x="1914" y="1193"/>
                </a:cubicBezTo>
                <a:cubicBezTo>
                  <a:pt x="1915" y="1191"/>
                  <a:pt x="1915" y="1191"/>
                  <a:pt x="1915" y="1191"/>
                </a:cubicBezTo>
                <a:cubicBezTo>
                  <a:pt x="1915" y="1190"/>
                  <a:pt x="1915" y="1190"/>
                  <a:pt x="1915" y="1190"/>
                </a:cubicBezTo>
                <a:cubicBezTo>
                  <a:pt x="1914" y="1190"/>
                  <a:pt x="1914" y="1190"/>
                  <a:pt x="1914" y="1190"/>
                </a:cubicBezTo>
                <a:cubicBezTo>
                  <a:pt x="1914" y="1190"/>
                  <a:pt x="1914" y="1190"/>
                  <a:pt x="1914" y="1190"/>
                </a:cubicBezTo>
                <a:cubicBezTo>
                  <a:pt x="1913" y="1190"/>
                  <a:pt x="1913" y="1190"/>
                  <a:pt x="1913" y="1190"/>
                </a:cubicBezTo>
                <a:cubicBezTo>
                  <a:pt x="1915" y="1188"/>
                  <a:pt x="1915" y="1188"/>
                  <a:pt x="1915" y="1188"/>
                </a:cubicBezTo>
                <a:cubicBezTo>
                  <a:pt x="1916" y="1188"/>
                  <a:pt x="1916" y="1188"/>
                  <a:pt x="1916" y="1188"/>
                </a:cubicBezTo>
                <a:cubicBezTo>
                  <a:pt x="1916" y="1187"/>
                  <a:pt x="1916" y="1187"/>
                  <a:pt x="1916" y="1187"/>
                </a:cubicBezTo>
                <a:cubicBezTo>
                  <a:pt x="1916" y="1186"/>
                  <a:pt x="1916" y="1186"/>
                  <a:pt x="1916" y="1186"/>
                </a:cubicBezTo>
                <a:cubicBezTo>
                  <a:pt x="1917" y="1186"/>
                  <a:pt x="1917" y="1186"/>
                  <a:pt x="1917" y="1186"/>
                </a:cubicBezTo>
                <a:cubicBezTo>
                  <a:pt x="1918" y="1184"/>
                  <a:pt x="1918" y="1184"/>
                  <a:pt x="1918" y="1184"/>
                </a:cubicBezTo>
                <a:cubicBezTo>
                  <a:pt x="1917" y="1180"/>
                  <a:pt x="1917" y="1180"/>
                  <a:pt x="1917" y="1180"/>
                </a:cubicBezTo>
                <a:cubicBezTo>
                  <a:pt x="1917" y="1180"/>
                  <a:pt x="1917" y="1180"/>
                  <a:pt x="1917" y="1180"/>
                </a:cubicBezTo>
                <a:cubicBezTo>
                  <a:pt x="1915" y="1180"/>
                  <a:pt x="1915" y="1180"/>
                  <a:pt x="1915" y="1180"/>
                </a:cubicBezTo>
                <a:cubicBezTo>
                  <a:pt x="1914" y="1179"/>
                  <a:pt x="1914" y="1179"/>
                  <a:pt x="1914" y="1179"/>
                </a:cubicBezTo>
                <a:cubicBezTo>
                  <a:pt x="1914" y="1178"/>
                  <a:pt x="1914" y="1178"/>
                  <a:pt x="1914" y="1178"/>
                </a:cubicBezTo>
                <a:cubicBezTo>
                  <a:pt x="1916" y="1178"/>
                  <a:pt x="1916" y="1178"/>
                  <a:pt x="1916" y="1178"/>
                </a:cubicBezTo>
                <a:cubicBezTo>
                  <a:pt x="1916" y="1174"/>
                  <a:pt x="1916" y="1174"/>
                  <a:pt x="1916" y="1174"/>
                </a:cubicBezTo>
                <a:cubicBezTo>
                  <a:pt x="1915" y="1173"/>
                  <a:pt x="1915" y="1173"/>
                  <a:pt x="1915" y="1173"/>
                </a:cubicBezTo>
                <a:cubicBezTo>
                  <a:pt x="1916" y="1173"/>
                  <a:pt x="1916" y="1173"/>
                  <a:pt x="1916" y="1173"/>
                </a:cubicBezTo>
                <a:cubicBezTo>
                  <a:pt x="1916" y="1168"/>
                  <a:pt x="1916" y="1168"/>
                  <a:pt x="1916" y="1168"/>
                </a:cubicBezTo>
                <a:cubicBezTo>
                  <a:pt x="1916" y="1165"/>
                  <a:pt x="1916" y="1165"/>
                  <a:pt x="1916" y="1165"/>
                </a:cubicBezTo>
                <a:cubicBezTo>
                  <a:pt x="1917" y="1164"/>
                  <a:pt x="1917" y="1164"/>
                  <a:pt x="1917" y="1164"/>
                </a:cubicBezTo>
                <a:cubicBezTo>
                  <a:pt x="1917" y="1162"/>
                  <a:pt x="1917" y="1162"/>
                  <a:pt x="1917" y="1162"/>
                </a:cubicBezTo>
                <a:cubicBezTo>
                  <a:pt x="1916" y="1161"/>
                  <a:pt x="1916" y="1161"/>
                  <a:pt x="1916" y="1161"/>
                </a:cubicBezTo>
                <a:cubicBezTo>
                  <a:pt x="1916" y="1158"/>
                  <a:pt x="1916" y="1158"/>
                  <a:pt x="1916" y="1158"/>
                </a:cubicBezTo>
                <a:cubicBezTo>
                  <a:pt x="1917" y="1158"/>
                  <a:pt x="1917" y="1158"/>
                  <a:pt x="1917" y="1158"/>
                </a:cubicBezTo>
                <a:cubicBezTo>
                  <a:pt x="1916" y="1156"/>
                  <a:pt x="1916" y="1156"/>
                  <a:pt x="1916" y="1156"/>
                </a:cubicBezTo>
                <a:cubicBezTo>
                  <a:pt x="1915" y="1152"/>
                  <a:pt x="1915" y="1152"/>
                  <a:pt x="1915" y="1152"/>
                </a:cubicBezTo>
                <a:cubicBezTo>
                  <a:pt x="1916" y="1151"/>
                  <a:pt x="1916" y="1151"/>
                  <a:pt x="1916" y="1151"/>
                </a:cubicBezTo>
                <a:cubicBezTo>
                  <a:pt x="1916" y="1151"/>
                  <a:pt x="1916" y="1151"/>
                  <a:pt x="1916" y="1151"/>
                </a:cubicBezTo>
                <a:cubicBezTo>
                  <a:pt x="1916" y="1150"/>
                  <a:pt x="1916" y="1150"/>
                  <a:pt x="1916" y="1150"/>
                </a:cubicBezTo>
                <a:cubicBezTo>
                  <a:pt x="1916" y="1149"/>
                  <a:pt x="1916" y="1149"/>
                  <a:pt x="1916" y="1149"/>
                </a:cubicBezTo>
                <a:cubicBezTo>
                  <a:pt x="1918" y="1146"/>
                  <a:pt x="1918" y="1146"/>
                  <a:pt x="1918" y="1146"/>
                </a:cubicBezTo>
                <a:cubicBezTo>
                  <a:pt x="1917" y="1145"/>
                  <a:pt x="1917" y="1145"/>
                  <a:pt x="1917" y="1145"/>
                </a:cubicBezTo>
                <a:cubicBezTo>
                  <a:pt x="1918" y="1144"/>
                  <a:pt x="1918" y="1144"/>
                  <a:pt x="1918" y="1144"/>
                </a:cubicBezTo>
                <a:cubicBezTo>
                  <a:pt x="1918" y="1142"/>
                  <a:pt x="1918" y="1142"/>
                  <a:pt x="1918" y="1142"/>
                </a:cubicBezTo>
                <a:cubicBezTo>
                  <a:pt x="1918" y="1141"/>
                  <a:pt x="1918" y="1141"/>
                  <a:pt x="1918" y="1141"/>
                </a:cubicBezTo>
                <a:cubicBezTo>
                  <a:pt x="1917" y="1141"/>
                  <a:pt x="1917" y="1141"/>
                  <a:pt x="1917" y="1141"/>
                </a:cubicBezTo>
                <a:cubicBezTo>
                  <a:pt x="1917" y="1140"/>
                  <a:pt x="1917" y="1140"/>
                  <a:pt x="1917" y="1140"/>
                </a:cubicBezTo>
                <a:cubicBezTo>
                  <a:pt x="1915" y="1138"/>
                  <a:pt x="1915" y="1138"/>
                  <a:pt x="1915" y="1138"/>
                </a:cubicBezTo>
                <a:cubicBezTo>
                  <a:pt x="1913" y="1138"/>
                  <a:pt x="1913" y="1138"/>
                  <a:pt x="1913" y="1138"/>
                </a:cubicBezTo>
                <a:cubicBezTo>
                  <a:pt x="1909" y="1134"/>
                  <a:pt x="1909" y="1134"/>
                  <a:pt x="1909" y="1134"/>
                </a:cubicBezTo>
                <a:cubicBezTo>
                  <a:pt x="1909" y="1133"/>
                  <a:pt x="1909" y="1133"/>
                  <a:pt x="1909" y="1133"/>
                </a:cubicBezTo>
                <a:cubicBezTo>
                  <a:pt x="1908" y="1130"/>
                  <a:pt x="1908" y="1130"/>
                  <a:pt x="1908" y="1130"/>
                </a:cubicBezTo>
                <a:cubicBezTo>
                  <a:pt x="1907" y="1129"/>
                  <a:pt x="1907" y="1129"/>
                  <a:pt x="1907" y="1129"/>
                </a:cubicBezTo>
                <a:cubicBezTo>
                  <a:pt x="1908" y="1127"/>
                  <a:pt x="1908" y="1127"/>
                  <a:pt x="1908" y="1127"/>
                </a:cubicBezTo>
                <a:cubicBezTo>
                  <a:pt x="1907" y="1126"/>
                  <a:pt x="1907" y="1126"/>
                  <a:pt x="1907" y="1126"/>
                </a:cubicBezTo>
                <a:cubicBezTo>
                  <a:pt x="1907" y="1124"/>
                  <a:pt x="1907" y="1124"/>
                  <a:pt x="1907" y="1124"/>
                </a:cubicBezTo>
                <a:cubicBezTo>
                  <a:pt x="1906" y="1123"/>
                  <a:pt x="1906" y="1123"/>
                  <a:pt x="1906" y="1123"/>
                </a:cubicBezTo>
                <a:cubicBezTo>
                  <a:pt x="1907" y="1123"/>
                  <a:pt x="1907" y="1123"/>
                  <a:pt x="1907" y="1123"/>
                </a:cubicBezTo>
                <a:cubicBezTo>
                  <a:pt x="1906" y="1120"/>
                  <a:pt x="1906" y="1120"/>
                  <a:pt x="1906" y="1120"/>
                </a:cubicBezTo>
                <a:cubicBezTo>
                  <a:pt x="1905" y="1118"/>
                  <a:pt x="1905" y="1118"/>
                  <a:pt x="1905" y="1118"/>
                </a:cubicBezTo>
                <a:cubicBezTo>
                  <a:pt x="1907" y="1117"/>
                  <a:pt x="1907" y="1117"/>
                  <a:pt x="1907" y="1117"/>
                </a:cubicBezTo>
                <a:cubicBezTo>
                  <a:pt x="1907" y="1114"/>
                  <a:pt x="1907" y="1114"/>
                  <a:pt x="1907" y="1114"/>
                </a:cubicBezTo>
                <a:cubicBezTo>
                  <a:pt x="1905" y="1113"/>
                  <a:pt x="1905" y="1113"/>
                  <a:pt x="1905" y="1113"/>
                </a:cubicBezTo>
                <a:cubicBezTo>
                  <a:pt x="1905" y="1109"/>
                  <a:pt x="1905" y="1109"/>
                  <a:pt x="1905" y="1109"/>
                </a:cubicBezTo>
                <a:cubicBezTo>
                  <a:pt x="1906" y="1107"/>
                  <a:pt x="1906" y="1107"/>
                  <a:pt x="1906" y="1107"/>
                </a:cubicBezTo>
                <a:cubicBezTo>
                  <a:pt x="1907" y="1106"/>
                  <a:pt x="1907" y="1106"/>
                  <a:pt x="1907" y="1106"/>
                </a:cubicBezTo>
                <a:cubicBezTo>
                  <a:pt x="1908" y="1106"/>
                  <a:pt x="1908" y="1106"/>
                  <a:pt x="1908" y="1106"/>
                </a:cubicBezTo>
                <a:cubicBezTo>
                  <a:pt x="1908" y="1105"/>
                  <a:pt x="1908" y="1105"/>
                  <a:pt x="1908" y="1105"/>
                </a:cubicBezTo>
                <a:cubicBezTo>
                  <a:pt x="1907" y="1101"/>
                  <a:pt x="1907" y="1101"/>
                  <a:pt x="1907" y="1101"/>
                </a:cubicBezTo>
                <a:cubicBezTo>
                  <a:pt x="1906" y="1101"/>
                  <a:pt x="1906" y="1101"/>
                  <a:pt x="1906" y="1101"/>
                </a:cubicBezTo>
                <a:cubicBezTo>
                  <a:pt x="1904" y="1099"/>
                  <a:pt x="1904" y="1099"/>
                  <a:pt x="1904" y="1099"/>
                </a:cubicBezTo>
                <a:cubicBezTo>
                  <a:pt x="1901" y="1096"/>
                  <a:pt x="1901" y="1096"/>
                  <a:pt x="1901" y="1096"/>
                </a:cubicBezTo>
                <a:cubicBezTo>
                  <a:pt x="1901" y="1094"/>
                  <a:pt x="1901" y="1094"/>
                  <a:pt x="1901" y="1094"/>
                </a:cubicBezTo>
                <a:cubicBezTo>
                  <a:pt x="1902" y="1090"/>
                  <a:pt x="1902" y="1090"/>
                  <a:pt x="1902" y="1090"/>
                </a:cubicBezTo>
                <a:cubicBezTo>
                  <a:pt x="1905" y="1083"/>
                  <a:pt x="1905" y="1083"/>
                  <a:pt x="1905" y="1083"/>
                </a:cubicBezTo>
                <a:cubicBezTo>
                  <a:pt x="1905" y="1082"/>
                  <a:pt x="1905" y="1082"/>
                  <a:pt x="1905" y="1082"/>
                </a:cubicBezTo>
                <a:cubicBezTo>
                  <a:pt x="1905" y="1081"/>
                  <a:pt x="1905" y="1081"/>
                  <a:pt x="1905" y="1081"/>
                </a:cubicBezTo>
                <a:cubicBezTo>
                  <a:pt x="1905" y="1080"/>
                  <a:pt x="1905" y="1080"/>
                  <a:pt x="1905" y="1080"/>
                </a:cubicBezTo>
                <a:cubicBezTo>
                  <a:pt x="1905" y="1080"/>
                  <a:pt x="1905" y="1080"/>
                  <a:pt x="1905" y="1080"/>
                </a:cubicBezTo>
                <a:cubicBezTo>
                  <a:pt x="1906" y="1080"/>
                  <a:pt x="1906" y="1080"/>
                  <a:pt x="1906" y="1080"/>
                </a:cubicBezTo>
                <a:cubicBezTo>
                  <a:pt x="1908" y="1079"/>
                  <a:pt x="1908" y="1079"/>
                  <a:pt x="1908" y="1079"/>
                </a:cubicBezTo>
                <a:cubicBezTo>
                  <a:pt x="1912" y="1074"/>
                  <a:pt x="1912" y="1074"/>
                  <a:pt x="1912" y="1074"/>
                </a:cubicBezTo>
                <a:cubicBezTo>
                  <a:pt x="1913" y="1071"/>
                  <a:pt x="1913" y="1071"/>
                  <a:pt x="1913" y="1071"/>
                </a:cubicBezTo>
                <a:cubicBezTo>
                  <a:pt x="1913" y="1068"/>
                  <a:pt x="1913" y="1068"/>
                  <a:pt x="1913" y="1068"/>
                </a:cubicBezTo>
                <a:cubicBezTo>
                  <a:pt x="1915" y="1066"/>
                  <a:pt x="1915" y="1066"/>
                  <a:pt x="1915" y="1066"/>
                </a:cubicBezTo>
                <a:cubicBezTo>
                  <a:pt x="1916" y="1064"/>
                  <a:pt x="1916" y="1064"/>
                  <a:pt x="1916" y="1064"/>
                </a:cubicBezTo>
                <a:cubicBezTo>
                  <a:pt x="1916" y="1063"/>
                  <a:pt x="1916" y="1063"/>
                  <a:pt x="1916" y="1063"/>
                </a:cubicBezTo>
                <a:cubicBezTo>
                  <a:pt x="1916" y="1062"/>
                  <a:pt x="1916" y="1062"/>
                  <a:pt x="1916" y="1062"/>
                </a:cubicBezTo>
                <a:cubicBezTo>
                  <a:pt x="1917" y="1060"/>
                  <a:pt x="1917" y="1060"/>
                  <a:pt x="1917" y="1060"/>
                </a:cubicBezTo>
                <a:cubicBezTo>
                  <a:pt x="1917" y="1060"/>
                  <a:pt x="1917" y="1060"/>
                  <a:pt x="1917" y="1060"/>
                </a:cubicBezTo>
                <a:cubicBezTo>
                  <a:pt x="1919" y="1059"/>
                  <a:pt x="1919" y="1059"/>
                  <a:pt x="1919" y="1059"/>
                </a:cubicBezTo>
                <a:cubicBezTo>
                  <a:pt x="1922" y="1059"/>
                  <a:pt x="1922" y="1059"/>
                  <a:pt x="1922" y="1059"/>
                </a:cubicBezTo>
                <a:cubicBezTo>
                  <a:pt x="1924" y="1057"/>
                  <a:pt x="1924" y="1057"/>
                  <a:pt x="1924" y="1057"/>
                </a:cubicBezTo>
                <a:cubicBezTo>
                  <a:pt x="1927" y="1055"/>
                  <a:pt x="1927" y="1055"/>
                  <a:pt x="1927" y="1055"/>
                </a:cubicBezTo>
                <a:cubicBezTo>
                  <a:pt x="1926" y="1054"/>
                  <a:pt x="1926" y="1054"/>
                  <a:pt x="1926" y="1054"/>
                </a:cubicBezTo>
                <a:cubicBezTo>
                  <a:pt x="1928" y="1053"/>
                  <a:pt x="1928" y="1053"/>
                  <a:pt x="1928" y="1053"/>
                </a:cubicBezTo>
                <a:cubicBezTo>
                  <a:pt x="1928" y="1053"/>
                  <a:pt x="1928" y="1053"/>
                  <a:pt x="1928" y="1053"/>
                </a:cubicBezTo>
                <a:cubicBezTo>
                  <a:pt x="1932" y="1049"/>
                  <a:pt x="1932" y="1049"/>
                  <a:pt x="1932" y="1049"/>
                </a:cubicBezTo>
                <a:cubicBezTo>
                  <a:pt x="1932" y="1048"/>
                  <a:pt x="1932" y="1048"/>
                  <a:pt x="1932" y="1048"/>
                </a:cubicBezTo>
                <a:cubicBezTo>
                  <a:pt x="1932" y="1048"/>
                  <a:pt x="1932" y="1048"/>
                  <a:pt x="1932" y="1048"/>
                </a:cubicBezTo>
                <a:cubicBezTo>
                  <a:pt x="1940" y="1038"/>
                  <a:pt x="1940" y="1038"/>
                  <a:pt x="1940" y="1038"/>
                </a:cubicBezTo>
                <a:cubicBezTo>
                  <a:pt x="1941" y="1036"/>
                  <a:pt x="1941" y="1036"/>
                  <a:pt x="1941" y="1036"/>
                </a:cubicBezTo>
                <a:cubicBezTo>
                  <a:pt x="1943" y="1034"/>
                  <a:pt x="1943" y="1034"/>
                  <a:pt x="1943" y="1034"/>
                </a:cubicBezTo>
                <a:cubicBezTo>
                  <a:pt x="1945" y="1034"/>
                  <a:pt x="1945" y="1034"/>
                  <a:pt x="1945" y="1034"/>
                </a:cubicBezTo>
                <a:cubicBezTo>
                  <a:pt x="1946" y="1032"/>
                  <a:pt x="1946" y="1032"/>
                  <a:pt x="1946" y="1032"/>
                </a:cubicBezTo>
                <a:cubicBezTo>
                  <a:pt x="1947" y="1032"/>
                  <a:pt x="1947" y="1032"/>
                  <a:pt x="1947" y="1032"/>
                </a:cubicBezTo>
                <a:cubicBezTo>
                  <a:pt x="1953" y="1025"/>
                  <a:pt x="1953" y="1025"/>
                  <a:pt x="1953" y="1025"/>
                </a:cubicBezTo>
                <a:cubicBezTo>
                  <a:pt x="1954" y="1025"/>
                  <a:pt x="1954" y="1025"/>
                  <a:pt x="1954" y="1025"/>
                </a:cubicBezTo>
                <a:cubicBezTo>
                  <a:pt x="1961" y="1018"/>
                  <a:pt x="1961" y="1018"/>
                  <a:pt x="1961" y="1018"/>
                </a:cubicBezTo>
                <a:cubicBezTo>
                  <a:pt x="1965" y="1015"/>
                  <a:pt x="1965" y="1015"/>
                  <a:pt x="1965" y="1015"/>
                </a:cubicBezTo>
                <a:cubicBezTo>
                  <a:pt x="1968" y="1013"/>
                  <a:pt x="1968" y="1013"/>
                  <a:pt x="1968" y="1013"/>
                </a:cubicBezTo>
                <a:cubicBezTo>
                  <a:pt x="1971" y="1012"/>
                  <a:pt x="1971" y="1012"/>
                  <a:pt x="1971" y="1012"/>
                </a:cubicBezTo>
                <a:cubicBezTo>
                  <a:pt x="1976" y="1008"/>
                  <a:pt x="1976" y="1008"/>
                  <a:pt x="1976" y="1008"/>
                </a:cubicBezTo>
                <a:cubicBezTo>
                  <a:pt x="1987" y="998"/>
                  <a:pt x="1987" y="998"/>
                  <a:pt x="1987" y="998"/>
                </a:cubicBezTo>
                <a:cubicBezTo>
                  <a:pt x="1993" y="992"/>
                  <a:pt x="1993" y="992"/>
                  <a:pt x="1993" y="992"/>
                </a:cubicBezTo>
                <a:cubicBezTo>
                  <a:pt x="1996" y="989"/>
                  <a:pt x="1996" y="989"/>
                  <a:pt x="1996" y="989"/>
                </a:cubicBezTo>
                <a:cubicBezTo>
                  <a:pt x="1996" y="987"/>
                  <a:pt x="1996" y="987"/>
                  <a:pt x="1996" y="987"/>
                </a:cubicBezTo>
                <a:cubicBezTo>
                  <a:pt x="2003" y="977"/>
                  <a:pt x="2003" y="977"/>
                  <a:pt x="2003" y="977"/>
                </a:cubicBezTo>
                <a:cubicBezTo>
                  <a:pt x="2003" y="976"/>
                  <a:pt x="2003" y="976"/>
                  <a:pt x="2003" y="976"/>
                </a:cubicBezTo>
                <a:cubicBezTo>
                  <a:pt x="2007" y="970"/>
                  <a:pt x="2007" y="970"/>
                  <a:pt x="2007" y="970"/>
                </a:cubicBezTo>
                <a:cubicBezTo>
                  <a:pt x="2007" y="967"/>
                  <a:pt x="2007" y="967"/>
                  <a:pt x="2007" y="967"/>
                </a:cubicBezTo>
                <a:cubicBezTo>
                  <a:pt x="2013" y="956"/>
                  <a:pt x="2013" y="956"/>
                  <a:pt x="2013" y="956"/>
                </a:cubicBezTo>
                <a:cubicBezTo>
                  <a:pt x="2014" y="955"/>
                  <a:pt x="2014" y="955"/>
                  <a:pt x="2014" y="955"/>
                </a:cubicBezTo>
                <a:cubicBezTo>
                  <a:pt x="2013" y="954"/>
                  <a:pt x="2013" y="954"/>
                  <a:pt x="2013" y="954"/>
                </a:cubicBezTo>
                <a:cubicBezTo>
                  <a:pt x="2013" y="952"/>
                  <a:pt x="2013" y="952"/>
                  <a:pt x="2013" y="952"/>
                </a:cubicBezTo>
                <a:cubicBezTo>
                  <a:pt x="2016" y="950"/>
                  <a:pt x="2016" y="950"/>
                  <a:pt x="2016" y="950"/>
                </a:cubicBezTo>
                <a:cubicBezTo>
                  <a:pt x="2017" y="950"/>
                  <a:pt x="2017" y="950"/>
                  <a:pt x="2017" y="950"/>
                </a:cubicBezTo>
                <a:cubicBezTo>
                  <a:pt x="2018" y="948"/>
                  <a:pt x="2018" y="948"/>
                  <a:pt x="2018" y="948"/>
                </a:cubicBezTo>
                <a:cubicBezTo>
                  <a:pt x="2020" y="943"/>
                  <a:pt x="2020" y="943"/>
                  <a:pt x="2020" y="943"/>
                </a:cubicBezTo>
                <a:cubicBezTo>
                  <a:pt x="2024" y="938"/>
                  <a:pt x="2024" y="938"/>
                  <a:pt x="2024" y="938"/>
                </a:cubicBezTo>
                <a:cubicBezTo>
                  <a:pt x="2024" y="936"/>
                  <a:pt x="2024" y="936"/>
                  <a:pt x="2024" y="936"/>
                </a:cubicBezTo>
                <a:cubicBezTo>
                  <a:pt x="2024" y="935"/>
                  <a:pt x="2024" y="935"/>
                  <a:pt x="2024" y="935"/>
                </a:cubicBezTo>
                <a:cubicBezTo>
                  <a:pt x="2025" y="932"/>
                  <a:pt x="2025" y="932"/>
                  <a:pt x="2025" y="932"/>
                </a:cubicBezTo>
                <a:cubicBezTo>
                  <a:pt x="2024" y="931"/>
                  <a:pt x="2024" y="931"/>
                  <a:pt x="2024" y="931"/>
                </a:cubicBezTo>
                <a:cubicBezTo>
                  <a:pt x="2025" y="929"/>
                  <a:pt x="2025" y="929"/>
                  <a:pt x="2025" y="929"/>
                </a:cubicBezTo>
                <a:cubicBezTo>
                  <a:pt x="2026" y="928"/>
                  <a:pt x="2026" y="928"/>
                  <a:pt x="2026" y="928"/>
                </a:cubicBezTo>
                <a:cubicBezTo>
                  <a:pt x="2028" y="928"/>
                  <a:pt x="2028" y="928"/>
                  <a:pt x="2028" y="928"/>
                </a:cubicBezTo>
                <a:cubicBezTo>
                  <a:pt x="2028" y="929"/>
                  <a:pt x="2028" y="929"/>
                  <a:pt x="2028" y="929"/>
                </a:cubicBezTo>
                <a:cubicBezTo>
                  <a:pt x="2028" y="928"/>
                  <a:pt x="2028" y="928"/>
                  <a:pt x="2028" y="928"/>
                </a:cubicBezTo>
                <a:cubicBezTo>
                  <a:pt x="2028" y="927"/>
                  <a:pt x="2028" y="927"/>
                  <a:pt x="2028" y="927"/>
                </a:cubicBezTo>
                <a:cubicBezTo>
                  <a:pt x="2027" y="927"/>
                  <a:pt x="2027" y="927"/>
                  <a:pt x="2027" y="927"/>
                </a:cubicBezTo>
                <a:cubicBezTo>
                  <a:pt x="2027" y="927"/>
                  <a:pt x="2027" y="927"/>
                  <a:pt x="2027" y="927"/>
                </a:cubicBezTo>
                <a:cubicBezTo>
                  <a:pt x="2026" y="928"/>
                  <a:pt x="2026" y="928"/>
                  <a:pt x="2026" y="928"/>
                </a:cubicBezTo>
                <a:cubicBezTo>
                  <a:pt x="2027" y="926"/>
                  <a:pt x="2027" y="926"/>
                  <a:pt x="2027" y="926"/>
                </a:cubicBezTo>
                <a:cubicBezTo>
                  <a:pt x="2026" y="924"/>
                  <a:pt x="2026" y="924"/>
                  <a:pt x="2026" y="924"/>
                </a:cubicBezTo>
                <a:cubicBezTo>
                  <a:pt x="2026" y="923"/>
                  <a:pt x="2026" y="923"/>
                  <a:pt x="2026" y="923"/>
                </a:cubicBezTo>
                <a:cubicBezTo>
                  <a:pt x="2026" y="921"/>
                  <a:pt x="2026" y="921"/>
                  <a:pt x="2026" y="921"/>
                </a:cubicBezTo>
                <a:cubicBezTo>
                  <a:pt x="2027" y="920"/>
                  <a:pt x="2027" y="920"/>
                  <a:pt x="2027" y="920"/>
                </a:cubicBezTo>
                <a:cubicBezTo>
                  <a:pt x="2027" y="919"/>
                  <a:pt x="2027" y="919"/>
                  <a:pt x="2027" y="919"/>
                </a:cubicBezTo>
                <a:cubicBezTo>
                  <a:pt x="2026" y="919"/>
                  <a:pt x="2026" y="919"/>
                  <a:pt x="2026" y="919"/>
                </a:cubicBezTo>
                <a:cubicBezTo>
                  <a:pt x="2026" y="919"/>
                  <a:pt x="2026" y="919"/>
                  <a:pt x="2026" y="919"/>
                </a:cubicBezTo>
                <a:cubicBezTo>
                  <a:pt x="2026" y="918"/>
                  <a:pt x="2026" y="918"/>
                  <a:pt x="2026" y="918"/>
                </a:cubicBezTo>
                <a:cubicBezTo>
                  <a:pt x="2026" y="916"/>
                  <a:pt x="2026" y="916"/>
                  <a:pt x="2026" y="916"/>
                </a:cubicBezTo>
                <a:cubicBezTo>
                  <a:pt x="2027" y="914"/>
                  <a:pt x="2027" y="914"/>
                  <a:pt x="2027" y="914"/>
                </a:cubicBezTo>
                <a:cubicBezTo>
                  <a:pt x="2028" y="913"/>
                  <a:pt x="2028" y="913"/>
                  <a:pt x="2028" y="913"/>
                </a:cubicBezTo>
                <a:cubicBezTo>
                  <a:pt x="2028" y="912"/>
                  <a:pt x="2028" y="912"/>
                  <a:pt x="2028" y="912"/>
                </a:cubicBezTo>
                <a:cubicBezTo>
                  <a:pt x="2026" y="913"/>
                  <a:pt x="2026" y="913"/>
                  <a:pt x="2026" y="913"/>
                </a:cubicBezTo>
                <a:cubicBezTo>
                  <a:pt x="2024" y="912"/>
                  <a:pt x="2024" y="912"/>
                  <a:pt x="2024" y="912"/>
                </a:cubicBezTo>
                <a:cubicBezTo>
                  <a:pt x="2023" y="911"/>
                  <a:pt x="2023" y="911"/>
                  <a:pt x="2023" y="911"/>
                </a:cubicBezTo>
                <a:cubicBezTo>
                  <a:pt x="2023" y="911"/>
                  <a:pt x="2023" y="911"/>
                  <a:pt x="2023" y="911"/>
                </a:cubicBezTo>
                <a:cubicBezTo>
                  <a:pt x="2022" y="911"/>
                  <a:pt x="2022" y="911"/>
                  <a:pt x="2022" y="911"/>
                </a:cubicBezTo>
                <a:cubicBezTo>
                  <a:pt x="2021" y="912"/>
                  <a:pt x="2021" y="912"/>
                  <a:pt x="2021" y="912"/>
                </a:cubicBezTo>
                <a:cubicBezTo>
                  <a:pt x="2021" y="913"/>
                  <a:pt x="2021" y="913"/>
                  <a:pt x="2021" y="913"/>
                </a:cubicBezTo>
                <a:cubicBezTo>
                  <a:pt x="2020" y="914"/>
                  <a:pt x="2020" y="914"/>
                  <a:pt x="2020" y="914"/>
                </a:cubicBezTo>
                <a:cubicBezTo>
                  <a:pt x="2020" y="914"/>
                  <a:pt x="2020" y="914"/>
                  <a:pt x="2020" y="914"/>
                </a:cubicBezTo>
                <a:cubicBezTo>
                  <a:pt x="2018" y="916"/>
                  <a:pt x="2018" y="916"/>
                  <a:pt x="2018" y="916"/>
                </a:cubicBezTo>
                <a:cubicBezTo>
                  <a:pt x="2015" y="916"/>
                  <a:pt x="2015" y="916"/>
                  <a:pt x="2015" y="916"/>
                </a:cubicBezTo>
                <a:cubicBezTo>
                  <a:pt x="2014" y="917"/>
                  <a:pt x="2014" y="917"/>
                  <a:pt x="2014" y="917"/>
                </a:cubicBezTo>
                <a:cubicBezTo>
                  <a:pt x="2014" y="916"/>
                  <a:pt x="2014" y="916"/>
                  <a:pt x="2014" y="916"/>
                </a:cubicBezTo>
                <a:cubicBezTo>
                  <a:pt x="2011" y="916"/>
                  <a:pt x="2011" y="916"/>
                  <a:pt x="2011" y="916"/>
                </a:cubicBezTo>
                <a:cubicBezTo>
                  <a:pt x="2009" y="918"/>
                  <a:pt x="2009" y="918"/>
                  <a:pt x="2009" y="918"/>
                </a:cubicBezTo>
                <a:cubicBezTo>
                  <a:pt x="2004" y="919"/>
                  <a:pt x="2004" y="919"/>
                  <a:pt x="2004" y="919"/>
                </a:cubicBezTo>
                <a:cubicBezTo>
                  <a:pt x="2003" y="919"/>
                  <a:pt x="2003" y="919"/>
                  <a:pt x="2003" y="919"/>
                </a:cubicBezTo>
                <a:cubicBezTo>
                  <a:pt x="2002" y="918"/>
                  <a:pt x="2002" y="918"/>
                  <a:pt x="2002" y="918"/>
                </a:cubicBezTo>
                <a:cubicBezTo>
                  <a:pt x="1999" y="919"/>
                  <a:pt x="1999" y="919"/>
                  <a:pt x="1999" y="919"/>
                </a:cubicBezTo>
                <a:cubicBezTo>
                  <a:pt x="1996" y="920"/>
                  <a:pt x="1996" y="920"/>
                  <a:pt x="1996" y="920"/>
                </a:cubicBezTo>
                <a:cubicBezTo>
                  <a:pt x="1993" y="920"/>
                  <a:pt x="1993" y="920"/>
                  <a:pt x="1993" y="920"/>
                </a:cubicBezTo>
                <a:cubicBezTo>
                  <a:pt x="1992" y="920"/>
                  <a:pt x="1992" y="920"/>
                  <a:pt x="1992" y="920"/>
                </a:cubicBezTo>
                <a:cubicBezTo>
                  <a:pt x="1990" y="919"/>
                  <a:pt x="1990" y="919"/>
                  <a:pt x="1990" y="919"/>
                </a:cubicBezTo>
                <a:cubicBezTo>
                  <a:pt x="1988" y="920"/>
                  <a:pt x="1988" y="920"/>
                  <a:pt x="1988" y="920"/>
                </a:cubicBezTo>
                <a:cubicBezTo>
                  <a:pt x="1981" y="924"/>
                  <a:pt x="1981" y="924"/>
                  <a:pt x="1981" y="924"/>
                </a:cubicBezTo>
                <a:cubicBezTo>
                  <a:pt x="1979" y="924"/>
                  <a:pt x="1979" y="924"/>
                  <a:pt x="1979" y="924"/>
                </a:cubicBezTo>
                <a:cubicBezTo>
                  <a:pt x="1977" y="923"/>
                  <a:pt x="1977" y="923"/>
                  <a:pt x="1977" y="923"/>
                </a:cubicBezTo>
                <a:cubicBezTo>
                  <a:pt x="1976" y="923"/>
                  <a:pt x="1976" y="923"/>
                  <a:pt x="1976" y="923"/>
                </a:cubicBezTo>
                <a:cubicBezTo>
                  <a:pt x="1973" y="923"/>
                  <a:pt x="1973" y="923"/>
                  <a:pt x="1973" y="923"/>
                </a:cubicBezTo>
                <a:cubicBezTo>
                  <a:pt x="1972" y="923"/>
                  <a:pt x="1972" y="923"/>
                  <a:pt x="1972" y="923"/>
                </a:cubicBezTo>
                <a:cubicBezTo>
                  <a:pt x="1971" y="923"/>
                  <a:pt x="1971" y="923"/>
                  <a:pt x="1971" y="923"/>
                </a:cubicBezTo>
                <a:cubicBezTo>
                  <a:pt x="1968" y="926"/>
                  <a:pt x="1968" y="926"/>
                  <a:pt x="1968" y="926"/>
                </a:cubicBezTo>
                <a:cubicBezTo>
                  <a:pt x="1966" y="926"/>
                  <a:pt x="1966" y="926"/>
                  <a:pt x="1966" y="926"/>
                </a:cubicBezTo>
                <a:cubicBezTo>
                  <a:pt x="1964" y="927"/>
                  <a:pt x="1964" y="927"/>
                  <a:pt x="1964" y="927"/>
                </a:cubicBezTo>
                <a:cubicBezTo>
                  <a:pt x="1963" y="928"/>
                  <a:pt x="1963" y="928"/>
                  <a:pt x="1963" y="928"/>
                </a:cubicBezTo>
                <a:cubicBezTo>
                  <a:pt x="1960" y="929"/>
                  <a:pt x="1960" y="929"/>
                  <a:pt x="1960" y="929"/>
                </a:cubicBezTo>
                <a:cubicBezTo>
                  <a:pt x="1957" y="928"/>
                  <a:pt x="1957" y="928"/>
                  <a:pt x="1957" y="928"/>
                </a:cubicBezTo>
                <a:cubicBezTo>
                  <a:pt x="1955" y="926"/>
                  <a:pt x="1955" y="926"/>
                  <a:pt x="1955" y="926"/>
                </a:cubicBezTo>
                <a:cubicBezTo>
                  <a:pt x="1954" y="926"/>
                  <a:pt x="1954" y="926"/>
                  <a:pt x="1954" y="926"/>
                </a:cubicBezTo>
                <a:cubicBezTo>
                  <a:pt x="1953" y="924"/>
                  <a:pt x="1953" y="924"/>
                  <a:pt x="1953" y="924"/>
                </a:cubicBezTo>
                <a:cubicBezTo>
                  <a:pt x="1947" y="917"/>
                  <a:pt x="1947" y="917"/>
                  <a:pt x="1947" y="917"/>
                </a:cubicBezTo>
                <a:cubicBezTo>
                  <a:pt x="1946" y="917"/>
                  <a:pt x="1946" y="917"/>
                  <a:pt x="1946" y="917"/>
                </a:cubicBezTo>
                <a:cubicBezTo>
                  <a:pt x="1946" y="916"/>
                  <a:pt x="1946" y="916"/>
                  <a:pt x="1946" y="916"/>
                </a:cubicBezTo>
                <a:cubicBezTo>
                  <a:pt x="1945" y="915"/>
                  <a:pt x="1945" y="915"/>
                  <a:pt x="1945" y="915"/>
                </a:cubicBezTo>
                <a:cubicBezTo>
                  <a:pt x="1943" y="915"/>
                  <a:pt x="1943" y="915"/>
                  <a:pt x="1943" y="915"/>
                </a:cubicBezTo>
                <a:cubicBezTo>
                  <a:pt x="1941" y="916"/>
                  <a:pt x="1941" y="916"/>
                  <a:pt x="1941" y="916"/>
                </a:cubicBezTo>
                <a:cubicBezTo>
                  <a:pt x="1940" y="916"/>
                  <a:pt x="1940" y="916"/>
                  <a:pt x="1940" y="916"/>
                </a:cubicBezTo>
                <a:cubicBezTo>
                  <a:pt x="1939" y="914"/>
                  <a:pt x="1939" y="914"/>
                  <a:pt x="1939" y="914"/>
                </a:cubicBezTo>
                <a:cubicBezTo>
                  <a:pt x="1941" y="914"/>
                  <a:pt x="1941" y="914"/>
                  <a:pt x="1941" y="914"/>
                </a:cubicBezTo>
                <a:cubicBezTo>
                  <a:pt x="1942" y="913"/>
                  <a:pt x="1942" y="913"/>
                  <a:pt x="1942" y="913"/>
                </a:cubicBezTo>
                <a:cubicBezTo>
                  <a:pt x="1944" y="913"/>
                  <a:pt x="1944" y="913"/>
                  <a:pt x="1944" y="913"/>
                </a:cubicBezTo>
                <a:cubicBezTo>
                  <a:pt x="1946" y="911"/>
                  <a:pt x="1946" y="911"/>
                  <a:pt x="1946" y="911"/>
                </a:cubicBezTo>
                <a:cubicBezTo>
                  <a:pt x="1947" y="910"/>
                  <a:pt x="1947" y="910"/>
                  <a:pt x="1947" y="910"/>
                </a:cubicBezTo>
                <a:cubicBezTo>
                  <a:pt x="1946" y="907"/>
                  <a:pt x="1946" y="907"/>
                  <a:pt x="1946" y="907"/>
                </a:cubicBezTo>
                <a:cubicBezTo>
                  <a:pt x="1947" y="906"/>
                  <a:pt x="1947" y="906"/>
                  <a:pt x="1947" y="906"/>
                </a:cubicBezTo>
                <a:cubicBezTo>
                  <a:pt x="1946" y="906"/>
                  <a:pt x="1946" y="906"/>
                  <a:pt x="1946" y="906"/>
                </a:cubicBezTo>
                <a:cubicBezTo>
                  <a:pt x="1944" y="904"/>
                  <a:pt x="1944" y="904"/>
                  <a:pt x="1944" y="904"/>
                </a:cubicBezTo>
                <a:cubicBezTo>
                  <a:pt x="1944" y="903"/>
                  <a:pt x="1944" y="903"/>
                  <a:pt x="1944" y="903"/>
                </a:cubicBezTo>
                <a:cubicBezTo>
                  <a:pt x="1944" y="903"/>
                  <a:pt x="1944" y="903"/>
                  <a:pt x="1944" y="903"/>
                </a:cubicBezTo>
                <a:cubicBezTo>
                  <a:pt x="1943" y="903"/>
                  <a:pt x="1943" y="903"/>
                  <a:pt x="1943" y="903"/>
                </a:cubicBezTo>
                <a:cubicBezTo>
                  <a:pt x="1943" y="902"/>
                  <a:pt x="1943" y="902"/>
                  <a:pt x="1943" y="902"/>
                </a:cubicBezTo>
                <a:cubicBezTo>
                  <a:pt x="1942" y="903"/>
                  <a:pt x="1942" y="903"/>
                  <a:pt x="1942" y="903"/>
                </a:cubicBezTo>
                <a:cubicBezTo>
                  <a:pt x="1941" y="902"/>
                  <a:pt x="1941" y="902"/>
                  <a:pt x="1941" y="902"/>
                </a:cubicBezTo>
                <a:cubicBezTo>
                  <a:pt x="1940" y="902"/>
                  <a:pt x="1940" y="902"/>
                  <a:pt x="1940" y="902"/>
                </a:cubicBezTo>
                <a:cubicBezTo>
                  <a:pt x="1939" y="901"/>
                  <a:pt x="1939" y="901"/>
                  <a:pt x="1939" y="901"/>
                </a:cubicBezTo>
                <a:cubicBezTo>
                  <a:pt x="1939" y="900"/>
                  <a:pt x="1939" y="900"/>
                  <a:pt x="1939" y="900"/>
                </a:cubicBezTo>
                <a:cubicBezTo>
                  <a:pt x="1938" y="898"/>
                  <a:pt x="1938" y="898"/>
                  <a:pt x="1938" y="898"/>
                </a:cubicBezTo>
                <a:cubicBezTo>
                  <a:pt x="1937" y="898"/>
                  <a:pt x="1937" y="898"/>
                  <a:pt x="1937" y="898"/>
                </a:cubicBezTo>
                <a:cubicBezTo>
                  <a:pt x="1935" y="893"/>
                  <a:pt x="1935" y="893"/>
                  <a:pt x="1935" y="893"/>
                </a:cubicBezTo>
                <a:cubicBezTo>
                  <a:pt x="1934" y="893"/>
                  <a:pt x="1934" y="893"/>
                  <a:pt x="1934" y="893"/>
                </a:cubicBezTo>
                <a:cubicBezTo>
                  <a:pt x="1934" y="893"/>
                  <a:pt x="1934" y="893"/>
                  <a:pt x="1934" y="893"/>
                </a:cubicBezTo>
                <a:cubicBezTo>
                  <a:pt x="1933" y="893"/>
                  <a:pt x="1933" y="893"/>
                  <a:pt x="1933" y="893"/>
                </a:cubicBezTo>
                <a:cubicBezTo>
                  <a:pt x="1932" y="891"/>
                  <a:pt x="1932" y="891"/>
                  <a:pt x="1932" y="891"/>
                </a:cubicBezTo>
                <a:cubicBezTo>
                  <a:pt x="1930" y="890"/>
                  <a:pt x="1930" y="890"/>
                  <a:pt x="1930" y="890"/>
                </a:cubicBezTo>
                <a:cubicBezTo>
                  <a:pt x="1928" y="888"/>
                  <a:pt x="1928" y="888"/>
                  <a:pt x="1928" y="888"/>
                </a:cubicBezTo>
                <a:cubicBezTo>
                  <a:pt x="1925" y="884"/>
                  <a:pt x="1925" y="884"/>
                  <a:pt x="1925" y="884"/>
                </a:cubicBezTo>
                <a:cubicBezTo>
                  <a:pt x="1924" y="883"/>
                  <a:pt x="1924" y="883"/>
                  <a:pt x="1924" y="883"/>
                </a:cubicBezTo>
                <a:cubicBezTo>
                  <a:pt x="1921" y="882"/>
                  <a:pt x="1921" y="882"/>
                  <a:pt x="1921" y="882"/>
                </a:cubicBezTo>
                <a:cubicBezTo>
                  <a:pt x="1921" y="881"/>
                  <a:pt x="1921" y="881"/>
                  <a:pt x="1921" y="881"/>
                </a:cubicBezTo>
                <a:cubicBezTo>
                  <a:pt x="1919" y="879"/>
                  <a:pt x="1919" y="879"/>
                  <a:pt x="1919" y="879"/>
                </a:cubicBezTo>
                <a:cubicBezTo>
                  <a:pt x="1917" y="880"/>
                  <a:pt x="1917" y="880"/>
                  <a:pt x="1917" y="880"/>
                </a:cubicBezTo>
                <a:cubicBezTo>
                  <a:pt x="1917" y="879"/>
                  <a:pt x="1917" y="879"/>
                  <a:pt x="1917" y="879"/>
                </a:cubicBezTo>
                <a:cubicBezTo>
                  <a:pt x="1915" y="879"/>
                  <a:pt x="1915" y="879"/>
                  <a:pt x="1915" y="879"/>
                </a:cubicBezTo>
                <a:cubicBezTo>
                  <a:pt x="1914" y="880"/>
                  <a:pt x="1914" y="880"/>
                  <a:pt x="1914" y="880"/>
                </a:cubicBezTo>
                <a:cubicBezTo>
                  <a:pt x="1913" y="879"/>
                  <a:pt x="1913" y="879"/>
                  <a:pt x="1913" y="879"/>
                </a:cubicBezTo>
                <a:cubicBezTo>
                  <a:pt x="1911" y="876"/>
                  <a:pt x="1911" y="876"/>
                  <a:pt x="1911" y="876"/>
                </a:cubicBezTo>
                <a:cubicBezTo>
                  <a:pt x="1912" y="876"/>
                  <a:pt x="1912" y="876"/>
                  <a:pt x="1912" y="876"/>
                </a:cubicBezTo>
                <a:cubicBezTo>
                  <a:pt x="1910" y="873"/>
                  <a:pt x="1910" y="873"/>
                  <a:pt x="1910" y="873"/>
                </a:cubicBezTo>
                <a:cubicBezTo>
                  <a:pt x="1909" y="873"/>
                  <a:pt x="1909" y="873"/>
                  <a:pt x="1909" y="873"/>
                </a:cubicBezTo>
                <a:cubicBezTo>
                  <a:pt x="1909" y="875"/>
                  <a:pt x="1909" y="875"/>
                  <a:pt x="1909" y="875"/>
                </a:cubicBezTo>
                <a:cubicBezTo>
                  <a:pt x="1910" y="875"/>
                  <a:pt x="1910" y="875"/>
                  <a:pt x="1910" y="875"/>
                </a:cubicBezTo>
                <a:cubicBezTo>
                  <a:pt x="1910" y="878"/>
                  <a:pt x="1910" y="878"/>
                  <a:pt x="1910" y="878"/>
                </a:cubicBezTo>
                <a:cubicBezTo>
                  <a:pt x="1908" y="878"/>
                  <a:pt x="1908" y="878"/>
                  <a:pt x="1908" y="878"/>
                </a:cubicBezTo>
                <a:cubicBezTo>
                  <a:pt x="1908" y="874"/>
                  <a:pt x="1908" y="874"/>
                  <a:pt x="1908" y="874"/>
                </a:cubicBezTo>
                <a:cubicBezTo>
                  <a:pt x="1907" y="872"/>
                  <a:pt x="1907" y="872"/>
                  <a:pt x="1907" y="872"/>
                </a:cubicBezTo>
                <a:cubicBezTo>
                  <a:pt x="1905" y="872"/>
                  <a:pt x="1905" y="872"/>
                  <a:pt x="1905" y="872"/>
                </a:cubicBezTo>
                <a:cubicBezTo>
                  <a:pt x="1905" y="871"/>
                  <a:pt x="1905" y="871"/>
                  <a:pt x="1905" y="871"/>
                </a:cubicBezTo>
                <a:cubicBezTo>
                  <a:pt x="1905" y="868"/>
                  <a:pt x="1905" y="868"/>
                  <a:pt x="1905" y="868"/>
                </a:cubicBezTo>
                <a:cubicBezTo>
                  <a:pt x="1904" y="868"/>
                  <a:pt x="1904" y="868"/>
                  <a:pt x="1904" y="868"/>
                </a:cubicBezTo>
                <a:cubicBezTo>
                  <a:pt x="1903" y="861"/>
                  <a:pt x="1903" y="861"/>
                  <a:pt x="1903" y="861"/>
                </a:cubicBezTo>
                <a:cubicBezTo>
                  <a:pt x="1899" y="850"/>
                  <a:pt x="1899" y="850"/>
                  <a:pt x="1899" y="850"/>
                </a:cubicBezTo>
                <a:cubicBezTo>
                  <a:pt x="1896" y="847"/>
                  <a:pt x="1896" y="847"/>
                  <a:pt x="1896" y="847"/>
                </a:cubicBezTo>
                <a:cubicBezTo>
                  <a:pt x="1895" y="847"/>
                  <a:pt x="1895" y="847"/>
                  <a:pt x="1895" y="847"/>
                </a:cubicBezTo>
                <a:cubicBezTo>
                  <a:pt x="1895" y="846"/>
                  <a:pt x="1895" y="846"/>
                  <a:pt x="1895" y="846"/>
                </a:cubicBezTo>
                <a:cubicBezTo>
                  <a:pt x="1893" y="845"/>
                  <a:pt x="1893" y="845"/>
                  <a:pt x="1893" y="845"/>
                </a:cubicBezTo>
                <a:cubicBezTo>
                  <a:pt x="1891" y="845"/>
                  <a:pt x="1891" y="845"/>
                  <a:pt x="1891" y="845"/>
                </a:cubicBezTo>
                <a:cubicBezTo>
                  <a:pt x="1891" y="843"/>
                  <a:pt x="1891" y="843"/>
                  <a:pt x="1891" y="843"/>
                </a:cubicBezTo>
                <a:cubicBezTo>
                  <a:pt x="1887" y="840"/>
                  <a:pt x="1887" y="840"/>
                  <a:pt x="1887" y="840"/>
                </a:cubicBezTo>
                <a:cubicBezTo>
                  <a:pt x="1885" y="839"/>
                  <a:pt x="1885" y="839"/>
                  <a:pt x="1885" y="839"/>
                </a:cubicBezTo>
                <a:cubicBezTo>
                  <a:pt x="1883" y="836"/>
                  <a:pt x="1883" y="836"/>
                  <a:pt x="1883" y="836"/>
                </a:cubicBezTo>
                <a:cubicBezTo>
                  <a:pt x="1882" y="831"/>
                  <a:pt x="1882" y="831"/>
                  <a:pt x="1882" y="831"/>
                </a:cubicBezTo>
                <a:cubicBezTo>
                  <a:pt x="1882" y="828"/>
                  <a:pt x="1882" y="828"/>
                  <a:pt x="1882" y="828"/>
                </a:cubicBezTo>
                <a:cubicBezTo>
                  <a:pt x="1882" y="824"/>
                  <a:pt x="1882" y="824"/>
                  <a:pt x="1882" y="824"/>
                </a:cubicBezTo>
                <a:cubicBezTo>
                  <a:pt x="1879" y="816"/>
                  <a:pt x="1879" y="816"/>
                  <a:pt x="1879" y="816"/>
                </a:cubicBezTo>
                <a:cubicBezTo>
                  <a:pt x="1879" y="815"/>
                  <a:pt x="1879" y="815"/>
                  <a:pt x="1879" y="815"/>
                </a:cubicBezTo>
                <a:cubicBezTo>
                  <a:pt x="1879" y="814"/>
                  <a:pt x="1879" y="814"/>
                  <a:pt x="1879" y="814"/>
                </a:cubicBezTo>
                <a:cubicBezTo>
                  <a:pt x="1880" y="815"/>
                  <a:pt x="1880" y="815"/>
                  <a:pt x="1880" y="815"/>
                </a:cubicBezTo>
                <a:cubicBezTo>
                  <a:pt x="1881" y="816"/>
                  <a:pt x="1881" y="816"/>
                  <a:pt x="1881" y="816"/>
                </a:cubicBezTo>
                <a:cubicBezTo>
                  <a:pt x="1881" y="816"/>
                  <a:pt x="1881" y="816"/>
                  <a:pt x="1881" y="816"/>
                </a:cubicBezTo>
                <a:cubicBezTo>
                  <a:pt x="1881" y="815"/>
                  <a:pt x="1881" y="815"/>
                  <a:pt x="1881" y="815"/>
                </a:cubicBezTo>
                <a:cubicBezTo>
                  <a:pt x="1879" y="813"/>
                  <a:pt x="1879" y="813"/>
                  <a:pt x="1879" y="813"/>
                </a:cubicBezTo>
                <a:cubicBezTo>
                  <a:pt x="1878" y="810"/>
                  <a:pt x="1878" y="810"/>
                  <a:pt x="1878" y="810"/>
                </a:cubicBezTo>
                <a:cubicBezTo>
                  <a:pt x="1878" y="809"/>
                  <a:pt x="1878" y="809"/>
                  <a:pt x="1878" y="809"/>
                </a:cubicBezTo>
                <a:cubicBezTo>
                  <a:pt x="1878" y="809"/>
                  <a:pt x="1878" y="809"/>
                  <a:pt x="1878" y="809"/>
                </a:cubicBezTo>
                <a:cubicBezTo>
                  <a:pt x="1878" y="808"/>
                  <a:pt x="1878" y="808"/>
                  <a:pt x="1878" y="808"/>
                </a:cubicBezTo>
                <a:cubicBezTo>
                  <a:pt x="1878" y="808"/>
                  <a:pt x="1878" y="808"/>
                  <a:pt x="1878" y="808"/>
                </a:cubicBezTo>
                <a:cubicBezTo>
                  <a:pt x="1877" y="807"/>
                  <a:pt x="1877" y="807"/>
                  <a:pt x="1877" y="807"/>
                </a:cubicBezTo>
                <a:cubicBezTo>
                  <a:pt x="1878" y="806"/>
                  <a:pt x="1878" y="806"/>
                  <a:pt x="1878" y="806"/>
                </a:cubicBezTo>
                <a:cubicBezTo>
                  <a:pt x="1878" y="805"/>
                  <a:pt x="1878" y="805"/>
                  <a:pt x="1878" y="805"/>
                </a:cubicBezTo>
                <a:cubicBezTo>
                  <a:pt x="1878" y="805"/>
                  <a:pt x="1878" y="805"/>
                  <a:pt x="1878" y="805"/>
                </a:cubicBezTo>
                <a:cubicBezTo>
                  <a:pt x="1876" y="804"/>
                  <a:pt x="1876" y="804"/>
                  <a:pt x="1876" y="804"/>
                </a:cubicBezTo>
                <a:cubicBezTo>
                  <a:pt x="1874" y="802"/>
                  <a:pt x="1874" y="802"/>
                  <a:pt x="1874" y="802"/>
                </a:cubicBezTo>
                <a:cubicBezTo>
                  <a:pt x="1873" y="801"/>
                  <a:pt x="1873" y="801"/>
                  <a:pt x="1873" y="801"/>
                </a:cubicBezTo>
                <a:cubicBezTo>
                  <a:pt x="1871" y="800"/>
                  <a:pt x="1871" y="800"/>
                  <a:pt x="1871" y="800"/>
                </a:cubicBezTo>
                <a:cubicBezTo>
                  <a:pt x="1870" y="797"/>
                  <a:pt x="1870" y="797"/>
                  <a:pt x="1870" y="797"/>
                </a:cubicBezTo>
                <a:cubicBezTo>
                  <a:pt x="1868" y="798"/>
                  <a:pt x="1868" y="798"/>
                  <a:pt x="1868" y="798"/>
                </a:cubicBezTo>
                <a:cubicBezTo>
                  <a:pt x="1867" y="798"/>
                  <a:pt x="1867" y="798"/>
                  <a:pt x="1867" y="798"/>
                </a:cubicBezTo>
                <a:cubicBezTo>
                  <a:pt x="1863" y="796"/>
                  <a:pt x="1863" y="796"/>
                  <a:pt x="1863" y="796"/>
                </a:cubicBezTo>
                <a:cubicBezTo>
                  <a:pt x="1862" y="791"/>
                  <a:pt x="1862" y="791"/>
                  <a:pt x="1862" y="791"/>
                </a:cubicBezTo>
                <a:cubicBezTo>
                  <a:pt x="1862" y="789"/>
                  <a:pt x="1862" y="789"/>
                  <a:pt x="1862" y="789"/>
                </a:cubicBezTo>
                <a:cubicBezTo>
                  <a:pt x="1862" y="787"/>
                  <a:pt x="1862" y="787"/>
                  <a:pt x="1862" y="787"/>
                </a:cubicBezTo>
                <a:cubicBezTo>
                  <a:pt x="1861" y="785"/>
                  <a:pt x="1861" y="785"/>
                  <a:pt x="1861" y="785"/>
                </a:cubicBezTo>
                <a:cubicBezTo>
                  <a:pt x="1862" y="784"/>
                  <a:pt x="1862" y="784"/>
                  <a:pt x="1862" y="784"/>
                </a:cubicBezTo>
                <a:cubicBezTo>
                  <a:pt x="1862" y="785"/>
                  <a:pt x="1862" y="785"/>
                  <a:pt x="1862" y="785"/>
                </a:cubicBezTo>
                <a:cubicBezTo>
                  <a:pt x="1865" y="785"/>
                  <a:pt x="1865" y="785"/>
                  <a:pt x="1865" y="785"/>
                </a:cubicBezTo>
                <a:cubicBezTo>
                  <a:pt x="1864" y="784"/>
                  <a:pt x="1864" y="784"/>
                  <a:pt x="1864" y="784"/>
                </a:cubicBezTo>
                <a:cubicBezTo>
                  <a:pt x="1863" y="784"/>
                  <a:pt x="1863" y="784"/>
                  <a:pt x="1863" y="784"/>
                </a:cubicBezTo>
                <a:cubicBezTo>
                  <a:pt x="1862" y="781"/>
                  <a:pt x="1862" y="781"/>
                  <a:pt x="1862" y="781"/>
                </a:cubicBezTo>
                <a:cubicBezTo>
                  <a:pt x="1861" y="781"/>
                  <a:pt x="1861" y="781"/>
                  <a:pt x="1861" y="781"/>
                </a:cubicBezTo>
                <a:cubicBezTo>
                  <a:pt x="1861" y="782"/>
                  <a:pt x="1861" y="782"/>
                  <a:pt x="1861" y="782"/>
                </a:cubicBezTo>
                <a:cubicBezTo>
                  <a:pt x="1860" y="780"/>
                  <a:pt x="1860" y="780"/>
                  <a:pt x="1860" y="780"/>
                </a:cubicBezTo>
                <a:cubicBezTo>
                  <a:pt x="1859" y="777"/>
                  <a:pt x="1859" y="777"/>
                  <a:pt x="1859" y="777"/>
                </a:cubicBezTo>
                <a:cubicBezTo>
                  <a:pt x="1855" y="772"/>
                  <a:pt x="1855" y="772"/>
                  <a:pt x="1855" y="772"/>
                </a:cubicBezTo>
                <a:cubicBezTo>
                  <a:pt x="1853" y="770"/>
                  <a:pt x="1853" y="770"/>
                  <a:pt x="1853" y="770"/>
                </a:cubicBezTo>
                <a:cubicBezTo>
                  <a:pt x="1853" y="768"/>
                  <a:pt x="1853" y="768"/>
                  <a:pt x="1853" y="768"/>
                </a:cubicBezTo>
                <a:cubicBezTo>
                  <a:pt x="1846" y="758"/>
                  <a:pt x="1846" y="758"/>
                  <a:pt x="1846" y="758"/>
                </a:cubicBezTo>
                <a:cubicBezTo>
                  <a:pt x="1846" y="756"/>
                  <a:pt x="1846" y="756"/>
                  <a:pt x="1846" y="756"/>
                </a:cubicBezTo>
                <a:cubicBezTo>
                  <a:pt x="1845" y="754"/>
                  <a:pt x="1845" y="754"/>
                  <a:pt x="1845" y="754"/>
                </a:cubicBezTo>
                <a:cubicBezTo>
                  <a:pt x="1845" y="751"/>
                  <a:pt x="1845" y="751"/>
                  <a:pt x="1845" y="751"/>
                </a:cubicBezTo>
                <a:cubicBezTo>
                  <a:pt x="1844" y="749"/>
                  <a:pt x="1844" y="749"/>
                  <a:pt x="1844" y="749"/>
                </a:cubicBezTo>
                <a:cubicBezTo>
                  <a:pt x="1844" y="748"/>
                  <a:pt x="1844" y="748"/>
                  <a:pt x="1844" y="748"/>
                </a:cubicBezTo>
                <a:cubicBezTo>
                  <a:pt x="1840" y="744"/>
                  <a:pt x="1840" y="744"/>
                  <a:pt x="1840" y="744"/>
                </a:cubicBezTo>
                <a:cubicBezTo>
                  <a:pt x="1840" y="743"/>
                  <a:pt x="1840" y="743"/>
                  <a:pt x="1840" y="743"/>
                </a:cubicBezTo>
                <a:cubicBezTo>
                  <a:pt x="1841" y="741"/>
                  <a:pt x="1841" y="741"/>
                  <a:pt x="1841" y="741"/>
                </a:cubicBezTo>
                <a:cubicBezTo>
                  <a:pt x="1840" y="740"/>
                  <a:pt x="1840" y="740"/>
                  <a:pt x="1840" y="740"/>
                </a:cubicBezTo>
                <a:cubicBezTo>
                  <a:pt x="1834" y="735"/>
                  <a:pt x="1834" y="735"/>
                  <a:pt x="1834" y="735"/>
                </a:cubicBezTo>
                <a:cubicBezTo>
                  <a:pt x="1833" y="733"/>
                  <a:pt x="1833" y="733"/>
                  <a:pt x="1833" y="733"/>
                </a:cubicBezTo>
                <a:cubicBezTo>
                  <a:pt x="1830" y="729"/>
                  <a:pt x="1830" y="729"/>
                  <a:pt x="1830" y="729"/>
                </a:cubicBezTo>
                <a:cubicBezTo>
                  <a:pt x="1830" y="726"/>
                  <a:pt x="1830" y="726"/>
                  <a:pt x="1830" y="726"/>
                </a:cubicBezTo>
                <a:cubicBezTo>
                  <a:pt x="1827" y="724"/>
                  <a:pt x="1827" y="724"/>
                  <a:pt x="1827" y="724"/>
                </a:cubicBezTo>
                <a:cubicBezTo>
                  <a:pt x="1828" y="722"/>
                  <a:pt x="1828" y="722"/>
                  <a:pt x="1828" y="722"/>
                </a:cubicBezTo>
                <a:cubicBezTo>
                  <a:pt x="1828" y="721"/>
                  <a:pt x="1828" y="721"/>
                  <a:pt x="1828" y="721"/>
                </a:cubicBezTo>
                <a:cubicBezTo>
                  <a:pt x="1828" y="720"/>
                  <a:pt x="1828" y="720"/>
                  <a:pt x="1828" y="720"/>
                </a:cubicBezTo>
                <a:cubicBezTo>
                  <a:pt x="1828" y="721"/>
                  <a:pt x="1828" y="721"/>
                  <a:pt x="1828" y="721"/>
                </a:cubicBezTo>
                <a:cubicBezTo>
                  <a:pt x="1829" y="721"/>
                  <a:pt x="1829" y="721"/>
                  <a:pt x="1829" y="721"/>
                </a:cubicBezTo>
                <a:cubicBezTo>
                  <a:pt x="1830" y="723"/>
                  <a:pt x="1830" y="723"/>
                  <a:pt x="1830" y="723"/>
                </a:cubicBezTo>
                <a:cubicBezTo>
                  <a:pt x="1831" y="724"/>
                  <a:pt x="1831" y="724"/>
                  <a:pt x="1831" y="724"/>
                </a:cubicBezTo>
                <a:cubicBezTo>
                  <a:pt x="1831" y="726"/>
                  <a:pt x="1831" y="726"/>
                  <a:pt x="1831" y="726"/>
                </a:cubicBezTo>
                <a:cubicBezTo>
                  <a:pt x="1835" y="729"/>
                  <a:pt x="1835" y="729"/>
                  <a:pt x="1835" y="729"/>
                </a:cubicBezTo>
                <a:cubicBezTo>
                  <a:pt x="1835" y="731"/>
                  <a:pt x="1835" y="731"/>
                  <a:pt x="1835" y="731"/>
                </a:cubicBezTo>
                <a:cubicBezTo>
                  <a:pt x="1836" y="733"/>
                  <a:pt x="1836" y="733"/>
                  <a:pt x="1836" y="733"/>
                </a:cubicBezTo>
                <a:cubicBezTo>
                  <a:pt x="1839" y="734"/>
                  <a:pt x="1839" y="734"/>
                  <a:pt x="1839" y="734"/>
                </a:cubicBezTo>
                <a:cubicBezTo>
                  <a:pt x="1839" y="736"/>
                  <a:pt x="1839" y="736"/>
                  <a:pt x="1839" y="736"/>
                </a:cubicBezTo>
                <a:cubicBezTo>
                  <a:pt x="1844" y="741"/>
                  <a:pt x="1844" y="741"/>
                  <a:pt x="1844" y="741"/>
                </a:cubicBezTo>
                <a:cubicBezTo>
                  <a:pt x="1847" y="743"/>
                  <a:pt x="1847" y="743"/>
                  <a:pt x="1847" y="743"/>
                </a:cubicBezTo>
                <a:cubicBezTo>
                  <a:pt x="1847" y="743"/>
                  <a:pt x="1847" y="743"/>
                  <a:pt x="1847" y="743"/>
                </a:cubicBezTo>
                <a:cubicBezTo>
                  <a:pt x="1848" y="742"/>
                  <a:pt x="1848" y="742"/>
                  <a:pt x="1848" y="742"/>
                </a:cubicBezTo>
                <a:cubicBezTo>
                  <a:pt x="1849" y="741"/>
                  <a:pt x="1849" y="741"/>
                  <a:pt x="1849" y="741"/>
                </a:cubicBezTo>
                <a:cubicBezTo>
                  <a:pt x="1850" y="737"/>
                  <a:pt x="1850" y="737"/>
                  <a:pt x="1850" y="737"/>
                </a:cubicBezTo>
                <a:cubicBezTo>
                  <a:pt x="1849" y="736"/>
                  <a:pt x="1849" y="736"/>
                  <a:pt x="1849" y="736"/>
                </a:cubicBezTo>
                <a:cubicBezTo>
                  <a:pt x="1850" y="733"/>
                  <a:pt x="1850" y="733"/>
                  <a:pt x="1850" y="733"/>
                </a:cubicBezTo>
                <a:cubicBezTo>
                  <a:pt x="1850" y="731"/>
                  <a:pt x="1850" y="731"/>
                  <a:pt x="1850" y="731"/>
                </a:cubicBezTo>
                <a:cubicBezTo>
                  <a:pt x="1852" y="726"/>
                  <a:pt x="1852" y="726"/>
                  <a:pt x="1852" y="726"/>
                </a:cubicBezTo>
                <a:cubicBezTo>
                  <a:pt x="1852" y="725"/>
                  <a:pt x="1852" y="725"/>
                  <a:pt x="1852" y="725"/>
                </a:cubicBezTo>
                <a:cubicBezTo>
                  <a:pt x="1853" y="723"/>
                  <a:pt x="1853" y="723"/>
                  <a:pt x="1853" y="723"/>
                </a:cubicBezTo>
                <a:cubicBezTo>
                  <a:pt x="1853" y="723"/>
                  <a:pt x="1853" y="723"/>
                  <a:pt x="1853" y="723"/>
                </a:cubicBezTo>
                <a:cubicBezTo>
                  <a:pt x="1854" y="724"/>
                  <a:pt x="1854" y="724"/>
                  <a:pt x="1854" y="724"/>
                </a:cubicBezTo>
                <a:cubicBezTo>
                  <a:pt x="1853" y="726"/>
                  <a:pt x="1853" y="726"/>
                  <a:pt x="1853" y="726"/>
                </a:cubicBezTo>
                <a:cubicBezTo>
                  <a:pt x="1853" y="727"/>
                  <a:pt x="1853" y="727"/>
                  <a:pt x="1853" y="727"/>
                </a:cubicBezTo>
                <a:cubicBezTo>
                  <a:pt x="1852" y="731"/>
                  <a:pt x="1852" y="731"/>
                  <a:pt x="1852" y="731"/>
                </a:cubicBezTo>
                <a:cubicBezTo>
                  <a:pt x="1853" y="735"/>
                  <a:pt x="1853" y="735"/>
                  <a:pt x="1853" y="735"/>
                </a:cubicBezTo>
                <a:cubicBezTo>
                  <a:pt x="1851" y="738"/>
                  <a:pt x="1851" y="738"/>
                  <a:pt x="1851" y="738"/>
                </a:cubicBezTo>
                <a:cubicBezTo>
                  <a:pt x="1852" y="739"/>
                  <a:pt x="1852" y="739"/>
                  <a:pt x="1852" y="739"/>
                </a:cubicBezTo>
                <a:cubicBezTo>
                  <a:pt x="1853" y="738"/>
                  <a:pt x="1853" y="738"/>
                  <a:pt x="1853" y="738"/>
                </a:cubicBezTo>
                <a:cubicBezTo>
                  <a:pt x="1854" y="739"/>
                  <a:pt x="1854" y="739"/>
                  <a:pt x="1854" y="739"/>
                </a:cubicBezTo>
                <a:cubicBezTo>
                  <a:pt x="1855" y="738"/>
                  <a:pt x="1855" y="738"/>
                  <a:pt x="1855" y="738"/>
                </a:cubicBezTo>
                <a:cubicBezTo>
                  <a:pt x="1857" y="739"/>
                  <a:pt x="1857" y="739"/>
                  <a:pt x="1857" y="739"/>
                </a:cubicBezTo>
                <a:cubicBezTo>
                  <a:pt x="1857" y="740"/>
                  <a:pt x="1857" y="740"/>
                  <a:pt x="1857" y="740"/>
                </a:cubicBezTo>
                <a:cubicBezTo>
                  <a:pt x="1861" y="745"/>
                  <a:pt x="1861" y="745"/>
                  <a:pt x="1861" y="745"/>
                </a:cubicBezTo>
                <a:cubicBezTo>
                  <a:pt x="1861" y="747"/>
                  <a:pt x="1861" y="747"/>
                  <a:pt x="1861" y="747"/>
                </a:cubicBezTo>
                <a:cubicBezTo>
                  <a:pt x="1862" y="747"/>
                  <a:pt x="1862" y="747"/>
                  <a:pt x="1862" y="747"/>
                </a:cubicBezTo>
                <a:cubicBezTo>
                  <a:pt x="1863" y="750"/>
                  <a:pt x="1863" y="750"/>
                  <a:pt x="1863" y="750"/>
                </a:cubicBezTo>
                <a:cubicBezTo>
                  <a:pt x="1865" y="751"/>
                  <a:pt x="1865" y="751"/>
                  <a:pt x="1865" y="751"/>
                </a:cubicBezTo>
                <a:cubicBezTo>
                  <a:pt x="1866" y="752"/>
                  <a:pt x="1866" y="752"/>
                  <a:pt x="1866" y="752"/>
                </a:cubicBezTo>
                <a:cubicBezTo>
                  <a:pt x="1869" y="757"/>
                  <a:pt x="1869" y="757"/>
                  <a:pt x="1869" y="757"/>
                </a:cubicBezTo>
                <a:cubicBezTo>
                  <a:pt x="1869" y="758"/>
                  <a:pt x="1869" y="758"/>
                  <a:pt x="1869" y="758"/>
                </a:cubicBezTo>
                <a:cubicBezTo>
                  <a:pt x="1870" y="760"/>
                  <a:pt x="1870" y="760"/>
                  <a:pt x="1870" y="760"/>
                </a:cubicBezTo>
                <a:cubicBezTo>
                  <a:pt x="1871" y="760"/>
                  <a:pt x="1871" y="760"/>
                  <a:pt x="1871" y="760"/>
                </a:cubicBezTo>
                <a:cubicBezTo>
                  <a:pt x="1872" y="763"/>
                  <a:pt x="1872" y="763"/>
                  <a:pt x="1872" y="763"/>
                </a:cubicBezTo>
                <a:cubicBezTo>
                  <a:pt x="1873" y="764"/>
                  <a:pt x="1873" y="764"/>
                  <a:pt x="1873" y="764"/>
                </a:cubicBezTo>
                <a:cubicBezTo>
                  <a:pt x="1875" y="765"/>
                  <a:pt x="1875" y="765"/>
                  <a:pt x="1875" y="765"/>
                </a:cubicBezTo>
                <a:cubicBezTo>
                  <a:pt x="1877" y="770"/>
                  <a:pt x="1877" y="770"/>
                  <a:pt x="1877" y="770"/>
                </a:cubicBezTo>
                <a:cubicBezTo>
                  <a:pt x="1879" y="771"/>
                  <a:pt x="1879" y="771"/>
                  <a:pt x="1879" y="771"/>
                </a:cubicBezTo>
                <a:cubicBezTo>
                  <a:pt x="1879" y="774"/>
                  <a:pt x="1879" y="774"/>
                  <a:pt x="1879" y="774"/>
                </a:cubicBezTo>
                <a:cubicBezTo>
                  <a:pt x="1879" y="775"/>
                  <a:pt x="1879" y="775"/>
                  <a:pt x="1879" y="775"/>
                </a:cubicBezTo>
                <a:cubicBezTo>
                  <a:pt x="1879" y="777"/>
                  <a:pt x="1879" y="777"/>
                  <a:pt x="1879" y="777"/>
                </a:cubicBezTo>
                <a:cubicBezTo>
                  <a:pt x="1881" y="778"/>
                  <a:pt x="1881" y="778"/>
                  <a:pt x="1881" y="778"/>
                </a:cubicBezTo>
                <a:cubicBezTo>
                  <a:pt x="1881" y="780"/>
                  <a:pt x="1881" y="780"/>
                  <a:pt x="1881" y="780"/>
                </a:cubicBezTo>
                <a:cubicBezTo>
                  <a:pt x="1882" y="781"/>
                  <a:pt x="1882" y="781"/>
                  <a:pt x="1882" y="781"/>
                </a:cubicBezTo>
                <a:cubicBezTo>
                  <a:pt x="1884" y="779"/>
                  <a:pt x="1884" y="779"/>
                  <a:pt x="1884" y="779"/>
                </a:cubicBezTo>
                <a:cubicBezTo>
                  <a:pt x="1886" y="781"/>
                  <a:pt x="1886" y="781"/>
                  <a:pt x="1886" y="781"/>
                </a:cubicBezTo>
                <a:cubicBezTo>
                  <a:pt x="1889" y="782"/>
                  <a:pt x="1889" y="782"/>
                  <a:pt x="1889" y="782"/>
                </a:cubicBezTo>
                <a:cubicBezTo>
                  <a:pt x="1892" y="785"/>
                  <a:pt x="1892" y="785"/>
                  <a:pt x="1892" y="785"/>
                </a:cubicBezTo>
                <a:cubicBezTo>
                  <a:pt x="1892" y="787"/>
                  <a:pt x="1892" y="787"/>
                  <a:pt x="1892" y="787"/>
                </a:cubicBezTo>
                <a:cubicBezTo>
                  <a:pt x="1893" y="787"/>
                  <a:pt x="1893" y="787"/>
                  <a:pt x="1893" y="787"/>
                </a:cubicBezTo>
                <a:cubicBezTo>
                  <a:pt x="1893" y="790"/>
                  <a:pt x="1893" y="790"/>
                  <a:pt x="1893" y="790"/>
                </a:cubicBezTo>
                <a:cubicBezTo>
                  <a:pt x="1894" y="791"/>
                  <a:pt x="1894" y="791"/>
                  <a:pt x="1894" y="791"/>
                </a:cubicBezTo>
                <a:cubicBezTo>
                  <a:pt x="1895" y="794"/>
                  <a:pt x="1895" y="794"/>
                  <a:pt x="1895" y="794"/>
                </a:cubicBezTo>
                <a:cubicBezTo>
                  <a:pt x="1897" y="796"/>
                  <a:pt x="1897" y="796"/>
                  <a:pt x="1897" y="796"/>
                </a:cubicBezTo>
                <a:cubicBezTo>
                  <a:pt x="1898" y="800"/>
                  <a:pt x="1898" y="800"/>
                  <a:pt x="1898" y="800"/>
                </a:cubicBezTo>
                <a:cubicBezTo>
                  <a:pt x="1898" y="801"/>
                  <a:pt x="1898" y="801"/>
                  <a:pt x="1898" y="801"/>
                </a:cubicBezTo>
                <a:cubicBezTo>
                  <a:pt x="1898" y="804"/>
                  <a:pt x="1898" y="804"/>
                  <a:pt x="1898" y="804"/>
                </a:cubicBezTo>
                <a:cubicBezTo>
                  <a:pt x="1897" y="805"/>
                  <a:pt x="1897" y="805"/>
                  <a:pt x="1897" y="805"/>
                </a:cubicBezTo>
                <a:cubicBezTo>
                  <a:pt x="1898" y="806"/>
                  <a:pt x="1898" y="806"/>
                  <a:pt x="1898" y="806"/>
                </a:cubicBezTo>
                <a:cubicBezTo>
                  <a:pt x="1899" y="810"/>
                  <a:pt x="1899" y="810"/>
                  <a:pt x="1899" y="810"/>
                </a:cubicBezTo>
                <a:cubicBezTo>
                  <a:pt x="1899" y="814"/>
                  <a:pt x="1899" y="814"/>
                  <a:pt x="1899" y="814"/>
                </a:cubicBezTo>
                <a:cubicBezTo>
                  <a:pt x="1901" y="815"/>
                  <a:pt x="1901" y="815"/>
                  <a:pt x="1901" y="815"/>
                </a:cubicBezTo>
                <a:cubicBezTo>
                  <a:pt x="1901" y="817"/>
                  <a:pt x="1901" y="817"/>
                  <a:pt x="1901" y="817"/>
                </a:cubicBezTo>
                <a:cubicBezTo>
                  <a:pt x="1906" y="822"/>
                  <a:pt x="1906" y="822"/>
                  <a:pt x="1906" y="822"/>
                </a:cubicBezTo>
                <a:cubicBezTo>
                  <a:pt x="1908" y="823"/>
                  <a:pt x="1908" y="823"/>
                  <a:pt x="1908" y="823"/>
                </a:cubicBezTo>
                <a:cubicBezTo>
                  <a:pt x="1910" y="823"/>
                  <a:pt x="1910" y="823"/>
                  <a:pt x="1910" y="823"/>
                </a:cubicBezTo>
                <a:cubicBezTo>
                  <a:pt x="1912" y="825"/>
                  <a:pt x="1912" y="825"/>
                  <a:pt x="1912" y="825"/>
                </a:cubicBezTo>
                <a:cubicBezTo>
                  <a:pt x="1913" y="825"/>
                  <a:pt x="1913" y="825"/>
                  <a:pt x="1913" y="825"/>
                </a:cubicBezTo>
                <a:cubicBezTo>
                  <a:pt x="1915" y="828"/>
                  <a:pt x="1915" y="828"/>
                  <a:pt x="1915" y="828"/>
                </a:cubicBezTo>
                <a:cubicBezTo>
                  <a:pt x="1916" y="829"/>
                  <a:pt x="1916" y="829"/>
                  <a:pt x="1916" y="829"/>
                </a:cubicBezTo>
                <a:cubicBezTo>
                  <a:pt x="1918" y="830"/>
                  <a:pt x="1918" y="830"/>
                  <a:pt x="1918" y="830"/>
                </a:cubicBezTo>
                <a:cubicBezTo>
                  <a:pt x="1918" y="831"/>
                  <a:pt x="1918" y="831"/>
                  <a:pt x="1918" y="831"/>
                </a:cubicBezTo>
                <a:cubicBezTo>
                  <a:pt x="1919" y="832"/>
                  <a:pt x="1919" y="832"/>
                  <a:pt x="1919" y="832"/>
                </a:cubicBezTo>
                <a:cubicBezTo>
                  <a:pt x="1921" y="840"/>
                  <a:pt x="1921" y="840"/>
                  <a:pt x="1921" y="840"/>
                </a:cubicBezTo>
                <a:cubicBezTo>
                  <a:pt x="1924" y="842"/>
                  <a:pt x="1924" y="842"/>
                  <a:pt x="1924" y="842"/>
                </a:cubicBezTo>
                <a:cubicBezTo>
                  <a:pt x="1924" y="844"/>
                  <a:pt x="1924" y="844"/>
                  <a:pt x="1924" y="844"/>
                </a:cubicBezTo>
                <a:cubicBezTo>
                  <a:pt x="1931" y="852"/>
                  <a:pt x="1931" y="852"/>
                  <a:pt x="1931" y="852"/>
                </a:cubicBezTo>
                <a:cubicBezTo>
                  <a:pt x="1933" y="852"/>
                  <a:pt x="1933" y="852"/>
                  <a:pt x="1933" y="852"/>
                </a:cubicBezTo>
                <a:cubicBezTo>
                  <a:pt x="1933" y="856"/>
                  <a:pt x="1933" y="856"/>
                  <a:pt x="1933" y="856"/>
                </a:cubicBezTo>
                <a:cubicBezTo>
                  <a:pt x="1936" y="857"/>
                  <a:pt x="1936" y="857"/>
                  <a:pt x="1936" y="857"/>
                </a:cubicBezTo>
                <a:cubicBezTo>
                  <a:pt x="1938" y="863"/>
                  <a:pt x="1938" y="863"/>
                  <a:pt x="1938" y="863"/>
                </a:cubicBezTo>
                <a:cubicBezTo>
                  <a:pt x="1939" y="864"/>
                  <a:pt x="1939" y="864"/>
                  <a:pt x="1939" y="864"/>
                </a:cubicBezTo>
                <a:cubicBezTo>
                  <a:pt x="1940" y="870"/>
                  <a:pt x="1940" y="870"/>
                  <a:pt x="1940" y="870"/>
                </a:cubicBezTo>
                <a:cubicBezTo>
                  <a:pt x="1940" y="873"/>
                  <a:pt x="1940" y="873"/>
                  <a:pt x="1940" y="873"/>
                </a:cubicBezTo>
                <a:cubicBezTo>
                  <a:pt x="1939" y="873"/>
                  <a:pt x="1939" y="873"/>
                  <a:pt x="1939" y="873"/>
                </a:cubicBezTo>
                <a:cubicBezTo>
                  <a:pt x="1939" y="874"/>
                  <a:pt x="1939" y="874"/>
                  <a:pt x="1939" y="874"/>
                </a:cubicBezTo>
                <a:cubicBezTo>
                  <a:pt x="1937" y="873"/>
                  <a:pt x="1937" y="873"/>
                  <a:pt x="1937" y="873"/>
                </a:cubicBezTo>
                <a:cubicBezTo>
                  <a:pt x="1938" y="875"/>
                  <a:pt x="1938" y="875"/>
                  <a:pt x="1938" y="875"/>
                </a:cubicBezTo>
                <a:cubicBezTo>
                  <a:pt x="1939" y="875"/>
                  <a:pt x="1939" y="875"/>
                  <a:pt x="1939" y="875"/>
                </a:cubicBezTo>
                <a:cubicBezTo>
                  <a:pt x="1939" y="876"/>
                  <a:pt x="1939" y="876"/>
                  <a:pt x="1939" y="876"/>
                </a:cubicBezTo>
                <a:cubicBezTo>
                  <a:pt x="1941" y="879"/>
                  <a:pt x="1941" y="879"/>
                  <a:pt x="1941" y="879"/>
                </a:cubicBezTo>
                <a:cubicBezTo>
                  <a:pt x="1943" y="889"/>
                  <a:pt x="1943" y="889"/>
                  <a:pt x="1943" y="889"/>
                </a:cubicBezTo>
                <a:cubicBezTo>
                  <a:pt x="1945" y="891"/>
                  <a:pt x="1945" y="891"/>
                  <a:pt x="1945" y="891"/>
                </a:cubicBezTo>
                <a:cubicBezTo>
                  <a:pt x="1945" y="894"/>
                  <a:pt x="1945" y="894"/>
                  <a:pt x="1945" y="894"/>
                </a:cubicBezTo>
                <a:cubicBezTo>
                  <a:pt x="1944" y="895"/>
                  <a:pt x="1944" y="895"/>
                  <a:pt x="1944" y="895"/>
                </a:cubicBezTo>
                <a:cubicBezTo>
                  <a:pt x="1945" y="897"/>
                  <a:pt x="1945" y="897"/>
                  <a:pt x="1945" y="897"/>
                </a:cubicBezTo>
                <a:cubicBezTo>
                  <a:pt x="1947" y="900"/>
                  <a:pt x="1947" y="900"/>
                  <a:pt x="1947" y="900"/>
                </a:cubicBezTo>
                <a:cubicBezTo>
                  <a:pt x="1948" y="902"/>
                  <a:pt x="1948" y="902"/>
                  <a:pt x="1948" y="902"/>
                </a:cubicBezTo>
                <a:cubicBezTo>
                  <a:pt x="1949" y="904"/>
                  <a:pt x="1949" y="904"/>
                  <a:pt x="1949" y="904"/>
                </a:cubicBezTo>
                <a:cubicBezTo>
                  <a:pt x="1951" y="904"/>
                  <a:pt x="1951" y="904"/>
                  <a:pt x="1951" y="904"/>
                </a:cubicBezTo>
                <a:cubicBezTo>
                  <a:pt x="1951" y="903"/>
                  <a:pt x="1951" y="903"/>
                  <a:pt x="1951" y="903"/>
                </a:cubicBezTo>
                <a:cubicBezTo>
                  <a:pt x="1954" y="904"/>
                  <a:pt x="1954" y="904"/>
                  <a:pt x="1954" y="904"/>
                </a:cubicBezTo>
                <a:cubicBezTo>
                  <a:pt x="1956" y="903"/>
                  <a:pt x="1956" y="903"/>
                  <a:pt x="1956" y="903"/>
                </a:cubicBezTo>
                <a:cubicBezTo>
                  <a:pt x="1958" y="902"/>
                  <a:pt x="1958" y="902"/>
                  <a:pt x="1958" y="902"/>
                </a:cubicBezTo>
                <a:cubicBezTo>
                  <a:pt x="1960" y="902"/>
                  <a:pt x="1960" y="902"/>
                  <a:pt x="1960" y="902"/>
                </a:cubicBezTo>
                <a:cubicBezTo>
                  <a:pt x="1961" y="903"/>
                  <a:pt x="1961" y="903"/>
                  <a:pt x="1961" y="903"/>
                </a:cubicBezTo>
                <a:cubicBezTo>
                  <a:pt x="1963" y="902"/>
                  <a:pt x="1963" y="902"/>
                  <a:pt x="1963" y="902"/>
                </a:cubicBezTo>
                <a:cubicBezTo>
                  <a:pt x="1965" y="899"/>
                  <a:pt x="1965" y="899"/>
                  <a:pt x="1965" y="899"/>
                </a:cubicBezTo>
                <a:cubicBezTo>
                  <a:pt x="1966" y="899"/>
                  <a:pt x="1966" y="899"/>
                  <a:pt x="1966" y="899"/>
                </a:cubicBezTo>
                <a:cubicBezTo>
                  <a:pt x="1967" y="896"/>
                  <a:pt x="1967" y="896"/>
                  <a:pt x="1967" y="896"/>
                </a:cubicBezTo>
                <a:cubicBezTo>
                  <a:pt x="1969" y="895"/>
                  <a:pt x="1969" y="895"/>
                  <a:pt x="1969" y="895"/>
                </a:cubicBezTo>
                <a:cubicBezTo>
                  <a:pt x="1971" y="894"/>
                  <a:pt x="1971" y="894"/>
                  <a:pt x="1971" y="894"/>
                </a:cubicBezTo>
                <a:cubicBezTo>
                  <a:pt x="1972" y="895"/>
                  <a:pt x="1972" y="895"/>
                  <a:pt x="1972" y="895"/>
                </a:cubicBezTo>
                <a:cubicBezTo>
                  <a:pt x="1973" y="895"/>
                  <a:pt x="1973" y="895"/>
                  <a:pt x="1973" y="895"/>
                </a:cubicBezTo>
                <a:cubicBezTo>
                  <a:pt x="1976" y="895"/>
                  <a:pt x="1976" y="895"/>
                  <a:pt x="1976" y="895"/>
                </a:cubicBezTo>
                <a:cubicBezTo>
                  <a:pt x="1976" y="896"/>
                  <a:pt x="1976" y="896"/>
                  <a:pt x="1976" y="896"/>
                </a:cubicBezTo>
                <a:cubicBezTo>
                  <a:pt x="1978" y="896"/>
                  <a:pt x="1978" y="896"/>
                  <a:pt x="1978" y="896"/>
                </a:cubicBezTo>
                <a:cubicBezTo>
                  <a:pt x="1983" y="894"/>
                  <a:pt x="1983" y="894"/>
                  <a:pt x="1983" y="894"/>
                </a:cubicBezTo>
                <a:cubicBezTo>
                  <a:pt x="1987" y="894"/>
                  <a:pt x="1987" y="894"/>
                  <a:pt x="1987" y="894"/>
                </a:cubicBezTo>
                <a:cubicBezTo>
                  <a:pt x="1988" y="893"/>
                  <a:pt x="1988" y="893"/>
                  <a:pt x="1988" y="893"/>
                </a:cubicBezTo>
                <a:cubicBezTo>
                  <a:pt x="1988" y="892"/>
                  <a:pt x="1988" y="892"/>
                  <a:pt x="1988" y="892"/>
                </a:cubicBezTo>
                <a:cubicBezTo>
                  <a:pt x="1992" y="889"/>
                  <a:pt x="1992" y="889"/>
                  <a:pt x="1992" y="889"/>
                </a:cubicBezTo>
                <a:cubicBezTo>
                  <a:pt x="1993" y="889"/>
                  <a:pt x="1993" y="889"/>
                  <a:pt x="1993" y="889"/>
                </a:cubicBezTo>
                <a:cubicBezTo>
                  <a:pt x="1995" y="890"/>
                  <a:pt x="1995" y="890"/>
                  <a:pt x="1995" y="890"/>
                </a:cubicBezTo>
                <a:cubicBezTo>
                  <a:pt x="1996" y="890"/>
                  <a:pt x="1996" y="890"/>
                  <a:pt x="1996" y="890"/>
                </a:cubicBezTo>
                <a:cubicBezTo>
                  <a:pt x="1997" y="889"/>
                  <a:pt x="1997" y="889"/>
                  <a:pt x="1997" y="889"/>
                </a:cubicBezTo>
                <a:cubicBezTo>
                  <a:pt x="1998" y="889"/>
                  <a:pt x="1998" y="889"/>
                  <a:pt x="1998" y="889"/>
                </a:cubicBezTo>
                <a:cubicBezTo>
                  <a:pt x="1999" y="889"/>
                  <a:pt x="1999" y="889"/>
                  <a:pt x="1999" y="889"/>
                </a:cubicBezTo>
                <a:cubicBezTo>
                  <a:pt x="2002" y="887"/>
                  <a:pt x="2002" y="887"/>
                  <a:pt x="2002" y="887"/>
                </a:cubicBezTo>
                <a:cubicBezTo>
                  <a:pt x="2004" y="883"/>
                  <a:pt x="2004" y="883"/>
                  <a:pt x="2004" y="883"/>
                </a:cubicBezTo>
                <a:cubicBezTo>
                  <a:pt x="2006" y="883"/>
                  <a:pt x="2006" y="883"/>
                  <a:pt x="2006" y="883"/>
                </a:cubicBezTo>
                <a:cubicBezTo>
                  <a:pt x="2007" y="883"/>
                  <a:pt x="2007" y="883"/>
                  <a:pt x="2007" y="883"/>
                </a:cubicBezTo>
                <a:cubicBezTo>
                  <a:pt x="2018" y="879"/>
                  <a:pt x="2018" y="879"/>
                  <a:pt x="2018" y="879"/>
                </a:cubicBezTo>
                <a:cubicBezTo>
                  <a:pt x="2019" y="878"/>
                  <a:pt x="2019" y="878"/>
                  <a:pt x="2019" y="878"/>
                </a:cubicBezTo>
                <a:cubicBezTo>
                  <a:pt x="2026" y="877"/>
                  <a:pt x="2026" y="877"/>
                  <a:pt x="2026" y="877"/>
                </a:cubicBezTo>
                <a:cubicBezTo>
                  <a:pt x="2030" y="875"/>
                  <a:pt x="2030" y="875"/>
                  <a:pt x="2030" y="875"/>
                </a:cubicBezTo>
                <a:cubicBezTo>
                  <a:pt x="2032" y="873"/>
                  <a:pt x="2032" y="873"/>
                  <a:pt x="2032" y="873"/>
                </a:cubicBezTo>
                <a:cubicBezTo>
                  <a:pt x="2036" y="872"/>
                  <a:pt x="2036" y="872"/>
                  <a:pt x="2036" y="872"/>
                </a:cubicBezTo>
                <a:cubicBezTo>
                  <a:pt x="2036" y="871"/>
                  <a:pt x="2036" y="871"/>
                  <a:pt x="2036" y="871"/>
                </a:cubicBezTo>
                <a:cubicBezTo>
                  <a:pt x="2036" y="871"/>
                  <a:pt x="2036" y="871"/>
                  <a:pt x="2036" y="871"/>
                </a:cubicBezTo>
                <a:cubicBezTo>
                  <a:pt x="2035" y="870"/>
                  <a:pt x="2035" y="870"/>
                  <a:pt x="2035" y="870"/>
                </a:cubicBezTo>
                <a:cubicBezTo>
                  <a:pt x="2035" y="867"/>
                  <a:pt x="2035" y="867"/>
                  <a:pt x="2035" y="867"/>
                </a:cubicBezTo>
                <a:cubicBezTo>
                  <a:pt x="2039" y="863"/>
                  <a:pt x="2039" y="863"/>
                  <a:pt x="2039" y="863"/>
                </a:cubicBezTo>
                <a:cubicBezTo>
                  <a:pt x="2043" y="862"/>
                  <a:pt x="2043" y="862"/>
                  <a:pt x="2043" y="862"/>
                </a:cubicBezTo>
                <a:cubicBezTo>
                  <a:pt x="2045" y="862"/>
                  <a:pt x="2045" y="862"/>
                  <a:pt x="2045" y="862"/>
                </a:cubicBezTo>
                <a:cubicBezTo>
                  <a:pt x="2046" y="861"/>
                  <a:pt x="2046" y="861"/>
                  <a:pt x="2046" y="861"/>
                </a:cubicBezTo>
                <a:cubicBezTo>
                  <a:pt x="2047" y="862"/>
                  <a:pt x="2047" y="862"/>
                  <a:pt x="2047" y="862"/>
                </a:cubicBezTo>
                <a:cubicBezTo>
                  <a:pt x="2049" y="862"/>
                  <a:pt x="2049" y="862"/>
                  <a:pt x="2049" y="862"/>
                </a:cubicBezTo>
                <a:cubicBezTo>
                  <a:pt x="2050" y="859"/>
                  <a:pt x="2050" y="859"/>
                  <a:pt x="2050" y="859"/>
                </a:cubicBezTo>
                <a:cubicBezTo>
                  <a:pt x="2052" y="860"/>
                  <a:pt x="2052" y="860"/>
                  <a:pt x="2052" y="860"/>
                </a:cubicBezTo>
                <a:cubicBezTo>
                  <a:pt x="2056" y="858"/>
                  <a:pt x="2056" y="858"/>
                  <a:pt x="2056" y="858"/>
                </a:cubicBezTo>
                <a:cubicBezTo>
                  <a:pt x="2058" y="858"/>
                  <a:pt x="2058" y="858"/>
                  <a:pt x="2058" y="858"/>
                </a:cubicBezTo>
                <a:cubicBezTo>
                  <a:pt x="2060" y="857"/>
                  <a:pt x="2060" y="857"/>
                  <a:pt x="2060" y="857"/>
                </a:cubicBezTo>
                <a:cubicBezTo>
                  <a:pt x="2061" y="858"/>
                  <a:pt x="2061" y="858"/>
                  <a:pt x="2061" y="858"/>
                </a:cubicBezTo>
                <a:cubicBezTo>
                  <a:pt x="2062" y="858"/>
                  <a:pt x="2062" y="858"/>
                  <a:pt x="2062" y="858"/>
                </a:cubicBezTo>
                <a:cubicBezTo>
                  <a:pt x="2065" y="855"/>
                  <a:pt x="2065" y="855"/>
                  <a:pt x="2065" y="855"/>
                </a:cubicBezTo>
                <a:cubicBezTo>
                  <a:pt x="2065" y="854"/>
                  <a:pt x="2065" y="854"/>
                  <a:pt x="2065" y="854"/>
                </a:cubicBezTo>
                <a:cubicBezTo>
                  <a:pt x="2065" y="854"/>
                  <a:pt x="2065" y="854"/>
                  <a:pt x="2065" y="854"/>
                </a:cubicBezTo>
                <a:cubicBezTo>
                  <a:pt x="2065" y="853"/>
                  <a:pt x="2065" y="853"/>
                  <a:pt x="2065" y="853"/>
                </a:cubicBezTo>
                <a:cubicBezTo>
                  <a:pt x="2064" y="852"/>
                  <a:pt x="2064" y="852"/>
                  <a:pt x="2064" y="852"/>
                </a:cubicBezTo>
                <a:cubicBezTo>
                  <a:pt x="2065" y="851"/>
                  <a:pt x="2065" y="851"/>
                  <a:pt x="2065" y="851"/>
                </a:cubicBezTo>
                <a:cubicBezTo>
                  <a:pt x="2064" y="850"/>
                  <a:pt x="2064" y="850"/>
                  <a:pt x="2064" y="850"/>
                </a:cubicBezTo>
                <a:cubicBezTo>
                  <a:pt x="2066" y="849"/>
                  <a:pt x="2066" y="849"/>
                  <a:pt x="2066" y="849"/>
                </a:cubicBezTo>
                <a:cubicBezTo>
                  <a:pt x="2067" y="848"/>
                  <a:pt x="2067" y="848"/>
                  <a:pt x="2067" y="848"/>
                </a:cubicBezTo>
                <a:cubicBezTo>
                  <a:pt x="2070" y="848"/>
                  <a:pt x="2070" y="848"/>
                  <a:pt x="2070" y="848"/>
                </a:cubicBezTo>
                <a:cubicBezTo>
                  <a:pt x="2073" y="847"/>
                  <a:pt x="2073" y="847"/>
                  <a:pt x="2073" y="847"/>
                </a:cubicBezTo>
                <a:cubicBezTo>
                  <a:pt x="2074" y="848"/>
                  <a:pt x="2074" y="848"/>
                  <a:pt x="2074" y="848"/>
                </a:cubicBezTo>
                <a:cubicBezTo>
                  <a:pt x="2076" y="846"/>
                  <a:pt x="2076" y="846"/>
                  <a:pt x="2076" y="846"/>
                </a:cubicBezTo>
                <a:cubicBezTo>
                  <a:pt x="2077" y="845"/>
                  <a:pt x="2077" y="845"/>
                  <a:pt x="2077" y="845"/>
                </a:cubicBezTo>
                <a:cubicBezTo>
                  <a:pt x="2077" y="842"/>
                  <a:pt x="2077" y="842"/>
                  <a:pt x="2077" y="842"/>
                </a:cubicBezTo>
                <a:cubicBezTo>
                  <a:pt x="2080" y="838"/>
                  <a:pt x="2080" y="838"/>
                  <a:pt x="2080" y="838"/>
                </a:cubicBezTo>
                <a:cubicBezTo>
                  <a:pt x="2083" y="837"/>
                  <a:pt x="2083" y="837"/>
                  <a:pt x="2083" y="837"/>
                </a:cubicBezTo>
                <a:cubicBezTo>
                  <a:pt x="2084" y="838"/>
                  <a:pt x="2084" y="838"/>
                  <a:pt x="2084" y="838"/>
                </a:cubicBezTo>
                <a:cubicBezTo>
                  <a:pt x="2085" y="837"/>
                  <a:pt x="2085" y="837"/>
                  <a:pt x="2085" y="837"/>
                </a:cubicBezTo>
                <a:cubicBezTo>
                  <a:pt x="2090" y="836"/>
                  <a:pt x="2090" y="836"/>
                  <a:pt x="2090" y="836"/>
                </a:cubicBezTo>
                <a:cubicBezTo>
                  <a:pt x="2091" y="835"/>
                  <a:pt x="2091" y="835"/>
                  <a:pt x="2091" y="835"/>
                </a:cubicBezTo>
                <a:cubicBezTo>
                  <a:pt x="2090" y="835"/>
                  <a:pt x="2090" y="835"/>
                  <a:pt x="2090" y="835"/>
                </a:cubicBezTo>
                <a:cubicBezTo>
                  <a:pt x="2088" y="831"/>
                  <a:pt x="2088" y="831"/>
                  <a:pt x="2088" y="831"/>
                </a:cubicBezTo>
                <a:cubicBezTo>
                  <a:pt x="2089" y="831"/>
                  <a:pt x="2089" y="831"/>
                  <a:pt x="2089" y="831"/>
                </a:cubicBezTo>
                <a:cubicBezTo>
                  <a:pt x="2088" y="829"/>
                  <a:pt x="2088" y="829"/>
                  <a:pt x="2088" y="829"/>
                </a:cubicBezTo>
                <a:cubicBezTo>
                  <a:pt x="2088" y="829"/>
                  <a:pt x="2088" y="829"/>
                  <a:pt x="2088" y="829"/>
                </a:cubicBezTo>
                <a:cubicBezTo>
                  <a:pt x="2088" y="827"/>
                  <a:pt x="2088" y="827"/>
                  <a:pt x="2088" y="827"/>
                </a:cubicBezTo>
                <a:cubicBezTo>
                  <a:pt x="2088" y="826"/>
                  <a:pt x="2088" y="826"/>
                  <a:pt x="2088" y="826"/>
                </a:cubicBezTo>
                <a:cubicBezTo>
                  <a:pt x="2090" y="822"/>
                  <a:pt x="2090" y="822"/>
                  <a:pt x="2090" y="822"/>
                </a:cubicBezTo>
                <a:cubicBezTo>
                  <a:pt x="2091" y="822"/>
                  <a:pt x="2091" y="822"/>
                  <a:pt x="2091" y="822"/>
                </a:cubicBezTo>
                <a:cubicBezTo>
                  <a:pt x="2090" y="821"/>
                  <a:pt x="2090" y="821"/>
                  <a:pt x="2090" y="821"/>
                </a:cubicBezTo>
                <a:cubicBezTo>
                  <a:pt x="2091" y="821"/>
                  <a:pt x="2091" y="821"/>
                  <a:pt x="2091" y="821"/>
                </a:cubicBezTo>
                <a:cubicBezTo>
                  <a:pt x="2092" y="818"/>
                  <a:pt x="2092" y="818"/>
                  <a:pt x="2092" y="818"/>
                </a:cubicBezTo>
                <a:cubicBezTo>
                  <a:pt x="2093" y="818"/>
                  <a:pt x="2093" y="818"/>
                  <a:pt x="2093" y="818"/>
                </a:cubicBezTo>
                <a:cubicBezTo>
                  <a:pt x="2094" y="818"/>
                  <a:pt x="2094" y="818"/>
                  <a:pt x="2094" y="818"/>
                </a:cubicBezTo>
                <a:cubicBezTo>
                  <a:pt x="2094" y="819"/>
                  <a:pt x="2094" y="819"/>
                  <a:pt x="2094" y="819"/>
                </a:cubicBezTo>
                <a:cubicBezTo>
                  <a:pt x="2093" y="820"/>
                  <a:pt x="2093" y="820"/>
                  <a:pt x="2093" y="820"/>
                </a:cubicBezTo>
                <a:cubicBezTo>
                  <a:pt x="2094" y="821"/>
                  <a:pt x="2094" y="821"/>
                  <a:pt x="2094" y="821"/>
                </a:cubicBezTo>
                <a:cubicBezTo>
                  <a:pt x="2096" y="821"/>
                  <a:pt x="2096" y="821"/>
                  <a:pt x="2096" y="821"/>
                </a:cubicBezTo>
                <a:cubicBezTo>
                  <a:pt x="2097" y="817"/>
                  <a:pt x="2097" y="817"/>
                  <a:pt x="2097" y="817"/>
                </a:cubicBezTo>
                <a:cubicBezTo>
                  <a:pt x="2098" y="816"/>
                  <a:pt x="2098" y="816"/>
                  <a:pt x="2098" y="816"/>
                </a:cubicBezTo>
                <a:cubicBezTo>
                  <a:pt x="2099" y="814"/>
                  <a:pt x="2099" y="814"/>
                  <a:pt x="2099" y="814"/>
                </a:cubicBezTo>
                <a:cubicBezTo>
                  <a:pt x="2102" y="811"/>
                  <a:pt x="2102" y="811"/>
                  <a:pt x="2102" y="811"/>
                </a:cubicBezTo>
                <a:cubicBezTo>
                  <a:pt x="2105" y="805"/>
                  <a:pt x="2105" y="805"/>
                  <a:pt x="2105" y="805"/>
                </a:cubicBezTo>
                <a:cubicBezTo>
                  <a:pt x="2106" y="804"/>
                  <a:pt x="2106" y="804"/>
                  <a:pt x="2106" y="804"/>
                </a:cubicBezTo>
                <a:cubicBezTo>
                  <a:pt x="2105" y="803"/>
                  <a:pt x="2105" y="803"/>
                  <a:pt x="2105" y="803"/>
                </a:cubicBezTo>
                <a:cubicBezTo>
                  <a:pt x="2107" y="800"/>
                  <a:pt x="2107" y="800"/>
                  <a:pt x="2107" y="800"/>
                </a:cubicBezTo>
                <a:cubicBezTo>
                  <a:pt x="2107" y="798"/>
                  <a:pt x="2107" y="798"/>
                  <a:pt x="2107" y="798"/>
                </a:cubicBezTo>
                <a:cubicBezTo>
                  <a:pt x="2106" y="798"/>
                  <a:pt x="2106" y="798"/>
                  <a:pt x="2106" y="798"/>
                </a:cubicBezTo>
                <a:cubicBezTo>
                  <a:pt x="2104" y="797"/>
                  <a:pt x="2104" y="797"/>
                  <a:pt x="2104" y="797"/>
                </a:cubicBezTo>
                <a:cubicBezTo>
                  <a:pt x="2101" y="794"/>
                  <a:pt x="2101" y="794"/>
                  <a:pt x="2101" y="794"/>
                </a:cubicBezTo>
                <a:cubicBezTo>
                  <a:pt x="2100" y="792"/>
                  <a:pt x="2100" y="792"/>
                  <a:pt x="2100" y="792"/>
                </a:cubicBezTo>
                <a:cubicBezTo>
                  <a:pt x="2098" y="791"/>
                  <a:pt x="2098" y="791"/>
                  <a:pt x="2098" y="791"/>
                </a:cubicBezTo>
                <a:cubicBezTo>
                  <a:pt x="2097" y="788"/>
                  <a:pt x="2097" y="788"/>
                  <a:pt x="2097" y="788"/>
                </a:cubicBezTo>
                <a:cubicBezTo>
                  <a:pt x="2094" y="784"/>
                  <a:pt x="2094" y="784"/>
                  <a:pt x="2094" y="784"/>
                </a:cubicBezTo>
                <a:cubicBezTo>
                  <a:pt x="2093" y="784"/>
                  <a:pt x="2093" y="784"/>
                  <a:pt x="2093" y="784"/>
                </a:cubicBezTo>
                <a:cubicBezTo>
                  <a:pt x="2090" y="785"/>
                  <a:pt x="2090" y="785"/>
                  <a:pt x="2090" y="785"/>
                </a:cubicBezTo>
                <a:cubicBezTo>
                  <a:pt x="2086" y="784"/>
                  <a:pt x="2086" y="784"/>
                  <a:pt x="2086" y="784"/>
                </a:cubicBezTo>
                <a:cubicBezTo>
                  <a:pt x="2084" y="784"/>
                  <a:pt x="2084" y="784"/>
                  <a:pt x="2084" y="784"/>
                </a:cubicBezTo>
                <a:cubicBezTo>
                  <a:pt x="2083" y="785"/>
                  <a:pt x="2083" y="785"/>
                  <a:pt x="2083" y="785"/>
                </a:cubicBezTo>
                <a:cubicBezTo>
                  <a:pt x="2080" y="784"/>
                  <a:pt x="2080" y="784"/>
                  <a:pt x="2080" y="784"/>
                </a:cubicBezTo>
                <a:cubicBezTo>
                  <a:pt x="2074" y="779"/>
                  <a:pt x="2074" y="779"/>
                  <a:pt x="2074" y="779"/>
                </a:cubicBezTo>
                <a:cubicBezTo>
                  <a:pt x="2074" y="778"/>
                  <a:pt x="2074" y="778"/>
                  <a:pt x="2074" y="778"/>
                </a:cubicBezTo>
                <a:cubicBezTo>
                  <a:pt x="2071" y="774"/>
                  <a:pt x="2071" y="774"/>
                  <a:pt x="2071" y="774"/>
                </a:cubicBezTo>
                <a:cubicBezTo>
                  <a:pt x="2070" y="768"/>
                  <a:pt x="2070" y="768"/>
                  <a:pt x="2070" y="768"/>
                </a:cubicBezTo>
                <a:cubicBezTo>
                  <a:pt x="2070" y="765"/>
                  <a:pt x="2070" y="765"/>
                  <a:pt x="2070" y="765"/>
                </a:cubicBezTo>
                <a:cubicBezTo>
                  <a:pt x="2070" y="764"/>
                  <a:pt x="2070" y="764"/>
                  <a:pt x="2070" y="764"/>
                </a:cubicBezTo>
                <a:cubicBezTo>
                  <a:pt x="2069" y="764"/>
                  <a:pt x="2069" y="764"/>
                  <a:pt x="2069" y="764"/>
                </a:cubicBezTo>
                <a:cubicBezTo>
                  <a:pt x="2068" y="764"/>
                  <a:pt x="2068" y="764"/>
                  <a:pt x="2068" y="764"/>
                </a:cubicBezTo>
                <a:cubicBezTo>
                  <a:pt x="2068" y="763"/>
                  <a:pt x="2068" y="763"/>
                  <a:pt x="2068" y="763"/>
                </a:cubicBezTo>
                <a:cubicBezTo>
                  <a:pt x="2068" y="762"/>
                  <a:pt x="2068" y="762"/>
                  <a:pt x="2068" y="762"/>
                </a:cubicBezTo>
                <a:cubicBezTo>
                  <a:pt x="2069" y="761"/>
                  <a:pt x="2069" y="761"/>
                  <a:pt x="2069" y="761"/>
                </a:cubicBezTo>
                <a:cubicBezTo>
                  <a:pt x="2069" y="758"/>
                  <a:pt x="2069" y="758"/>
                  <a:pt x="2069" y="758"/>
                </a:cubicBezTo>
                <a:cubicBezTo>
                  <a:pt x="2069" y="757"/>
                  <a:pt x="2069" y="757"/>
                  <a:pt x="2069" y="757"/>
                </a:cubicBezTo>
                <a:cubicBezTo>
                  <a:pt x="2069" y="756"/>
                  <a:pt x="2069" y="756"/>
                  <a:pt x="2069" y="756"/>
                </a:cubicBezTo>
                <a:cubicBezTo>
                  <a:pt x="2069" y="756"/>
                  <a:pt x="2069" y="756"/>
                  <a:pt x="2069" y="756"/>
                </a:cubicBezTo>
                <a:cubicBezTo>
                  <a:pt x="2069" y="755"/>
                  <a:pt x="2069" y="755"/>
                  <a:pt x="2069" y="755"/>
                </a:cubicBezTo>
                <a:cubicBezTo>
                  <a:pt x="2070" y="755"/>
                  <a:pt x="2070" y="755"/>
                  <a:pt x="2070" y="755"/>
                </a:cubicBezTo>
                <a:cubicBezTo>
                  <a:pt x="2069" y="755"/>
                  <a:pt x="2069" y="755"/>
                  <a:pt x="2069" y="755"/>
                </a:cubicBezTo>
                <a:cubicBezTo>
                  <a:pt x="2069" y="755"/>
                  <a:pt x="2069" y="755"/>
                  <a:pt x="2069" y="755"/>
                </a:cubicBezTo>
                <a:cubicBezTo>
                  <a:pt x="2068" y="755"/>
                  <a:pt x="2068" y="755"/>
                  <a:pt x="2068" y="755"/>
                </a:cubicBezTo>
                <a:cubicBezTo>
                  <a:pt x="2067" y="758"/>
                  <a:pt x="2067" y="758"/>
                  <a:pt x="2067" y="758"/>
                </a:cubicBezTo>
                <a:cubicBezTo>
                  <a:pt x="2067" y="758"/>
                  <a:pt x="2067" y="758"/>
                  <a:pt x="2067" y="758"/>
                </a:cubicBezTo>
                <a:cubicBezTo>
                  <a:pt x="2066" y="758"/>
                  <a:pt x="2066" y="758"/>
                  <a:pt x="2066" y="758"/>
                </a:cubicBezTo>
                <a:cubicBezTo>
                  <a:pt x="2066" y="759"/>
                  <a:pt x="2066" y="759"/>
                  <a:pt x="2066" y="759"/>
                </a:cubicBezTo>
                <a:cubicBezTo>
                  <a:pt x="2066" y="759"/>
                  <a:pt x="2066" y="759"/>
                  <a:pt x="2066" y="759"/>
                </a:cubicBezTo>
                <a:cubicBezTo>
                  <a:pt x="2066" y="761"/>
                  <a:pt x="2066" y="761"/>
                  <a:pt x="2066" y="761"/>
                </a:cubicBezTo>
                <a:cubicBezTo>
                  <a:pt x="2065" y="762"/>
                  <a:pt x="2065" y="762"/>
                  <a:pt x="2065" y="762"/>
                </a:cubicBezTo>
                <a:cubicBezTo>
                  <a:pt x="2059" y="766"/>
                  <a:pt x="2059" y="766"/>
                  <a:pt x="2059" y="766"/>
                </a:cubicBezTo>
                <a:cubicBezTo>
                  <a:pt x="2059" y="768"/>
                  <a:pt x="2059" y="768"/>
                  <a:pt x="2059" y="768"/>
                </a:cubicBezTo>
                <a:cubicBezTo>
                  <a:pt x="2053" y="773"/>
                  <a:pt x="2053" y="773"/>
                  <a:pt x="2053" y="773"/>
                </a:cubicBezTo>
                <a:cubicBezTo>
                  <a:pt x="2052" y="775"/>
                  <a:pt x="2052" y="775"/>
                  <a:pt x="2052" y="775"/>
                </a:cubicBezTo>
                <a:cubicBezTo>
                  <a:pt x="2053" y="775"/>
                  <a:pt x="2053" y="775"/>
                  <a:pt x="2053" y="775"/>
                </a:cubicBezTo>
                <a:cubicBezTo>
                  <a:pt x="2054" y="776"/>
                  <a:pt x="2054" y="776"/>
                  <a:pt x="2054" y="776"/>
                </a:cubicBezTo>
                <a:cubicBezTo>
                  <a:pt x="2051" y="779"/>
                  <a:pt x="2051" y="779"/>
                  <a:pt x="2051" y="779"/>
                </a:cubicBezTo>
                <a:cubicBezTo>
                  <a:pt x="2050" y="778"/>
                  <a:pt x="2050" y="778"/>
                  <a:pt x="2050" y="778"/>
                </a:cubicBezTo>
                <a:cubicBezTo>
                  <a:pt x="2049" y="778"/>
                  <a:pt x="2049" y="778"/>
                  <a:pt x="2049" y="778"/>
                </a:cubicBezTo>
                <a:cubicBezTo>
                  <a:pt x="2048" y="778"/>
                  <a:pt x="2048" y="778"/>
                  <a:pt x="2048" y="778"/>
                </a:cubicBezTo>
                <a:cubicBezTo>
                  <a:pt x="2048" y="780"/>
                  <a:pt x="2048" y="780"/>
                  <a:pt x="2048" y="780"/>
                </a:cubicBezTo>
                <a:cubicBezTo>
                  <a:pt x="2047" y="780"/>
                  <a:pt x="2047" y="780"/>
                  <a:pt x="2047" y="780"/>
                </a:cubicBezTo>
                <a:cubicBezTo>
                  <a:pt x="2047" y="781"/>
                  <a:pt x="2047" y="781"/>
                  <a:pt x="2047" y="781"/>
                </a:cubicBezTo>
                <a:cubicBezTo>
                  <a:pt x="2044" y="782"/>
                  <a:pt x="2044" y="782"/>
                  <a:pt x="2044" y="782"/>
                </a:cubicBezTo>
                <a:cubicBezTo>
                  <a:pt x="2042" y="782"/>
                  <a:pt x="2042" y="782"/>
                  <a:pt x="2042" y="782"/>
                </a:cubicBezTo>
                <a:cubicBezTo>
                  <a:pt x="2041" y="781"/>
                  <a:pt x="2041" y="781"/>
                  <a:pt x="2041" y="781"/>
                </a:cubicBezTo>
                <a:cubicBezTo>
                  <a:pt x="2039" y="781"/>
                  <a:pt x="2039" y="781"/>
                  <a:pt x="2039" y="781"/>
                </a:cubicBezTo>
                <a:cubicBezTo>
                  <a:pt x="2038" y="780"/>
                  <a:pt x="2038" y="780"/>
                  <a:pt x="2038" y="780"/>
                </a:cubicBezTo>
                <a:cubicBezTo>
                  <a:pt x="2037" y="781"/>
                  <a:pt x="2037" y="781"/>
                  <a:pt x="2037" y="781"/>
                </a:cubicBezTo>
                <a:cubicBezTo>
                  <a:pt x="2033" y="780"/>
                  <a:pt x="2033" y="780"/>
                  <a:pt x="2033" y="780"/>
                </a:cubicBezTo>
                <a:cubicBezTo>
                  <a:pt x="2029" y="783"/>
                  <a:pt x="2029" y="783"/>
                  <a:pt x="2029" y="783"/>
                </a:cubicBezTo>
                <a:cubicBezTo>
                  <a:pt x="2027" y="783"/>
                  <a:pt x="2027" y="783"/>
                  <a:pt x="2027" y="783"/>
                </a:cubicBezTo>
                <a:cubicBezTo>
                  <a:pt x="2026" y="783"/>
                  <a:pt x="2026" y="783"/>
                  <a:pt x="2026" y="783"/>
                </a:cubicBezTo>
                <a:cubicBezTo>
                  <a:pt x="2024" y="783"/>
                  <a:pt x="2024" y="783"/>
                  <a:pt x="2024" y="783"/>
                </a:cubicBezTo>
                <a:cubicBezTo>
                  <a:pt x="2024" y="779"/>
                  <a:pt x="2024" y="779"/>
                  <a:pt x="2024" y="779"/>
                </a:cubicBezTo>
                <a:cubicBezTo>
                  <a:pt x="2023" y="780"/>
                  <a:pt x="2023" y="780"/>
                  <a:pt x="2023" y="780"/>
                </a:cubicBezTo>
                <a:cubicBezTo>
                  <a:pt x="2022" y="779"/>
                  <a:pt x="2022" y="779"/>
                  <a:pt x="2022" y="779"/>
                </a:cubicBezTo>
                <a:cubicBezTo>
                  <a:pt x="2022" y="779"/>
                  <a:pt x="2022" y="779"/>
                  <a:pt x="2022" y="779"/>
                </a:cubicBezTo>
                <a:cubicBezTo>
                  <a:pt x="2021" y="778"/>
                  <a:pt x="2021" y="778"/>
                  <a:pt x="2021" y="778"/>
                </a:cubicBezTo>
                <a:cubicBezTo>
                  <a:pt x="2021" y="777"/>
                  <a:pt x="2021" y="777"/>
                  <a:pt x="2021" y="777"/>
                </a:cubicBezTo>
                <a:cubicBezTo>
                  <a:pt x="2022" y="776"/>
                  <a:pt x="2022" y="776"/>
                  <a:pt x="2022" y="776"/>
                </a:cubicBezTo>
                <a:cubicBezTo>
                  <a:pt x="2020" y="776"/>
                  <a:pt x="2020" y="776"/>
                  <a:pt x="2020" y="776"/>
                </a:cubicBezTo>
                <a:cubicBezTo>
                  <a:pt x="2020" y="775"/>
                  <a:pt x="2020" y="775"/>
                  <a:pt x="2020" y="775"/>
                </a:cubicBezTo>
                <a:cubicBezTo>
                  <a:pt x="2020" y="775"/>
                  <a:pt x="2020" y="775"/>
                  <a:pt x="2020" y="775"/>
                </a:cubicBezTo>
                <a:cubicBezTo>
                  <a:pt x="2021" y="775"/>
                  <a:pt x="2021" y="775"/>
                  <a:pt x="2021" y="775"/>
                </a:cubicBezTo>
                <a:cubicBezTo>
                  <a:pt x="2022" y="770"/>
                  <a:pt x="2022" y="770"/>
                  <a:pt x="2022" y="770"/>
                </a:cubicBezTo>
                <a:cubicBezTo>
                  <a:pt x="2020" y="768"/>
                  <a:pt x="2020" y="768"/>
                  <a:pt x="2020" y="768"/>
                </a:cubicBezTo>
                <a:cubicBezTo>
                  <a:pt x="2020" y="768"/>
                  <a:pt x="2020" y="768"/>
                  <a:pt x="2020" y="768"/>
                </a:cubicBezTo>
                <a:cubicBezTo>
                  <a:pt x="2019" y="765"/>
                  <a:pt x="2019" y="765"/>
                  <a:pt x="2019" y="765"/>
                </a:cubicBezTo>
                <a:cubicBezTo>
                  <a:pt x="2020" y="765"/>
                  <a:pt x="2020" y="765"/>
                  <a:pt x="2020" y="765"/>
                </a:cubicBezTo>
                <a:cubicBezTo>
                  <a:pt x="2021" y="761"/>
                  <a:pt x="2021" y="761"/>
                  <a:pt x="2021" y="761"/>
                </a:cubicBezTo>
                <a:cubicBezTo>
                  <a:pt x="2020" y="761"/>
                  <a:pt x="2020" y="761"/>
                  <a:pt x="2020" y="761"/>
                </a:cubicBezTo>
                <a:cubicBezTo>
                  <a:pt x="2019" y="761"/>
                  <a:pt x="2019" y="761"/>
                  <a:pt x="2019" y="761"/>
                </a:cubicBezTo>
                <a:cubicBezTo>
                  <a:pt x="2019" y="759"/>
                  <a:pt x="2019" y="759"/>
                  <a:pt x="2019" y="759"/>
                </a:cubicBezTo>
                <a:cubicBezTo>
                  <a:pt x="2017" y="758"/>
                  <a:pt x="2017" y="758"/>
                  <a:pt x="2017" y="758"/>
                </a:cubicBezTo>
                <a:cubicBezTo>
                  <a:pt x="2017" y="758"/>
                  <a:pt x="2017" y="758"/>
                  <a:pt x="2017" y="758"/>
                </a:cubicBezTo>
                <a:cubicBezTo>
                  <a:pt x="2016" y="759"/>
                  <a:pt x="2016" y="759"/>
                  <a:pt x="2016" y="759"/>
                </a:cubicBezTo>
                <a:cubicBezTo>
                  <a:pt x="2016" y="759"/>
                  <a:pt x="2016" y="759"/>
                  <a:pt x="2016" y="759"/>
                </a:cubicBezTo>
                <a:cubicBezTo>
                  <a:pt x="2016" y="760"/>
                  <a:pt x="2016" y="760"/>
                  <a:pt x="2016" y="760"/>
                </a:cubicBezTo>
                <a:cubicBezTo>
                  <a:pt x="2015" y="760"/>
                  <a:pt x="2015" y="760"/>
                  <a:pt x="2015" y="760"/>
                </a:cubicBezTo>
                <a:cubicBezTo>
                  <a:pt x="2015" y="762"/>
                  <a:pt x="2015" y="762"/>
                  <a:pt x="2015" y="762"/>
                </a:cubicBezTo>
                <a:cubicBezTo>
                  <a:pt x="2015" y="762"/>
                  <a:pt x="2015" y="762"/>
                  <a:pt x="2015" y="762"/>
                </a:cubicBezTo>
                <a:cubicBezTo>
                  <a:pt x="2015" y="765"/>
                  <a:pt x="2015" y="765"/>
                  <a:pt x="2015" y="765"/>
                </a:cubicBezTo>
                <a:cubicBezTo>
                  <a:pt x="2015" y="765"/>
                  <a:pt x="2015" y="765"/>
                  <a:pt x="2015" y="765"/>
                </a:cubicBezTo>
                <a:cubicBezTo>
                  <a:pt x="2014" y="765"/>
                  <a:pt x="2014" y="765"/>
                  <a:pt x="2014" y="765"/>
                </a:cubicBezTo>
                <a:cubicBezTo>
                  <a:pt x="2014" y="768"/>
                  <a:pt x="2014" y="768"/>
                  <a:pt x="2014" y="768"/>
                </a:cubicBezTo>
                <a:cubicBezTo>
                  <a:pt x="2014" y="769"/>
                  <a:pt x="2014" y="769"/>
                  <a:pt x="2014" y="769"/>
                </a:cubicBezTo>
                <a:cubicBezTo>
                  <a:pt x="2015" y="770"/>
                  <a:pt x="2015" y="770"/>
                  <a:pt x="2015" y="770"/>
                </a:cubicBezTo>
                <a:cubicBezTo>
                  <a:pt x="2015" y="772"/>
                  <a:pt x="2015" y="772"/>
                  <a:pt x="2015" y="772"/>
                </a:cubicBezTo>
                <a:cubicBezTo>
                  <a:pt x="2014" y="772"/>
                  <a:pt x="2014" y="772"/>
                  <a:pt x="2014" y="772"/>
                </a:cubicBezTo>
                <a:cubicBezTo>
                  <a:pt x="2014" y="773"/>
                  <a:pt x="2014" y="773"/>
                  <a:pt x="2014" y="773"/>
                </a:cubicBezTo>
                <a:cubicBezTo>
                  <a:pt x="2012" y="770"/>
                  <a:pt x="2012" y="770"/>
                  <a:pt x="2012" y="770"/>
                </a:cubicBezTo>
                <a:cubicBezTo>
                  <a:pt x="2012" y="768"/>
                  <a:pt x="2012" y="768"/>
                  <a:pt x="2012" y="768"/>
                </a:cubicBezTo>
                <a:cubicBezTo>
                  <a:pt x="2006" y="761"/>
                  <a:pt x="2006" y="761"/>
                  <a:pt x="2006" y="761"/>
                </a:cubicBezTo>
                <a:cubicBezTo>
                  <a:pt x="2005" y="759"/>
                  <a:pt x="2005" y="759"/>
                  <a:pt x="2005" y="759"/>
                </a:cubicBezTo>
                <a:cubicBezTo>
                  <a:pt x="2006" y="759"/>
                  <a:pt x="2006" y="759"/>
                  <a:pt x="2006" y="759"/>
                </a:cubicBezTo>
                <a:cubicBezTo>
                  <a:pt x="2006" y="758"/>
                  <a:pt x="2006" y="758"/>
                  <a:pt x="2006" y="758"/>
                </a:cubicBezTo>
                <a:cubicBezTo>
                  <a:pt x="2004" y="753"/>
                  <a:pt x="2004" y="753"/>
                  <a:pt x="2004" y="753"/>
                </a:cubicBezTo>
                <a:cubicBezTo>
                  <a:pt x="2004" y="752"/>
                  <a:pt x="2004" y="752"/>
                  <a:pt x="2004" y="752"/>
                </a:cubicBezTo>
                <a:cubicBezTo>
                  <a:pt x="2003" y="750"/>
                  <a:pt x="2003" y="750"/>
                  <a:pt x="2003" y="750"/>
                </a:cubicBezTo>
                <a:cubicBezTo>
                  <a:pt x="2002" y="750"/>
                  <a:pt x="2002" y="750"/>
                  <a:pt x="2002" y="750"/>
                </a:cubicBezTo>
                <a:cubicBezTo>
                  <a:pt x="1999" y="745"/>
                  <a:pt x="1999" y="745"/>
                  <a:pt x="1999" y="745"/>
                </a:cubicBezTo>
                <a:cubicBezTo>
                  <a:pt x="1998" y="745"/>
                  <a:pt x="1998" y="745"/>
                  <a:pt x="1998" y="745"/>
                </a:cubicBezTo>
                <a:cubicBezTo>
                  <a:pt x="1996" y="744"/>
                  <a:pt x="1996" y="744"/>
                  <a:pt x="1996" y="744"/>
                </a:cubicBezTo>
                <a:cubicBezTo>
                  <a:pt x="1996" y="743"/>
                  <a:pt x="1996" y="743"/>
                  <a:pt x="1996" y="743"/>
                </a:cubicBezTo>
                <a:cubicBezTo>
                  <a:pt x="1997" y="743"/>
                  <a:pt x="1997" y="743"/>
                  <a:pt x="1997" y="743"/>
                </a:cubicBezTo>
                <a:cubicBezTo>
                  <a:pt x="1998" y="743"/>
                  <a:pt x="1998" y="743"/>
                  <a:pt x="1998" y="743"/>
                </a:cubicBezTo>
                <a:cubicBezTo>
                  <a:pt x="1997" y="742"/>
                  <a:pt x="1997" y="742"/>
                  <a:pt x="1997" y="742"/>
                </a:cubicBezTo>
                <a:cubicBezTo>
                  <a:pt x="1995" y="742"/>
                  <a:pt x="1995" y="742"/>
                  <a:pt x="1995" y="742"/>
                </a:cubicBezTo>
                <a:cubicBezTo>
                  <a:pt x="1992" y="741"/>
                  <a:pt x="1992" y="741"/>
                  <a:pt x="1992" y="741"/>
                </a:cubicBezTo>
                <a:cubicBezTo>
                  <a:pt x="1990" y="736"/>
                  <a:pt x="1990" y="736"/>
                  <a:pt x="1990" y="736"/>
                </a:cubicBezTo>
                <a:cubicBezTo>
                  <a:pt x="1989" y="733"/>
                  <a:pt x="1989" y="733"/>
                  <a:pt x="1989" y="733"/>
                </a:cubicBezTo>
                <a:cubicBezTo>
                  <a:pt x="1988" y="733"/>
                  <a:pt x="1988" y="733"/>
                  <a:pt x="1988" y="733"/>
                </a:cubicBezTo>
                <a:cubicBezTo>
                  <a:pt x="1988" y="731"/>
                  <a:pt x="1988" y="731"/>
                  <a:pt x="1988" y="731"/>
                </a:cubicBezTo>
                <a:cubicBezTo>
                  <a:pt x="1987" y="731"/>
                  <a:pt x="1987" y="731"/>
                  <a:pt x="1987" y="731"/>
                </a:cubicBezTo>
                <a:cubicBezTo>
                  <a:pt x="1986" y="730"/>
                  <a:pt x="1986" y="730"/>
                  <a:pt x="1986" y="730"/>
                </a:cubicBezTo>
                <a:cubicBezTo>
                  <a:pt x="1985" y="729"/>
                  <a:pt x="1985" y="729"/>
                  <a:pt x="1985" y="729"/>
                </a:cubicBezTo>
                <a:cubicBezTo>
                  <a:pt x="1985" y="729"/>
                  <a:pt x="1985" y="729"/>
                  <a:pt x="1985" y="729"/>
                </a:cubicBezTo>
                <a:cubicBezTo>
                  <a:pt x="1986" y="729"/>
                  <a:pt x="1986" y="729"/>
                  <a:pt x="1986" y="729"/>
                </a:cubicBezTo>
                <a:cubicBezTo>
                  <a:pt x="1985" y="728"/>
                  <a:pt x="1985" y="728"/>
                  <a:pt x="1985" y="728"/>
                </a:cubicBezTo>
                <a:cubicBezTo>
                  <a:pt x="1985" y="726"/>
                  <a:pt x="1985" y="726"/>
                  <a:pt x="1985" y="726"/>
                </a:cubicBezTo>
                <a:cubicBezTo>
                  <a:pt x="1984" y="724"/>
                  <a:pt x="1984" y="724"/>
                  <a:pt x="1984" y="724"/>
                </a:cubicBezTo>
                <a:cubicBezTo>
                  <a:pt x="1983" y="725"/>
                  <a:pt x="1983" y="725"/>
                  <a:pt x="1983" y="725"/>
                </a:cubicBezTo>
                <a:cubicBezTo>
                  <a:pt x="1979" y="723"/>
                  <a:pt x="1979" y="723"/>
                  <a:pt x="1979" y="723"/>
                </a:cubicBezTo>
                <a:cubicBezTo>
                  <a:pt x="1985" y="722"/>
                  <a:pt x="1985" y="722"/>
                  <a:pt x="1985" y="722"/>
                </a:cubicBezTo>
                <a:cubicBezTo>
                  <a:pt x="1984" y="717"/>
                  <a:pt x="1984" y="717"/>
                  <a:pt x="1984" y="717"/>
                </a:cubicBezTo>
                <a:cubicBezTo>
                  <a:pt x="1985" y="716"/>
                  <a:pt x="1985" y="716"/>
                  <a:pt x="1985" y="716"/>
                </a:cubicBezTo>
                <a:cubicBezTo>
                  <a:pt x="1986" y="714"/>
                  <a:pt x="1986" y="714"/>
                  <a:pt x="1986" y="714"/>
                </a:cubicBezTo>
                <a:cubicBezTo>
                  <a:pt x="1987" y="714"/>
                  <a:pt x="1987" y="714"/>
                  <a:pt x="1987" y="714"/>
                </a:cubicBezTo>
                <a:cubicBezTo>
                  <a:pt x="1988" y="713"/>
                  <a:pt x="1988" y="713"/>
                  <a:pt x="1988" y="713"/>
                </a:cubicBezTo>
                <a:cubicBezTo>
                  <a:pt x="1988" y="714"/>
                  <a:pt x="1988" y="714"/>
                  <a:pt x="1988" y="714"/>
                </a:cubicBezTo>
                <a:cubicBezTo>
                  <a:pt x="1989" y="716"/>
                  <a:pt x="1989" y="716"/>
                  <a:pt x="1989" y="716"/>
                </a:cubicBezTo>
                <a:cubicBezTo>
                  <a:pt x="1990" y="716"/>
                  <a:pt x="1990" y="716"/>
                  <a:pt x="1990" y="716"/>
                </a:cubicBezTo>
                <a:cubicBezTo>
                  <a:pt x="1991" y="715"/>
                  <a:pt x="1991" y="715"/>
                  <a:pt x="1991" y="715"/>
                </a:cubicBezTo>
                <a:cubicBezTo>
                  <a:pt x="1991" y="713"/>
                  <a:pt x="1991" y="713"/>
                  <a:pt x="1991" y="713"/>
                </a:cubicBezTo>
                <a:cubicBezTo>
                  <a:pt x="1990" y="712"/>
                  <a:pt x="1990" y="712"/>
                  <a:pt x="1990" y="712"/>
                </a:cubicBezTo>
                <a:cubicBezTo>
                  <a:pt x="1991" y="712"/>
                  <a:pt x="1991" y="712"/>
                  <a:pt x="1991" y="712"/>
                </a:cubicBezTo>
                <a:cubicBezTo>
                  <a:pt x="1993" y="712"/>
                  <a:pt x="1993" y="712"/>
                  <a:pt x="1993" y="712"/>
                </a:cubicBezTo>
                <a:cubicBezTo>
                  <a:pt x="1993" y="711"/>
                  <a:pt x="1993" y="711"/>
                  <a:pt x="1993" y="711"/>
                </a:cubicBezTo>
                <a:cubicBezTo>
                  <a:pt x="1993" y="712"/>
                  <a:pt x="1993" y="712"/>
                  <a:pt x="1993" y="712"/>
                </a:cubicBezTo>
                <a:cubicBezTo>
                  <a:pt x="1992" y="713"/>
                  <a:pt x="1992" y="713"/>
                  <a:pt x="1992" y="713"/>
                </a:cubicBezTo>
                <a:cubicBezTo>
                  <a:pt x="1995" y="715"/>
                  <a:pt x="1995" y="715"/>
                  <a:pt x="1995" y="715"/>
                </a:cubicBezTo>
                <a:cubicBezTo>
                  <a:pt x="1996" y="714"/>
                  <a:pt x="1996" y="714"/>
                  <a:pt x="1996" y="714"/>
                </a:cubicBezTo>
                <a:cubicBezTo>
                  <a:pt x="1997" y="716"/>
                  <a:pt x="1997" y="716"/>
                  <a:pt x="1997" y="716"/>
                </a:cubicBezTo>
                <a:cubicBezTo>
                  <a:pt x="1998" y="716"/>
                  <a:pt x="1998" y="716"/>
                  <a:pt x="1998" y="716"/>
                </a:cubicBezTo>
                <a:cubicBezTo>
                  <a:pt x="2001" y="713"/>
                  <a:pt x="2001" y="713"/>
                  <a:pt x="2001" y="713"/>
                </a:cubicBezTo>
                <a:cubicBezTo>
                  <a:pt x="2002" y="714"/>
                  <a:pt x="2002" y="714"/>
                  <a:pt x="2002" y="714"/>
                </a:cubicBezTo>
                <a:cubicBezTo>
                  <a:pt x="2004" y="717"/>
                  <a:pt x="2004" y="717"/>
                  <a:pt x="2004" y="717"/>
                </a:cubicBezTo>
                <a:cubicBezTo>
                  <a:pt x="2004" y="719"/>
                  <a:pt x="2004" y="719"/>
                  <a:pt x="2004" y="719"/>
                </a:cubicBezTo>
                <a:cubicBezTo>
                  <a:pt x="2008" y="723"/>
                  <a:pt x="2008" y="723"/>
                  <a:pt x="2008" y="723"/>
                </a:cubicBezTo>
                <a:cubicBezTo>
                  <a:pt x="2008" y="726"/>
                  <a:pt x="2008" y="726"/>
                  <a:pt x="2008" y="726"/>
                </a:cubicBezTo>
                <a:cubicBezTo>
                  <a:pt x="2009" y="727"/>
                  <a:pt x="2009" y="727"/>
                  <a:pt x="2009" y="727"/>
                </a:cubicBezTo>
                <a:cubicBezTo>
                  <a:pt x="2011" y="727"/>
                  <a:pt x="2011" y="727"/>
                  <a:pt x="2011" y="727"/>
                </a:cubicBezTo>
                <a:cubicBezTo>
                  <a:pt x="2012" y="729"/>
                  <a:pt x="2012" y="729"/>
                  <a:pt x="2012" y="729"/>
                </a:cubicBezTo>
                <a:cubicBezTo>
                  <a:pt x="2011" y="729"/>
                  <a:pt x="2011" y="729"/>
                  <a:pt x="2011" y="729"/>
                </a:cubicBezTo>
                <a:cubicBezTo>
                  <a:pt x="2010" y="728"/>
                  <a:pt x="2010" y="728"/>
                  <a:pt x="2010" y="728"/>
                </a:cubicBezTo>
                <a:cubicBezTo>
                  <a:pt x="2010" y="729"/>
                  <a:pt x="2010" y="729"/>
                  <a:pt x="2010" y="729"/>
                </a:cubicBezTo>
                <a:cubicBezTo>
                  <a:pt x="2012" y="730"/>
                  <a:pt x="2012" y="730"/>
                  <a:pt x="2012" y="730"/>
                </a:cubicBezTo>
                <a:cubicBezTo>
                  <a:pt x="2013" y="730"/>
                  <a:pt x="2013" y="730"/>
                  <a:pt x="2013" y="730"/>
                </a:cubicBezTo>
                <a:cubicBezTo>
                  <a:pt x="2013" y="732"/>
                  <a:pt x="2013" y="732"/>
                  <a:pt x="2013" y="732"/>
                </a:cubicBezTo>
                <a:cubicBezTo>
                  <a:pt x="2016" y="738"/>
                  <a:pt x="2016" y="738"/>
                  <a:pt x="2016" y="738"/>
                </a:cubicBezTo>
                <a:cubicBezTo>
                  <a:pt x="2018" y="740"/>
                  <a:pt x="2018" y="740"/>
                  <a:pt x="2018" y="740"/>
                </a:cubicBezTo>
                <a:cubicBezTo>
                  <a:pt x="2022" y="739"/>
                  <a:pt x="2022" y="739"/>
                  <a:pt x="2022" y="739"/>
                </a:cubicBezTo>
                <a:cubicBezTo>
                  <a:pt x="2024" y="740"/>
                  <a:pt x="2024" y="740"/>
                  <a:pt x="2024" y="740"/>
                </a:cubicBezTo>
                <a:cubicBezTo>
                  <a:pt x="2026" y="741"/>
                  <a:pt x="2026" y="741"/>
                  <a:pt x="2026" y="741"/>
                </a:cubicBezTo>
                <a:cubicBezTo>
                  <a:pt x="2029" y="741"/>
                  <a:pt x="2029" y="741"/>
                  <a:pt x="2029" y="741"/>
                </a:cubicBezTo>
                <a:cubicBezTo>
                  <a:pt x="2029" y="742"/>
                  <a:pt x="2029" y="742"/>
                  <a:pt x="2029" y="742"/>
                </a:cubicBezTo>
                <a:cubicBezTo>
                  <a:pt x="2031" y="742"/>
                  <a:pt x="2031" y="742"/>
                  <a:pt x="2031" y="742"/>
                </a:cubicBezTo>
                <a:cubicBezTo>
                  <a:pt x="2031" y="743"/>
                  <a:pt x="2031" y="743"/>
                  <a:pt x="2031" y="743"/>
                </a:cubicBezTo>
                <a:cubicBezTo>
                  <a:pt x="2030" y="744"/>
                  <a:pt x="2030" y="744"/>
                  <a:pt x="2030" y="744"/>
                </a:cubicBezTo>
                <a:cubicBezTo>
                  <a:pt x="2033" y="747"/>
                  <a:pt x="2033" y="747"/>
                  <a:pt x="2033" y="747"/>
                </a:cubicBezTo>
                <a:cubicBezTo>
                  <a:pt x="2036" y="748"/>
                  <a:pt x="2036" y="748"/>
                  <a:pt x="2036" y="748"/>
                </a:cubicBezTo>
                <a:cubicBezTo>
                  <a:pt x="2037" y="749"/>
                  <a:pt x="2037" y="749"/>
                  <a:pt x="2037" y="749"/>
                </a:cubicBezTo>
                <a:cubicBezTo>
                  <a:pt x="2039" y="749"/>
                  <a:pt x="2039" y="749"/>
                  <a:pt x="2039" y="749"/>
                </a:cubicBezTo>
                <a:cubicBezTo>
                  <a:pt x="2042" y="752"/>
                  <a:pt x="2042" y="752"/>
                  <a:pt x="2042" y="752"/>
                </a:cubicBezTo>
                <a:cubicBezTo>
                  <a:pt x="2043" y="752"/>
                  <a:pt x="2043" y="752"/>
                  <a:pt x="2043" y="752"/>
                </a:cubicBezTo>
                <a:cubicBezTo>
                  <a:pt x="2046" y="751"/>
                  <a:pt x="2046" y="751"/>
                  <a:pt x="2046" y="751"/>
                </a:cubicBezTo>
                <a:cubicBezTo>
                  <a:pt x="2049" y="752"/>
                  <a:pt x="2049" y="752"/>
                  <a:pt x="2049" y="752"/>
                </a:cubicBezTo>
                <a:cubicBezTo>
                  <a:pt x="2053" y="755"/>
                  <a:pt x="2053" y="755"/>
                  <a:pt x="2053" y="755"/>
                </a:cubicBezTo>
                <a:cubicBezTo>
                  <a:pt x="2057" y="752"/>
                  <a:pt x="2057" y="752"/>
                  <a:pt x="2057" y="752"/>
                </a:cubicBezTo>
                <a:cubicBezTo>
                  <a:pt x="2061" y="749"/>
                  <a:pt x="2061" y="749"/>
                  <a:pt x="2061" y="749"/>
                </a:cubicBezTo>
                <a:cubicBezTo>
                  <a:pt x="2061" y="748"/>
                  <a:pt x="2061" y="748"/>
                  <a:pt x="2061" y="748"/>
                </a:cubicBezTo>
                <a:cubicBezTo>
                  <a:pt x="2061" y="749"/>
                  <a:pt x="2061" y="749"/>
                  <a:pt x="2061" y="749"/>
                </a:cubicBezTo>
                <a:cubicBezTo>
                  <a:pt x="2063" y="749"/>
                  <a:pt x="2063" y="749"/>
                  <a:pt x="2063" y="749"/>
                </a:cubicBezTo>
                <a:cubicBezTo>
                  <a:pt x="2066" y="747"/>
                  <a:pt x="2066" y="747"/>
                  <a:pt x="2066" y="747"/>
                </a:cubicBezTo>
                <a:cubicBezTo>
                  <a:pt x="2068" y="746"/>
                  <a:pt x="2068" y="746"/>
                  <a:pt x="2068" y="746"/>
                </a:cubicBezTo>
                <a:cubicBezTo>
                  <a:pt x="2071" y="747"/>
                  <a:pt x="2071" y="747"/>
                  <a:pt x="2071" y="747"/>
                </a:cubicBezTo>
                <a:cubicBezTo>
                  <a:pt x="2071" y="748"/>
                  <a:pt x="2071" y="748"/>
                  <a:pt x="2071" y="748"/>
                </a:cubicBezTo>
                <a:cubicBezTo>
                  <a:pt x="2072" y="748"/>
                  <a:pt x="2072" y="748"/>
                  <a:pt x="2072" y="748"/>
                </a:cubicBezTo>
                <a:cubicBezTo>
                  <a:pt x="2073" y="749"/>
                  <a:pt x="2073" y="749"/>
                  <a:pt x="2073" y="749"/>
                </a:cubicBezTo>
                <a:cubicBezTo>
                  <a:pt x="2074" y="751"/>
                  <a:pt x="2074" y="751"/>
                  <a:pt x="2074" y="751"/>
                </a:cubicBezTo>
                <a:cubicBezTo>
                  <a:pt x="2076" y="755"/>
                  <a:pt x="2076" y="755"/>
                  <a:pt x="2076" y="755"/>
                </a:cubicBezTo>
                <a:cubicBezTo>
                  <a:pt x="2078" y="759"/>
                  <a:pt x="2078" y="759"/>
                  <a:pt x="2078" y="759"/>
                </a:cubicBezTo>
                <a:cubicBezTo>
                  <a:pt x="2078" y="761"/>
                  <a:pt x="2078" y="761"/>
                  <a:pt x="2078" y="761"/>
                </a:cubicBezTo>
                <a:cubicBezTo>
                  <a:pt x="2079" y="762"/>
                  <a:pt x="2079" y="762"/>
                  <a:pt x="2079" y="762"/>
                </a:cubicBezTo>
                <a:cubicBezTo>
                  <a:pt x="2079" y="763"/>
                  <a:pt x="2079" y="763"/>
                  <a:pt x="2079" y="763"/>
                </a:cubicBezTo>
                <a:cubicBezTo>
                  <a:pt x="2085" y="763"/>
                  <a:pt x="2085" y="763"/>
                  <a:pt x="2085" y="763"/>
                </a:cubicBezTo>
                <a:cubicBezTo>
                  <a:pt x="2087" y="763"/>
                  <a:pt x="2087" y="763"/>
                  <a:pt x="2087" y="763"/>
                </a:cubicBezTo>
                <a:cubicBezTo>
                  <a:pt x="2089" y="765"/>
                  <a:pt x="2089" y="765"/>
                  <a:pt x="2089" y="765"/>
                </a:cubicBezTo>
                <a:cubicBezTo>
                  <a:pt x="2091" y="763"/>
                  <a:pt x="2091" y="763"/>
                  <a:pt x="2091" y="763"/>
                </a:cubicBezTo>
                <a:cubicBezTo>
                  <a:pt x="2092" y="763"/>
                  <a:pt x="2092" y="763"/>
                  <a:pt x="2092" y="763"/>
                </a:cubicBezTo>
                <a:cubicBezTo>
                  <a:pt x="2095" y="765"/>
                  <a:pt x="2095" y="765"/>
                  <a:pt x="2095" y="765"/>
                </a:cubicBezTo>
                <a:cubicBezTo>
                  <a:pt x="2100" y="765"/>
                  <a:pt x="2100" y="765"/>
                  <a:pt x="2100" y="765"/>
                </a:cubicBezTo>
                <a:cubicBezTo>
                  <a:pt x="2103" y="766"/>
                  <a:pt x="2103" y="766"/>
                  <a:pt x="2103" y="766"/>
                </a:cubicBezTo>
                <a:cubicBezTo>
                  <a:pt x="2108" y="766"/>
                  <a:pt x="2108" y="766"/>
                  <a:pt x="2108" y="766"/>
                </a:cubicBezTo>
                <a:cubicBezTo>
                  <a:pt x="2110" y="767"/>
                  <a:pt x="2110" y="767"/>
                  <a:pt x="2110" y="767"/>
                </a:cubicBezTo>
                <a:cubicBezTo>
                  <a:pt x="2110" y="767"/>
                  <a:pt x="2110" y="767"/>
                  <a:pt x="2110" y="767"/>
                </a:cubicBezTo>
                <a:cubicBezTo>
                  <a:pt x="2112" y="768"/>
                  <a:pt x="2112" y="768"/>
                  <a:pt x="2112" y="768"/>
                </a:cubicBezTo>
                <a:cubicBezTo>
                  <a:pt x="2112" y="768"/>
                  <a:pt x="2112" y="768"/>
                  <a:pt x="2112" y="768"/>
                </a:cubicBezTo>
                <a:cubicBezTo>
                  <a:pt x="2113" y="766"/>
                  <a:pt x="2113" y="766"/>
                  <a:pt x="2113" y="766"/>
                </a:cubicBezTo>
                <a:cubicBezTo>
                  <a:pt x="2114" y="766"/>
                  <a:pt x="2114" y="766"/>
                  <a:pt x="2114" y="766"/>
                </a:cubicBezTo>
                <a:cubicBezTo>
                  <a:pt x="2115" y="767"/>
                  <a:pt x="2115" y="767"/>
                  <a:pt x="2115" y="767"/>
                </a:cubicBezTo>
                <a:cubicBezTo>
                  <a:pt x="2118" y="768"/>
                  <a:pt x="2118" y="768"/>
                  <a:pt x="2118" y="768"/>
                </a:cubicBezTo>
                <a:cubicBezTo>
                  <a:pt x="2121" y="770"/>
                  <a:pt x="2121" y="770"/>
                  <a:pt x="2121" y="770"/>
                </a:cubicBezTo>
                <a:cubicBezTo>
                  <a:pt x="2123" y="769"/>
                  <a:pt x="2123" y="769"/>
                  <a:pt x="2123" y="769"/>
                </a:cubicBezTo>
                <a:cubicBezTo>
                  <a:pt x="2123" y="768"/>
                  <a:pt x="2123" y="768"/>
                  <a:pt x="2123" y="768"/>
                </a:cubicBezTo>
                <a:cubicBezTo>
                  <a:pt x="2125" y="768"/>
                  <a:pt x="2125" y="768"/>
                  <a:pt x="2125" y="768"/>
                </a:cubicBezTo>
                <a:cubicBezTo>
                  <a:pt x="2125" y="769"/>
                  <a:pt x="2125" y="769"/>
                  <a:pt x="2125" y="769"/>
                </a:cubicBezTo>
                <a:cubicBezTo>
                  <a:pt x="2126" y="770"/>
                  <a:pt x="2126" y="770"/>
                  <a:pt x="2126" y="770"/>
                </a:cubicBezTo>
                <a:cubicBezTo>
                  <a:pt x="2129" y="768"/>
                  <a:pt x="2129" y="768"/>
                  <a:pt x="2129" y="768"/>
                </a:cubicBezTo>
                <a:cubicBezTo>
                  <a:pt x="2131" y="768"/>
                  <a:pt x="2131" y="768"/>
                  <a:pt x="2131" y="768"/>
                </a:cubicBezTo>
                <a:cubicBezTo>
                  <a:pt x="2131" y="769"/>
                  <a:pt x="2131" y="769"/>
                  <a:pt x="2131" y="769"/>
                </a:cubicBezTo>
                <a:cubicBezTo>
                  <a:pt x="2132" y="768"/>
                  <a:pt x="2132" y="768"/>
                  <a:pt x="2132" y="768"/>
                </a:cubicBezTo>
                <a:cubicBezTo>
                  <a:pt x="2133" y="767"/>
                  <a:pt x="2133" y="767"/>
                  <a:pt x="2133" y="767"/>
                </a:cubicBezTo>
                <a:cubicBezTo>
                  <a:pt x="2136" y="767"/>
                  <a:pt x="2136" y="767"/>
                  <a:pt x="2136" y="767"/>
                </a:cubicBezTo>
                <a:cubicBezTo>
                  <a:pt x="2137" y="768"/>
                  <a:pt x="2137" y="768"/>
                  <a:pt x="2137" y="768"/>
                </a:cubicBezTo>
                <a:cubicBezTo>
                  <a:pt x="2138" y="767"/>
                  <a:pt x="2138" y="767"/>
                  <a:pt x="2138" y="767"/>
                </a:cubicBezTo>
                <a:cubicBezTo>
                  <a:pt x="2140" y="767"/>
                  <a:pt x="2140" y="767"/>
                  <a:pt x="2140" y="767"/>
                </a:cubicBezTo>
                <a:cubicBezTo>
                  <a:pt x="2141" y="767"/>
                  <a:pt x="2141" y="767"/>
                  <a:pt x="2141" y="767"/>
                </a:cubicBezTo>
                <a:cubicBezTo>
                  <a:pt x="2141" y="766"/>
                  <a:pt x="2141" y="766"/>
                  <a:pt x="2141" y="766"/>
                </a:cubicBezTo>
                <a:cubicBezTo>
                  <a:pt x="2142" y="765"/>
                  <a:pt x="2142" y="765"/>
                  <a:pt x="2142" y="765"/>
                </a:cubicBezTo>
                <a:cubicBezTo>
                  <a:pt x="2144" y="767"/>
                  <a:pt x="2144" y="767"/>
                  <a:pt x="2144" y="767"/>
                </a:cubicBezTo>
                <a:cubicBezTo>
                  <a:pt x="2145" y="767"/>
                  <a:pt x="2145" y="767"/>
                  <a:pt x="2145" y="767"/>
                </a:cubicBezTo>
                <a:cubicBezTo>
                  <a:pt x="2145" y="766"/>
                  <a:pt x="2145" y="766"/>
                  <a:pt x="2145" y="766"/>
                </a:cubicBezTo>
                <a:cubicBezTo>
                  <a:pt x="2146" y="766"/>
                  <a:pt x="2146" y="766"/>
                  <a:pt x="2146" y="766"/>
                </a:cubicBezTo>
                <a:cubicBezTo>
                  <a:pt x="2147" y="767"/>
                  <a:pt x="2147" y="767"/>
                  <a:pt x="2147" y="767"/>
                </a:cubicBezTo>
                <a:cubicBezTo>
                  <a:pt x="2149" y="767"/>
                  <a:pt x="2149" y="767"/>
                  <a:pt x="2149" y="767"/>
                </a:cubicBezTo>
                <a:cubicBezTo>
                  <a:pt x="2150" y="768"/>
                  <a:pt x="2150" y="768"/>
                  <a:pt x="2150" y="768"/>
                </a:cubicBezTo>
                <a:cubicBezTo>
                  <a:pt x="2152" y="768"/>
                  <a:pt x="2152" y="768"/>
                  <a:pt x="2152" y="768"/>
                </a:cubicBezTo>
                <a:cubicBezTo>
                  <a:pt x="2154" y="766"/>
                  <a:pt x="2154" y="766"/>
                  <a:pt x="2154" y="766"/>
                </a:cubicBezTo>
                <a:cubicBezTo>
                  <a:pt x="2157" y="766"/>
                  <a:pt x="2157" y="766"/>
                  <a:pt x="2157" y="766"/>
                </a:cubicBezTo>
                <a:cubicBezTo>
                  <a:pt x="2158" y="766"/>
                  <a:pt x="2158" y="766"/>
                  <a:pt x="2158" y="766"/>
                </a:cubicBezTo>
                <a:cubicBezTo>
                  <a:pt x="2160" y="765"/>
                  <a:pt x="2160" y="765"/>
                  <a:pt x="2160" y="765"/>
                </a:cubicBezTo>
                <a:cubicBezTo>
                  <a:pt x="2161" y="765"/>
                  <a:pt x="2161" y="765"/>
                  <a:pt x="2161" y="765"/>
                </a:cubicBezTo>
                <a:cubicBezTo>
                  <a:pt x="2162" y="765"/>
                  <a:pt x="2162" y="765"/>
                  <a:pt x="2162" y="765"/>
                </a:cubicBezTo>
                <a:cubicBezTo>
                  <a:pt x="2162" y="765"/>
                  <a:pt x="2162" y="765"/>
                  <a:pt x="2162" y="765"/>
                </a:cubicBezTo>
                <a:cubicBezTo>
                  <a:pt x="2165" y="766"/>
                  <a:pt x="2165" y="766"/>
                  <a:pt x="2165" y="766"/>
                </a:cubicBezTo>
                <a:cubicBezTo>
                  <a:pt x="2168" y="765"/>
                  <a:pt x="2168" y="765"/>
                  <a:pt x="2168" y="765"/>
                </a:cubicBezTo>
                <a:cubicBezTo>
                  <a:pt x="2171" y="765"/>
                  <a:pt x="2171" y="765"/>
                  <a:pt x="2171" y="765"/>
                </a:cubicBezTo>
                <a:cubicBezTo>
                  <a:pt x="2173" y="766"/>
                  <a:pt x="2173" y="766"/>
                  <a:pt x="2173" y="766"/>
                </a:cubicBezTo>
                <a:cubicBezTo>
                  <a:pt x="2174" y="769"/>
                  <a:pt x="2174" y="769"/>
                  <a:pt x="2174" y="769"/>
                </a:cubicBezTo>
                <a:cubicBezTo>
                  <a:pt x="2173" y="770"/>
                  <a:pt x="2173" y="770"/>
                  <a:pt x="2173" y="770"/>
                </a:cubicBezTo>
                <a:cubicBezTo>
                  <a:pt x="2174" y="771"/>
                  <a:pt x="2174" y="771"/>
                  <a:pt x="2174" y="771"/>
                </a:cubicBezTo>
                <a:cubicBezTo>
                  <a:pt x="2173" y="771"/>
                  <a:pt x="2173" y="771"/>
                  <a:pt x="2173" y="771"/>
                </a:cubicBezTo>
                <a:cubicBezTo>
                  <a:pt x="2173" y="771"/>
                  <a:pt x="2173" y="771"/>
                  <a:pt x="2173" y="771"/>
                </a:cubicBezTo>
                <a:cubicBezTo>
                  <a:pt x="2175" y="771"/>
                  <a:pt x="2175" y="771"/>
                  <a:pt x="2175" y="771"/>
                </a:cubicBezTo>
                <a:cubicBezTo>
                  <a:pt x="2178" y="770"/>
                  <a:pt x="2178" y="770"/>
                  <a:pt x="2178" y="770"/>
                </a:cubicBezTo>
                <a:cubicBezTo>
                  <a:pt x="2178" y="772"/>
                  <a:pt x="2178" y="772"/>
                  <a:pt x="2178" y="772"/>
                </a:cubicBezTo>
                <a:cubicBezTo>
                  <a:pt x="2180" y="775"/>
                  <a:pt x="2180" y="775"/>
                  <a:pt x="2180" y="775"/>
                </a:cubicBezTo>
                <a:cubicBezTo>
                  <a:pt x="2181" y="778"/>
                  <a:pt x="2181" y="778"/>
                  <a:pt x="2181" y="778"/>
                </a:cubicBezTo>
                <a:cubicBezTo>
                  <a:pt x="2181" y="779"/>
                  <a:pt x="2181" y="779"/>
                  <a:pt x="2181" y="779"/>
                </a:cubicBezTo>
                <a:cubicBezTo>
                  <a:pt x="2181" y="780"/>
                  <a:pt x="2181" y="780"/>
                  <a:pt x="2181" y="780"/>
                </a:cubicBezTo>
                <a:cubicBezTo>
                  <a:pt x="2180" y="781"/>
                  <a:pt x="2180" y="781"/>
                  <a:pt x="2180" y="781"/>
                </a:cubicBezTo>
                <a:cubicBezTo>
                  <a:pt x="2181" y="781"/>
                  <a:pt x="2181" y="781"/>
                  <a:pt x="2181" y="781"/>
                </a:cubicBezTo>
                <a:cubicBezTo>
                  <a:pt x="2182" y="781"/>
                  <a:pt x="2182" y="781"/>
                  <a:pt x="2182" y="781"/>
                </a:cubicBezTo>
                <a:cubicBezTo>
                  <a:pt x="2182" y="783"/>
                  <a:pt x="2182" y="783"/>
                  <a:pt x="2182" y="783"/>
                </a:cubicBezTo>
                <a:cubicBezTo>
                  <a:pt x="2184" y="783"/>
                  <a:pt x="2184" y="783"/>
                  <a:pt x="2184" y="783"/>
                </a:cubicBezTo>
                <a:cubicBezTo>
                  <a:pt x="2187" y="783"/>
                  <a:pt x="2187" y="783"/>
                  <a:pt x="2187" y="783"/>
                </a:cubicBezTo>
                <a:cubicBezTo>
                  <a:pt x="2191" y="785"/>
                  <a:pt x="2191" y="785"/>
                  <a:pt x="2191" y="785"/>
                </a:cubicBezTo>
                <a:cubicBezTo>
                  <a:pt x="2190" y="786"/>
                  <a:pt x="2190" y="786"/>
                  <a:pt x="2190" y="786"/>
                </a:cubicBezTo>
                <a:cubicBezTo>
                  <a:pt x="2192" y="785"/>
                  <a:pt x="2192" y="785"/>
                  <a:pt x="2192" y="785"/>
                </a:cubicBezTo>
                <a:cubicBezTo>
                  <a:pt x="2195" y="783"/>
                  <a:pt x="2195" y="783"/>
                  <a:pt x="2195" y="783"/>
                </a:cubicBezTo>
                <a:cubicBezTo>
                  <a:pt x="2198" y="782"/>
                  <a:pt x="2198" y="782"/>
                  <a:pt x="2198" y="782"/>
                </a:cubicBezTo>
                <a:cubicBezTo>
                  <a:pt x="2196" y="784"/>
                  <a:pt x="2196" y="784"/>
                  <a:pt x="2196" y="784"/>
                </a:cubicBezTo>
                <a:cubicBezTo>
                  <a:pt x="2194" y="786"/>
                  <a:pt x="2194" y="786"/>
                  <a:pt x="2194" y="786"/>
                </a:cubicBezTo>
                <a:cubicBezTo>
                  <a:pt x="2193" y="788"/>
                  <a:pt x="2193" y="788"/>
                  <a:pt x="2193" y="788"/>
                </a:cubicBezTo>
                <a:cubicBezTo>
                  <a:pt x="2195" y="789"/>
                  <a:pt x="2195" y="789"/>
                  <a:pt x="2195" y="789"/>
                </a:cubicBezTo>
                <a:cubicBezTo>
                  <a:pt x="2198" y="792"/>
                  <a:pt x="2198" y="792"/>
                  <a:pt x="2198" y="792"/>
                </a:cubicBezTo>
                <a:cubicBezTo>
                  <a:pt x="2204" y="795"/>
                  <a:pt x="2204" y="795"/>
                  <a:pt x="2204" y="795"/>
                </a:cubicBezTo>
                <a:cubicBezTo>
                  <a:pt x="2206" y="794"/>
                  <a:pt x="2206" y="794"/>
                  <a:pt x="2206" y="794"/>
                </a:cubicBezTo>
                <a:cubicBezTo>
                  <a:pt x="2209" y="794"/>
                  <a:pt x="2209" y="794"/>
                  <a:pt x="2209" y="794"/>
                </a:cubicBezTo>
                <a:cubicBezTo>
                  <a:pt x="2213" y="792"/>
                  <a:pt x="2213" y="792"/>
                  <a:pt x="2213" y="792"/>
                </a:cubicBezTo>
                <a:cubicBezTo>
                  <a:pt x="2213" y="791"/>
                  <a:pt x="2213" y="791"/>
                  <a:pt x="2213" y="791"/>
                </a:cubicBezTo>
                <a:cubicBezTo>
                  <a:pt x="2213" y="791"/>
                  <a:pt x="2213" y="791"/>
                  <a:pt x="2213" y="791"/>
                </a:cubicBezTo>
                <a:cubicBezTo>
                  <a:pt x="2213" y="791"/>
                  <a:pt x="2213" y="791"/>
                  <a:pt x="2213" y="791"/>
                </a:cubicBezTo>
                <a:cubicBezTo>
                  <a:pt x="2216" y="791"/>
                  <a:pt x="2216" y="791"/>
                  <a:pt x="2216" y="791"/>
                </a:cubicBezTo>
                <a:cubicBezTo>
                  <a:pt x="2215" y="793"/>
                  <a:pt x="2215" y="793"/>
                  <a:pt x="2215" y="793"/>
                </a:cubicBezTo>
                <a:cubicBezTo>
                  <a:pt x="2214" y="793"/>
                  <a:pt x="2214" y="793"/>
                  <a:pt x="2214" y="793"/>
                </a:cubicBezTo>
                <a:cubicBezTo>
                  <a:pt x="2212" y="796"/>
                  <a:pt x="2212" y="796"/>
                  <a:pt x="2212" y="796"/>
                </a:cubicBezTo>
                <a:cubicBezTo>
                  <a:pt x="2211" y="796"/>
                  <a:pt x="2211" y="796"/>
                  <a:pt x="2211" y="796"/>
                </a:cubicBezTo>
                <a:cubicBezTo>
                  <a:pt x="2207" y="799"/>
                  <a:pt x="2207" y="799"/>
                  <a:pt x="2207" y="799"/>
                </a:cubicBezTo>
                <a:cubicBezTo>
                  <a:pt x="2207" y="800"/>
                  <a:pt x="2207" y="800"/>
                  <a:pt x="2207" y="800"/>
                </a:cubicBezTo>
                <a:cubicBezTo>
                  <a:pt x="2205" y="799"/>
                  <a:pt x="2205" y="799"/>
                  <a:pt x="2205" y="799"/>
                </a:cubicBezTo>
                <a:cubicBezTo>
                  <a:pt x="2205" y="799"/>
                  <a:pt x="2205" y="799"/>
                  <a:pt x="2205" y="799"/>
                </a:cubicBezTo>
                <a:cubicBezTo>
                  <a:pt x="2204" y="800"/>
                  <a:pt x="2204" y="800"/>
                  <a:pt x="2204" y="800"/>
                </a:cubicBezTo>
                <a:cubicBezTo>
                  <a:pt x="2202" y="800"/>
                  <a:pt x="2202" y="800"/>
                  <a:pt x="2202" y="800"/>
                </a:cubicBezTo>
                <a:cubicBezTo>
                  <a:pt x="2202" y="798"/>
                  <a:pt x="2202" y="798"/>
                  <a:pt x="2202" y="798"/>
                </a:cubicBezTo>
                <a:cubicBezTo>
                  <a:pt x="2201" y="798"/>
                  <a:pt x="2201" y="798"/>
                  <a:pt x="2201" y="798"/>
                </a:cubicBezTo>
                <a:cubicBezTo>
                  <a:pt x="2200" y="798"/>
                  <a:pt x="2200" y="798"/>
                  <a:pt x="2200" y="798"/>
                </a:cubicBezTo>
                <a:cubicBezTo>
                  <a:pt x="2199" y="798"/>
                  <a:pt x="2199" y="798"/>
                  <a:pt x="2199" y="798"/>
                </a:cubicBezTo>
                <a:cubicBezTo>
                  <a:pt x="2199" y="799"/>
                  <a:pt x="2199" y="799"/>
                  <a:pt x="2199" y="799"/>
                </a:cubicBezTo>
                <a:cubicBezTo>
                  <a:pt x="2199" y="800"/>
                  <a:pt x="2199" y="800"/>
                  <a:pt x="2199" y="800"/>
                </a:cubicBezTo>
                <a:cubicBezTo>
                  <a:pt x="2204" y="805"/>
                  <a:pt x="2204" y="805"/>
                  <a:pt x="2204" y="805"/>
                </a:cubicBezTo>
                <a:cubicBezTo>
                  <a:pt x="2205" y="805"/>
                  <a:pt x="2205" y="805"/>
                  <a:pt x="2205" y="805"/>
                </a:cubicBezTo>
                <a:cubicBezTo>
                  <a:pt x="2206" y="805"/>
                  <a:pt x="2206" y="805"/>
                  <a:pt x="2206" y="805"/>
                </a:cubicBezTo>
                <a:cubicBezTo>
                  <a:pt x="2206" y="806"/>
                  <a:pt x="2206" y="806"/>
                  <a:pt x="2206" y="806"/>
                </a:cubicBezTo>
                <a:cubicBezTo>
                  <a:pt x="2209" y="810"/>
                  <a:pt x="2209" y="810"/>
                  <a:pt x="2209" y="810"/>
                </a:cubicBezTo>
                <a:cubicBezTo>
                  <a:pt x="2217" y="817"/>
                  <a:pt x="2217" y="817"/>
                  <a:pt x="2217" y="817"/>
                </a:cubicBezTo>
                <a:cubicBezTo>
                  <a:pt x="2221" y="817"/>
                  <a:pt x="2221" y="817"/>
                  <a:pt x="2221" y="817"/>
                </a:cubicBezTo>
                <a:cubicBezTo>
                  <a:pt x="2223" y="817"/>
                  <a:pt x="2223" y="817"/>
                  <a:pt x="2223" y="817"/>
                </a:cubicBezTo>
                <a:cubicBezTo>
                  <a:pt x="2228" y="813"/>
                  <a:pt x="2228" y="813"/>
                  <a:pt x="2228" y="813"/>
                </a:cubicBezTo>
                <a:cubicBezTo>
                  <a:pt x="2232" y="812"/>
                  <a:pt x="2232" y="812"/>
                  <a:pt x="2232" y="812"/>
                </a:cubicBezTo>
                <a:cubicBezTo>
                  <a:pt x="2232" y="810"/>
                  <a:pt x="2232" y="810"/>
                  <a:pt x="2232" y="810"/>
                </a:cubicBezTo>
                <a:cubicBezTo>
                  <a:pt x="2233" y="809"/>
                  <a:pt x="2233" y="809"/>
                  <a:pt x="2233" y="809"/>
                </a:cubicBezTo>
                <a:cubicBezTo>
                  <a:pt x="2234" y="805"/>
                  <a:pt x="2234" y="805"/>
                  <a:pt x="2234" y="805"/>
                </a:cubicBezTo>
                <a:cubicBezTo>
                  <a:pt x="2232" y="803"/>
                  <a:pt x="2232" y="803"/>
                  <a:pt x="2232" y="803"/>
                </a:cubicBezTo>
                <a:cubicBezTo>
                  <a:pt x="2234" y="799"/>
                  <a:pt x="2234" y="799"/>
                  <a:pt x="2234" y="799"/>
                </a:cubicBezTo>
                <a:cubicBezTo>
                  <a:pt x="2234" y="797"/>
                  <a:pt x="2234" y="797"/>
                  <a:pt x="2234" y="797"/>
                </a:cubicBezTo>
                <a:cubicBezTo>
                  <a:pt x="2234" y="796"/>
                  <a:pt x="2234" y="796"/>
                  <a:pt x="2234" y="796"/>
                </a:cubicBezTo>
                <a:cubicBezTo>
                  <a:pt x="2235" y="798"/>
                  <a:pt x="2235" y="798"/>
                  <a:pt x="2235" y="798"/>
                </a:cubicBezTo>
                <a:cubicBezTo>
                  <a:pt x="2237" y="798"/>
                  <a:pt x="2237" y="798"/>
                  <a:pt x="2237" y="798"/>
                </a:cubicBezTo>
                <a:cubicBezTo>
                  <a:pt x="2238" y="798"/>
                  <a:pt x="2238" y="798"/>
                  <a:pt x="2238" y="798"/>
                </a:cubicBezTo>
                <a:cubicBezTo>
                  <a:pt x="2240" y="797"/>
                  <a:pt x="2240" y="797"/>
                  <a:pt x="2240" y="797"/>
                </a:cubicBezTo>
                <a:cubicBezTo>
                  <a:pt x="2239" y="798"/>
                  <a:pt x="2239" y="798"/>
                  <a:pt x="2239" y="798"/>
                </a:cubicBezTo>
                <a:cubicBezTo>
                  <a:pt x="2238" y="800"/>
                  <a:pt x="2238" y="800"/>
                  <a:pt x="2238" y="800"/>
                </a:cubicBezTo>
                <a:cubicBezTo>
                  <a:pt x="2236" y="800"/>
                  <a:pt x="2236" y="800"/>
                  <a:pt x="2236" y="800"/>
                </a:cubicBezTo>
                <a:cubicBezTo>
                  <a:pt x="2236" y="800"/>
                  <a:pt x="2236" y="800"/>
                  <a:pt x="2236" y="800"/>
                </a:cubicBezTo>
                <a:cubicBezTo>
                  <a:pt x="2236" y="802"/>
                  <a:pt x="2236" y="802"/>
                  <a:pt x="2236" y="802"/>
                </a:cubicBezTo>
                <a:cubicBezTo>
                  <a:pt x="2237" y="804"/>
                  <a:pt x="2237" y="804"/>
                  <a:pt x="2237" y="804"/>
                </a:cubicBezTo>
                <a:cubicBezTo>
                  <a:pt x="2236" y="806"/>
                  <a:pt x="2236" y="806"/>
                  <a:pt x="2236" y="806"/>
                </a:cubicBezTo>
                <a:cubicBezTo>
                  <a:pt x="2238" y="806"/>
                  <a:pt x="2238" y="806"/>
                  <a:pt x="2238" y="806"/>
                </a:cubicBezTo>
                <a:cubicBezTo>
                  <a:pt x="2240" y="805"/>
                  <a:pt x="2240" y="805"/>
                  <a:pt x="2240" y="805"/>
                </a:cubicBezTo>
                <a:cubicBezTo>
                  <a:pt x="2242" y="806"/>
                  <a:pt x="2242" y="806"/>
                  <a:pt x="2242" y="806"/>
                </a:cubicBezTo>
                <a:cubicBezTo>
                  <a:pt x="2240" y="806"/>
                  <a:pt x="2240" y="806"/>
                  <a:pt x="2240" y="806"/>
                </a:cubicBezTo>
                <a:cubicBezTo>
                  <a:pt x="2239" y="807"/>
                  <a:pt x="2239" y="807"/>
                  <a:pt x="2239" y="807"/>
                </a:cubicBezTo>
                <a:cubicBezTo>
                  <a:pt x="2237" y="808"/>
                  <a:pt x="2237" y="808"/>
                  <a:pt x="2237" y="808"/>
                </a:cubicBezTo>
                <a:cubicBezTo>
                  <a:pt x="2238" y="813"/>
                  <a:pt x="2238" y="813"/>
                  <a:pt x="2238" y="813"/>
                </a:cubicBezTo>
                <a:cubicBezTo>
                  <a:pt x="2239" y="814"/>
                  <a:pt x="2239" y="814"/>
                  <a:pt x="2239" y="814"/>
                </a:cubicBezTo>
                <a:cubicBezTo>
                  <a:pt x="2240" y="817"/>
                  <a:pt x="2240" y="817"/>
                  <a:pt x="2240" y="817"/>
                </a:cubicBezTo>
                <a:cubicBezTo>
                  <a:pt x="2240" y="820"/>
                  <a:pt x="2240" y="820"/>
                  <a:pt x="2240" y="820"/>
                </a:cubicBezTo>
                <a:cubicBezTo>
                  <a:pt x="2239" y="822"/>
                  <a:pt x="2239" y="822"/>
                  <a:pt x="2239" y="822"/>
                </a:cubicBezTo>
                <a:cubicBezTo>
                  <a:pt x="2239" y="824"/>
                  <a:pt x="2239" y="824"/>
                  <a:pt x="2239" y="824"/>
                </a:cubicBezTo>
                <a:cubicBezTo>
                  <a:pt x="2241" y="825"/>
                  <a:pt x="2241" y="825"/>
                  <a:pt x="2241" y="825"/>
                </a:cubicBezTo>
                <a:cubicBezTo>
                  <a:pt x="2239" y="826"/>
                  <a:pt x="2239" y="826"/>
                  <a:pt x="2239" y="826"/>
                </a:cubicBezTo>
                <a:cubicBezTo>
                  <a:pt x="2240" y="829"/>
                  <a:pt x="2240" y="829"/>
                  <a:pt x="2240" y="829"/>
                </a:cubicBezTo>
                <a:cubicBezTo>
                  <a:pt x="2243" y="834"/>
                  <a:pt x="2243" y="834"/>
                  <a:pt x="2243" y="834"/>
                </a:cubicBezTo>
                <a:cubicBezTo>
                  <a:pt x="2243" y="836"/>
                  <a:pt x="2243" y="836"/>
                  <a:pt x="2243" y="836"/>
                </a:cubicBezTo>
                <a:cubicBezTo>
                  <a:pt x="2244" y="838"/>
                  <a:pt x="2244" y="838"/>
                  <a:pt x="2244" y="838"/>
                </a:cubicBezTo>
                <a:cubicBezTo>
                  <a:pt x="2242" y="838"/>
                  <a:pt x="2242" y="838"/>
                  <a:pt x="2242" y="838"/>
                </a:cubicBezTo>
                <a:cubicBezTo>
                  <a:pt x="2242" y="840"/>
                  <a:pt x="2242" y="840"/>
                  <a:pt x="2242" y="840"/>
                </a:cubicBezTo>
                <a:cubicBezTo>
                  <a:pt x="2245" y="844"/>
                  <a:pt x="2245" y="844"/>
                  <a:pt x="2245" y="844"/>
                </a:cubicBezTo>
                <a:cubicBezTo>
                  <a:pt x="2243" y="844"/>
                  <a:pt x="2243" y="844"/>
                  <a:pt x="2243" y="844"/>
                </a:cubicBezTo>
                <a:cubicBezTo>
                  <a:pt x="2245" y="847"/>
                  <a:pt x="2245" y="847"/>
                  <a:pt x="2245" y="847"/>
                </a:cubicBezTo>
                <a:cubicBezTo>
                  <a:pt x="2245" y="850"/>
                  <a:pt x="2245" y="850"/>
                  <a:pt x="2245" y="850"/>
                </a:cubicBezTo>
                <a:cubicBezTo>
                  <a:pt x="2249" y="858"/>
                  <a:pt x="2249" y="858"/>
                  <a:pt x="2249" y="858"/>
                </a:cubicBezTo>
                <a:cubicBezTo>
                  <a:pt x="2249" y="864"/>
                  <a:pt x="2249" y="864"/>
                  <a:pt x="2249" y="864"/>
                </a:cubicBezTo>
                <a:cubicBezTo>
                  <a:pt x="2251" y="868"/>
                  <a:pt x="2251" y="868"/>
                  <a:pt x="2251" y="868"/>
                </a:cubicBezTo>
                <a:cubicBezTo>
                  <a:pt x="2253" y="869"/>
                  <a:pt x="2253" y="869"/>
                  <a:pt x="2253" y="869"/>
                </a:cubicBezTo>
                <a:cubicBezTo>
                  <a:pt x="2253" y="872"/>
                  <a:pt x="2253" y="872"/>
                  <a:pt x="2253" y="872"/>
                </a:cubicBezTo>
                <a:cubicBezTo>
                  <a:pt x="2255" y="873"/>
                  <a:pt x="2255" y="873"/>
                  <a:pt x="2255" y="873"/>
                </a:cubicBezTo>
                <a:cubicBezTo>
                  <a:pt x="2255" y="874"/>
                  <a:pt x="2255" y="874"/>
                  <a:pt x="2255" y="874"/>
                </a:cubicBezTo>
                <a:cubicBezTo>
                  <a:pt x="2257" y="879"/>
                  <a:pt x="2257" y="879"/>
                  <a:pt x="2257" y="879"/>
                </a:cubicBezTo>
                <a:cubicBezTo>
                  <a:pt x="2258" y="879"/>
                  <a:pt x="2258" y="879"/>
                  <a:pt x="2258" y="879"/>
                </a:cubicBezTo>
                <a:cubicBezTo>
                  <a:pt x="2258" y="880"/>
                  <a:pt x="2258" y="880"/>
                  <a:pt x="2258" y="880"/>
                </a:cubicBezTo>
                <a:cubicBezTo>
                  <a:pt x="2261" y="883"/>
                  <a:pt x="2261" y="883"/>
                  <a:pt x="2261" y="883"/>
                </a:cubicBezTo>
                <a:cubicBezTo>
                  <a:pt x="2261" y="883"/>
                  <a:pt x="2261" y="883"/>
                  <a:pt x="2261" y="883"/>
                </a:cubicBezTo>
                <a:cubicBezTo>
                  <a:pt x="2261" y="887"/>
                  <a:pt x="2261" y="887"/>
                  <a:pt x="2261" y="887"/>
                </a:cubicBezTo>
                <a:cubicBezTo>
                  <a:pt x="2262" y="888"/>
                  <a:pt x="2262" y="888"/>
                  <a:pt x="2262" y="888"/>
                </a:cubicBezTo>
                <a:cubicBezTo>
                  <a:pt x="2264" y="891"/>
                  <a:pt x="2264" y="891"/>
                  <a:pt x="2264" y="891"/>
                </a:cubicBezTo>
                <a:cubicBezTo>
                  <a:pt x="2264" y="894"/>
                  <a:pt x="2264" y="894"/>
                  <a:pt x="2264" y="894"/>
                </a:cubicBezTo>
                <a:cubicBezTo>
                  <a:pt x="2266" y="898"/>
                  <a:pt x="2266" y="898"/>
                  <a:pt x="2266" y="898"/>
                </a:cubicBezTo>
                <a:cubicBezTo>
                  <a:pt x="2267" y="900"/>
                  <a:pt x="2267" y="900"/>
                  <a:pt x="2267" y="900"/>
                </a:cubicBezTo>
                <a:cubicBezTo>
                  <a:pt x="2267" y="904"/>
                  <a:pt x="2267" y="904"/>
                  <a:pt x="2267" y="904"/>
                </a:cubicBezTo>
                <a:cubicBezTo>
                  <a:pt x="2268" y="905"/>
                  <a:pt x="2268" y="905"/>
                  <a:pt x="2268" y="905"/>
                </a:cubicBezTo>
                <a:cubicBezTo>
                  <a:pt x="2269" y="908"/>
                  <a:pt x="2269" y="908"/>
                  <a:pt x="2269" y="908"/>
                </a:cubicBezTo>
                <a:cubicBezTo>
                  <a:pt x="2272" y="911"/>
                  <a:pt x="2272" y="911"/>
                  <a:pt x="2272" y="911"/>
                </a:cubicBezTo>
                <a:cubicBezTo>
                  <a:pt x="2273" y="911"/>
                  <a:pt x="2273" y="911"/>
                  <a:pt x="2273" y="911"/>
                </a:cubicBezTo>
                <a:cubicBezTo>
                  <a:pt x="2275" y="914"/>
                  <a:pt x="2275" y="914"/>
                  <a:pt x="2275" y="914"/>
                </a:cubicBezTo>
                <a:cubicBezTo>
                  <a:pt x="2278" y="917"/>
                  <a:pt x="2278" y="917"/>
                  <a:pt x="2278" y="917"/>
                </a:cubicBezTo>
                <a:cubicBezTo>
                  <a:pt x="2279" y="920"/>
                  <a:pt x="2279" y="920"/>
                  <a:pt x="2279" y="920"/>
                </a:cubicBezTo>
                <a:cubicBezTo>
                  <a:pt x="2280" y="923"/>
                  <a:pt x="2280" y="923"/>
                  <a:pt x="2280" y="923"/>
                </a:cubicBezTo>
                <a:cubicBezTo>
                  <a:pt x="2280" y="923"/>
                  <a:pt x="2280" y="923"/>
                  <a:pt x="2280" y="923"/>
                </a:cubicBezTo>
                <a:cubicBezTo>
                  <a:pt x="2280" y="925"/>
                  <a:pt x="2280" y="925"/>
                  <a:pt x="2280" y="925"/>
                </a:cubicBezTo>
                <a:cubicBezTo>
                  <a:pt x="2283" y="929"/>
                  <a:pt x="2283" y="929"/>
                  <a:pt x="2283" y="929"/>
                </a:cubicBezTo>
                <a:cubicBezTo>
                  <a:pt x="2284" y="933"/>
                  <a:pt x="2284" y="933"/>
                  <a:pt x="2284" y="933"/>
                </a:cubicBezTo>
                <a:cubicBezTo>
                  <a:pt x="2284" y="937"/>
                  <a:pt x="2284" y="937"/>
                  <a:pt x="2284" y="937"/>
                </a:cubicBezTo>
                <a:cubicBezTo>
                  <a:pt x="2288" y="945"/>
                  <a:pt x="2288" y="945"/>
                  <a:pt x="2288" y="945"/>
                </a:cubicBezTo>
                <a:cubicBezTo>
                  <a:pt x="2291" y="948"/>
                  <a:pt x="2291" y="948"/>
                  <a:pt x="2291" y="948"/>
                </a:cubicBezTo>
                <a:cubicBezTo>
                  <a:pt x="2294" y="951"/>
                  <a:pt x="2294" y="951"/>
                  <a:pt x="2294" y="951"/>
                </a:cubicBezTo>
                <a:cubicBezTo>
                  <a:pt x="2297" y="951"/>
                  <a:pt x="2297" y="951"/>
                  <a:pt x="2297" y="951"/>
                </a:cubicBezTo>
                <a:cubicBezTo>
                  <a:pt x="2301" y="948"/>
                  <a:pt x="2301" y="948"/>
                  <a:pt x="2301" y="948"/>
                </a:cubicBezTo>
                <a:cubicBezTo>
                  <a:pt x="2302" y="946"/>
                  <a:pt x="2302" y="946"/>
                  <a:pt x="2302" y="946"/>
                </a:cubicBezTo>
                <a:cubicBezTo>
                  <a:pt x="2301" y="945"/>
                  <a:pt x="2301" y="945"/>
                  <a:pt x="2301" y="945"/>
                </a:cubicBezTo>
                <a:cubicBezTo>
                  <a:pt x="2302" y="945"/>
                  <a:pt x="2302" y="945"/>
                  <a:pt x="2302" y="945"/>
                </a:cubicBezTo>
                <a:cubicBezTo>
                  <a:pt x="2302" y="944"/>
                  <a:pt x="2302" y="944"/>
                  <a:pt x="2302" y="944"/>
                </a:cubicBezTo>
                <a:cubicBezTo>
                  <a:pt x="2303" y="942"/>
                  <a:pt x="2303" y="942"/>
                  <a:pt x="2303" y="942"/>
                </a:cubicBezTo>
                <a:cubicBezTo>
                  <a:pt x="2307" y="940"/>
                  <a:pt x="2307" y="940"/>
                  <a:pt x="2307" y="940"/>
                </a:cubicBezTo>
                <a:cubicBezTo>
                  <a:pt x="2307" y="940"/>
                  <a:pt x="2307" y="940"/>
                  <a:pt x="2307" y="940"/>
                </a:cubicBezTo>
                <a:cubicBezTo>
                  <a:pt x="2312" y="939"/>
                  <a:pt x="2312" y="939"/>
                  <a:pt x="2312" y="939"/>
                </a:cubicBezTo>
                <a:cubicBezTo>
                  <a:pt x="2313" y="939"/>
                  <a:pt x="2313" y="939"/>
                  <a:pt x="2313" y="939"/>
                </a:cubicBezTo>
                <a:cubicBezTo>
                  <a:pt x="2314" y="940"/>
                  <a:pt x="2314" y="940"/>
                  <a:pt x="2314" y="940"/>
                </a:cubicBezTo>
                <a:cubicBezTo>
                  <a:pt x="2314" y="939"/>
                  <a:pt x="2314" y="939"/>
                  <a:pt x="2314" y="939"/>
                </a:cubicBezTo>
                <a:cubicBezTo>
                  <a:pt x="2313" y="939"/>
                  <a:pt x="2313" y="939"/>
                  <a:pt x="2313" y="939"/>
                </a:cubicBezTo>
                <a:cubicBezTo>
                  <a:pt x="2310" y="937"/>
                  <a:pt x="2310" y="937"/>
                  <a:pt x="2310" y="937"/>
                </a:cubicBezTo>
                <a:cubicBezTo>
                  <a:pt x="2310" y="936"/>
                  <a:pt x="2310" y="936"/>
                  <a:pt x="2310" y="936"/>
                </a:cubicBezTo>
                <a:cubicBezTo>
                  <a:pt x="2311" y="935"/>
                  <a:pt x="2311" y="935"/>
                  <a:pt x="2311" y="935"/>
                </a:cubicBezTo>
                <a:cubicBezTo>
                  <a:pt x="2313" y="931"/>
                  <a:pt x="2313" y="931"/>
                  <a:pt x="2313" y="931"/>
                </a:cubicBezTo>
                <a:cubicBezTo>
                  <a:pt x="2313" y="931"/>
                  <a:pt x="2313" y="931"/>
                  <a:pt x="2313" y="931"/>
                </a:cubicBezTo>
                <a:cubicBezTo>
                  <a:pt x="2314" y="928"/>
                  <a:pt x="2314" y="928"/>
                  <a:pt x="2314" y="928"/>
                </a:cubicBezTo>
                <a:cubicBezTo>
                  <a:pt x="2316" y="928"/>
                  <a:pt x="2316" y="928"/>
                  <a:pt x="2316" y="928"/>
                </a:cubicBezTo>
                <a:cubicBezTo>
                  <a:pt x="2318" y="929"/>
                  <a:pt x="2318" y="929"/>
                  <a:pt x="2318" y="929"/>
                </a:cubicBezTo>
                <a:cubicBezTo>
                  <a:pt x="2319" y="928"/>
                  <a:pt x="2319" y="928"/>
                  <a:pt x="2319" y="928"/>
                </a:cubicBezTo>
                <a:cubicBezTo>
                  <a:pt x="2319" y="926"/>
                  <a:pt x="2319" y="926"/>
                  <a:pt x="2319" y="926"/>
                </a:cubicBezTo>
                <a:cubicBezTo>
                  <a:pt x="2319" y="917"/>
                  <a:pt x="2319" y="917"/>
                  <a:pt x="2319" y="917"/>
                </a:cubicBezTo>
                <a:cubicBezTo>
                  <a:pt x="2318" y="916"/>
                  <a:pt x="2318" y="916"/>
                  <a:pt x="2318" y="916"/>
                </a:cubicBezTo>
                <a:cubicBezTo>
                  <a:pt x="2318" y="912"/>
                  <a:pt x="2318" y="912"/>
                  <a:pt x="2318" y="912"/>
                </a:cubicBezTo>
                <a:cubicBezTo>
                  <a:pt x="2320" y="907"/>
                  <a:pt x="2320" y="907"/>
                  <a:pt x="2320" y="907"/>
                </a:cubicBezTo>
                <a:cubicBezTo>
                  <a:pt x="2323" y="900"/>
                  <a:pt x="2323" y="900"/>
                  <a:pt x="2323" y="900"/>
                </a:cubicBezTo>
                <a:cubicBezTo>
                  <a:pt x="2322" y="895"/>
                  <a:pt x="2322" y="895"/>
                  <a:pt x="2322" y="895"/>
                </a:cubicBezTo>
                <a:cubicBezTo>
                  <a:pt x="2320" y="895"/>
                  <a:pt x="2320" y="895"/>
                  <a:pt x="2320" y="895"/>
                </a:cubicBezTo>
                <a:cubicBezTo>
                  <a:pt x="2320" y="887"/>
                  <a:pt x="2320" y="887"/>
                  <a:pt x="2320" y="887"/>
                </a:cubicBezTo>
                <a:cubicBezTo>
                  <a:pt x="2319" y="884"/>
                  <a:pt x="2319" y="884"/>
                  <a:pt x="2319" y="884"/>
                </a:cubicBezTo>
                <a:cubicBezTo>
                  <a:pt x="2321" y="882"/>
                  <a:pt x="2321" y="882"/>
                  <a:pt x="2321" y="882"/>
                </a:cubicBezTo>
                <a:cubicBezTo>
                  <a:pt x="2319" y="877"/>
                  <a:pt x="2319" y="877"/>
                  <a:pt x="2319" y="877"/>
                </a:cubicBezTo>
                <a:cubicBezTo>
                  <a:pt x="2319" y="874"/>
                  <a:pt x="2319" y="874"/>
                  <a:pt x="2319" y="874"/>
                </a:cubicBezTo>
                <a:cubicBezTo>
                  <a:pt x="2320" y="872"/>
                  <a:pt x="2320" y="872"/>
                  <a:pt x="2320" y="872"/>
                </a:cubicBezTo>
                <a:cubicBezTo>
                  <a:pt x="2324" y="868"/>
                  <a:pt x="2324" y="868"/>
                  <a:pt x="2324" y="868"/>
                </a:cubicBezTo>
                <a:cubicBezTo>
                  <a:pt x="2324" y="868"/>
                  <a:pt x="2324" y="868"/>
                  <a:pt x="2324" y="868"/>
                </a:cubicBezTo>
                <a:cubicBezTo>
                  <a:pt x="2325" y="870"/>
                  <a:pt x="2325" y="870"/>
                  <a:pt x="2325" y="870"/>
                </a:cubicBezTo>
                <a:cubicBezTo>
                  <a:pt x="2327" y="870"/>
                  <a:pt x="2327" y="870"/>
                  <a:pt x="2327" y="870"/>
                </a:cubicBezTo>
                <a:cubicBezTo>
                  <a:pt x="2330" y="867"/>
                  <a:pt x="2330" y="867"/>
                  <a:pt x="2330" y="867"/>
                </a:cubicBezTo>
                <a:cubicBezTo>
                  <a:pt x="2330" y="864"/>
                  <a:pt x="2330" y="864"/>
                  <a:pt x="2330" y="864"/>
                </a:cubicBezTo>
                <a:cubicBezTo>
                  <a:pt x="2332" y="863"/>
                  <a:pt x="2332" y="863"/>
                  <a:pt x="2332" y="863"/>
                </a:cubicBezTo>
                <a:cubicBezTo>
                  <a:pt x="2336" y="863"/>
                  <a:pt x="2336" y="863"/>
                  <a:pt x="2336" y="863"/>
                </a:cubicBezTo>
                <a:cubicBezTo>
                  <a:pt x="2339" y="862"/>
                  <a:pt x="2339" y="862"/>
                  <a:pt x="2339" y="862"/>
                </a:cubicBezTo>
                <a:cubicBezTo>
                  <a:pt x="2340" y="859"/>
                  <a:pt x="2340" y="859"/>
                  <a:pt x="2340" y="859"/>
                </a:cubicBezTo>
                <a:cubicBezTo>
                  <a:pt x="2340" y="857"/>
                  <a:pt x="2340" y="857"/>
                  <a:pt x="2340" y="857"/>
                </a:cubicBezTo>
                <a:cubicBezTo>
                  <a:pt x="2340" y="855"/>
                  <a:pt x="2340" y="855"/>
                  <a:pt x="2340" y="855"/>
                </a:cubicBezTo>
                <a:cubicBezTo>
                  <a:pt x="2343" y="853"/>
                  <a:pt x="2343" y="853"/>
                  <a:pt x="2343" y="853"/>
                </a:cubicBezTo>
                <a:cubicBezTo>
                  <a:pt x="2347" y="851"/>
                  <a:pt x="2347" y="851"/>
                  <a:pt x="2347" y="851"/>
                </a:cubicBezTo>
                <a:cubicBezTo>
                  <a:pt x="2349" y="849"/>
                  <a:pt x="2349" y="849"/>
                  <a:pt x="2349" y="849"/>
                </a:cubicBezTo>
                <a:cubicBezTo>
                  <a:pt x="2350" y="847"/>
                  <a:pt x="2350" y="847"/>
                  <a:pt x="2350" y="847"/>
                </a:cubicBezTo>
                <a:cubicBezTo>
                  <a:pt x="2359" y="839"/>
                  <a:pt x="2359" y="839"/>
                  <a:pt x="2359" y="839"/>
                </a:cubicBezTo>
                <a:cubicBezTo>
                  <a:pt x="2361" y="834"/>
                  <a:pt x="2361" y="834"/>
                  <a:pt x="2361" y="834"/>
                </a:cubicBezTo>
                <a:cubicBezTo>
                  <a:pt x="2368" y="828"/>
                  <a:pt x="2368" y="828"/>
                  <a:pt x="2368" y="828"/>
                </a:cubicBezTo>
                <a:cubicBezTo>
                  <a:pt x="2367" y="828"/>
                  <a:pt x="2367" y="828"/>
                  <a:pt x="2367" y="828"/>
                </a:cubicBezTo>
                <a:cubicBezTo>
                  <a:pt x="2367" y="829"/>
                  <a:pt x="2367" y="829"/>
                  <a:pt x="2367" y="829"/>
                </a:cubicBezTo>
                <a:cubicBezTo>
                  <a:pt x="2365" y="829"/>
                  <a:pt x="2365" y="829"/>
                  <a:pt x="2365" y="829"/>
                </a:cubicBezTo>
                <a:cubicBezTo>
                  <a:pt x="2365" y="827"/>
                  <a:pt x="2365" y="827"/>
                  <a:pt x="2365" y="827"/>
                </a:cubicBezTo>
                <a:cubicBezTo>
                  <a:pt x="2366" y="826"/>
                  <a:pt x="2366" y="826"/>
                  <a:pt x="2366" y="826"/>
                </a:cubicBezTo>
                <a:cubicBezTo>
                  <a:pt x="2368" y="825"/>
                  <a:pt x="2368" y="825"/>
                  <a:pt x="2368" y="825"/>
                </a:cubicBezTo>
                <a:cubicBezTo>
                  <a:pt x="2369" y="825"/>
                  <a:pt x="2369" y="825"/>
                  <a:pt x="2369" y="825"/>
                </a:cubicBezTo>
                <a:cubicBezTo>
                  <a:pt x="2369" y="826"/>
                  <a:pt x="2369" y="826"/>
                  <a:pt x="2369" y="826"/>
                </a:cubicBezTo>
                <a:cubicBezTo>
                  <a:pt x="2369" y="827"/>
                  <a:pt x="2369" y="827"/>
                  <a:pt x="2369" y="827"/>
                </a:cubicBezTo>
                <a:cubicBezTo>
                  <a:pt x="2370" y="827"/>
                  <a:pt x="2370" y="827"/>
                  <a:pt x="2370" y="827"/>
                </a:cubicBezTo>
                <a:cubicBezTo>
                  <a:pt x="2376" y="824"/>
                  <a:pt x="2376" y="824"/>
                  <a:pt x="2376" y="824"/>
                </a:cubicBezTo>
                <a:cubicBezTo>
                  <a:pt x="2376" y="823"/>
                  <a:pt x="2376" y="823"/>
                  <a:pt x="2376" y="823"/>
                </a:cubicBezTo>
                <a:cubicBezTo>
                  <a:pt x="2379" y="821"/>
                  <a:pt x="2379" y="821"/>
                  <a:pt x="2379" y="821"/>
                </a:cubicBezTo>
                <a:cubicBezTo>
                  <a:pt x="2379" y="819"/>
                  <a:pt x="2379" y="819"/>
                  <a:pt x="2379" y="819"/>
                </a:cubicBezTo>
                <a:cubicBezTo>
                  <a:pt x="2380" y="819"/>
                  <a:pt x="2380" y="819"/>
                  <a:pt x="2380" y="819"/>
                </a:cubicBezTo>
                <a:cubicBezTo>
                  <a:pt x="2381" y="817"/>
                  <a:pt x="2381" y="817"/>
                  <a:pt x="2381" y="817"/>
                </a:cubicBezTo>
                <a:cubicBezTo>
                  <a:pt x="2383" y="815"/>
                  <a:pt x="2383" y="815"/>
                  <a:pt x="2383" y="815"/>
                </a:cubicBezTo>
                <a:cubicBezTo>
                  <a:pt x="2382" y="815"/>
                  <a:pt x="2382" y="815"/>
                  <a:pt x="2382" y="815"/>
                </a:cubicBezTo>
                <a:cubicBezTo>
                  <a:pt x="2382" y="814"/>
                  <a:pt x="2382" y="814"/>
                  <a:pt x="2382" y="814"/>
                </a:cubicBezTo>
                <a:cubicBezTo>
                  <a:pt x="2381" y="812"/>
                  <a:pt x="2381" y="812"/>
                  <a:pt x="2381" y="812"/>
                </a:cubicBezTo>
                <a:cubicBezTo>
                  <a:pt x="2381" y="811"/>
                  <a:pt x="2381" y="811"/>
                  <a:pt x="2381" y="811"/>
                </a:cubicBezTo>
                <a:cubicBezTo>
                  <a:pt x="2382" y="809"/>
                  <a:pt x="2382" y="809"/>
                  <a:pt x="2382" y="809"/>
                </a:cubicBezTo>
                <a:cubicBezTo>
                  <a:pt x="2382" y="808"/>
                  <a:pt x="2382" y="808"/>
                  <a:pt x="2382" y="808"/>
                </a:cubicBezTo>
                <a:cubicBezTo>
                  <a:pt x="2383" y="807"/>
                  <a:pt x="2383" y="807"/>
                  <a:pt x="2383" y="807"/>
                </a:cubicBezTo>
                <a:cubicBezTo>
                  <a:pt x="2390" y="804"/>
                  <a:pt x="2390" y="804"/>
                  <a:pt x="2390" y="804"/>
                </a:cubicBezTo>
                <a:cubicBezTo>
                  <a:pt x="2391" y="803"/>
                  <a:pt x="2391" y="803"/>
                  <a:pt x="2391" y="803"/>
                </a:cubicBezTo>
                <a:cubicBezTo>
                  <a:pt x="2391" y="801"/>
                  <a:pt x="2391" y="801"/>
                  <a:pt x="2391" y="801"/>
                </a:cubicBezTo>
                <a:cubicBezTo>
                  <a:pt x="2392" y="800"/>
                  <a:pt x="2392" y="800"/>
                  <a:pt x="2392" y="800"/>
                </a:cubicBezTo>
                <a:cubicBezTo>
                  <a:pt x="2393" y="799"/>
                  <a:pt x="2393" y="799"/>
                  <a:pt x="2393" y="799"/>
                </a:cubicBezTo>
                <a:cubicBezTo>
                  <a:pt x="2392" y="798"/>
                  <a:pt x="2392" y="798"/>
                  <a:pt x="2392" y="798"/>
                </a:cubicBezTo>
                <a:cubicBezTo>
                  <a:pt x="2391" y="798"/>
                  <a:pt x="2391" y="798"/>
                  <a:pt x="2391" y="798"/>
                </a:cubicBezTo>
                <a:cubicBezTo>
                  <a:pt x="2390" y="797"/>
                  <a:pt x="2390" y="797"/>
                  <a:pt x="2390" y="797"/>
                </a:cubicBezTo>
                <a:cubicBezTo>
                  <a:pt x="2392" y="797"/>
                  <a:pt x="2392" y="797"/>
                  <a:pt x="2392" y="797"/>
                </a:cubicBezTo>
                <a:cubicBezTo>
                  <a:pt x="2394" y="799"/>
                  <a:pt x="2394" y="799"/>
                  <a:pt x="2394" y="799"/>
                </a:cubicBezTo>
                <a:cubicBezTo>
                  <a:pt x="2393" y="800"/>
                  <a:pt x="2393" y="800"/>
                  <a:pt x="2393" y="800"/>
                </a:cubicBezTo>
                <a:cubicBezTo>
                  <a:pt x="2394" y="803"/>
                  <a:pt x="2394" y="803"/>
                  <a:pt x="2394" y="803"/>
                </a:cubicBezTo>
                <a:cubicBezTo>
                  <a:pt x="2396" y="803"/>
                  <a:pt x="2396" y="803"/>
                  <a:pt x="2396" y="803"/>
                </a:cubicBezTo>
                <a:cubicBezTo>
                  <a:pt x="2396" y="803"/>
                  <a:pt x="2396" y="803"/>
                  <a:pt x="2396" y="803"/>
                </a:cubicBezTo>
                <a:cubicBezTo>
                  <a:pt x="2397" y="803"/>
                  <a:pt x="2397" y="803"/>
                  <a:pt x="2397" y="803"/>
                </a:cubicBezTo>
                <a:cubicBezTo>
                  <a:pt x="2398" y="802"/>
                  <a:pt x="2398" y="802"/>
                  <a:pt x="2398" y="802"/>
                </a:cubicBezTo>
                <a:cubicBezTo>
                  <a:pt x="2398" y="803"/>
                  <a:pt x="2398" y="803"/>
                  <a:pt x="2398" y="803"/>
                </a:cubicBezTo>
                <a:cubicBezTo>
                  <a:pt x="2398" y="802"/>
                  <a:pt x="2398" y="802"/>
                  <a:pt x="2398" y="802"/>
                </a:cubicBezTo>
                <a:cubicBezTo>
                  <a:pt x="2398" y="801"/>
                  <a:pt x="2398" y="801"/>
                  <a:pt x="2398" y="801"/>
                </a:cubicBezTo>
                <a:cubicBezTo>
                  <a:pt x="2399" y="802"/>
                  <a:pt x="2399" y="802"/>
                  <a:pt x="2399" y="802"/>
                </a:cubicBezTo>
                <a:cubicBezTo>
                  <a:pt x="2400" y="804"/>
                  <a:pt x="2400" y="804"/>
                  <a:pt x="2400" y="804"/>
                </a:cubicBezTo>
                <a:cubicBezTo>
                  <a:pt x="2401" y="805"/>
                  <a:pt x="2401" y="805"/>
                  <a:pt x="2401" y="805"/>
                </a:cubicBezTo>
                <a:cubicBezTo>
                  <a:pt x="2401" y="804"/>
                  <a:pt x="2401" y="804"/>
                  <a:pt x="2401" y="804"/>
                </a:cubicBezTo>
                <a:cubicBezTo>
                  <a:pt x="2402" y="805"/>
                  <a:pt x="2402" y="805"/>
                  <a:pt x="2402" y="805"/>
                </a:cubicBezTo>
                <a:cubicBezTo>
                  <a:pt x="2403" y="804"/>
                  <a:pt x="2403" y="804"/>
                  <a:pt x="2403" y="804"/>
                </a:cubicBezTo>
                <a:cubicBezTo>
                  <a:pt x="2402" y="801"/>
                  <a:pt x="2402" y="801"/>
                  <a:pt x="2402" y="801"/>
                </a:cubicBezTo>
                <a:cubicBezTo>
                  <a:pt x="2403" y="801"/>
                  <a:pt x="2403" y="801"/>
                  <a:pt x="2403" y="801"/>
                </a:cubicBezTo>
                <a:cubicBezTo>
                  <a:pt x="2404" y="801"/>
                  <a:pt x="2404" y="801"/>
                  <a:pt x="2404" y="801"/>
                </a:cubicBezTo>
                <a:cubicBezTo>
                  <a:pt x="2404" y="803"/>
                  <a:pt x="2404" y="803"/>
                  <a:pt x="2404" y="803"/>
                </a:cubicBezTo>
                <a:cubicBezTo>
                  <a:pt x="2405" y="804"/>
                  <a:pt x="2405" y="804"/>
                  <a:pt x="2405" y="804"/>
                </a:cubicBezTo>
                <a:cubicBezTo>
                  <a:pt x="2406" y="804"/>
                  <a:pt x="2406" y="804"/>
                  <a:pt x="2406" y="804"/>
                </a:cubicBezTo>
                <a:cubicBezTo>
                  <a:pt x="2406" y="802"/>
                  <a:pt x="2406" y="802"/>
                  <a:pt x="2406" y="802"/>
                </a:cubicBezTo>
                <a:cubicBezTo>
                  <a:pt x="2407" y="802"/>
                  <a:pt x="2407" y="802"/>
                  <a:pt x="2407" y="802"/>
                </a:cubicBezTo>
                <a:cubicBezTo>
                  <a:pt x="2409" y="803"/>
                  <a:pt x="2409" y="803"/>
                  <a:pt x="2409" y="803"/>
                </a:cubicBezTo>
                <a:cubicBezTo>
                  <a:pt x="2409" y="803"/>
                  <a:pt x="2409" y="803"/>
                  <a:pt x="2409" y="803"/>
                </a:cubicBezTo>
                <a:cubicBezTo>
                  <a:pt x="2410" y="803"/>
                  <a:pt x="2410" y="803"/>
                  <a:pt x="2410" y="803"/>
                </a:cubicBezTo>
                <a:cubicBezTo>
                  <a:pt x="2410" y="801"/>
                  <a:pt x="2410" y="801"/>
                  <a:pt x="2410" y="801"/>
                </a:cubicBezTo>
                <a:cubicBezTo>
                  <a:pt x="2409" y="798"/>
                  <a:pt x="2409" y="798"/>
                  <a:pt x="2409" y="798"/>
                </a:cubicBezTo>
                <a:cubicBezTo>
                  <a:pt x="2409" y="798"/>
                  <a:pt x="2409" y="798"/>
                  <a:pt x="2409" y="798"/>
                </a:cubicBezTo>
                <a:cubicBezTo>
                  <a:pt x="2410" y="796"/>
                  <a:pt x="2410" y="796"/>
                  <a:pt x="2410" y="796"/>
                </a:cubicBezTo>
                <a:cubicBezTo>
                  <a:pt x="2410" y="795"/>
                  <a:pt x="2410" y="795"/>
                  <a:pt x="2410" y="795"/>
                </a:cubicBezTo>
                <a:cubicBezTo>
                  <a:pt x="2410" y="794"/>
                  <a:pt x="2410" y="794"/>
                  <a:pt x="2410" y="794"/>
                </a:cubicBezTo>
                <a:cubicBezTo>
                  <a:pt x="2411" y="795"/>
                  <a:pt x="2411" y="795"/>
                  <a:pt x="2411" y="795"/>
                </a:cubicBezTo>
                <a:cubicBezTo>
                  <a:pt x="2411" y="796"/>
                  <a:pt x="2411" y="796"/>
                  <a:pt x="2411" y="796"/>
                </a:cubicBezTo>
                <a:cubicBezTo>
                  <a:pt x="2410" y="799"/>
                  <a:pt x="2410" y="799"/>
                  <a:pt x="2410" y="799"/>
                </a:cubicBezTo>
                <a:cubicBezTo>
                  <a:pt x="2411" y="801"/>
                  <a:pt x="2411" y="801"/>
                  <a:pt x="2411" y="801"/>
                </a:cubicBezTo>
                <a:cubicBezTo>
                  <a:pt x="2412" y="799"/>
                  <a:pt x="2412" y="799"/>
                  <a:pt x="2412" y="799"/>
                </a:cubicBezTo>
                <a:cubicBezTo>
                  <a:pt x="2414" y="798"/>
                  <a:pt x="2414" y="798"/>
                  <a:pt x="2414" y="798"/>
                </a:cubicBezTo>
                <a:cubicBezTo>
                  <a:pt x="2413" y="799"/>
                  <a:pt x="2413" y="799"/>
                  <a:pt x="2413" y="799"/>
                </a:cubicBezTo>
                <a:cubicBezTo>
                  <a:pt x="2412" y="799"/>
                  <a:pt x="2412" y="799"/>
                  <a:pt x="2412" y="799"/>
                </a:cubicBezTo>
                <a:cubicBezTo>
                  <a:pt x="2412" y="801"/>
                  <a:pt x="2412" y="801"/>
                  <a:pt x="2412" y="801"/>
                </a:cubicBezTo>
                <a:cubicBezTo>
                  <a:pt x="2413" y="802"/>
                  <a:pt x="2413" y="802"/>
                  <a:pt x="2413" y="802"/>
                </a:cubicBezTo>
                <a:cubicBezTo>
                  <a:pt x="2415" y="799"/>
                  <a:pt x="2415" y="799"/>
                  <a:pt x="2415" y="799"/>
                </a:cubicBezTo>
                <a:cubicBezTo>
                  <a:pt x="2417" y="798"/>
                  <a:pt x="2417" y="798"/>
                  <a:pt x="2417" y="798"/>
                </a:cubicBezTo>
                <a:cubicBezTo>
                  <a:pt x="2417" y="796"/>
                  <a:pt x="2417" y="796"/>
                  <a:pt x="2417" y="796"/>
                </a:cubicBezTo>
                <a:cubicBezTo>
                  <a:pt x="2416" y="793"/>
                  <a:pt x="2416" y="793"/>
                  <a:pt x="2416" y="793"/>
                </a:cubicBezTo>
                <a:cubicBezTo>
                  <a:pt x="2414" y="793"/>
                  <a:pt x="2414" y="793"/>
                  <a:pt x="2414" y="793"/>
                </a:cubicBezTo>
                <a:cubicBezTo>
                  <a:pt x="2416" y="792"/>
                  <a:pt x="2416" y="792"/>
                  <a:pt x="2416" y="792"/>
                </a:cubicBezTo>
                <a:cubicBezTo>
                  <a:pt x="2417" y="791"/>
                  <a:pt x="2417" y="791"/>
                  <a:pt x="2417" y="791"/>
                </a:cubicBezTo>
                <a:cubicBezTo>
                  <a:pt x="2415" y="789"/>
                  <a:pt x="2415" y="789"/>
                  <a:pt x="2415" y="789"/>
                </a:cubicBezTo>
                <a:cubicBezTo>
                  <a:pt x="2415" y="785"/>
                  <a:pt x="2415" y="785"/>
                  <a:pt x="2415" y="785"/>
                </a:cubicBezTo>
                <a:cubicBezTo>
                  <a:pt x="2416" y="788"/>
                  <a:pt x="2416" y="788"/>
                  <a:pt x="2416" y="788"/>
                </a:cubicBezTo>
                <a:cubicBezTo>
                  <a:pt x="2417" y="790"/>
                  <a:pt x="2417" y="790"/>
                  <a:pt x="2417" y="790"/>
                </a:cubicBezTo>
                <a:cubicBezTo>
                  <a:pt x="2419" y="790"/>
                  <a:pt x="2419" y="790"/>
                  <a:pt x="2419" y="790"/>
                </a:cubicBezTo>
                <a:cubicBezTo>
                  <a:pt x="2419" y="791"/>
                  <a:pt x="2419" y="791"/>
                  <a:pt x="2419" y="791"/>
                </a:cubicBezTo>
                <a:cubicBezTo>
                  <a:pt x="2423" y="792"/>
                  <a:pt x="2423" y="792"/>
                  <a:pt x="2423" y="792"/>
                </a:cubicBezTo>
                <a:cubicBezTo>
                  <a:pt x="2425" y="791"/>
                  <a:pt x="2425" y="791"/>
                  <a:pt x="2425" y="791"/>
                </a:cubicBezTo>
                <a:cubicBezTo>
                  <a:pt x="2425" y="792"/>
                  <a:pt x="2425" y="792"/>
                  <a:pt x="2425" y="792"/>
                </a:cubicBezTo>
                <a:cubicBezTo>
                  <a:pt x="2425" y="791"/>
                  <a:pt x="2425" y="791"/>
                  <a:pt x="2425" y="791"/>
                </a:cubicBezTo>
                <a:cubicBezTo>
                  <a:pt x="2426" y="791"/>
                  <a:pt x="2426" y="791"/>
                  <a:pt x="2426" y="791"/>
                </a:cubicBezTo>
                <a:cubicBezTo>
                  <a:pt x="2429" y="798"/>
                  <a:pt x="2429" y="798"/>
                  <a:pt x="2429" y="798"/>
                </a:cubicBezTo>
                <a:cubicBezTo>
                  <a:pt x="2430" y="799"/>
                  <a:pt x="2430" y="799"/>
                  <a:pt x="2430" y="799"/>
                </a:cubicBezTo>
                <a:cubicBezTo>
                  <a:pt x="2430" y="800"/>
                  <a:pt x="2430" y="800"/>
                  <a:pt x="2430" y="800"/>
                </a:cubicBezTo>
                <a:cubicBezTo>
                  <a:pt x="2430" y="803"/>
                  <a:pt x="2430" y="803"/>
                  <a:pt x="2430" y="803"/>
                </a:cubicBezTo>
                <a:cubicBezTo>
                  <a:pt x="2431" y="803"/>
                  <a:pt x="2431" y="803"/>
                  <a:pt x="2431" y="803"/>
                </a:cubicBezTo>
                <a:cubicBezTo>
                  <a:pt x="2430" y="806"/>
                  <a:pt x="2430" y="806"/>
                  <a:pt x="2430" y="806"/>
                </a:cubicBezTo>
                <a:cubicBezTo>
                  <a:pt x="2430" y="807"/>
                  <a:pt x="2430" y="807"/>
                  <a:pt x="2430" y="807"/>
                </a:cubicBezTo>
                <a:cubicBezTo>
                  <a:pt x="2432" y="805"/>
                  <a:pt x="2432" y="805"/>
                  <a:pt x="2432" y="805"/>
                </a:cubicBezTo>
                <a:cubicBezTo>
                  <a:pt x="2432" y="805"/>
                  <a:pt x="2432" y="805"/>
                  <a:pt x="2432" y="805"/>
                </a:cubicBezTo>
                <a:cubicBezTo>
                  <a:pt x="2432" y="806"/>
                  <a:pt x="2432" y="806"/>
                  <a:pt x="2432" y="806"/>
                </a:cubicBezTo>
                <a:cubicBezTo>
                  <a:pt x="2431" y="807"/>
                  <a:pt x="2431" y="807"/>
                  <a:pt x="2431" y="807"/>
                </a:cubicBezTo>
                <a:cubicBezTo>
                  <a:pt x="2432" y="809"/>
                  <a:pt x="2432" y="809"/>
                  <a:pt x="2432" y="809"/>
                </a:cubicBezTo>
                <a:cubicBezTo>
                  <a:pt x="2434" y="811"/>
                  <a:pt x="2434" y="811"/>
                  <a:pt x="2434" y="811"/>
                </a:cubicBezTo>
                <a:cubicBezTo>
                  <a:pt x="2435" y="815"/>
                  <a:pt x="2435" y="815"/>
                  <a:pt x="2435" y="815"/>
                </a:cubicBezTo>
                <a:cubicBezTo>
                  <a:pt x="2436" y="815"/>
                  <a:pt x="2436" y="815"/>
                  <a:pt x="2436" y="815"/>
                </a:cubicBezTo>
                <a:cubicBezTo>
                  <a:pt x="2435" y="812"/>
                  <a:pt x="2435" y="812"/>
                  <a:pt x="2435" y="812"/>
                </a:cubicBezTo>
                <a:cubicBezTo>
                  <a:pt x="2436" y="812"/>
                  <a:pt x="2436" y="812"/>
                  <a:pt x="2436" y="812"/>
                </a:cubicBezTo>
                <a:cubicBezTo>
                  <a:pt x="2436" y="812"/>
                  <a:pt x="2436" y="812"/>
                  <a:pt x="2436" y="812"/>
                </a:cubicBezTo>
                <a:cubicBezTo>
                  <a:pt x="2437" y="814"/>
                  <a:pt x="2437" y="814"/>
                  <a:pt x="2437" y="814"/>
                </a:cubicBezTo>
                <a:cubicBezTo>
                  <a:pt x="2437" y="817"/>
                  <a:pt x="2437" y="817"/>
                  <a:pt x="2437" y="817"/>
                </a:cubicBezTo>
                <a:cubicBezTo>
                  <a:pt x="2442" y="821"/>
                  <a:pt x="2442" y="821"/>
                  <a:pt x="2442" y="821"/>
                </a:cubicBezTo>
                <a:cubicBezTo>
                  <a:pt x="2441" y="819"/>
                  <a:pt x="2441" y="819"/>
                  <a:pt x="2441" y="819"/>
                </a:cubicBezTo>
                <a:cubicBezTo>
                  <a:pt x="2441" y="818"/>
                  <a:pt x="2441" y="818"/>
                  <a:pt x="2441" y="818"/>
                </a:cubicBezTo>
                <a:cubicBezTo>
                  <a:pt x="2442" y="819"/>
                  <a:pt x="2442" y="819"/>
                  <a:pt x="2442" y="819"/>
                </a:cubicBezTo>
                <a:cubicBezTo>
                  <a:pt x="2444" y="819"/>
                  <a:pt x="2444" y="819"/>
                  <a:pt x="2444" y="819"/>
                </a:cubicBezTo>
                <a:cubicBezTo>
                  <a:pt x="2443" y="821"/>
                  <a:pt x="2443" y="821"/>
                  <a:pt x="2443" y="821"/>
                </a:cubicBezTo>
                <a:cubicBezTo>
                  <a:pt x="2443" y="822"/>
                  <a:pt x="2443" y="822"/>
                  <a:pt x="2443" y="822"/>
                </a:cubicBezTo>
                <a:cubicBezTo>
                  <a:pt x="2445" y="821"/>
                  <a:pt x="2445" y="821"/>
                  <a:pt x="2445" y="821"/>
                </a:cubicBezTo>
                <a:cubicBezTo>
                  <a:pt x="2445" y="820"/>
                  <a:pt x="2445" y="820"/>
                  <a:pt x="2445" y="820"/>
                </a:cubicBezTo>
                <a:cubicBezTo>
                  <a:pt x="2446" y="821"/>
                  <a:pt x="2446" y="821"/>
                  <a:pt x="2446" y="821"/>
                </a:cubicBezTo>
                <a:cubicBezTo>
                  <a:pt x="2447" y="822"/>
                  <a:pt x="2447" y="822"/>
                  <a:pt x="2447" y="822"/>
                </a:cubicBezTo>
                <a:cubicBezTo>
                  <a:pt x="2448" y="823"/>
                  <a:pt x="2448" y="823"/>
                  <a:pt x="2448" y="823"/>
                </a:cubicBezTo>
                <a:cubicBezTo>
                  <a:pt x="2451" y="824"/>
                  <a:pt x="2451" y="824"/>
                  <a:pt x="2451" y="824"/>
                </a:cubicBezTo>
                <a:cubicBezTo>
                  <a:pt x="2453" y="827"/>
                  <a:pt x="2453" y="827"/>
                  <a:pt x="2453" y="827"/>
                </a:cubicBezTo>
                <a:cubicBezTo>
                  <a:pt x="2453" y="828"/>
                  <a:pt x="2453" y="828"/>
                  <a:pt x="2453" y="828"/>
                </a:cubicBezTo>
                <a:cubicBezTo>
                  <a:pt x="2452" y="829"/>
                  <a:pt x="2452" y="829"/>
                  <a:pt x="2452" y="829"/>
                </a:cubicBezTo>
                <a:cubicBezTo>
                  <a:pt x="2451" y="828"/>
                  <a:pt x="2451" y="828"/>
                  <a:pt x="2451" y="828"/>
                </a:cubicBezTo>
                <a:cubicBezTo>
                  <a:pt x="2449" y="828"/>
                  <a:pt x="2449" y="828"/>
                  <a:pt x="2449" y="828"/>
                </a:cubicBezTo>
                <a:cubicBezTo>
                  <a:pt x="2451" y="830"/>
                  <a:pt x="2451" y="830"/>
                  <a:pt x="2451" y="830"/>
                </a:cubicBezTo>
                <a:cubicBezTo>
                  <a:pt x="2451" y="830"/>
                  <a:pt x="2451" y="830"/>
                  <a:pt x="2451" y="830"/>
                </a:cubicBezTo>
                <a:cubicBezTo>
                  <a:pt x="2451" y="831"/>
                  <a:pt x="2451" y="831"/>
                  <a:pt x="2451" y="831"/>
                </a:cubicBezTo>
                <a:cubicBezTo>
                  <a:pt x="2449" y="830"/>
                  <a:pt x="2449" y="830"/>
                  <a:pt x="2449" y="830"/>
                </a:cubicBezTo>
                <a:cubicBezTo>
                  <a:pt x="2449" y="829"/>
                  <a:pt x="2449" y="829"/>
                  <a:pt x="2449" y="829"/>
                </a:cubicBezTo>
                <a:cubicBezTo>
                  <a:pt x="2447" y="828"/>
                  <a:pt x="2447" y="828"/>
                  <a:pt x="2447" y="828"/>
                </a:cubicBezTo>
                <a:cubicBezTo>
                  <a:pt x="2447" y="829"/>
                  <a:pt x="2447" y="829"/>
                  <a:pt x="2447" y="829"/>
                </a:cubicBezTo>
                <a:cubicBezTo>
                  <a:pt x="2449" y="831"/>
                  <a:pt x="2449" y="831"/>
                  <a:pt x="2449" y="831"/>
                </a:cubicBezTo>
                <a:cubicBezTo>
                  <a:pt x="2449" y="832"/>
                  <a:pt x="2449" y="832"/>
                  <a:pt x="2449" y="832"/>
                </a:cubicBezTo>
                <a:cubicBezTo>
                  <a:pt x="2451" y="834"/>
                  <a:pt x="2451" y="834"/>
                  <a:pt x="2451" y="834"/>
                </a:cubicBezTo>
                <a:cubicBezTo>
                  <a:pt x="2455" y="836"/>
                  <a:pt x="2455" y="836"/>
                  <a:pt x="2455" y="836"/>
                </a:cubicBezTo>
                <a:cubicBezTo>
                  <a:pt x="2454" y="832"/>
                  <a:pt x="2454" y="832"/>
                  <a:pt x="2454" y="832"/>
                </a:cubicBezTo>
                <a:cubicBezTo>
                  <a:pt x="2453" y="830"/>
                  <a:pt x="2453" y="830"/>
                  <a:pt x="2453" y="830"/>
                </a:cubicBezTo>
                <a:cubicBezTo>
                  <a:pt x="2456" y="832"/>
                  <a:pt x="2456" y="832"/>
                  <a:pt x="2456" y="832"/>
                </a:cubicBezTo>
                <a:cubicBezTo>
                  <a:pt x="2456" y="834"/>
                  <a:pt x="2456" y="834"/>
                  <a:pt x="2456" y="834"/>
                </a:cubicBezTo>
                <a:cubicBezTo>
                  <a:pt x="2457" y="835"/>
                  <a:pt x="2457" y="835"/>
                  <a:pt x="2457" y="835"/>
                </a:cubicBezTo>
                <a:cubicBezTo>
                  <a:pt x="2458" y="837"/>
                  <a:pt x="2458" y="837"/>
                  <a:pt x="2458" y="837"/>
                </a:cubicBezTo>
                <a:cubicBezTo>
                  <a:pt x="2458" y="840"/>
                  <a:pt x="2458" y="840"/>
                  <a:pt x="2458" y="840"/>
                </a:cubicBezTo>
                <a:cubicBezTo>
                  <a:pt x="2460" y="841"/>
                  <a:pt x="2460" y="841"/>
                  <a:pt x="2460" y="841"/>
                </a:cubicBezTo>
                <a:cubicBezTo>
                  <a:pt x="2459" y="841"/>
                  <a:pt x="2459" y="841"/>
                  <a:pt x="2459" y="841"/>
                </a:cubicBezTo>
                <a:cubicBezTo>
                  <a:pt x="2460" y="842"/>
                  <a:pt x="2460" y="842"/>
                  <a:pt x="2460" y="842"/>
                </a:cubicBezTo>
                <a:cubicBezTo>
                  <a:pt x="2461" y="843"/>
                  <a:pt x="2461" y="843"/>
                  <a:pt x="2461" y="843"/>
                </a:cubicBezTo>
                <a:cubicBezTo>
                  <a:pt x="2461" y="847"/>
                  <a:pt x="2461" y="847"/>
                  <a:pt x="2461" y="847"/>
                </a:cubicBezTo>
                <a:cubicBezTo>
                  <a:pt x="2463" y="851"/>
                  <a:pt x="2463" y="851"/>
                  <a:pt x="2463" y="851"/>
                </a:cubicBezTo>
                <a:cubicBezTo>
                  <a:pt x="2464" y="852"/>
                  <a:pt x="2464" y="852"/>
                  <a:pt x="2464" y="852"/>
                </a:cubicBezTo>
                <a:cubicBezTo>
                  <a:pt x="2462" y="853"/>
                  <a:pt x="2462" y="853"/>
                  <a:pt x="2462" y="853"/>
                </a:cubicBezTo>
                <a:cubicBezTo>
                  <a:pt x="2460" y="864"/>
                  <a:pt x="2460" y="864"/>
                  <a:pt x="2460" y="864"/>
                </a:cubicBezTo>
                <a:cubicBezTo>
                  <a:pt x="2461" y="866"/>
                  <a:pt x="2461" y="866"/>
                  <a:pt x="2461" y="866"/>
                </a:cubicBezTo>
                <a:cubicBezTo>
                  <a:pt x="2460" y="866"/>
                  <a:pt x="2460" y="866"/>
                  <a:pt x="2460" y="866"/>
                </a:cubicBezTo>
                <a:cubicBezTo>
                  <a:pt x="2460" y="867"/>
                  <a:pt x="2460" y="867"/>
                  <a:pt x="2460" y="867"/>
                </a:cubicBezTo>
                <a:cubicBezTo>
                  <a:pt x="2462" y="865"/>
                  <a:pt x="2462" y="865"/>
                  <a:pt x="2462" y="865"/>
                </a:cubicBezTo>
                <a:cubicBezTo>
                  <a:pt x="2464" y="863"/>
                  <a:pt x="2464" y="863"/>
                  <a:pt x="2464" y="863"/>
                </a:cubicBezTo>
                <a:cubicBezTo>
                  <a:pt x="2465" y="860"/>
                  <a:pt x="2465" y="860"/>
                  <a:pt x="2465" y="860"/>
                </a:cubicBezTo>
                <a:cubicBezTo>
                  <a:pt x="2465" y="863"/>
                  <a:pt x="2465" y="863"/>
                  <a:pt x="2465" y="863"/>
                </a:cubicBezTo>
                <a:cubicBezTo>
                  <a:pt x="2463" y="866"/>
                  <a:pt x="2463" y="866"/>
                  <a:pt x="2463" y="866"/>
                </a:cubicBezTo>
                <a:cubicBezTo>
                  <a:pt x="2463" y="869"/>
                  <a:pt x="2463" y="869"/>
                  <a:pt x="2463" y="869"/>
                </a:cubicBezTo>
                <a:cubicBezTo>
                  <a:pt x="2464" y="869"/>
                  <a:pt x="2464" y="869"/>
                  <a:pt x="2464" y="869"/>
                </a:cubicBezTo>
                <a:cubicBezTo>
                  <a:pt x="2464" y="867"/>
                  <a:pt x="2464" y="867"/>
                  <a:pt x="2464" y="867"/>
                </a:cubicBezTo>
                <a:cubicBezTo>
                  <a:pt x="2467" y="866"/>
                  <a:pt x="2467" y="866"/>
                  <a:pt x="2467" y="866"/>
                </a:cubicBezTo>
                <a:cubicBezTo>
                  <a:pt x="2468" y="867"/>
                  <a:pt x="2468" y="867"/>
                  <a:pt x="2468" y="867"/>
                </a:cubicBezTo>
                <a:cubicBezTo>
                  <a:pt x="2469" y="867"/>
                  <a:pt x="2469" y="867"/>
                  <a:pt x="2469" y="867"/>
                </a:cubicBezTo>
                <a:cubicBezTo>
                  <a:pt x="2469" y="866"/>
                  <a:pt x="2469" y="866"/>
                  <a:pt x="2469" y="866"/>
                </a:cubicBezTo>
                <a:cubicBezTo>
                  <a:pt x="2469" y="867"/>
                  <a:pt x="2469" y="867"/>
                  <a:pt x="2469" y="867"/>
                </a:cubicBezTo>
                <a:cubicBezTo>
                  <a:pt x="2470" y="867"/>
                  <a:pt x="2470" y="867"/>
                  <a:pt x="2470" y="867"/>
                </a:cubicBezTo>
                <a:cubicBezTo>
                  <a:pt x="2471" y="866"/>
                  <a:pt x="2471" y="866"/>
                  <a:pt x="2471" y="866"/>
                </a:cubicBezTo>
                <a:cubicBezTo>
                  <a:pt x="2473" y="866"/>
                  <a:pt x="2473" y="866"/>
                  <a:pt x="2473" y="866"/>
                </a:cubicBezTo>
                <a:cubicBezTo>
                  <a:pt x="2477" y="864"/>
                  <a:pt x="2477" y="864"/>
                  <a:pt x="2477" y="864"/>
                </a:cubicBezTo>
                <a:cubicBezTo>
                  <a:pt x="2477" y="862"/>
                  <a:pt x="2477" y="862"/>
                  <a:pt x="2477" y="862"/>
                </a:cubicBezTo>
                <a:lnTo>
                  <a:pt x="2478" y="862"/>
                </a:lnTo>
                <a:close/>
                <a:moveTo>
                  <a:pt x="2594" y="883"/>
                </a:moveTo>
                <a:cubicBezTo>
                  <a:pt x="2594" y="883"/>
                  <a:pt x="2594" y="883"/>
                  <a:pt x="2594" y="883"/>
                </a:cubicBezTo>
                <a:cubicBezTo>
                  <a:pt x="2592" y="883"/>
                  <a:pt x="2592" y="883"/>
                  <a:pt x="2592" y="883"/>
                </a:cubicBezTo>
                <a:lnTo>
                  <a:pt x="2594" y="883"/>
                </a:lnTo>
                <a:close/>
                <a:moveTo>
                  <a:pt x="1735" y="173"/>
                </a:moveTo>
                <a:cubicBezTo>
                  <a:pt x="1734" y="169"/>
                  <a:pt x="1734" y="169"/>
                  <a:pt x="1734" y="169"/>
                </a:cubicBezTo>
                <a:cubicBezTo>
                  <a:pt x="1735" y="173"/>
                  <a:pt x="1735" y="173"/>
                  <a:pt x="1735" y="173"/>
                </a:cubicBezTo>
                <a:close/>
                <a:moveTo>
                  <a:pt x="1753" y="726"/>
                </a:moveTo>
                <a:cubicBezTo>
                  <a:pt x="1757" y="806"/>
                  <a:pt x="1757" y="806"/>
                  <a:pt x="1757" y="806"/>
                </a:cubicBezTo>
                <a:cubicBezTo>
                  <a:pt x="1758" y="826"/>
                  <a:pt x="1758" y="826"/>
                  <a:pt x="1758" y="826"/>
                </a:cubicBezTo>
                <a:lnTo>
                  <a:pt x="1753" y="726"/>
                </a:lnTo>
                <a:close/>
                <a:moveTo>
                  <a:pt x="1857" y="690"/>
                </a:moveTo>
                <a:cubicBezTo>
                  <a:pt x="1857" y="690"/>
                  <a:pt x="1857" y="690"/>
                  <a:pt x="1857" y="690"/>
                </a:cubicBezTo>
                <a:cubicBezTo>
                  <a:pt x="1858" y="690"/>
                  <a:pt x="1858" y="690"/>
                  <a:pt x="1858" y="690"/>
                </a:cubicBezTo>
                <a:lnTo>
                  <a:pt x="1857" y="690"/>
                </a:lnTo>
                <a:close/>
                <a:moveTo>
                  <a:pt x="1858" y="680"/>
                </a:moveTo>
                <a:cubicBezTo>
                  <a:pt x="1858" y="680"/>
                  <a:pt x="1858" y="680"/>
                  <a:pt x="1858" y="680"/>
                </a:cubicBezTo>
                <a:cubicBezTo>
                  <a:pt x="1857" y="680"/>
                  <a:pt x="1857" y="680"/>
                  <a:pt x="1857" y="680"/>
                </a:cubicBezTo>
                <a:cubicBezTo>
                  <a:pt x="1858" y="680"/>
                  <a:pt x="1858" y="680"/>
                  <a:pt x="1858" y="680"/>
                </a:cubicBezTo>
                <a:close/>
                <a:moveTo>
                  <a:pt x="2061" y="825"/>
                </a:moveTo>
                <a:cubicBezTo>
                  <a:pt x="2032" y="834"/>
                  <a:pt x="2032" y="834"/>
                  <a:pt x="2032" y="834"/>
                </a:cubicBezTo>
                <a:cubicBezTo>
                  <a:pt x="1994" y="845"/>
                  <a:pt x="1994" y="845"/>
                  <a:pt x="1994" y="845"/>
                </a:cubicBezTo>
                <a:lnTo>
                  <a:pt x="2061" y="825"/>
                </a:lnTo>
                <a:close/>
                <a:moveTo>
                  <a:pt x="1950" y="726"/>
                </a:moveTo>
                <a:cubicBezTo>
                  <a:pt x="1969" y="727"/>
                  <a:pt x="1969" y="727"/>
                  <a:pt x="1969" y="727"/>
                </a:cubicBezTo>
                <a:cubicBezTo>
                  <a:pt x="1970" y="727"/>
                  <a:pt x="1970" y="727"/>
                  <a:pt x="1970" y="727"/>
                </a:cubicBezTo>
                <a:lnTo>
                  <a:pt x="1950" y="726"/>
                </a:lnTo>
                <a:close/>
                <a:moveTo>
                  <a:pt x="2033" y="638"/>
                </a:moveTo>
                <a:cubicBezTo>
                  <a:pt x="2031" y="637"/>
                  <a:pt x="2031" y="637"/>
                  <a:pt x="2031" y="637"/>
                </a:cubicBezTo>
                <a:cubicBezTo>
                  <a:pt x="2025" y="637"/>
                  <a:pt x="2025" y="637"/>
                  <a:pt x="2025" y="637"/>
                </a:cubicBezTo>
                <a:cubicBezTo>
                  <a:pt x="2020" y="637"/>
                  <a:pt x="2020" y="637"/>
                  <a:pt x="2020" y="637"/>
                </a:cubicBezTo>
                <a:cubicBezTo>
                  <a:pt x="2014" y="639"/>
                  <a:pt x="2014" y="639"/>
                  <a:pt x="2014" y="639"/>
                </a:cubicBezTo>
                <a:cubicBezTo>
                  <a:pt x="2011" y="639"/>
                  <a:pt x="2011" y="639"/>
                  <a:pt x="2011" y="639"/>
                </a:cubicBezTo>
                <a:cubicBezTo>
                  <a:pt x="2004" y="637"/>
                  <a:pt x="2004" y="637"/>
                  <a:pt x="2004" y="637"/>
                </a:cubicBezTo>
                <a:cubicBezTo>
                  <a:pt x="2002" y="637"/>
                  <a:pt x="2002" y="637"/>
                  <a:pt x="2002" y="637"/>
                </a:cubicBezTo>
                <a:cubicBezTo>
                  <a:pt x="1997" y="635"/>
                  <a:pt x="1997" y="635"/>
                  <a:pt x="1997" y="635"/>
                </a:cubicBezTo>
                <a:cubicBezTo>
                  <a:pt x="1996" y="633"/>
                  <a:pt x="1996" y="633"/>
                  <a:pt x="1996" y="633"/>
                </a:cubicBezTo>
                <a:cubicBezTo>
                  <a:pt x="1995" y="631"/>
                  <a:pt x="1995" y="631"/>
                  <a:pt x="1995" y="631"/>
                </a:cubicBezTo>
                <a:cubicBezTo>
                  <a:pt x="1993" y="631"/>
                  <a:pt x="1993" y="631"/>
                  <a:pt x="1993" y="631"/>
                </a:cubicBezTo>
                <a:cubicBezTo>
                  <a:pt x="1991" y="629"/>
                  <a:pt x="1991" y="629"/>
                  <a:pt x="1991" y="629"/>
                </a:cubicBezTo>
                <a:cubicBezTo>
                  <a:pt x="1989" y="630"/>
                  <a:pt x="1989" y="630"/>
                  <a:pt x="1989" y="630"/>
                </a:cubicBezTo>
                <a:cubicBezTo>
                  <a:pt x="1987" y="630"/>
                  <a:pt x="1987" y="630"/>
                  <a:pt x="1987" y="630"/>
                </a:cubicBezTo>
                <a:cubicBezTo>
                  <a:pt x="1985" y="630"/>
                  <a:pt x="1985" y="630"/>
                  <a:pt x="1985" y="630"/>
                </a:cubicBezTo>
                <a:cubicBezTo>
                  <a:pt x="1983" y="628"/>
                  <a:pt x="1983" y="628"/>
                  <a:pt x="1983" y="628"/>
                </a:cubicBezTo>
                <a:cubicBezTo>
                  <a:pt x="1981" y="627"/>
                  <a:pt x="1981" y="627"/>
                  <a:pt x="1981" y="627"/>
                </a:cubicBezTo>
                <a:cubicBezTo>
                  <a:pt x="1980" y="627"/>
                  <a:pt x="1980" y="627"/>
                  <a:pt x="1980" y="627"/>
                </a:cubicBezTo>
                <a:cubicBezTo>
                  <a:pt x="1981" y="624"/>
                  <a:pt x="1981" y="624"/>
                  <a:pt x="1981" y="624"/>
                </a:cubicBezTo>
                <a:cubicBezTo>
                  <a:pt x="1981" y="622"/>
                  <a:pt x="1981" y="622"/>
                  <a:pt x="1981" y="622"/>
                </a:cubicBezTo>
                <a:cubicBezTo>
                  <a:pt x="1979" y="620"/>
                  <a:pt x="1979" y="620"/>
                  <a:pt x="1979" y="620"/>
                </a:cubicBezTo>
                <a:cubicBezTo>
                  <a:pt x="1979" y="619"/>
                  <a:pt x="1979" y="619"/>
                  <a:pt x="1979" y="619"/>
                </a:cubicBezTo>
                <a:cubicBezTo>
                  <a:pt x="1979" y="615"/>
                  <a:pt x="1979" y="615"/>
                  <a:pt x="1979" y="615"/>
                </a:cubicBezTo>
                <a:cubicBezTo>
                  <a:pt x="1979" y="614"/>
                  <a:pt x="1979" y="614"/>
                  <a:pt x="1979" y="614"/>
                </a:cubicBezTo>
                <a:cubicBezTo>
                  <a:pt x="1979" y="613"/>
                  <a:pt x="1979" y="613"/>
                  <a:pt x="1979" y="613"/>
                </a:cubicBezTo>
                <a:cubicBezTo>
                  <a:pt x="1978" y="610"/>
                  <a:pt x="1978" y="610"/>
                  <a:pt x="1978" y="610"/>
                </a:cubicBezTo>
                <a:cubicBezTo>
                  <a:pt x="1979" y="608"/>
                  <a:pt x="1979" y="608"/>
                  <a:pt x="1979" y="608"/>
                </a:cubicBezTo>
                <a:cubicBezTo>
                  <a:pt x="1980" y="608"/>
                  <a:pt x="1980" y="608"/>
                  <a:pt x="1980" y="608"/>
                </a:cubicBezTo>
                <a:cubicBezTo>
                  <a:pt x="1981" y="609"/>
                  <a:pt x="1981" y="609"/>
                  <a:pt x="1981" y="609"/>
                </a:cubicBezTo>
                <a:cubicBezTo>
                  <a:pt x="1980" y="611"/>
                  <a:pt x="1980" y="611"/>
                  <a:pt x="1980" y="611"/>
                </a:cubicBezTo>
                <a:cubicBezTo>
                  <a:pt x="1981" y="613"/>
                  <a:pt x="1981" y="613"/>
                  <a:pt x="1981" y="613"/>
                </a:cubicBezTo>
                <a:cubicBezTo>
                  <a:pt x="1982" y="611"/>
                  <a:pt x="1982" y="611"/>
                  <a:pt x="1982" y="611"/>
                </a:cubicBezTo>
                <a:cubicBezTo>
                  <a:pt x="1982" y="608"/>
                  <a:pt x="1982" y="608"/>
                  <a:pt x="1982" y="608"/>
                </a:cubicBezTo>
                <a:cubicBezTo>
                  <a:pt x="1982" y="607"/>
                  <a:pt x="1982" y="607"/>
                  <a:pt x="1982" y="607"/>
                </a:cubicBezTo>
                <a:cubicBezTo>
                  <a:pt x="1982" y="605"/>
                  <a:pt x="1982" y="605"/>
                  <a:pt x="1982" y="605"/>
                </a:cubicBezTo>
                <a:cubicBezTo>
                  <a:pt x="1982" y="604"/>
                  <a:pt x="1982" y="604"/>
                  <a:pt x="1982" y="604"/>
                </a:cubicBezTo>
                <a:cubicBezTo>
                  <a:pt x="1982" y="603"/>
                  <a:pt x="1982" y="603"/>
                  <a:pt x="1982" y="603"/>
                </a:cubicBezTo>
                <a:cubicBezTo>
                  <a:pt x="1983" y="601"/>
                  <a:pt x="1983" y="601"/>
                  <a:pt x="1983" y="601"/>
                </a:cubicBezTo>
                <a:cubicBezTo>
                  <a:pt x="1983" y="599"/>
                  <a:pt x="1983" y="599"/>
                  <a:pt x="1983" y="599"/>
                </a:cubicBezTo>
                <a:cubicBezTo>
                  <a:pt x="1982" y="597"/>
                  <a:pt x="1982" y="597"/>
                  <a:pt x="1982" y="597"/>
                </a:cubicBezTo>
                <a:cubicBezTo>
                  <a:pt x="1985" y="594"/>
                  <a:pt x="1985" y="594"/>
                  <a:pt x="1985" y="594"/>
                </a:cubicBezTo>
                <a:cubicBezTo>
                  <a:pt x="1988" y="594"/>
                  <a:pt x="1988" y="594"/>
                  <a:pt x="1988" y="594"/>
                </a:cubicBezTo>
                <a:cubicBezTo>
                  <a:pt x="1990" y="593"/>
                  <a:pt x="1990" y="593"/>
                  <a:pt x="1990" y="593"/>
                </a:cubicBezTo>
                <a:cubicBezTo>
                  <a:pt x="1991" y="593"/>
                  <a:pt x="1991" y="593"/>
                  <a:pt x="1991" y="593"/>
                </a:cubicBezTo>
                <a:cubicBezTo>
                  <a:pt x="1990" y="591"/>
                  <a:pt x="1990" y="591"/>
                  <a:pt x="1990" y="591"/>
                </a:cubicBezTo>
                <a:cubicBezTo>
                  <a:pt x="1987" y="590"/>
                  <a:pt x="1987" y="590"/>
                  <a:pt x="1987" y="590"/>
                </a:cubicBezTo>
                <a:cubicBezTo>
                  <a:pt x="1984" y="590"/>
                  <a:pt x="1984" y="590"/>
                  <a:pt x="1984" y="590"/>
                </a:cubicBezTo>
                <a:cubicBezTo>
                  <a:pt x="1982" y="588"/>
                  <a:pt x="1982" y="588"/>
                  <a:pt x="1982" y="588"/>
                </a:cubicBezTo>
                <a:cubicBezTo>
                  <a:pt x="1982" y="587"/>
                  <a:pt x="1982" y="587"/>
                  <a:pt x="1982" y="587"/>
                </a:cubicBezTo>
                <a:cubicBezTo>
                  <a:pt x="1978" y="584"/>
                  <a:pt x="1978" y="584"/>
                  <a:pt x="1978" y="584"/>
                </a:cubicBezTo>
                <a:cubicBezTo>
                  <a:pt x="1977" y="581"/>
                  <a:pt x="1977" y="581"/>
                  <a:pt x="1977" y="581"/>
                </a:cubicBezTo>
                <a:cubicBezTo>
                  <a:pt x="1977" y="579"/>
                  <a:pt x="1977" y="579"/>
                  <a:pt x="1977" y="579"/>
                </a:cubicBezTo>
                <a:cubicBezTo>
                  <a:pt x="1974" y="575"/>
                  <a:pt x="1974" y="575"/>
                  <a:pt x="1974" y="575"/>
                </a:cubicBezTo>
                <a:cubicBezTo>
                  <a:pt x="1972" y="574"/>
                  <a:pt x="1972" y="574"/>
                  <a:pt x="1972" y="574"/>
                </a:cubicBezTo>
                <a:cubicBezTo>
                  <a:pt x="1968" y="578"/>
                  <a:pt x="1968" y="578"/>
                  <a:pt x="1968" y="578"/>
                </a:cubicBezTo>
                <a:cubicBezTo>
                  <a:pt x="1971" y="574"/>
                  <a:pt x="1971" y="574"/>
                  <a:pt x="1971" y="574"/>
                </a:cubicBezTo>
                <a:cubicBezTo>
                  <a:pt x="1972" y="574"/>
                  <a:pt x="1972" y="574"/>
                  <a:pt x="1972" y="574"/>
                </a:cubicBezTo>
                <a:cubicBezTo>
                  <a:pt x="1971" y="573"/>
                  <a:pt x="1971" y="573"/>
                  <a:pt x="1971" y="573"/>
                </a:cubicBezTo>
                <a:cubicBezTo>
                  <a:pt x="1965" y="569"/>
                  <a:pt x="1965" y="569"/>
                  <a:pt x="1965" y="569"/>
                </a:cubicBezTo>
                <a:cubicBezTo>
                  <a:pt x="1961" y="564"/>
                  <a:pt x="1961" y="564"/>
                  <a:pt x="1961" y="564"/>
                </a:cubicBezTo>
                <a:cubicBezTo>
                  <a:pt x="1961" y="561"/>
                  <a:pt x="1961" y="561"/>
                  <a:pt x="1961" y="561"/>
                </a:cubicBezTo>
                <a:cubicBezTo>
                  <a:pt x="1959" y="559"/>
                  <a:pt x="1959" y="559"/>
                  <a:pt x="1959" y="559"/>
                </a:cubicBezTo>
                <a:cubicBezTo>
                  <a:pt x="1959" y="556"/>
                  <a:pt x="1959" y="556"/>
                  <a:pt x="1959" y="556"/>
                </a:cubicBezTo>
                <a:cubicBezTo>
                  <a:pt x="1958" y="555"/>
                  <a:pt x="1958" y="555"/>
                  <a:pt x="1958" y="555"/>
                </a:cubicBezTo>
                <a:cubicBezTo>
                  <a:pt x="1958" y="554"/>
                  <a:pt x="1958" y="554"/>
                  <a:pt x="1958" y="554"/>
                </a:cubicBezTo>
                <a:cubicBezTo>
                  <a:pt x="1957" y="554"/>
                  <a:pt x="1957" y="554"/>
                  <a:pt x="1957" y="554"/>
                </a:cubicBezTo>
                <a:cubicBezTo>
                  <a:pt x="1957" y="552"/>
                  <a:pt x="1957" y="552"/>
                  <a:pt x="1957" y="552"/>
                </a:cubicBezTo>
                <a:cubicBezTo>
                  <a:pt x="1958" y="553"/>
                  <a:pt x="1958" y="553"/>
                  <a:pt x="1958" y="553"/>
                </a:cubicBezTo>
                <a:cubicBezTo>
                  <a:pt x="1959" y="551"/>
                  <a:pt x="1959" y="551"/>
                  <a:pt x="1959" y="551"/>
                </a:cubicBezTo>
                <a:cubicBezTo>
                  <a:pt x="1959" y="549"/>
                  <a:pt x="1959" y="549"/>
                  <a:pt x="1959" y="549"/>
                </a:cubicBezTo>
                <a:cubicBezTo>
                  <a:pt x="1958" y="549"/>
                  <a:pt x="1958" y="549"/>
                  <a:pt x="1958" y="549"/>
                </a:cubicBezTo>
                <a:cubicBezTo>
                  <a:pt x="1957" y="550"/>
                  <a:pt x="1957" y="550"/>
                  <a:pt x="1957" y="550"/>
                </a:cubicBezTo>
                <a:cubicBezTo>
                  <a:pt x="1955" y="549"/>
                  <a:pt x="1955" y="549"/>
                  <a:pt x="1955" y="549"/>
                </a:cubicBezTo>
                <a:cubicBezTo>
                  <a:pt x="1955" y="545"/>
                  <a:pt x="1955" y="545"/>
                  <a:pt x="1955" y="545"/>
                </a:cubicBezTo>
                <a:cubicBezTo>
                  <a:pt x="1953" y="545"/>
                  <a:pt x="1953" y="545"/>
                  <a:pt x="1953" y="545"/>
                </a:cubicBezTo>
                <a:cubicBezTo>
                  <a:pt x="1952" y="543"/>
                  <a:pt x="1952" y="543"/>
                  <a:pt x="1952" y="543"/>
                </a:cubicBezTo>
                <a:cubicBezTo>
                  <a:pt x="1950" y="543"/>
                  <a:pt x="1950" y="543"/>
                  <a:pt x="1950" y="543"/>
                </a:cubicBezTo>
                <a:cubicBezTo>
                  <a:pt x="1949" y="543"/>
                  <a:pt x="1949" y="543"/>
                  <a:pt x="1949" y="543"/>
                </a:cubicBezTo>
                <a:cubicBezTo>
                  <a:pt x="1948" y="540"/>
                  <a:pt x="1948" y="540"/>
                  <a:pt x="1948" y="540"/>
                </a:cubicBezTo>
                <a:cubicBezTo>
                  <a:pt x="1948" y="538"/>
                  <a:pt x="1948" y="538"/>
                  <a:pt x="1948" y="538"/>
                </a:cubicBezTo>
                <a:cubicBezTo>
                  <a:pt x="1950" y="537"/>
                  <a:pt x="1950" y="537"/>
                  <a:pt x="1950" y="537"/>
                </a:cubicBezTo>
                <a:cubicBezTo>
                  <a:pt x="1950" y="533"/>
                  <a:pt x="1950" y="533"/>
                  <a:pt x="1950" y="533"/>
                </a:cubicBezTo>
                <a:cubicBezTo>
                  <a:pt x="1950" y="532"/>
                  <a:pt x="1950" y="532"/>
                  <a:pt x="1950" y="532"/>
                </a:cubicBezTo>
                <a:cubicBezTo>
                  <a:pt x="1951" y="530"/>
                  <a:pt x="1951" y="530"/>
                  <a:pt x="1951" y="530"/>
                </a:cubicBezTo>
                <a:cubicBezTo>
                  <a:pt x="1952" y="529"/>
                  <a:pt x="1952" y="529"/>
                  <a:pt x="1952" y="529"/>
                </a:cubicBezTo>
                <a:cubicBezTo>
                  <a:pt x="1953" y="527"/>
                  <a:pt x="1953" y="527"/>
                  <a:pt x="1953" y="527"/>
                </a:cubicBezTo>
                <a:cubicBezTo>
                  <a:pt x="1953" y="525"/>
                  <a:pt x="1953" y="525"/>
                  <a:pt x="1953" y="525"/>
                </a:cubicBezTo>
                <a:cubicBezTo>
                  <a:pt x="1953" y="524"/>
                  <a:pt x="1953" y="524"/>
                  <a:pt x="1953" y="524"/>
                </a:cubicBezTo>
                <a:cubicBezTo>
                  <a:pt x="1955" y="524"/>
                  <a:pt x="1955" y="524"/>
                  <a:pt x="1955" y="524"/>
                </a:cubicBezTo>
                <a:cubicBezTo>
                  <a:pt x="1955" y="525"/>
                  <a:pt x="1955" y="525"/>
                  <a:pt x="1955" y="525"/>
                </a:cubicBezTo>
                <a:cubicBezTo>
                  <a:pt x="1956" y="525"/>
                  <a:pt x="1956" y="525"/>
                  <a:pt x="1956" y="525"/>
                </a:cubicBezTo>
                <a:cubicBezTo>
                  <a:pt x="1957" y="523"/>
                  <a:pt x="1957" y="523"/>
                  <a:pt x="1957" y="523"/>
                </a:cubicBezTo>
                <a:cubicBezTo>
                  <a:pt x="1958" y="524"/>
                  <a:pt x="1958" y="524"/>
                  <a:pt x="1958" y="524"/>
                </a:cubicBezTo>
                <a:cubicBezTo>
                  <a:pt x="1959" y="523"/>
                  <a:pt x="1959" y="523"/>
                  <a:pt x="1959" y="523"/>
                </a:cubicBezTo>
                <a:cubicBezTo>
                  <a:pt x="1960" y="523"/>
                  <a:pt x="1960" y="523"/>
                  <a:pt x="1960" y="523"/>
                </a:cubicBezTo>
                <a:cubicBezTo>
                  <a:pt x="1961" y="522"/>
                  <a:pt x="1961" y="522"/>
                  <a:pt x="1961" y="522"/>
                </a:cubicBezTo>
                <a:cubicBezTo>
                  <a:pt x="1961" y="522"/>
                  <a:pt x="1961" y="522"/>
                  <a:pt x="1961" y="522"/>
                </a:cubicBezTo>
                <a:cubicBezTo>
                  <a:pt x="1960" y="521"/>
                  <a:pt x="1960" y="521"/>
                  <a:pt x="1960" y="521"/>
                </a:cubicBezTo>
                <a:cubicBezTo>
                  <a:pt x="1961" y="521"/>
                  <a:pt x="1961" y="521"/>
                  <a:pt x="1961" y="521"/>
                </a:cubicBezTo>
                <a:cubicBezTo>
                  <a:pt x="1961" y="521"/>
                  <a:pt x="1961" y="521"/>
                  <a:pt x="1961" y="521"/>
                </a:cubicBezTo>
                <a:cubicBezTo>
                  <a:pt x="1962" y="521"/>
                  <a:pt x="1963" y="521"/>
                  <a:pt x="1963" y="521"/>
                </a:cubicBezTo>
                <a:cubicBezTo>
                  <a:pt x="1964" y="522"/>
                  <a:pt x="1964" y="522"/>
                  <a:pt x="1964" y="522"/>
                </a:cubicBezTo>
                <a:cubicBezTo>
                  <a:pt x="1965" y="521"/>
                  <a:pt x="1965" y="521"/>
                  <a:pt x="1965" y="521"/>
                </a:cubicBezTo>
                <a:cubicBezTo>
                  <a:pt x="1964" y="520"/>
                  <a:pt x="1964" y="520"/>
                  <a:pt x="1964" y="520"/>
                </a:cubicBezTo>
                <a:cubicBezTo>
                  <a:pt x="1961" y="518"/>
                  <a:pt x="1961" y="518"/>
                  <a:pt x="1961" y="518"/>
                </a:cubicBezTo>
                <a:cubicBezTo>
                  <a:pt x="1963" y="518"/>
                  <a:pt x="1963" y="518"/>
                  <a:pt x="1963" y="518"/>
                </a:cubicBezTo>
                <a:cubicBezTo>
                  <a:pt x="1965" y="519"/>
                  <a:pt x="1965" y="519"/>
                  <a:pt x="1965" y="519"/>
                </a:cubicBezTo>
                <a:cubicBezTo>
                  <a:pt x="1965" y="518"/>
                  <a:pt x="1965" y="518"/>
                  <a:pt x="1965" y="518"/>
                </a:cubicBezTo>
                <a:cubicBezTo>
                  <a:pt x="1967" y="519"/>
                  <a:pt x="1967" y="519"/>
                  <a:pt x="1967" y="519"/>
                </a:cubicBezTo>
                <a:cubicBezTo>
                  <a:pt x="1967" y="518"/>
                  <a:pt x="1967" y="518"/>
                  <a:pt x="1967" y="518"/>
                </a:cubicBezTo>
                <a:cubicBezTo>
                  <a:pt x="1966" y="517"/>
                  <a:pt x="1966" y="517"/>
                  <a:pt x="1966" y="517"/>
                </a:cubicBezTo>
                <a:cubicBezTo>
                  <a:pt x="1967" y="517"/>
                  <a:pt x="1967" y="517"/>
                  <a:pt x="1967" y="517"/>
                </a:cubicBezTo>
                <a:cubicBezTo>
                  <a:pt x="1967" y="516"/>
                  <a:pt x="1967" y="516"/>
                  <a:pt x="1967" y="516"/>
                </a:cubicBezTo>
                <a:cubicBezTo>
                  <a:pt x="1966" y="515"/>
                  <a:pt x="1966" y="515"/>
                  <a:pt x="1966" y="515"/>
                </a:cubicBezTo>
                <a:cubicBezTo>
                  <a:pt x="1968" y="515"/>
                  <a:pt x="1968" y="515"/>
                  <a:pt x="1968" y="515"/>
                </a:cubicBezTo>
                <a:cubicBezTo>
                  <a:pt x="1968" y="514"/>
                  <a:pt x="1968" y="514"/>
                  <a:pt x="1968" y="514"/>
                </a:cubicBezTo>
                <a:cubicBezTo>
                  <a:pt x="1968" y="513"/>
                  <a:pt x="1968" y="513"/>
                  <a:pt x="1968" y="513"/>
                </a:cubicBezTo>
                <a:cubicBezTo>
                  <a:pt x="1968" y="513"/>
                  <a:pt x="1968" y="513"/>
                  <a:pt x="1968" y="513"/>
                </a:cubicBezTo>
                <a:cubicBezTo>
                  <a:pt x="1968" y="513"/>
                  <a:pt x="1968" y="513"/>
                  <a:pt x="1968" y="513"/>
                </a:cubicBezTo>
                <a:cubicBezTo>
                  <a:pt x="1965" y="511"/>
                  <a:pt x="1965" y="511"/>
                  <a:pt x="1965" y="511"/>
                </a:cubicBezTo>
                <a:cubicBezTo>
                  <a:pt x="1968" y="513"/>
                  <a:pt x="1968" y="513"/>
                  <a:pt x="1968" y="513"/>
                </a:cubicBezTo>
                <a:cubicBezTo>
                  <a:pt x="1969" y="513"/>
                  <a:pt x="1969" y="513"/>
                  <a:pt x="1969" y="513"/>
                </a:cubicBezTo>
                <a:cubicBezTo>
                  <a:pt x="1969" y="514"/>
                  <a:pt x="1969" y="514"/>
                  <a:pt x="1969" y="514"/>
                </a:cubicBezTo>
                <a:cubicBezTo>
                  <a:pt x="1971" y="514"/>
                  <a:pt x="1971" y="514"/>
                  <a:pt x="1971" y="514"/>
                </a:cubicBezTo>
                <a:cubicBezTo>
                  <a:pt x="1971" y="513"/>
                  <a:pt x="1971" y="513"/>
                  <a:pt x="1971" y="513"/>
                </a:cubicBezTo>
                <a:cubicBezTo>
                  <a:pt x="1972" y="513"/>
                  <a:pt x="1972" y="513"/>
                  <a:pt x="1972" y="513"/>
                </a:cubicBezTo>
                <a:cubicBezTo>
                  <a:pt x="1973" y="514"/>
                  <a:pt x="1973" y="514"/>
                  <a:pt x="1973" y="514"/>
                </a:cubicBezTo>
                <a:cubicBezTo>
                  <a:pt x="1974" y="513"/>
                  <a:pt x="1974" y="513"/>
                  <a:pt x="1974" y="513"/>
                </a:cubicBezTo>
                <a:cubicBezTo>
                  <a:pt x="1974" y="512"/>
                  <a:pt x="1974" y="512"/>
                  <a:pt x="1974" y="512"/>
                </a:cubicBezTo>
                <a:cubicBezTo>
                  <a:pt x="1975" y="512"/>
                  <a:pt x="1975" y="512"/>
                  <a:pt x="1975" y="512"/>
                </a:cubicBezTo>
                <a:cubicBezTo>
                  <a:pt x="1977" y="510"/>
                  <a:pt x="1977" y="510"/>
                  <a:pt x="1977" y="510"/>
                </a:cubicBezTo>
                <a:cubicBezTo>
                  <a:pt x="1977" y="509"/>
                  <a:pt x="1977" y="509"/>
                  <a:pt x="1977" y="509"/>
                </a:cubicBezTo>
                <a:cubicBezTo>
                  <a:pt x="1979" y="509"/>
                  <a:pt x="1979" y="509"/>
                  <a:pt x="1979" y="509"/>
                </a:cubicBezTo>
                <a:cubicBezTo>
                  <a:pt x="1980" y="508"/>
                  <a:pt x="1980" y="508"/>
                  <a:pt x="1980" y="508"/>
                </a:cubicBezTo>
                <a:cubicBezTo>
                  <a:pt x="1981" y="508"/>
                  <a:pt x="1981" y="508"/>
                  <a:pt x="1981" y="508"/>
                </a:cubicBezTo>
                <a:cubicBezTo>
                  <a:pt x="1981" y="508"/>
                  <a:pt x="1981" y="508"/>
                  <a:pt x="1981" y="508"/>
                </a:cubicBezTo>
                <a:cubicBezTo>
                  <a:pt x="1982" y="508"/>
                  <a:pt x="1982" y="508"/>
                  <a:pt x="1982" y="508"/>
                </a:cubicBezTo>
                <a:cubicBezTo>
                  <a:pt x="1982" y="507"/>
                  <a:pt x="1982" y="507"/>
                  <a:pt x="1982" y="507"/>
                </a:cubicBezTo>
                <a:cubicBezTo>
                  <a:pt x="1984" y="505"/>
                  <a:pt x="1984" y="505"/>
                  <a:pt x="1984" y="505"/>
                </a:cubicBezTo>
                <a:cubicBezTo>
                  <a:pt x="1986" y="505"/>
                  <a:pt x="1986" y="505"/>
                  <a:pt x="1986" y="505"/>
                </a:cubicBezTo>
                <a:cubicBezTo>
                  <a:pt x="1987" y="506"/>
                  <a:pt x="1987" y="506"/>
                  <a:pt x="1987" y="506"/>
                </a:cubicBezTo>
                <a:cubicBezTo>
                  <a:pt x="1989" y="506"/>
                  <a:pt x="1989" y="506"/>
                  <a:pt x="1989" y="506"/>
                </a:cubicBezTo>
                <a:cubicBezTo>
                  <a:pt x="1989" y="505"/>
                  <a:pt x="1989" y="505"/>
                  <a:pt x="1989" y="505"/>
                </a:cubicBezTo>
                <a:cubicBezTo>
                  <a:pt x="1990" y="506"/>
                  <a:pt x="1990" y="506"/>
                  <a:pt x="1990" y="506"/>
                </a:cubicBezTo>
                <a:cubicBezTo>
                  <a:pt x="1990" y="507"/>
                  <a:pt x="1990" y="507"/>
                  <a:pt x="1990" y="507"/>
                </a:cubicBezTo>
                <a:cubicBezTo>
                  <a:pt x="1991" y="508"/>
                  <a:pt x="1991" y="508"/>
                  <a:pt x="1991" y="508"/>
                </a:cubicBezTo>
                <a:cubicBezTo>
                  <a:pt x="1991" y="508"/>
                  <a:pt x="1991" y="508"/>
                  <a:pt x="1991" y="508"/>
                </a:cubicBezTo>
                <a:cubicBezTo>
                  <a:pt x="1993" y="508"/>
                  <a:pt x="1993" y="508"/>
                  <a:pt x="1993" y="508"/>
                </a:cubicBezTo>
                <a:cubicBezTo>
                  <a:pt x="1993" y="508"/>
                  <a:pt x="1993" y="508"/>
                  <a:pt x="1993" y="508"/>
                </a:cubicBezTo>
                <a:cubicBezTo>
                  <a:pt x="1994" y="509"/>
                  <a:pt x="1994" y="509"/>
                  <a:pt x="1994" y="509"/>
                </a:cubicBezTo>
                <a:cubicBezTo>
                  <a:pt x="1995" y="508"/>
                  <a:pt x="1995" y="508"/>
                  <a:pt x="1995" y="508"/>
                </a:cubicBezTo>
                <a:cubicBezTo>
                  <a:pt x="1995" y="507"/>
                  <a:pt x="1995" y="507"/>
                  <a:pt x="1995" y="507"/>
                </a:cubicBezTo>
                <a:cubicBezTo>
                  <a:pt x="1996" y="507"/>
                  <a:pt x="1996" y="507"/>
                  <a:pt x="1996" y="507"/>
                </a:cubicBezTo>
                <a:cubicBezTo>
                  <a:pt x="1997" y="506"/>
                  <a:pt x="1997" y="506"/>
                  <a:pt x="1997" y="506"/>
                </a:cubicBezTo>
                <a:cubicBezTo>
                  <a:pt x="1998" y="506"/>
                  <a:pt x="1998" y="506"/>
                  <a:pt x="1998" y="506"/>
                </a:cubicBezTo>
                <a:cubicBezTo>
                  <a:pt x="1999" y="506"/>
                  <a:pt x="1999" y="506"/>
                  <a:pt x="1999" y="506"/>
                </a:cubicBezTo>
                <a:cubicBezTo>
                  <a:pt x="2003" y="506"/>
                  <a:pt x="2003" y="506"/>
                  <a:pt x="2003" y="506"/>
                </a:cubicBezTo>
                <a:cubicBezTo>
                  <a:pt x="2003" y="507"/>
                  <a:pt x="2003" y="507"/>
                  <a:pt x="2003" y="507"/>
                </a:cubicBezTo>
                <a:cubicBezTo>
                  <a:pt x="2004" y="508"/>
                  <a:pt x="2004" y="508"/>
                  <a:pt x="2004" y="508"/>
                </a:cubicBezTo>
                <a:cubicBezTo>
                  <a:pt x="2005" y="509"/>
                  <a:pt x="2005" y="509"/>
                  <a:pt x="2005" y="509"/>
                </a:cubicBezTo>
                <a:cubicBezTo>
                  <a:pt x="2005" y="509"/>
                  <a:pt x="2005" y="509"/>
                  <a:pt x="2005" y="509"/>
                </a:cubicBezTo>
                <a:cubicBezTo>
                  <a:pt x="2004" y="511"/>
                  <a:pt x="2004" y="511"/>
                  <a:pt x="2004" y="511"/>
                </a:cubicBezTo>
                <a:cubicBezTo>
                  <a:pt x="2005" y="512"/>
                  <a:pt x="2005" y="512"/>
                  <a:pt x="2005" y="512"/>
                </a:cubicBezTo>
                <a:cubicBezTo>
                  <a:pt x="2006" y="513"/>
                  <a:pt x="2006" y="513"/>
                  <a:pt x="2006" y="513"/>
                </a:cubicBezTo>
                <a:cubicBezTo>
                  <a:pt x="2006" y="515"/>
                  <a:pt x="2006" y="515"/>
                  <a:pt x="2006" y="515"/>
                </a:cubicBezTo>
                <a:cubicBezTo>
                  <a:pt x="2005" y="517"/>
                  <a:pt x="2005" y="517"/>
                  <a:pt x="2005" y="517"/>
                </a:cubicBezTo>
                <a:cubicBezTo>
                  <a:pt x="2005" y="518"/>
                  <a:pt x="2005" y="518"/>
                  <a:pt x="2005" y="518"/>
                </a:cubicBezTo>
                <a:cubicBezTo>
                  <a:pt x="2006" y="519"/>
                  <a:pt x="2006" y="519"/>
                  <a:pt x="2006" y="519"/>
                </a:cubicBezTo>
                <a:cubicBezTo>
                  <a:pt x="2007" y="519"/>
                  <a:pt x="2007" y="519"/>
                  <a:pt x="2007" y="519"/>
                </a:cubicBezTo>
                <a:cubicBezTo>
                  <a:pt x="2006" y="520"/>
                  <a:pt x="2006" y="520"/>
                  <a:pt x="2006" y="520"/>
                </a:cubicBezTo>
                <a:cubicBezTo>
                  <a:pt x="2005" y="521"/>
                  <a:pt x="2005" y="521"/>
                  <a:pt x="2005" y="521"/>
                </a:cubicBezTo>
                <a:cubicBezTo>
                  <a:pt x="2004" y="523"/>
                  <a:pt x="2004" y="523"/>
                  <a:pt x="2004" y="523"/>
                </a:cubicBezTo>
                <a:cubicBezTo>
                  <a:pt x="2006" y="526"/>
                  <a:pt x="2006" y="526"/>
                  <a:pt x="2006" y="526"/>
                </a:cubicBezTo>
                <a:cubicBezTo>
                  <a:pt x="2007" y="526"/>
                  <a:pt x="2007" y="526"/>
                  <a:pt x="2007" y="526"/>
                </a:cubicBezTo>
                <a:cubicBezTo>
                  <a:pt x="2009" y="527"/>
                  <a:pt x="2009" y="527"/>
                  <a:pt x="2009" y="527"/>
                </a:cubicBezTo>
                <a:cubicBezTo>
                  <a:pt x="2009" y="528"/>
                  <a:pt x="2009" y="528"/>
                  <a:pt x="2009" y="528"/>
                </a:cubicBezTo>
                <a:cubicBezTo>
                  <a:pt x="2006" y="529"/>
                  <a:pt x="2006" y="529"/>
                  <a:pt x="2006" y="529"/>
                </a:cubicBezTo>
                <a:cubicBezTo>
                  <a:pt x="2005" y="529"/>
                  <a:pt x="2005" y="529"/>
                  <a:pt x="2005" y="529"/>
                </a:cubicBezTo>
                <a:cubicBezTo>
                  <a:pt x="2003" y="527"/>
                  <a:pt x="2003" y="527"/>
                  <a:pt x="2003" y="527"/>
                </a:cubicBezTo>
                <a:cubicBezTo>
                  <a:pt x="2002" y="527"/>
                  <a:pt x="2002" y="527"/>
                  <a:pt x="2002" y="527"/>
                </a:cubicBezTo>
                <a:cubicBezTo>
                  <a:pt x="2001" y="527"/>
                  <a:pt x="2001" y="527"/>
                  <a:pt x="2001" y="527"/>
                </a:cubicBezTo>
                <a:cubicBezTo>
                  <a:pt x="2000" y="527"/>
                  <a:pt x="2000" y="527"/>
                  <a:pt x="2000" y="527"/>
                </a:cubicBezTo>
                <a:cubicBezTo>
                  <a:pt x="1998" y="527"/>
                  <a:pt x="1998" y="527"/>
                  <a:pt x="1998" y="527"/>
                </a:cubicBezTo>
                <a:cubicBezTo>
                  <a:pt x="1996" y="527"/>
                  <a:pt x="1996" y="527"/>
                  <a:pt x="1996" y="527"/>
                </a:cubicBezTo>
                <a:cubicBezTo>
                  <a:pt x="1995" y="527"/>
                  <a:pt x="1995" y="527"/>
                  <a:pt x="1995" y="527"/>
                </a:cubicBezTo>
                <a:cubicBezTo>
                  <a:pt x="1993" y="527"/>
                  <a:pt x="1993" y="527"/>
                  <a:pt x="1993" y="527"/>
                </a:cubicBezTo>
                <a:cubicBezTo>
                  <a:pt x="1991" y="528"/>
                  <a:pt x="1991" y="528"/>
                  <a:pt x="1991" y="528"/>
                </a:cubicBezTo>
                <a:cubicBezTo>
                  <a:pt x="1990" y="529"/>
                  <a:pt x="1990" y="529"/>
                  <a:pt x="1990" y="529"/>
                </a:cubicBezTo>
                <a:cubicBezTo>
                  <a:pt x="1990" y="530"/>
                  <a:pt x="1990" y="530"/>
                  <a:pt x="1990" y="530"/>
                </a:cubicBezTo>
                <a:cubicBezTo>
                  <a:pt x="1990" y="532"/>
                  <a:pt x="1990" y="532"/>
                  <a:pt x="1990" y="532"/>
                </a:cubicBezTo>
                <a:cubicBezTo>
                  <a:pt x="1989" y="532"/>
                  <a:pt x="1989" y="532"/>
                  <a:pt x="1989" y="532"/>
                </a:cubicBezTo>
                <a:cubicBezTo>
                  <a:pt x="1989" y="533"/>
                  <a:pt x="1989" y="533"/>
                  <a:pt x="1989" y="533"/>
                </a:cubicBezTo>
                <a:cubicBezTo>
                  <a:pt x="1991" y="536"/>
                  <a:pt x="1991" y="536"/>
                  <a:pt x="1991" y="536"/>
                </a:cubicBezTo>
                <a:cubicBezTo>
                  <a:pt x="1991" y="537"/>
                  <a:pt x="1991" y="537"/>
                  <a:pt x="1991" y="537"/>
                </a:cubicBezTo>
                <a:cubicBezTo>
                  <a:pt x="1992" y="538"/>
                  <a:pt x="1992" y="538"/>
                  <a:pt x="1992" y="538"/>
                </a:cubicBezTo>
                <a:cubicBezTo>
                  <a:pt x="1994" y="537"/>
                  <a:pt x="1994" y="537"/>
                  <a:pt x="1994" y="537"/>
                </a:cubicBezTo>
                <a:cubicBezTo>
                  <a:pt x="1994" y="538"/>
                  <a:pt x="1994" y="538"/>
                  <a:pt x="1994" y="538"/>
                </a:cubicBezTo>
                <a:cubicBezTo>
                  <a:pt x="1994" y="539"/>
                  <a:pt x="1994" y="539"/>
                  <a:pt x="1994" y="539"/>
                </a:cubicBezTo>
                <a:cubicBezTo>
                  <a:pt x="1992" y="538"/>
                  <a:pt x="1992" y="538"/>
                  <a:pt x="1992" y="538"/>
                </a:cubicBezTo>
                <a:cubicBezTo>
                  <a:pt x="1991" y="539"/>
                  <a:pt x="1991" y="539"/>
                  <a:pt x="1991" y="539"/>
                </a:cubicBezTo>
                <a:cubicBezTo>
                  <a:pt x="1990" y="540"/>
                  <a:pt x="1990" y="540"/>
                  <a:pt x="1990" y="540"/>
                </a:cubicBezTo>
                <a:cubicBezTo>
                  <a:pt x="1989" y="539"/>
                  <a:pt x="1989" y="539"/>
                  <a:pt x="1989" y="539"/>
                </a:cubicBezTo>
                <a:cubicBezTo>
                  <a:pt x="1988" y="539"/>
                  <a:pt x="1988" y="539"/>
                  <a:pt x="1988" y="539"/>
                </a:cubicBezTo>
                <a:cubicBezTo>
                  <a:pt x="1987" y="539"/>
                  <a:pt x="1987" y="539"/>
                  <a:pt x="1987" y="539"/>
                </a:cubicBezTo>
                <a:cubicBezTo>
                  <a:pt x="1984" y="539"/>
                  <a:pt x="1984" y="539"/>
                  <a:pt x="1984" y="539"/>
                </a:cubicBezTo>
                <a:cubicBezTo>
                  <a:pt x="1983" y="539"/>
                  <a:pt x="1983" y="539"/>
                  <a:pt x="1983" y="539"/>
                </a:cubicBezTo>
                <a:cubicBezTo>
                  <a:pt x="1982" y="540"/>
                  <a:pt x="1982" y="540"/>
                  <a:pt x="1982" y="540"/>
                </a:cubicBezTo>
                <a:cubicBezTo>
                  <a:pt x="1982" y="541"/>
                  <a:pt x="1982" y="541"/>
                  <a:pt x="1982" y="541"/>
                </a:cubicBezTo>
                <a:cubicBezTo>
                  <a:pt x="1983" y="542"/>
                  <a:pt x="1983" y="542"/>
                  <a:pt x="1983" y="542"/>
                </a:cubicBezTo>
                <a:cubicBezTo>
                  <a:pt x="1985" y="542"/>
                  <a:pt x="1985" y="542"/>
                  <a:pt x="1985" y="542"/>
                </a:cubicBezTo>
                <a:cubicBezTo>
                  <a:pt x="1987" y="543"/>
                  <a:pt x="1987" y="543"/>
                  <a:pt x="1987" y="543"/>
                </a:cubicBezTo>
                <a:cubicBezTo>
                  <a:pt x="1988" y="544"/>
                  <a:pt x="1988" y="544"/>
                  <a:pt x="1988" y="544"/>
                </a:cubicBezTo>
                <a:cubicBezTo>
                  <a:pt x="1989" y="545"/>
                  <a:pt x="1989" y="545"/>
                  <a:pt x="1989" y="545"/>
                </a:cubicBezTo>
                <a:cubicBezTo>
                  <a:pt x="1989" y="547"/>
                  <a:pt x="1989" y="547"/>
                  <a:pt x="1989" y="547"/>
                </a:cubicBezTo>
                <a:cubicBezTo>
                  <a:pt x="1990" y="548"/>
                  <a:pt x="1990" y="548"/>
                  <a:pt x="1990" y="548"/>
                </a:cubicBezTo>
                <a:cubicBezTo>
                  <a:pt x="1991" y="549"/>
                  <a:pt x="1991" y="549"/>
                  <a:pt x="1991" y="549"/>
                </a:cubicBezTo>
                <a:cubicBezTo>
                  <a:pt x="1994" y="552"/>
                  <a:pt x="1994" y="552"/>
                  <a:pt x="1994" y="552"/>
                </a:cubicBezTo>
                <a:cubicBezTo>
                  <a:pt x="1994" y="554"/>
                  <a:pt x="1994" y="554"/>
                  <a:pt x="1994" y="554"/>
                </a:cubicBezTo>
                <a:cubicBezTo>
                  <a:pt x="1994" y="557"/>
                  <a:pt x="1994" y="557"/>
                  <a:pt x="1994" y="557"/>
                </a:cubicBezTo>
                <a:cubicBezTo>
                  <a:pt x="1994" y="557"/>
                  <a:pt x="1994" y="557"/>
                  <a:pt x="1994" y="557"/>
                </a:cubicBezTo>
                <a:cubicBezTo>
                  <a:pt x="1996" y="556"/>
                  <a:pt x="1996" y="556"/>
                  <a:pt x="1996" y="556"/>
                </a:cubicBezTo>
                <a:cubicBezTo>
                  <a:pt x="1997" y="556"/>
                  <a:pt x="1997" y="556"/>
                  <a:pt x="1997" y="556"/>
                </a:cubicBezTo>
                <a:cubicBezTo>
                  <a:pt x="1998" y="556"/>
                  <a:pt x="1998" y="556"/>
                  <a:pt x="1998" y="556"/>
                </a:cubicBezTo>
                <a:cubicBezTo>
                  <a:pt x="1999" y="558"/>
                  <a:pt x="1999" y="558"/>
                  <a:pt x="1999" y="558"/>
                </a:cubicBezTo>
                <a:cubicBezTo>
                  <a:pt x="2000" y="559"/>
                  <a:pt x="2000" y="559"/>
                  <a:pt x="2000" y="559"/>
                </a:cubicBezTo>
                <a:cubicBezTo>
                  <a:pt x="2000" y="561"/>
                  <a:pt x="2000" y="561"/>
                  <a:pt x="2000" y="561"/>
                </a:cubicBezTo>
                <a:cubicBezTo>
                  <a:pt x="2001" y="561"/>
                  <a:pt x="2001" y="561"/>
                  <a:pt x="2001" y="561"/>
                </a:cubicBezTo>
                <a:cubicBezTo>
                  <a:pt x="2003" y="560"/>
                  <a:pt x="2003" y="560"/>
                  <a:pt x="2003" y="560"/>
                </a:cubicBezTo>
                <a:cubicBezTo>
                  <a:pt x="2005" y="561"/>
                  <a:pt x="2005" y="561"/>
                  <a:pt x="2005" y="561"/>
                </a:cubicBezTo>
                <a:cubicBezTo>
                  <a:pt x="2006" y="561"/>
                  <a:pt x="2006" y="561"/>
                  <a:pt x="2006" y="561"/>
                </a:cubicBezTo>
                <a:cubicBezTo>
                  <a:pt x="2008" y="561"/>
                  <a:pt x="2008" y="561"/>
                  <a:pt x="2008" y="561"/>
                </a:cubicBezTo>
                <a:cubicBezTo>
                  <a:pt x="2009" y="562"/>
                  <a:pt x="2009" y="562"/>
                  <a:pt x="2009" y="562"/>
                </a:cubicBezTo>
                <a:cubicBezTo>
                  <a:pt x="2009" y="562"/>
                  <a:pt x="2009" y="562"/>
                  <a:pt x="2009" y="562"/>
                </a:cubicBezTo>
                <a:cubicBezTo>
                  <a:pt x="2009" y="563"/>
                  <a:pt x="2009" y="563"/>
                  <a:pt x="2009" y="563"/>
                </a:cubicBezTo>
                <a:cubicBezTo>
                  <a:pt x="2009" y="566"/>
                  <a:pt x="2009" y="566"/>
                  <a:pt x="2009" y="566"/>
                </a:cubicBezTo>
                <a:cubicBezTo>
                  <a:pt x="2007" y="569"/>
                  <a:pt x="2007" y="569"/>
                  <a:pt x="2007" y="569"/>
                </a:cubicBezTo>
                <a:cubicBezTo>
                  <a:pt x="2008" y="571"/>
                  <a:pt x="2008" y="571"/>
                  <a:pt x="2008" y="571"/>
                </a:cubicBezTo>
                <a:cubicBezTo>
                  <a:pt x="2008" y="574"/>
                  <a:pt x="2008" y="574"/>
                  <a:pt x="2008" y="574"/>
                </a:cubicBezTo>
                <a:cubicBezTo>
                  <a:pt x="2008" y="575"/>
                  <a:pt x="2008" y="575"/>
                  <a:pt x="2008" y="575"/>
                </a:cubicBezTo>
                <a:cubicBezTo>
                  <a:pt x="2010" y="576"/>
                  <a:pt x="2010" y="576"/>
                  <a:pt x="2010" y="576"/>
                </a:cubicBezTo>
                <a:cubicBezTo>
                  <a:pt x="2010" y="578"/>
                  <a:pt x="2010" y="578"/>
                  <a:pt x="2010" y="578"/>
                </a:cubicBezTo>
                <a:cubicBezTo>
                  <a:pt x="2012" y="579"/>
                  <a:pt x="2012" y="579"/>
                  <a:pt x="2012" y="579"/>
                </a:cubicBezTo>
                <a:cubicBezTo>
                  <a:pt x="2013" y="581"/>
                  <a:pt x="2013" y="581"/>
                  <a:pt x="2013" y="581"/>
                </a:cubicBezTo>
                <a:cubicBezTo>
                  <a:pt x="2015" y="584"/>
                  <a:pt x="2015" y="584"/>
                  <a:pt x="2015" y="584"/>
                </a:cubicBezTo>
                <a:cubicBezTo>
                  <a:pt x="2014" y="587"/>
                  <a:pt x="2014" y="587"/>
                  <a:pt x="2014" y="587"/>
                </a:cubicBezTo>
                <a:cubicBezTo>
                  <a:pt x="2013" y="589"/>
                  <a:pt x="2013" y="589"/>
                  <a:pt x="2013" y="589"/>
                </a:cubicBezTo>
                <a:cubicBezTo>
                  <a:pt x="2014" y="595"/>
                  <a:pt x="2014" y="595"/>
                  <a:pt x="2014" y="595"/>
                </a:cubicBezTo>
                <a:cubicBezTo>
                  <a:pt x="2015" y="596"/>
                  <a:pt x="2015" y="596"/>
                  <a:pt x="2015" y="596"/>
                </a:cubicBezTo>
                <a:cubicBezTo>
                  <a:pt x="2015" y="598"/>
                  <a:pt x="2015" y="598"/>
                  <a:pt x="2015" y="598"/>
                </a:cubicBezTo>
                <a:cubicBezTo>
                  <a:pt x="2019" y="601"/>
                  <a:pt x="2019" y="601"/>
                  <a:pt x="2019" y="601"/>
                </a:cubicBezTo>
                <a:cubicBezTo>
                  <a:pt x="2019" y="600"/>
                  <a:pt x="2019" y="600"/>
                  <a:pt x="2019" y="600"/>
                </a:cubicBezTo>
                <a:cubicBezTo>
                  <a:pt x="2017" y="598"/>
                  <a:pt x="2017" y="598"/>
                  <a:pt x="2017" y="598"/>
                </a:cubicBezTo>
                <a:cubicBezTo>
                  <a:pt x="2018" y="598"/>
                  <a:pt x="2018" y="598"/>
                  <a:pt x="2018" y="598"/>
                </a:cubicBezTo>
                <a:cubicBezTo>
                  <a:pt x="2021" y="598"/>
                  <a:pt x="2021" y="598"/>
                  <a:pt x="2021" y="598"/>
                </a:cubicBezTo>
                <a:cubicBezTo>
                  <a:pt x="2022" y="597"/>
                  <a:pt x="2022" y="597"/>
                  <a:pt x="2022" y="597"/>
                </a:cubicBezTo>
                <a:cubicBezTo>
                  <a:pt x="2023" y="598"/>
                  <a:pt x="2023" y="598"/>
                  <a:pt x="2023" y="598"/>
                </a:cubicBezTo>
                <a:cubicBezTo>
                  <a:pt x="2023" y="600"/>
                  <a:pt x="2023" y="600"/>
                  <a:pt x="2023" y="600"/>
                </a:cubicBezTo>
                <a:cubicBezTo>
                  <a:pt x="2023" y="602"/>
                  <a:pt x="2023" y="602"/>
                  <a:pt x="2023" y="602"/>
                </a:cubicBezTo>
                <a:cubicBezTo>
                  <a:pt x="2025" y="602"/>
                  <a:pt x="2025" y="602"/>
                  <a:pt x="2025" y="602"/>
                </a:cubicBezTo>
                <a:cubicBezTo>
                  <a:pt x="2026" y="603"/>
                  <a:pt x="2026" y="603"/>
                  <a:pt x="2026" y="603"/>
                </a:cubicBezTo>
                <a:cubicBezTo>
                  <a:pt x="2025" y="604"/>
                  <a:pt x="2025" y="604"/>
                  <a:pt x="2025" y="604"/>
                </a:cubicBezTo>
                <a:cubicBezTo>
                  <a:pt x="2024" y="604"/>
                  <a:pt x="2024" y="604"/>
                  <a:pt x="2024" y="604"/>
                </a:cubicBezTo>
                <a:cubicBezTo>
                  <a:pt x="2022" y="604"/>
                  <a:pt x="2022" y="604"/>
                  <a:pt x="2022" y="604"/>
                </a:cubicBezTo>
                <a:cubicBezTo>
                  <a:pt x="2022" y="603"/>
                  <a:pt x="2022" y="603"/>
                  <a:pt x="2022" y="603"/>
                </a:cubicBezTo>
                <a:cubicBezTo>
                  <a:pt x="2020" y="605"/>
                  <a:pt x="2020" y="605"/>
                  <a:pt x="2020" y="605"/>
                </a:cubicBezTo>
                <a:cubicBezTo>
                  <a:pt x="2020" y="607"/>
                  <a:pt x="2020" y="607"/>
                  <a:pt x="2020" y="607"/>
                </a:cubicBezTo>
                <a:cubicBezTo>
                  <a:pt x="2021" y="608"/>
                  <a:pt x="2021" y="608"/>
                  <a:pt x="2021" y="608"/>
                </a:cubicBezTo>
                <a:cubicBezTo>
                  <a:pt x="2021" y="606"/>
                  <a:pt x="2021" y="606"/>
                  <a:pt x="2021" y="606"/>
                </a:cubicBezTo>
                <a:cubicBezTo>
                  <a:pt x="2022" y="606"/>
                  <a:pt x="2022" y="606"/>
                  <a:pt x="2022" y="606"/>
                </a:cubicBezTo>
                <a:cubicBezTo>
                  <a:pt x="2023" y="606"/>
                  <a:pt x="2023" y="606"/>
                  <a:pt x="2023" y="606"/>
                </a:cubicBezTo>
                <a:cubicBezTo>
                  <a:pt x="2024" y="606"/>
                  <a:pt x="2024" y="606"/>
                  <a:pt x="2024" y="606"/>
                </a:cubicBezTo>
                <a:cubicBezTo>
                  <a:pt x="2025" y="608"/>
                  <a:pt x="2025" y="608"/>
                  <a:pt x="2025" y="608"/>
                </a:cubicBezTo>
                <a:cubicBezTo>
                  <a:pt x="2028" y="610"/>
                  <a:pt x="2028" y="610"/>
                  <a:pt x="2028" y="610"/>
                </a:cubicBezTo>
                <a:cubicBezTo>
                  <a:pt x="2029" y="612"/>
                  <a:pt x="2029" y="612"/>
                  <a:pt x="2029" y="612"/>
                </a:cubicBezTo>
                <a:cubicBezTo>
                  <a:pt x="2029" y="615"/>
                  <a:pt x="2029" y="615"/>
                  <a:pt x="2029" y="615"/>
                </a:cubicBezTo>
                <a:cubicBezTo>
                  <a:pt x="2029" y="616"/>
                  <a:pt x="2029" y="616"/>
                  <a:pt x="2029" y="616"/>
                </a:cubicBezTo>
                <a:cubicBezTo>
                  <a:pt x="2029" y="621"/>
                  <a:pt x="2029" y="621"/>
                  <a:pt x="2029" y="621"/>
                </a:cubicBezTo>
                <a:cubicBezTo>
                  <a:pt x="2030" y="625"/>
                  <a:pt x="2030" y="625"/>
                  <a:pt x="2030" y="625"/>
                </a:cubicBezTo>
                <a:cubicBezTo>
                  <a:pt x="2032" y="630"/>
                  <a:pt x="2032" y="630"/>
                  <a:pt x="2032" y="630"/>
                </a:cubicBezTo>
                <a:cubicBezTo>
                  <a:pt x="2033" y="633"/>
                  <a:pt x="2033" y="633"/>
                  <a:pt x="2033" y="633"/>
                </a:cubicBezTo>
                <a:cubicBezTo>
                  <a:pt x="2034" y="635"/>
                  <a:pt x="2034" y="635"/>
                  <a:pt x="2034" y="635"/>
                </a:cubicBezTo>
                <a:lnTo>
                  <a:pt x="2033" y="638"/>
                </a:lnTo>
                <a:close/>
                <a:moveTo>
                  <a:pt x="2780" y="659"/>
                </a:moveTo>
                <a:cubicBezTo>
                  <a:pt x="2781" y="661"/>
                  <a:pt x="2781" y="661"/>
                  <a:pt x="2781" y="661"/>
                </a:cubicBezTo>
                <a:cubicBezTo>
                  <a:pt x="2782" y="661"/>
                  <a:pt x="2782" y="661"/>
                  <a:pt x="2782" y="661"/>
                </a:cubicBezTo>
                <a:cubicBezTo>
                  <a:pt x="2783" y="660"/>
                  <a:pt x="2783" y="660"/>
                  <a:pt x="2783" y="660"/>
                </a:cubicBezTo>
                <a:cubicBezTo>
                  <a:pt x="2782" y="659"/>
                  <a:pt x="2782" y="659"/>
                  <a:pt x="2782" y="659"/>
                </a:cubicBezTo>
                <a:cubicBezTo>
                  <a:pt x="2781" y="658"/>
                  <a:pt x="2781" y="658"/>
                  <a:pt x="2781" y="658"/>
                </a:cubicBezTo>
                <a:cubicBezTo>
                  <a:pt x="2781" y="657"/>
                  <a:pt x="2781" y="657"/>
                  <a:pt x="2781" y="657"/>
                </a:cubicBezTo>
                <a:cubicBezTo>
                  <a:pt x="2780" y="657"/>
                  <a:pt x="2780" y="657"/>
                  <a:pt x="2780" y="657"/>
                </a:cubicBezTo>
                <a:lnTo>
                  <a:pt x="2780" y="659"/>
                </a:lnTo>
                <a:close/>
                <a:moveTo>
                  <a:pt x="2785" y="654"/>
                </a:moveTo>
                <a:cubicBezTo>
                  <a:pt x="2785" y="654"/>
                  <a:pt x="2785" y="654"/>
                  <a:pt x="2785" y="654"/>
                </a:cubicBezTo>
                <a:cubicBezTo>
                  <a:pt x="2784" y="654"/>
                  <a:pt x="2784" y="654"/>
                  <a:pt x="2784" y="654"/>
                </a:cubicBezTo>
                <a:lnTo>
                  <a:pt x="2785" y="654"/>
                </a:lnTo>
                <a:close/>
                <a:moveTo>
                  <a:pt x="2784" y="922"/>
                </a:moveTo>
                <a:cubicBezTo>
                  <a:pt x="2785" y="923"/>
                  <a:pt x="2785" y="923"/>
                  <a:pt x="2785" y="923"/>
                </a:cubicBezTo>
                <a:cubicBezTo>
                  <a:pt x="2786" y="922"/>
                  <a:pt x="2786" y="922"/>
                  <a:pt x="2786" y="922"/>
                </a:cubicBezTo>
                <a:cubicBezTo>
                  <a:pt x="2784" y="921"/>
                  <a:pt x="2784" y="921"/>
                  <a:pt x="2784" y="921"/>
                </a:cubicBezTo>
                <a:lnTo>
                  <a:pt x="2784" y="922"/>
                </a:lnTo>
                <a:close/>
                <a:moveTo>
                  <a:pt x="2784" y="655"/>
                </a:moveTo>
                <a:cubicBezTo>
                  <a:pt x="2783" y="655"/>
                  <a:pt x="2783" y="655"/>
                  <a:pt x="2783" y="655"/>
                </a:cubicBezTo>
                <a:cubicBezTo>
                  <a:pt x="2784" y="655"/>
                  <a:pt x="2784" y="655"/>
                  <a:pt x="2784" y="655"/>
                </a:cubicBezTo>
                <a:close/>
                <a:moveTo>
                  <a:pt x="2698" y="961"/>
                </a:moveTo>
                <a:cubicBezTo>
                  <a:pt x="2700" y="960"/>
                  <a:pt x="2700" y="960"/>
                  <a:pt x="2700" y="960"/>
                </a:cubicBezTo>
                <a:cubicBezTo>
                  <a:pt x="2700" y="959"/>
                  <a:pt x="2700" y="959"/>
                  <a:pt x="2700" y="959"/>
                </a:cubicBezTo>
                <a:cubicBezTo>
                  <a:pt x="2699" y="958"/>
                  <a:pt x="2699" y="958"/>
                  <a:pt x="2699" y="958"/>
                </a:cubicBezTo>
                <a:cubicBezTo>
                  <a:pt x="2698" y="960"/>
                  <a:pt x="2698" y="960"/>
                  <a:pt x="2698" y="960"/>
                </a:cubicBezTo>
                <a:lnTo>
                  <a:pt x="2698" y="961"/>
                </a:lnTo>
                <a:close/>
                <a:moveTo>
                  <a:pt x="2947" y="1538"/>
                </a:moveTo>
                <a:cubicBezTo>
                  <a:pt x="2947" y="1536"/>
                  <a:pt x="2947" y="1536"/>
                  <a:pt x="2947" y="1536"/>
                </a:cubicBezTo>
                <a:cubicBezTo>
                  <a:pt x="2946" y="1537"/>
                  <a:pt x="2946" y="1537"/>
                  <a:pt x="2946" y="1537"/>
                </a:cubicBezTo>
                <a:lnTo>
                  <a:pt x="2947" y="1538"/>
                </a:lnTo>
                <a:close/>
                <a:moveTo>
                  <a:pt x="2940" y="1507"/>
                </a:moveTo>
                <a:cubicBezTo>
                  <a:pt x="2938" y="1507"/>
                  <a:pt x="2938" y="1507"/>
                  <a:pt x="2938" y="1507"/>
                </a:cubicBezTo>
                <a:cubicBezTo>
                  <a:pt x="2939" y="1508"/>
                  <a:pt x="2939" y="1508"/>
                  <a:pt x="2939" y="1508"/>
                </a:cubicBezTo>
                <a:lnTo>
                  <a:pt x="2940" y="1507"/>
                </a:lnTo>
                <a:close/>
                <a:moveTo>
                  <a:pt x="2946" y="1525"/>
                </a:moveTo>
                <a:cubicBezTo>
                  <a:pt x="2946" y="1526"/>
                  <a:pt x="2946" y="1526"/>
                  <a:pt x="2946" y="1526"/>
                </a:cubicBezTo>
                <a:cubicBezTo>
                  <a:pt x="2945" y="1528"/>
                  <a:pt x="2945" y="1528"/>
                  <a:pt x="2945" y="1528"/>
                </a:cubicBezTo>
                <a:cubicBezTo>
                  <a:pt x="2946" y="1529"/>
                  <a:pt x="2946" y="1529"/>
                  <a:pt x="2946" y="1529"/>
                </a:cubicBezTo>
                <a:cubicBezTo>
                  <a:pt x="2947" y="1531"/>
                  <a:pt x="2947" y="1531"/>
                  <a:pt x="2947" y="1531"/>
                </a:cubicBezTo>
                <a:cubicBezTo>
                  <a:pt x="2950" y="1529"/>
                  <a:pt x="2950" y="1529"/>
                  <a:pt x="2950" y="1529"/>
                </a:cubicBezTo>
                <a:cubicBezTo>
                  <a:pt x="2950" y="1527"/>
                  <a:pt x="2950" y="1527"/>
                  <a:pt x="2950" y="1527"/>
                </a:cubicBezTo>
                <a:cubicBezTo>
                  <a:pt x="2947" y="1524"/>
                  <a:pt x="2947" y="1524"/>
                  <a:pt x="2947" y="1524"/>
                </a:cubicBezTo>
                <a:lnTo>
                  <a:pt x="2946" y="1525"/>
                </a:lnTo>
                <a:close/>
                <a:moveTo>
                  <a:pt x="2946" y="1532"/>
                </a:moveTo>
                <a:cubicBezTo>
                  <a:pt x="2945" y="1533"/>
                  <a:pt x="2945" y="1533"/>
                  <a:pt x="2945" y="1533"/>
                </a:cubicBezTo>
                <a:cubicBezTo>
                  <a:pt x="2945" y="1534"/>
                  <a:pt x="2945" y="1534"/>
                  <a:pt x="2945" y="1534"/>
                </a:cubicBezTo>
                <a:cubicBezTo>
                  <a:pt x="2948" y="1534"/>
                  <a:pt x="2948" y="1534"/>
                  <a:pt x="2948" y="1534"/>
                </a:cubicBezTo>
                <a:cubicBezTo>
                  <a:pt x="2950" y="1535"/>
                  <a:pt x="2950" y="1535"/>
                  <a:pt x="2950" y="1535"/>
                </a:cubicBezTo>
                <a:cubicBezTo>
                  <a:pt x="2950" y="1534"/>
                  <a:pt x="2950" y="1534"/>
                  <a:pt x="2950" y="1534"/>
                </a:cubicBezTo>
                <a:cubicBezTo>
                  <a:pt x="2948" y="1532"/>
                  <a:pt x="2948" y="1532"/>
                  <a:pt x="2948" y="1532"/>
                </a:cubicBezTo>
                <a:lnTo>
                  <a:pt x="2946" y="1532"/>
                </a:lnTo>
                <a:close/>
                <a:moveTo>
                  <a:pt x="2914" y="1536"/>
                </a:moveTo>
                <a:cubicBezTo>
                  <a:pt x="2915" y="1536"/>
                  <a:pt x="2915" y="1536"/>
                  <a:pt x="2915" y="1536"/>
                </a:cubicBezTo>
                <a:cubicBezTo>
                  <a:pt x="2916" y="1535"/>
                  <a:pt x="2916" y="1535"/>
                  <a:pt x="2916" y="1535"/>
                </a:cubicBezTo>
                <a:cubicBezTo>
                  <a:pt x="2915" y="1534"/>
                  <a:pt x="2915" y="1534"/>
                  <a:pt x="2915" y="1534"/>
                </a:cubicBezTo>
                <a:cubicBezTo>
                  <a:pt x="2914" y="1534"/>
                  <a:pt x="2914" y="1534"/>
                  <a:pt x="2914" y="1534"/>
                </a:cubicBezTo>
                <a:lnTo>
                  <a:pt x="2914" y="1536"/>
                </a:lnTo>
                <a:close/>
                <a:moveTo>
                  <a:pt x="2916" y="1530"/>
                </a:moveTo>
                <a:cubicBezTo>
                  <a:pt x="2915" y="1531"/>
                  <a:pt x="2915" y="1531"/>
                  <a:pt x="2915" y="1531"/>
                </a:cubicBezTo>
                <a:cubicBezTo>
                  <a:pt x="2915" y="1532"/>
                  <a:pt x="2915" y="1532"/>
                  <a:pt x="2915" y="1532"/>
                </a:cubicBezTo>
                <a:cubicBezTo>
                  <a:pt x="2916" y="1532"/>
                  <a:pt x="2916" y="1532"/>
                  <a:pt x="2916" y="1532"/>
                </a:cubicBezTo>
                <a:lnTo>
                  <a:pt x="2916" y="1530"/>
                </a:lnTo>
                <a:close/>
                <a:moveTo>
                  <a:pt x="2912" y="1531"/>
                </a:moveTo>
                <a:cubicBezTo>
                  <a:pt x="2912" y="1532"/>
                  <a:pt x="2912" y="1532"/>
                  <a:pt x="2912" y="1532"/>
                </a:cubicBezTo>
                <a:cubicBezTo>
                  <a:pt x="2913" y="1533"/>
                  <a:pt x="2913" y="1533"/>
                  <a:pt x="2913" y="1533"/>
                </a:cubicBezTo>
                <a:cubicBezTo>
                  <a:pt x="2914" y="1532"/>
                  <a:pt x="2914" y="1532"/>
                  <a:pt x="2914" y="1532"/>
                </a:cubicBezTo>
                <a:cubicBezTo>
                  <a:pt x="2914" y="1530"/>
                  <a:pt x="2914" y="1530"/>
                  <a:pt x="2914" y="1530"/>
                </a:cubicBezTo>
                <a:lnTo>
                  <a:pt x="2912" y="1531"/>
                </a:lnTo>
                <a:close/>
                <a:moveTo>
                  <a:pt x="3043" y="1353"/>
                </a:moveTo>
                <a:cubicBezTo>
                  <a:pt x="3044" y="1352"/>
                  <a:pt x="3044" y="1352"/>
                  <a:pt x="3044" y="1352"/>
                </a:cubicBezTo>
                <a:cubicBezTo>
                  <a:pt x="3043" y="1350"/>
                  <a:pt x="3043" y="1350"/>
                  <a:pt x="3043" y="1350"/>
                </a:cubicBezTo>
                <a:lnTo>
                  <a:pt x="3043" y="1353"/>
                </a:lnTo>
                <a:close/>
                <a:moveTo>
                  <a:pt x="2943" y="1540"/>
                </a:moveTo>
                <a:cubicBezTo>
                  <a:pt x="2942" y="1542"/>
                  <a:pt x="2942" y="1542"/>
                  <a:pt x="2942" y="1542"/>
                </a:cubicBezTo>
                <a:cubicBezTo>
                  <a:pt x="2941" y="1541"/>
                  <a:pt x="2941" y="1541"/>
                  <a:pt x="2941" y="1541"/>
                </a:cubicBezTo>
                <a:cubicBezTo>
                  <a:pt x="2940" y="1541"/>
                  <a:pt x="2940" y="1541"/>
                  <a:pt x="2940" y="1541"/>
                </a:cubicBezTo>
                <a:cubicBezTo>
                  <a:pt x="2939" y="1542"/>
                  <a:pt x="2939" y="1542"/>
                  <a:pt x="2939" y="1542"/>
                </a:cubicBezTo>
                <a:cubicBezTo>
                  <a:pt x="2938" y="1543"/>
                  <a:pt x="2938" y="1543"/>
                  <a:pt x="2938" y="1543"/>
                </a:cubicBezTo>
                <a:cubicBezTo>
                  <a:pt x="2932" y="1543"/>
                  <a:pt x="2932" y="1543"/>
                  <a:pt x="2932" y="1543"/>
                </a:cubicBezTo>
                <a:cubicBezTo>
                  <a:pt x="2930" y="1543"/>
                  <a:pt x="2930" y="1543"/>
                  <a:pt x="2930" y="1543"/>
                </a:cubicBezTo>
                <a:cubicBezTo>
                  <a:pt x="2930" y="1545"/>
                  <a:pt x="2930" y="1545"/>
                  <a:pt x="2930" y="1545"/>
                </a:cubicBezTo>
                <a:cubicBezTo>
                  <a:pt x="2929" y="1544"/>
                  <a:pt x="2929" y="1544"/>
                  <a:pt x="2929" y="1544"/>
                </a:cubicBezTo>
                <a:cubicBezTo>
                  <a:pt x="2927" y="1544"/>
                  <a:pt x="2927" y="1544"/>
                  <a:pt x="2927" y="1544"/>
                </a:cubicBezTo>
                <a:cubicBezTo>
                  <a:pt x="2926" y="1545"/>
                  <a:pt x="2926" y="1545"/>
                  <a:pt x="2926" y="1545"/>
                </a:cubicBezTo>
                <a:cubicBezTo>
                  <a:pt x="2924" y="1543"/>
                  <a:pt x="2924" y="1543"/>
                  <a:pt x="2924" y="1543"/>
                </a:cubicBezTo>
                <a:cubicBezTo>
                  <a:pt x="2921" y="1541"/>
                  <a:pt x="2921" y="1541"/>
                  <a:pt x="2921" y="1541"/>
                </a:cubicBezTo>
                <a:cubicBezTo>
                  <a:pt x="2917" y="1539"/>
                  <a:pt x="2917" y="1539"/>
                  <a:pt x="2917" y="1539"/>
                </a:cubicBezTo>
                <a:cubicBezTo>
                  <a:pt x="2918" y="1536"/>
                  <a:pt x="2918" y="1536"/>
                  <a:pt x="2918" y="1536"/>
                </a:cubicBezTo>
                <a:cubicBezTo>
                  <a:pt x="2917" y="1537"/>
                  <a:pt x="2917" y="1537"/>
                  <a:pt x="2917" y="1537"/>
                </a:cubicBezTo>
                <a:cubicBezTo>
                  <a:pt x="2916" y="1538"/>
                  <a:pt x="2916" y="1538"/>
                  <a:pt x="2916" y="1538"/>
                </a:cubicBezTo>
                <a:cubicBezTo>
                  <a:pt x="2915" y="1537"/>
                  <a:pt x="2915" y="1537"/>
                  <a:pt x="2915" y="1537"/>
                </a:cubicBezTo>
                <a:cubicBezTo>
                  <a:pt x="2913" y="1536"/>
                  <a:pt x="2913" y="1536"/>
                  <a:pt x="2913" y="1536"/>
                </a:cubicBezTo>
                <a:cubicBezTo>
                  <a:pt x="2911" y="1535"/>
                  <a:pt x="2911" y="1535"/>
                  <a:pt x="2911" y="1535"/>
                </a:cubicBezTo>
                <a:cubicBezTo>
                  <a:pt x="2910" y="1536"/>
                  <a:pt x="2910" y="1536"/>
                  <a:pt x="2910" y="1536"/>
                </a:cubicBezTo>
                <a:cubicBezTo>
                  <a:pt x="2910" y="1538"/>
                  <a:pt x="2910" y="1538"/>
                  <a:pt x="2910" y="1538"/>
                </a:cubicBezTo>
                <a:cubicBezTo>
                  <a:pt x="2910" y="1538"/>
                  <a:pt x="2910" y="1538"/>
                  <a:pt x="2910" y="1538"/>
                </a:cubicBezTo>
                <a:cubicBezTo>
                  <a:pt x="2910" y="1540"/>
                  <a:pt x="2910" y="1540"/>
                  <a:pt x="2910" y="1540"/>
                </a:cubicBezTo>
                <a:cubicBezTo>
                  <a:pt x="2910" y="1544"/>
                  <a:pt x="2910" y="1544"/>
                  <a:pt x="2910" y="1544"/>
                </a:cubicBezTo>
                <a:cubicBezTo>
                  <a:pt x="2910" y="1547"/>
                  <a:pt x="2910" y="1547"/>
                  <a:pt x="2910" y="1547"/>
                </a:cubicBezTo>
                <a:cubicBezTo>
                  <a:pt x="2910" y="1551"/>
                  <a:pt x="2910" y="1551"/>
                  <a:pt x="2910" y="1551"/>
                </a:cubicBezTo>
                <a:cubicBezTo>
                  <a:pt x="2910" y="1555"/>
                  <a:pt x="2910" y="1555"/>
                  <a:pt x="2910" y="1555"/>
                </a:cubicBezTo>
                <a:cubicBezTo>
                  <a:pt x="2910" y="1558"/>
                  <a:pt x="2910" y="1558"/>
                  <a:pt x="2910" y="1558"/>
                </a:cubicBezTo>
                <a:cubicBezTo>
                  <a:pt x="2911" y="1558"/>
                  <a:pt x="2911" y="1558"/>
                  <a:pt x="2911" y="1558"/>
                </a:cubicBezTo>
                <a:cubicBezTo>
                  <a:pt x="2911" y="1560"/>
                  <a:pt x="2911" y="1560"/>
                  <a:pt x="2911" y="1560"/>
                </a:cubicBezTo>
                <a:cubicBezTo>
                  <a:pt x="2913" y="1562"/>
                  <a:pt x="2913" y="1562"/>
                  <a:pt x="2913" y="1562"/>
                </a:cubicBezTo>
                <a:cubicBezTo>
                  <a:pt x="2910" y="1561"/>
                  <a:pt x="2910" y="1561"/>
                  <a:pt x="2910" y="1561"/>
                </a:cubicBezTo>
                <a:cubicBezTo>
                  <a:pt x="2909" y="1560"/>
                  <a:pt x="2909" y="1560"/>
                  <a:pt x="2909" y="1560"/>
                </a:cubicBezTo>
                <a:cubicBezTo>
                  <a:pt x="2908" y="1561"/>
                  <a:pt x="2908" y="1561"/>
                  <a:pt x="2908" y="1561"/>
                </a:cubicBezTo>
                <a:cubicBezTo>
                  <a:pt x="2908" y="1565"/>
                  <a:pt x="2908" y="1565"/>
                  <a:pt x="2908" y="1565"/>
                </a:cubicBezTo>
                <a:cubicBezTo>
                  <a:pt x="2909" y="1566"/>
                  <a:pt x="2909" y="1566"/>
                  <a:pt x="2909" y="1566"/>
                </a:cubicBezTo>
                <a:cubicBezTo>
                  <a:pt x="2909" y="1567"/>
                  <a:pt x="2909" y="1567"/>
                  <a:pt x="2909" y="1567"/>
                </a:cubicBezTo>
                <a:cubicBezTo>
                  <a:pt x="2909" y="1573"/>
                  <a:pt x="2909" y="1573"/>
                  <a:pt x="2909" y="1573"/>
                </a:cubicBezTo>
                <a:cubicBezTo>
                  <a:pt x="2910" y="1574"/>
                  <a:pt x="2910" y="1574"/>
                  <a:pt x="2910" y="1574"/>
                </a:cubicBezTo>
                <a:cubicBezTo>
                  <a:pt x="2910" y="1575"/>
                  <a:pt x="2910" y="1575"/>
                  <a:pt x="2910" y="1575"/>
                </a:cubicBezTo>
                <a:cubicBezTo>
                  <a:pt x="2910" y="1577"/>
                  <a:pt x="2910" y="1577"/>
                  <a:pt x="2910" y="1577"/>
                </a:cubicBezTo>
                <a:cubicBezTo>
                  <a:pt x="2912" y="1578"/>
                  <a:pt x="2912" y="1578"/>
                  <a:pt x="2912" y="1578"/>
                </a:cubicBezTo>
                <a:cubicBezTo>
                  <a:pt x="2911" y="1579"/>
                  <a:pt x="2911" y="1579"/>
                  <a:pt x="2911" y="1579"/>
                </a:cubicBezTo>
                <a:cubicBezTo>
                  <a:pt x="2911" y="1581"/>
                  <a:pt x="2911" y="1581"/>
                  <a:pt x="2911" y="1581"/>
                </a:cubicBezTo>
                <a:cubicBezTo>
                  <a:pt x="2911" y="1581"/>
                  <a:pt x="2912" y="1582"/>
                  <a:pt x="2912" y="1582"/>
                </a:cubicBezTo>
                <a:cubicBezTo>
                  <a:pt x="2914" y="1581"/>
                  <a:pt x="2914" y="1581"/>
                  <a:pt x="2914" y="1581"/>
                </a:cubicBezTo>
                <a:cubicBezTo>
                  <a:pt x="2915" y="1583"/>
                  <a:pt x="2915" y="1583"/>
                  <a:pt x="2915" y="1583"/>
                </a:cubicBezTo>
                <a:cubicBezTo>
                  <a:pt x="2917" y="1581"/>
                  <a:pt x="2917" y="1581"/>
                  <a:pt x="2917" y="1581"/>
                </a:cubicBezTo>
                <a:cubicBezTo>
                  <a:pt x="2917" y="1582"/>
                  <a:pt x="2917" y="1582"/>
                  <a:pt x="2917" y="1582"/>
                </a:cubicBezTo>
                <a:cubicBezTo>
                  <a:pt x="2918" y="1584"/>
                  <a:pt x="2918" y="1584"/>
                  <a:pt x="2918" y="1584"/>
                </a:cubicBezTo>
                <a:cubicBezTo>
                  <a:pt x="2919" y="1584"/>
                  <a:pt x="2919" y="1584"/>
                  <a:pt x="2919" y="1584"/>
                </a:cubicBezTo>
                <a:cubicBezTo>
                  <a:pt x="2921" y="1581"/>
                  <a:pt x="2921" y="1581"/>
                  <a:pt x="2921" y="1581"/>
                </a:cubicBezTo>
                <a:cubicBezTo>
                  <a:pt x="2921" y="1579"/>
                  <a:pt x="2921" y="1579"/>
                  <a:pt x="2921" y="1579"/>
                </a:cubicBezTo>
                <a:cubicBezTo>
                  <a:pt x="2922" y="1576"/>
                  <a:pt x="2922" y="1576"/>
                  <a:pt x="2922" y="1576"/>
                </a:cubicBezTo>
                <a:cubicBezTo>
                  <a:pt x="2924" y="1577"/>
                  <a:pt x="2924" y="1577"/>
                  <a:pt x="2924" y="1577"/>
                </a:cubicBezTo>
                <a:cubicBezTo>
                  <a:pt x="2924" y="1576"/>
                  <a:pt x="2924" y="1576"/>
                  <a:pt x="2924" y="1576"/>
                </a:cubicBezTo>
                <a:cubicBezTo>
                  <a:pt x="2926" y="1575"/>
                  <a:pt x="2926" y="1575"/>
                  <a:pt x="2926" y="1575"/>
                </a:cubicBezTo>
                <a:cubicBezTo>
                  <a:pt x="2927" y="1573"/>
                  <a:pt x="2927" y="1573"/>
                  <a:pt x="2927" y="1573"/>
                </a:cubicBezTo>
                <a:cubicBezTo>
                  <a:pt x="2927" y="1575"/>
                  <a:pt x="2927" y="1575"/>
                  <a:pt x="2927" y="1575"/>
                </a:cubicBezTo>
                <a:cubicBezTo>
                  <a:pt x="2928" y="1575"/>
                  <a:pt x="2928" y="1575"/>
                  <a:pt x="2928" y="1575"/>
                </a:cubicBezTo>
                <a:cubicBezTo>
                  <a:pt x="2929" y="1574"/>
                  <a:pt x="2929" y="1574"/>
                  <a:pt x="2929" y="1574"/>
                </a:cubicBezTo>
                <a:cubicBezTo>
                  <a:pt x="2931" y="1573"/>
                  <a:pt x="2931" y="1573"/>
                  <a:pt x="2931" y="1573"/>
                </a:cubicBezTo>
                <a:cubicBezTo>
                  <a:pt x="2932" y="1574"/>
                  <a:pt x="2932" y="1574"/>
                  <a:pt x="2932" y="1574"/>
                </a:cubicBezTo>
                <a:cubicBezTo>
                  <a:pt x="2932" y="1576"/>
                  <a:pt x="2932" y="1576"/>
                  <a:pt x="2932" y="1576"/>
                </a:cubicBezTo>
                <a:cubicBezTo>
                  <a:pt x="2930" y="1575"/>
                  <a:pt x="2930" y="1575"/>
                  <a:pt x="2930" y="1575"/>
                </a:cubicBezTo>
                <a:cubicBezTo>
                  <a:pt x="2930" y="1578"/>
                  <a:pt x="2930" y="1578"/>
                  <a:pt x="2930" y="1578"/>
                </a:cubicBezTo>
                <a:cubicBezTo>
                  <a:pt x="2931" y="1577"/>
                  <a:pt x="2931" y="1577"/>
                  <a:pt x="2931" y="1577"/>
                </a:cubicBezTo>
                <a:cubicBezTo>
                  <a:pt x="2932" y="1577"/>
                  <a:pt x="2932" y="1577"/>
                  <a:pt x="2932" y="1577"/>
                </a:cubicBezTo>
                <a:cubicBezTo>
                  <a:pt x="2935" y="1574"/>
                  <a:pt x="2935" y="1574"/>
                  <a:pt x="2935" y="1574"/>
                </a:cubicBezTo>
                <a:cubicBezTo>
                  <a:pt x="2935" y="1573"/>
                  <a:pt x="2935" y="1573"/>
                  <a:pt x="2935" y="1573"/>
                </a:cubicBezTo>
                <a:cubicBezTo>
                  <a:pt x="2933" y="1572"/>
                  <a:pt x="2933" y="1572"/>
                  <a:pt x="2933" y="1572"/>
                </a:cubicBezTo>
                <a:cubicBezTo>
                  <a:pt x="2934" y="1570"/>
                  <a:pt x="2934" y="1570"/>
                  <a:pt x="2934" y="1570"/>
                </a:cubicBezTo>
                <a:cubicBezTo>
                  <a:pt x="2934" y="1568"/>
                  <a:pt x="2934" y="1568"/>
                  <a:pt x="2934" y="1568"/>
                </a:cubicBezTo>
                <a:cubicBezTo>
                  <a:pt x="2936" y="1568"/>
                  <a:pt x="2936" y="1568"/>
                  <a:pt x="2936" y="1568"/>
                </a:cubicBezTo>
                <a:cubicBezTo>
                  <a:pt x="2937" y="1567"/>
                  <a:pt x="2937" y="1567"/>
                  <a:pt x="2937" y="1567"/>
                </a:cubicBezTo>
                <a:cubicBezTo>
                  <a:pt x="2937" y="1562"/>
                  <a:pt x="2937" y="1562"/>
                  <a:pt x="2937" y="1562"/>
                </a:cubicBezTo>
                <a:cubicBezTo>
                  <a:pt x="2938" y="1562"/>
                  <a:pt x="2938" y="1562"/>
                  <a:pt x="2938" y="1562"/>
                </a:cubicBezTo>
                <a:cubicBezTo>
                  <a:pt x="2939" y="1560"/>
                  <a:pt x="2939" y="1560"/>
                  <a:pt x="2939" y="1560"/>
                </a:cubicBezTo>
                <a:cubicBezTo>
                  <a:pt x="2940" y="1563"/>
                  <a:pt x="2940" y="1563"/>
                  <a:pt x="2940" y="1563"/>
                </a:cubicBezTo>
                <a:cubicBezTo>
                  <a:pt x="2940" y="1564"/>
                  <a:pt x="2940" y="1564"/>
                  <a:pt x="2940" y="1564"/>
                </a:cubicBezTo>
                <a:cubicBezTo>
                  <a:pt x="2941" y="1562"/>
                  <a:pt x="2941" y="1562"/>
                  <a:pt x="2941" y="1562"/>
                </a:cubicBezTo>
                <a:cubicBezTo>
                  <a:pt x="2941" y="1560"/>
                  <a:pt x="2941" y="1560"/>
                  <a:pt x="2941" y="1560"/>
                </a:cubicBezTo>
                <a:cubicBezTo>
                  <a:pt x="2942" y="1559"/>
                  <a:pt x="2942" y="1559"/>
                  <a:pt x="2942" y="1559"/>
                </a:cubicBezTo>
                <a:cubicBezTo>
                  <a:pt x="2941" y="1557"/>
                  <a:pt x="2941" y="1557"/>
                  <a:pt x="2941" y="1557"/>
                </a:cubicBezTo>
                <a:cubicBezTo>
                  <a:pt x="2943" y="1554"/>
                  <a:pt x="2943" y="1554"/>
                  <a:pt x="2943" y="1554"/>
                </a:cubicBezTo>
                <a:cubicBezTo>
                  <a:pt x="2943" y="1551"/>
                  <a:pt x="2943" y="1551"/>
                  <a:pt x="2943" y="1551"/>
                </a:cubicBezTo>
                <a:cubicBezTo>
                  <a:pt x="2945" y="1548"/>
                  <a:pt x="2945" y="1548"/>
                  <a:pt x="2945" y="1548"/>
                </a:cubicBezTo>
                <a:cubicBezTo>
                  <a:pt x="2946" y="1543"/>
                  <a:pt x="2946" y="1543"/>
                  <a:pt x="2946" y="1543"/>
                </a:cubicBezTo>
                <a:cubicBezTo>
                  <a:pt x="2946" y="1542"/>
                  <a:pt x="2946" y="1542"/>
                  <a:pt x="2946" y="1542"/>
                </a:cubicBezTo>
                <a:cubicBezTo>
                  <a:pt x="2944" y="1540"/>
                  <a:pt x="2944" y="1540"/>
                  <a:pt x="2944" y="1540"/>
                </a:cubicBezTo>
                <a:lnTo>
                  <a:pt x="2943" y="1540"/>
                </a:lnTo>
                <a:close/>
                <a:moveTo>
                  <a:pt x="3046" y="1314"/>
                </a:moveTo>
                <a:cubicBezTo>
                  <a:pt x="3045" y="1316"/>
                  <a:pt x="3045" y="1316"/>
                  <a:pt x="3045" y="1316"/>
                </a:cubicBezTo>
                <a:cubicBezTo>
                  <a:pt x="3046" y="1317"/>
                  <a:pt x="3046" y="1317"/>
                  <a:pt x="3046" y="1317"/>
                </a:cubicBezTo>
                <a:cubicBezTo>
                  <a:pt x="3045" y="1319"/>
                  <a:pt x="3045" y="1319"/>
                  <a:pt x="3045" y="1319"/>
                </a:cubicBezTo>
                <a:cubicBezTo>
                  <a:pt x="3043" y="1321"/>
                  <a:pt x="3043" y="1321"/>
                  <a:pt x="3043" y="1321"/>
                </a:cubicBezTo>
                <a:cubicBezTo>
                  <a:pt x="3043" y="1323"/>
                  <a:pt x="3043" y="1323"/>
                  <a:pt x="3043" y="1323"/>
                </a:cubicBezTo>
                <a:cubicBezTo>
                  <a:pt x="3043" y="1325"/>
                  <a:pt x="3043" y="1325"/>
                  <a:pt x="3043" y="1325"/>
                </a:cubicBezTo>
                <a:cubicBezTo>
                  <a:pt x="3043" y="1328"/>
                  <a:pt x="3043" y="1328"/>
                  <a:pt x="3043" y="1328"/>
                </a:cubicBezTo>
                <a:cubicBezTo>
                  <a:pt x="3045" y="1328"/>
                  <a:pt x="3045" y="1328"/>
                  <a:pt x="3045" y="1328"/>
                </a:cubicBezTo>
                <a:cubicBezTo>
                  <a:pt x="3044" y="1326"/>
                  <a:pt x="3044" y="1326"/>
                  <a:pt x="3044" y="1326"/>
                </a:cubicBezTo>
                <a:cubicBezTo>
                  <a:pt x="3045" y="1322"/>
                  <a:pt x="3045" y="1322"/>
                  <a:pt x="3045" y="1322"/>
                </a:cubicBezTo>
                <a:cubicBezTo>
                  <a:pt x="3047" y="1319"/>
                  <a:pt x="3047" y="1319"/>
                  <a:pt x="3047" y="1319"/>
                </a:cubicBezTo>
                <a:cubicBezTo>
                  <a:pt x="3047" y="1316"/>
                  <a:pt x="3047" y="1316"/>
                  <a:pt x="3047" y="1316"/>
                </a:cubicBezTo>
                <a:cubicBezTo>
                  <a:pt x="3047" y="1314"/>
                  <a:pt x="3047" y="1314"/>
                  <a:pt x="3047" y="1314"/>
                </a:cubicBezTo>
                <a:lnTo>
                  <a:pt x="3046" y="1314"/>
                </a:lnTo>
                <a:close/>
                <a:moveTo>
                  <a:pt x="2888" y="1184"/>
                </a:moveTo>
                <a:cubicBezTo>
                  <a:pt x="2888" y="1184"/>
                  <a:pt x="2888" y="1184"/>
                  <a:pt x="2888" y="1184"/>
                </a:cubicBezTo>
                <a:cubicBezTo>
                  <a:pt x="2889" y="1185"/>
                  <a:pt x="2889" y="1185"/>
                  <a:pt x="2889" y="1185"/>
                </a:cubicBezTo>
                <a:cubicBezTo>
                  <a:pt x="2890" y="1184"/>
                  <a:pt x="2890" y="1184"/>
                  <a:pt x="2890" y="1184"/>
                </a:cubicBezTo>
                <a:cubicBezTo>
                  <a:pt x="2889" y="1182"/>
                  <a:pt x="2889" y="1182"/>
                  <a:pt x="2889" y="1182"/>
                </a:cubicBezTo>
                <a:cubicBezTo>
                  <a:pt x="2888" y="1184"/>
                  <a:pt x="2888" y="1184"/>
                  <a:pt x="2888" y="1184"/>
                </a:cubicBezTo>
                <a:close/>
                <a:moveTo>
                  <a:pt x="2896" y="1205"/>
                </a:moveTo>
                <a:cubicBezTo>
                  <a:pt x="2895" y="1204"/>
                  <a:pt x="2895" y="1204"/>
                  <a:pt x="2895" y="1204"/>
                </a:cubicBezTo>
                <a:cubicBezTo>
                  <a:pt x="2894" y="1205"/>
                  <a:pt x="2894" y="1205"/>
                  <a:pt x="2894" y="1205"/>
                </a:cubicBezTo>
                <a:cubicBezTo>
                  <a:pt x="2895" y="1207"/>
                  <a:pt x="2895" y="1207"/>
                  <a:pt x="2895" y="1207"/>
                </a:cubicBezTo>
                <a:lnTo>
                  <a:pt x="2896" y="1205"/>
                </a:lnTo>
                <a:close/>
                <a:moveTo>
                  <a:pt x="2929" y="1501"/>
                </a:moveTo>
                <a:cubicBezTo>
                  <a:pt x="2929" y="1500"/>
                  <a:pt x="2929" y="1500"/>
                  <a:pt x="2929" y="1500"/>
                </a:cubicBezTo>
                <a:cubicBezTo>
                  <a:pt x="2928" y="1501"/>
                  <a:pt x="2928" y="1501"/>
                  <a:pt x="2928" y="1501"/>
                </a:cubicBezTo>
                <a:cubicBezTo>
                  <a:pt x="2929" y="1502"/>
                  <a:pt x="2929" y="1502"/>
                  <a:pt x="2929" y="1502"/>
                </a:cubicBezTo>
                <a:lnTo>
                  <a:pt x="2929" y="1501"/>
                </a:lnTo>
                <a:close/>
                <a:moveTo>
                  <a:pt x="3042" y="1356"/>
                </a:moveTo>
                <a:cubicBezTo>
                  <a:pt x="3042" y="1354"/>
                  <a:pt x="3042" y="1354"/>
                  <a:pt x="3042" y="1354"/>
                </a:cubicBezTo>
                <a:cubicBezTo>
                  <a:pt x="3041" y="1350"/>
                  <a:pt x="3041" y="1350"/>
                  <a:pt x="3041" y="1350"/>
                </a:cubicBezTo>
                <a:cubicBezTo>
                  <a:pt x="3040" y="1349"/>
                  <a:pt x="3040" y="1349"/>
                  <a:pt x="3040" y="1349"/>
                </a:cubicBezTo>
                <a:cubicBezTo>
                  <a:pt x="3040" y="1347"/>
                  <a:pt x="3040" y="1347"/>
                  <a:pt x="3040" y="1347"/>
                </a:cubicBezTo>
                <a:cubicBezTo>
                  <a:pt x="3041" y="1346"/>
                  <a:pt x="3041" y="1346"/>
                  <a:pt x="3041" y="1346"/>
                </a:cubicBezTo>
                <a:cubicBezTo>
                  <a:pt x="3041" y="1343"/>
                  <a:pt x="3041" y="1343"/>
                  <a:pt x="3041" y="1343"/>
                </a:cubicBezTo>
                <a:cubicBezTo>
                  <a:pt x="3042" y="1340"/>
                  <a:pt x="3042" y="1340"/>
                  <a:pt x="3042" y="1340"/>
                </a:cubicBezTo>
                <a:cubicBezTo>
                  <a:pt x="3042" y="1339"/>
                  <a:pt x="3042" y="1339"/>
                  <a:pt x="3042" y="1339"/>
                </a:cubicBezTo>
                <a:cubicBezTo>
                  <a:pt x="3042" y="1333"/>
                  <a:pt x="3042" y="1333"/>
                  <a:pt x="3042" y="1333"/>
                </a:cubicBezTo>
                <a:cubicBezTo>
                  <a:pt x="3043" y="1331"/>
                  <a:pt x="3043" y="1331"/>
                  <a:pt x="3043" y="1331"/>
                </a:cubicBezTo>
                <a:cubicBezTo>
                  <a:pt x="3042" y="1330"/>
                  <a:pt x="3042" y="1330"/>
                  <a:pt x="3042" y="1330"/>
                </a:cubicBezTo>
                <a:cubicBezTo>
                  <a:pt x="3042" y="1328"/>
                  <a:pt x="3042" y="1328"/>
                  <a:pt x="3042" y="1328"/>
                </a:cubicBezTo>
                <a:cubicBezTo>
                  <a:pt x="3042" y="1324"/>
                  <a:pt x="3042" y="1324"/>
                  <a:pt x="3042" y="1324"/>
                </a:cubicBezTo>
                <a:cubicBezTo>
                  <a:pt x="3041" y="1324"/>
                  <a:pt x="3041" y="1324"/>
                  <a:pt x="3041" y="1324"/>
                </a:cubicBezTo>
                <a:cubicBezTo>
                  <a:pt x="3042" y="1322"/>
                  <a:pt x="3042" y="1322"/>
                  <a:pt x="3042" y="1322"/>
                </a:cubicBezTo>
                <a:cubicBezTo>
                  <a:pt x="3040" y="1321"/>
                  <a:pt x="3040" y="1321"/>
                  <a:pt x="3040" y="1321"/>
                </a:cubicBezTo>
                <a:cubicBezTo>
                  <a:pt x="3039" y="1319"/>
                  <a:pt x="3039" y="1319"/>
                  <a:pt x="3039" y="1319"/>
                </a:cubicBezTo>
                <a:cubicBezTo>
                  <a:pt x="3039" y="1317"/>
                  <a:pt x="3039" y="1317"/>
                  <a:pt x="3039" y="1317"/>
                </a:cubicBezTo>
                <a:cubicBezTo>
                  <a:pt x="3037" y="1315"/>
                  <a:pt x="3037" y="1315"/>
                  <a:pt x="3037" y="1315"/>
                </a:cubicBezTo>
                <a:cubicBezTo>
                  <a:pt x="3036" y="1312"/>
                  <a:pt x="3036" y="1312"/>
                  <a:pt x="3036" y="1312"/>
                </a:cubicBezTo>
                <a:cubicBezTo>
                  <a:pt x="3035" y="1309"/>
                  <a:pt x="3035" y="1309"/>
                  <a:pt x="3035" y="1309"/>
                </a:cubicBezTo>
                <a:cubicBezTo>
                  <a:pt x="3034" y="1306"/>
                  <a:pt x="3034" y="1306"/>
                  <a:pt x="3034" y="1306"/>
                </a:cubicBezTo>
                <a:cubicBezTo>
                  <a:pt x="3032" y="1306"/>
                  <a:pt x="3032" y="1306"/>
                  <a:pt x="3032" y="1306"/>
                </a:cubicBezTo>
                <a:cubicBezTo>
                  <a:pt x="3031" y="1307"/>
                  <a:pt x="3031" y="1307"/>
                  <a:pt x="3031" y="1307"/>
                </a:cubicBezTo>
                <a:cubicBezTo>
                  <a:pt x="3029" y="1306"/>
                  <a:pt x="3029" y="1306"/>
                  <a:pt x="3029" y="1306"/>
                </a:cubicBezTo>
                <a:cubicBezTo>
                  <a:pt x="3029" y="1303"/>
                  <a:pt x="3029" y="1303"/>
                  <a:pt x="3029" y="1303"/>
                </a:cubicBezTo>
                <a:cubicBezTo>
                  <a:pt x="3028" y="1303"/>
                  <a:pt x="3028" y="1303"/>
                  <a:pt x="3028" y="1303"/>
                </a:cubicBezTo>
                <a:cubicBezTo>
                  <a:pt x="3028" y="1301"/>
                  <a:pt x="3028" y="1301"/>
                  <a:pt x="3028" y="1301"/>
                </a:cubicBezTo>
                <a:cubicBezTo>
                  <a:pt x="3025" y="1299"/>
                  <a:pt x="3025" y="1299"/>
                  <a:pt x="3025" y="1299"/>
                </a:cubicBezTo>
                <a:cubicBezTo>
                  <a:pt x="3024" y="1298"/>
                  <a:pt x="3024" y="1298"/>
                  <a:pt x="3024" y="1298"/>
                </a:cubicBezTo>
                <a:cubicBezTo>
                  <a:pt x="3025" y="1297"/>
                  <a:pt x="3025" y="1297"/>
                  <a:pt x="3025" y="1297"/>
                </a:cubicBezTo>
                <a:cubicBezTo>
                  <a:pt x="3023" y="1294"/>
                  <a:pt x="3023" y="1294"/>
                  <a:pt x="3023" y="1294"/>
                </a:cubicBezTo>
                <a:cubicBezTo>
                  <a:pt x="3025" y="1292"/>
                  <a:pt x="3025" y="1292"/>
                  <a:pt x="3025" y="1292"/>
                </a:cubicBezTo>
                <a:cubicBezTo>
                  <a:pt x="3026" y="1289"/>
                  <a:pt x="3026" y="1289"/>
                  <a:pt x="3026" y="1289"/>
                </a:cubicBezTo>
                <a:cubicBezTo>
                  <a:pt x="3025" y="1287"/>
                  <a:pt x="3025" y="1287"/>
                  <a:pt x="3025" y="1287"/>
                </a:cubicBezTo>
                <a:cubicBezTo>
                  <a:pt x="3025" y="1285"/>
                  <a:pt x="3025" y="1285"/>
                  <a:pt x="3025" y="1285"/>
                </a:cubicBezTo>
                <a:cubicBezTo>
                  <a:pt x="3024" y="1284"/>
                  <a:pt x="3024" y="1284"/>
                  <a:pt x="3024" y="1284"/>
                </a:cubicBezTo>
                <a:cubicBezTo>
                  <a:pt x="3024" y="1285"/>
                  <a:pt x="3024" y="1285"/>
                  <a:pt x="3024" y="1285"/>
                </a:cubicBezTo>
                <a:cubicBezTo>
                  <a:pt x="3024" y="1286"/>
                  <a:pt x="3024" y="1286"/>
                  <a:pt x="3024" y="1286"/>
                </a:cubicBezTo>
                <a:cubicBezTo>
                  <a:pt x="3024" y="1287"/>
                  <a:pt x="3024" y="1287"/>
                  <a:pt x="3024" y="1287"/>
                </a:cubicBezTo>
                <a:cubicBezTo>
                  <a:pt x="3019" y="1283"/>
                  <a:pt x="3019" y="1283"/>
                  <a:pt x="3019" y="1283"/>
                </a:cubicBezTo>
                <a:cubicBezTo>
                  <a:pt x="3018" y="1281"/>
                  <a:pt x="3018" y="1281"/>
                  <a:pt x="3018" y="1281"/>
                </a:cubicBezTo>
                <a:cubicBezTo>
                  <a:pt x="3017" y="1281"/>
                  <a:pt x="3017" y="1281"/>
                  <a:pt x="3017" y="1281"/>
                </a:cubicBezTo>
                <a:cubicBezTo>
                  <a:pt x="3017" y="1283"/>
                  <a:pt x="3017" y="1283"/>
                  <a:pt x="3017" y="1283"/>
                </a:cubicBezTo>
                <a:cubicBezTo>
                  <a:pt x="3017" y="1284"/>
                  <a:pt x="3017" y="1284"/>
                  <a:pt x="3017" y="1284"/>
                </a:cubicBezTo>
                <a:cubicBezTo>
                  <a:pt x="3018" y="1287"/>
                  <a:pt x="3018" y="1287"/>
                  <a:pt x="3018" y="1287"/>
                </a:cubicBezTo>
                <a:cubicBezTo>
                  <a:pt x="3016" y="1285"/>
                  <a:pt x="3016" y="1285"/>
                  <a:pt x="3016" y="1285"/>
                </a:cubicBezTo>
                <a:cubicBezTo>
                  <a:pt x="3014" y="1286"/>
                  <a:pt x="3014" y="1286"/>
                  <a:pt x="3014" y="1286"/>
                </a:cubicBezTo>
                <a:cubicBezTo>
                  <a:pt x="3014" y="1284"/>
                  <a:pt x="3014" y="1284"/>
                  <a:pt x="3014" y="1284"/>
                </a:cubicBezTo>
                <a:cubicBezTo>
                  <a:pt x="3014" y="1282"/>
                  <a:pt x="3014" y="1282"/>
                  <a:pt x="3014" y="1282"/>
                </a:cubicBezTo>
                <a:cubicBezTo>
                  <a:pt x="3013" y="1277"/>
                  <a:pt x="3013" y="1277"/>
                  <a:pt x="3013" y="1277"/>
                </a:cubicBezTo>
                <a:cubicBezTo>
                  <a:pt x="3014" y="1276"/>
                  <a:pt x="3014" y="1276"/>
                  <a:pt x="3014" y="1276"/>
                </a:cubicBezTo>
                <a:cubicBezTo>
                  <a:pt x="3014" y="1275"/>
                  <a:pt x="3014" y="1275"/>
                  <a:pt x="3014" y="1275"/>
                </a:cubicBezTo>
                <a:cubicBezTo>
                  <a:pt x="3012" y="1274"/>
                  <a:pt x="3012" y="1274"/>
                  <a:pt x="3012" y="1274"/>
                </a:cubicBezTo>
                <a:cubicBezTo>
                  <a:pt x="3013" y="1272"/>
                  <a:pt x="3013" y="1272"/>
                  <a:pt x="3013" y="1272"/>
                </a:cubicBezTo>
                <a:cubicBezTo>
                  <a:pt x="3011" y="1271"/>
                  <a:pt x="3011" y="1271"/>
                  <a:pt x="3011" y="1271"/>
                </a:cubicBezTo>
                <a:cubicBezTo>
                  <a:pt x="3012" y="1269"/>
                  <a:pt x="3012" y="1269"/>
                  <a:pt x="3012" y="1269"/>
                </a:cubicBezTo>
                <a:cubicBezTo>
                  <a:pt x="3008" y="1266"/>
                  <a:pt x="3008" y="1266"/>
                  <a:pt x="3008" y="1266"/>
                </a:cubicBezTo>
                <a:cubicBezTo>
                  <a:pt x="3008" y="1264"/>
                  <a:pt x="3008" y="1264"/>
                  <a:pt x="3008" y="1264"/>
                </a:cubicBezTo>
                <a:cubicBezTo>
                  <a:pt x="3007" y="1262"/>
                  <a:pt x="3007" y="1262"/>
                  <a:pt x="3007" y="1262"/>
                </a:cubicBezTo>
                <a:cubicBezTo>
                  <a:pt x="3009" y="1262"/>
                  <a:pt x="3009" y="1262"/>
                  <a:pt x="3009" y="1262"/>
                </a:cubicBezTo>
                <a:cubicBezTo>
                  <a:pt x="3009" y="1260"/>
                  <a:pt x="3009" y="1260"/>
                  <a:pt x="3009" y="1260"/>
                </a:cubicBezTo>
                <a:cubicBezTo>
                  <a:pt x="3008" y="1257"/>
                  <a:pt x="3008" y="1257"/>
                  <a:pt x="3008" y="1257"/>
                </a:cubicBezTo>
                <a:cubicBezTo>
                  <a:pt x="3007" y="1258"/>
                  <a:pt x="3007" y="1258"/>
                  <a:pt x="3007" y="1258"/>
                </a:cubicBezTo>
                <a:cubicBezTo>
                  <a:pt x="3005" y="1258"/>
                  <a:pt x="3005" y="1258"/>
                  <a:pt x="3005" y="1258"/>
                </a:cubicBezTo>
                <a:cubicBezTo>
                  <a:pt x="3003" y="1255"/>
                  <a:pt x="3003" y="1255"/>
                  <a:pt x="3003" y="1255"/>
                </a:cubicBezTo>
                <a:cubicBezTo>
                  <a:pt x="3001" y="1255"/>
                  <a:pt x="3001" y="1255"/>
                  <a:pt x="3001" y="1255"/>
                </a:cubicBezTo>
                <a:cubicBezTo>
                  <a:pt x="3000" y="1253"/>
                  <a:pt x="3000" y="1253"/>
                  <a:pt x="3000" y="1253"/>
                </a:cubicBezTo>
                <a:cubicBezTo>
                  <a:pt x="2999" y="1254"/>
                  <a:pt x="2999" y="1254"/>
                  <a:pt x="2999" y="1254"/>
                </a:cubicBezTo>
                <a:cubicBezTo>
                  <a:pt x="2998" y="1253"/>
                  <a:pt x="2998" y="1253"/>
                  <a:pt x="2998" y="1253"/>
                </a:cubicBezTo>
                <a:cubicBezTo>
                  <a:pt x="2996" y="1252"/>
                  <a:pt x="2996" y="1252"/>
                  <a:pt x="2996" y="1252"/>
                </a:cubicBezTo>
                <a:cubicBezTo>
                  <a:pt x="2994" y="1254"/>
                  <a:pt x="2994" y="1254"/>
                  <a:pt x="2994" y="1254"/>
                </a:cubicBezTo>
                <a:cubicBezTo>
                  <a:pt x="2995" y="1252"/>
                  <a:pt x="2995" y="1252"/>
                  <a:pt x="2995" y="1252"/>
                </a:cubicBezTo>
                <a:cubicBezTo>
                  <a:pt x="2997" y="1251"/>
                  <a:pt x="2997" y="1251"/>
                  <a:pt x="2997" y="1251"/>
                </a:cubicBezTo>
                <a:cubicBezTo>
                  <a:pt x="2997" y="1250"/>
                  <a:pt x="2997" y="1250"/>
                  <a:pt x="2997" y="1250"/>
                </a:cubicBezTo>
                <a:cubicBezTo>
                  <a:pt x="2997" y="1249"/>
                  <a:pt x="2997" y="1249"/>
                  <a:pt x="2997" y="1249"/>
                </a:cubicBezTo>
                <a:cubicBezTo>
                  <a:pt x="2995" y="1249"/>
                  <a:pt x="2995" y="1249"/>
                  <a:pt x="2995" y="1249"/>
                </a:cubicBezTo>
                <a:cubicBezTo>
                  <a:pt x="2993" y="1249"/>
                  <a:pt x="2993" y="1249"/>
                  <a:pt x="2993" y="1249"/>
                </a:cubicBezTo>
                <a:cubicBezTo>
                  <a:pt x="2992" y="1247"/>
                  <a:pt x="2992" y="1247"/>
                  <a:pt x="2992" y="1247"/>
                </a:cubicBezTo>
                <a:cubicBezTo>
                  <a:pt x="2991" y="1247"/>
                  <a:pt x="2991" y="1247"/>
                  <a:pt x="2991" y="1247"/>
                </a:cubicBezTo>
                <a:cubicBezTo>
                  <a:pt x="2987" y="1245"/>
                  <a:pt x="2987" y="1245"/>
                  <a:pt x="2987" y="1245"/>
                </a:cubicBezTo>
                <a:cubicBezTo>
                  <a:pt x="2985" y="1241"/>
                  <a:pt x="2985" y="1241"/>
                  <a:pt x="2985" y="1241"/>
                </a:cubicBezTo>
                <a:cubicBezTo>
                  <a:pt x="2985" y="1238"/>
                  <a:pt x="2985" y="1238"/>
                  <a:pt x="2985" y="1238"/>
                </a:cubicBezTo>
                <a:cubicBezTo>
                  <a:pt x="2984" y="1235"/>
                  <a:pt x="2984" y="1235"/>
                  <a:pt x="2984" y="1235"/>
                </a:cubicBezTo>
                <a:cubicBezTo>
                  <a:pt x="2984" y="1233"/>
                  <a:pt x="2984" y="1233"/>
                  <a:pt x="2984" y="1233"/>
                </a:cubicBezTo>
                <a:cubicBezTo>
                  <a:pt x="2985" y="1233"/>
                  <a:pt x="2985" y="1233"/>
                  <a:pt x="2985" y="1233"/>
                </a:cubicBezTo>
                <a:cubicBezTo>
                  <a:pt x="2985" y="1229"/>
                  <a:pt x="2985" y="1229"/>
                  <a:pt x="2985" y="1229"/>
                </a:cubicBezTo>
                <a:cubicBezTo>
                  <a:pt x="2984" y="1224"/>
                  <a:pt x="2984" y="1224"/>
                  <a:pt x="2984" y="1224"/>
                </a:cubicBezTo>
                <a:cubicBezTo>
                  <a:pt x="2983" y="1221"/>
                  <a:pt x="2983" y="1221"/>
                  <a:pt x="2983" y="1221"/>
                </a:cubicBezTo>
                <a:cubicBezTo>
                  <a:pt x="2984" y="1221"/>
                  <a:pt x="2984" y="1221"/>
                  <a:pt x="2984" y="1221"/>
                </a:cubicBezTo>
                <a:cubicBezTo>
                  <a:pt x="2983" y="1219"/>
                  <a:pt x="2983" y="1219"/>
                  <a:pt x="2983" y="1219"/>
                </a:cubicBezTo>
                <a:cubicBezTo>
                  <a:pt x="2981" y="1219"/>
                  <a:pt x="2981" y="1219"/>
                  <a:pt x="2981" y="1219"/>
                </a:cubicBezTo>
                <a:cubicBezTo>
                  <a:pt x="2979" y="1215"/>
                  <a:pt x="2979" y="1215"/>
                  <a:pt x="2979" y="1215"/>
                </a:cubicBezTo>
                <a:cubicBezTo>
                  <a:pt x="2979" y="1210"/>
                  <a:pt x="2979" y="1210"/>
                  <a:pt x="2979" y="1210"/>
                </a:cubicBezTo>
                <a:cubicBezTo>
                  <a:pt x="2980" y="1210"/>
                  <a:pt x="2980" y="1210"/>
                  <a:pt x="2980" y="1210"/>
                </a:cubicBezTo>
                <a:cubicBezTo>
                  <a:pt x="2980" y="1209"/>
                  <a:pt x="2980" y="1209"/>
                  <a:pt x="2980" y="1209"/>
                </a:cubicBezTo>
                <a:cubicBezTo>
                  <a:pt x="2979" y="1208"/>
                  <a:pt x="2979" y="1208"/>
                  <a:pt x="2979" y="1208"/>
                </a:cubicBezTo>
                <a:cubicBezTo>
                  <a:pt x="2979" y="1201"/>
                  <a:pt x="2979" y="1201"/>
                  <a:pt x="2979" y="1201"/>
                </a:cubicBezTo>
                <a:cubicBezTo>
                  <a:pt x="2979" y="1200"/>
                  <a:pt x="2979" y="1200"/>
                  <a:pt x="2979" y="1200"/>
                </a:cubicBezTo>
                <a:cubicBezTo>
                  <a:pt x="2979" y="1198"/>
                  <a:pt x="2979" y="1198"/>
                  <a:pt x="2979" y="1198"/>
                </a:cubicBezTo>
                <a:cubicBezTo>
                  <a:pt x="2979" y="1197"/>
                  <a:pt x="2979" y="1197"/>
                  <a:pt x="2979" y="1197"/>
                </a:cubicBezTo>
                <a:cubicBezTo>
                  <a:pt x="2980" y="1196"/>
                  <a:pt x="2980" y="1196"/>
                  <a:pt x="2980" y="1196"/>
                </a:cubicBezTo>
                <a:cubicBezTo>
                  <a:pt x="2976" y="1192"/>
                  <a:pt x="2976" y="1192"/>
                  <a:pt x="2976" y="1192"/>
                </a:cubicBezTo>
                <a:cubicBezTo>
                  <a:pt x="2974" y="1191"/>
                  <a:pt x="2974" y="1191"/>
                  <a:pt x="2974" y="1191"/>
                </a:cubicBezTo>
                <a:cubicBezTo>
                  <a:pt x="2975" y="1190"/>
                  <a:pt x="2975" y="1190"/>
                  <a:pt x="2975" y="1190"/>
                </a:cubicBezTo>
                <a:cubicBezTo>
                  <a:pt x="2972" y="1188"/>
                  <a:pt x="2972" y="1188"/>
                  <a:pt x="2972" y="1188"/>
                </a:cubicBezTo>
                <a:cubicBezTo>
                  <a:pt x="2970" y="1189"/>
                  <a:pt x="2970" y="1189"/>
                  <a:pt x="2970" y="1189"/>
                </a:cubicBezTo>
                <a:cubicBezTo>
                  <a:pt x="2969" y="1188"/>
                  <a:pt x="2969" y="1188"/>
                  <a:pt x="2969" y="1188"/>
                </a:cubicBezTo>
                <a:cubicBezTo>
                  <a:pt x="2968" y="1191"/>
                  <a:pt x="2968" y="1191"/>
                  <a:pt x="2968" y="1191"/>
                </a:cubicBezTo>
                <a:cubicBezTo>
                  <a:pt x="2966" y="1191"/>
                  <a:pt x="2966" y="1191"/>
                  <a:pt x="2966" y="1191"/>
                </a:cubicBezTo>
                <a:cubicBezTo>
                  <a:pt x="2964" y="1188"/>
                  <a:pt x="2964" y="1188"/>
                  <a:pt x="2964" y="1188"/>
                </a:cubicBezTo>
                <a:cubicBezTo>
                  <a:pt x="2965" y="1186"/>
                  <a:pt x="2965" y="1186"/>
                  <a:pt x="2965" y="1186"/>
                </a:cubicBezTo>
                <a:cubicBezTo>
                  <a:pt x="2963" y="1183"/>
                  <a:pt x="2963" y="1183"/>
                  <a:pt x="2963" y="1183"/>
                </a:cubicBezTo>
                <a:cubicBezTo>
                  <a:pt x="2964" y="1179"/>
                  <a:pt x="2964" y="1179"/>
                  <a:pt x="2964" y="1179"/>
                </a:cubicBezTo>
                <a:cubicBezTo>
                  <a:pt x="2964" y="1175"/>
                  <a:pt x="2964" y="1175"/>
                  <a:pt x="2964" y="1175"/>
                </a:cubicBezTo>
                <a:cubicBezTo>
                  <a:pt x="2963" y="1175"/>
                  <a:pt x="2963" y="1175"/>
                  <a:pt x="2963" y="1175"/>
                </a:cubicBezTo>
                <a:cubicBezTo>
                  <a:pt x="2962" y="1173"/>
                  <a:pt x="2962" y="1173"/>
                  <a:pt x="2962" y="1173"/>
                </a:cubicBezTo>
                <a:cubicBezTo>
                  <a:pt x="2963" y="1172"/>
                  <a:pt x="2963" y="1172"/>
                  <a:pt x="2963" y="1172"/>
                </a:cubicBezTo>
                <a:cubicBezTo>
                  <a:pt x="2961" y="1170"/>
                  <a:pt x="2961" y="1170"/>
                  <a:pt x="2961" y="1170"/>
                </a:cubicBezTo>
                <a:cubicBezTo>
                  <a:pt x="2961" y="1168"/>
                  <a:pt x="2961" y="1168"/>
                  <a:pt x="2961" y="1168"/>
                </a:cubicBezTo>
                <a:cubicBezTo>
                  <a:pt x="2960" y="1167"/>
                  <a:pt x="2960" y="1167"/>
                  <a:pt x="2960" y="1167"/>
                </a:cubicBezTo>
                <a:cubicBezTo>
                  <a:pt x="2960" y="1165"/>
                  <a:pt x="2960" y="1165"/>
                  <a:pt x="2960" y="1165"/>
                </a:cubicBezTo>
                <a:cubicBezTo>
                  <a:pt x="2962" y="1163"/>
                  <a:pt x="2962" y="1163"/>
                  <a:pt x="2962" y="1163"/>
                </a:cubicBezTo>
                <a:cubicBezTo>
                  <a:pt x="2960" y="1163"/>
                  <a:pt x="2960" y="1163"/>
                  <a:pt x="2960" y="1163"/>
                </a:cubicBezTo>
                <a:cubicBezTo>
                  <a:pt x="2959" y="1163"/>
                  <a:pt x="2959" y="1163"/>
                  <a:pt x="2959" y="1163"/>
                </a:cubicBezTo>
                <a:cubicBezTo>
                  <a:pt x="2957" y="1162"/>
                  <a:pt x="2957" y="1162"/>
                  <a:pt x="2957" y="1162"/>
                </a:cubicBezTo>
                <a:cubicBezTo>
                  <a:pt x="2958" y="1157"/>
                  <a:pt x="2958" y="1157"/>
                  <a:pt x="2958" y="1157"/>
                </a:cubicBezTo>
                <a:cubicBezTo>
                  <a:pt x="2957" y="1156"/>
                  <a:pt x="2957" y="1156"/>
                  <a:pt x="2957" y="1156"/>
                </a:cubicBezTo>
                <a:cubicBezTo>
                  <a:pt x="2957" y="1153"/>
                  <a:pt x="2957" y="1153"/>
                  <a:pt x="2957" y="1153"/>
                </a:cubicBezTo>
                <a:cubicBezTo>
                  <a:pt x="2955" y="1153"/>
                  <a:pt x="2955" y="1153"/>
                  <a:pt x="2955" y="1153"/>
                </a:cubicBezTo>
                <a:cubicBezTo>
                  <a:pt x="2955" y="1151"/>
                  <a:pt x="2955" y="1151"/>
                  <a:pt x="2955" y="1151"/>
                </a:cubicBezTo>
                <a:cubicBezTo>
                  <a:pt x="2952" y="1152"/>
                  <a:pt x="2952" y="1152"/>
                  <a:pt x="2952" y="1152"/>
                </a:cubicBezTo>
                <a:cubicBezTo>
                  <a:pt x="2951" y="1154"/>
                  <a:pt x="2951" y="1154"/>
                  <a:pt x="2951" y="1154"/>
                </a:cubicBezTo>
                <a:cubicBezTo>
                  <a:pt x="2951" y="1157"/>
                  <a:pt x="2951" y="1157"/>
                  <a:pt x="2951" y="1157"/>
                </a:cubicBezTo>
                <a:cubicBezTo>
                  <a:pt x="2950" y="1160"/>
                  <a:pt x="2950" y="1160"/>
                  <a:pt x="2950" y="1160"/>
                </a:cubicBezTo>
                <a:cubicBezTo>
                  <a:pt x="2950" y="1161"/>
                  <a:pt x="2950" y="1161"/>
                  <a:pt x="2950" y="1161"/>
                </a:cubicBezTo>
                <a:cubicBezTo>
                  <a:pt x="2950" y="1163"/>
                  <a:pt x="2950" y="1163"/>
                  <a:pt x="2950" y="1163"/>
                </a:cubicBezTo>
                <a:cubicBezTo>
                  <a:pt x="2949" y="1163"/>
                  <a:pt x="2949" y="1163"/>
                  <a:pt x="2949" y="1163"/>
                </a:cubicBezTo>
                <a:cubicBezTo>
                  <a:pt x="2947" y="1166"/>
                  <a:pt x="2947" y="1166"/>
                  <a:pt x="2947" y="1166"/>
                </a:cubicBezTo>
                <a:cubicBezTo>
                  <a:pt x="2945" y="1169"/>
                  <a:pt x="2945" y="1169"/>
                  <a:pt x="2945" y="1169"/>
                </a:cubicBezTo>
                <a:cubicBezTo>
                  <a:pt x="2947" y="1170"/>
                  <a:pt x="2947" y="1170"/>
                  <a:pt x="2947" y="1170"/>
                </a:cubicBezTo>
                <a:cubicBezTo>
                  <a:pt x="2949" y="1172"/>
                  <a:pt x="2949" y="1172"/>
                  <a:pt x="2949" y="1172"/>
                </a:cubicBezTo>
                <a:cubicBezTo>
                  <a:pt x="2948" y="1173"/>
                  <a:pt x="2948" y="1173"/>
                  <a:pt x="2948" y="1173"/>
                </a:cubicBezTo>
                <a:cubicBezTo>
                  <a:pt x="2946" y="1173"/>
                  <a:pt x="2946" y="1173"/>
                  <a:pt x="2946" y="1173"/>
                </a:cubicBezTo>
                <a:cubicBezTo>
                  <a:pt x="2946" y="1175"/>
                  <a:pt x="2946" y="1175"/>
                  <a:pt x="2946" y="1175"/>
                </a:cubicBezTo>
                <a:cubicBezTo>
                  <a:pt x="2944" y="1177"/>
                  <a:pt x="2944" y="1177"/>
                  <a:pt x="2944" y="1177"/>
                </a:cubicBezTo>
                <a:cubicBezTo>
                  <a:pt x="2946" y="1179"/>
                  <a:pt x="2946" y="1179"/>
                  <a:pt x="2946" y="1179"/>
                </a:cubicBezTo>
                <a:cubicBezTo>
                  <a:pt x="2946" y="1181"/>
                  <a:pt x="2946" y="1181"/>
                  <a:pt x="2946" y="1181"/>
                </a:cubicBezTo>
                <a:cubicBezTo>
                  <a:pt x="2945" y="1180"/>
                  <a:pt x="2945" y="1180"/>
                  <a:pt x="2945" y="1180"/>
                </a:cubicBezTo>
                <a:cubicBezTo>
                  <a:pt x="2943" y="1181"/>
                  <a:pt x="2943" y="1181"/>
                  <a:pt x="2943" y="1181"/>
                </a:cubicBezTo>
                <a:cubicBezTo>
                  <a:pt x="2943" y="1186"/>
                  <a:pt x="2943" y="1186"/>
                  <a:pt x="2943" y="1186"/>
                </a:cubicBezTo>
                <a:cubicBezTo>
                  <a:pt x="2943" y="1189"/>
                  <a:pt x="2943" y="1189"/>
                  <a:pt x="2943" y="1189"/>
                </a:cubicBezTo>
                <a:cubicBezTo>
                  <a:pt x="2943" y="1193"/>
                  <a:pt x="2943" y="1193"/>
                  <a:pt x="2943" y="1193"/>
                </a:cubicBezTo>
                <a:cubicBezTo>
                  <a:pt x="2944" y="1195"/>
                  <a:pt x="2944" y="1195"/>
                  <a:pt x="2944" y="1195"/>
                </a:cubicBezTo>
                <a:cubicBezTo>
                  <a:pt x="2944" y="1198"/>
                  <a:pt x="2944" y="1198"/>
                  <a:pt x="2944" y="1198"/>
                </a:cubicBezTo>
                <a:cubicBezTo>
                  <a:pt x="2942" y="1200"/>
                  <a:pt x="2942" y="1200"/>
                  <a:pt x="2942" y="1200"/>
                </a:cubicBezTo>
                <a:cubicBezTo>
                  <a:pt x="2942" y="1202"/>
                  <a:pt x="2942" y="1202"/>
                  <a:pt x="2942" y="1202"/>
                </a:cubicBezTo>
                <a:cubicBezTo>
                  <a:pt x="2940" y="1206"/>
                  <a:pt x="2940" y="1206"/>
                  <a:pt x="2940" y="1206"/>
                </a:cubicBezTo>
                <a:cubicBezTo>
                  <a:pt x="2939" y="1211"/>
                  <a:pt x="2939" y="1211"/>
                  <a:pt x="2939" y="1211"/>
                </a:cubicBezTo>
                <a:cubicBezTo>
                  <a:pt x="2937" y="1213"/>
                  <a:pt x="2937" y="1213"/>
                  <a:pt x="2937" y="1213"/>
                </a:cubicBezTo>
                <a:cubicBezTo>
                  <a:pt x="2938" y="1216"/>
                  <a:pt x="2938" y="1216"/>
                  <a:pt x="2938" y="1216"/>
                </a:cubicBezTo>
                <a:cubicBezTo>
                  <a:pt x="2937" y="1219"/>
                  <a:pt x="2937" y="1219"/>
                  <a:pt x="2937" y="1219"/>
                </a:cubicBezTo>
                <a:cubicBezTo>
                  <a:pt x="2935" y="1221"/>
                  <a:pt x="2935" y="1221"/>
                  <a:pt x="2935" y="1221"/>
                </a:cubicBezTo>
                <a:cubicBezTo>
                  <a:pt x="2935" y="1224"/>
                  <a:pt x="2935" y="1224"/>
                  <a:pt x="2935" y="1224"/>
                </a:cubicBezTo>
                <a:cubicBezTo>
                  <a:pt x="2932" y="1227"/>
                  <a:pt x="2932" y="1227"/>
                  <a:pt x="2932" y="1227"/>
                </a:cubicBezTo>
                <a:cubicBezTo>
                  <a:pt x="2925" y="1229"/>
                  <a:pt x="2925" y="1229"/>
                  <a:pt x="2925" y="1229"/>
                </a:cubicBezTo>
                <a:cubicBezTo>
                  <a:pt x="2923" y="1227"/>
                  <a:pt x="2923" y="1227"/>
                  <a:pt x="2923" y="1227"/>
                </a:cubicBezTo>
                <a:cubicBezTo>
                  <a:pt x="2920" y="1227"/>
                  <a:pt x="2920" y="1227"/>
                  <a:pt x="2920" y="1227"/>
                </a:cubicBezTo>
                <a:cubicBezTo>
                  <a:pt x="2919" y="1225"/>
                  <a:pt x="2919" y="1225"/>
                  <a:pt x="2919" y="1225"/>
                </a:cubicBezTo>
                <a:cubicBezTo>
                  <a:pt x="2916" y="1223"/>
                  <a:pt x="2916" y="1223"/>
                  <a:pt x="2916" y="1223"/>
                </a:cubicBezTo>
                <a:cubicBezTo>
                  <a:pt x="2916" y="1222"/>
                  <a:pt x="2916" y="1222"/>
                  <a:pt x="2916" y="1222"/>
                </a:cubicBezTo>
                <a:cubicBezTo>
                  <a:pt x="2915" y="1221"/>
                  <a:pt x="2915" y="1221"/>
                  <a:pt x="2915" y="1221"/>
                </a:cubicBezTo>
                <a:cubicBezTo>
                  <a:pt x="2915" y="1219"/>
                  <a:pt x="2915" y="1219"/>
                  <a:pt x="2915" y="1219"/>
                </a:cubicBezTo>
                <a:cubicBezTo>
                  <a:pt x="2912" y="1219"/>
                  <a:pt x="2912" y="1219"/>
                  <a:pt x="2912" y="1219"/>
                </a:cubicBezTo>
                <a:cubicBezTo>
                  <a:pt x="2910" y="1218"/>
                  <a:pt x="2910" y="1218"/>
                  <a:pt x="2910" y="1218"/>
                </a:cubicBezTo>
                <a:cubicBezTo>
                  <a:pt x="2907" y="1218"/>
                  <a:pt x="2907" y="1218"/>
                  <a:pt x="2907" y="1218"/>
                </a:cubicBezTo>
                <a:cubicBezTo>
                  <a:pt x="2904" y="1216"/>
                  <a:pt x="2904" y="1216"/>
                  <a:pt x="2904" y="1216"/>
                </a:cubicBezTo>
                <a:cubicBezTo>
                  <a:pt x="2904" y="1214"/>
                  <a:pt x="2904" y="1214"/>
                  <a:pt x="2904" y="1214"/>
                </a:cubicBezTo>
                <a:cubicBezTo>
                  <a:pt x="2902" y="1211"/>
                  <a:pt x="2902" y="1211"/>
                  <a:pt x="2902" y="1211"/>
                </a:cubicBezTo>
                <a:cubicBezTo>
                  <a:pt x="2899" y="1211"/>
                  <a:pt x="2899" y="1211"/>
                  <a:pt x="2899" y="1211"/>
                </a:cubicBezTo>
                <a:cubicBezTo>
                  <a:pt x="2897" y="1209"/>
                  <a:pt x="2897" y="1209"/>
                  <a:pt x="2897" y="1209"/>
                </a:cubicBezTo>
                <a:cubicBezTo>
                  <a:pt x="2896" y="1208"/>
                  <a:pt x="2896" y="1208"/>
                  <a:pt x="2896" y="1208"/>
                </a:cubicBezTo>
                <a:cubicBezTo>
                  <a:pt x="2895" y="1208"/>
                  <a:pt x="2895" y="1208"/>
                  <a:pt x="2895" y="1208"/>
                </a:cubicBezTo>
                <a:cubicBezTo>
                  <a:pt x="2894" y="1207"/>
                  <a:pt x="2894" y="1207"/>
                  <a:pt x="2894" y="1207"/>
                </a:cubicBezTo>
                <a:cubicBezTo>
                  <a:pt x="2892" y="1207"/>
                  <a:pt x="2892" y="1207"/>
                  <a:pt x="2892" y="1207"/>
                </a:cubicBezTo>
                <a:cubicBezTo>
                  <a:pt x="2890" y="1207"/>
                  <a:pt x="2890" y="1207"/>
                  <a:pt x="2890" y="1207"/>
                </a:cubicBezTo>
                <a:cubicBezTo>
                  <a:pt x="2890" y="1206"/>
                  <a:pt x="2890" y="1206"/>
                  <a:pt x="2890" y="1206"/>
                </a:cubicBezTo>
                <a:cubicBezTo>
                  <a:pt x="2888" y="1204"/>
                  <a:pt x="2888" y="1204"/>
                  <a:pt x="2888" y="1204"/>
                </a:cubicBezTo>
                <a:cubicBezTo>
                  <a:pt x="2887" y="1202"/>
                  <a:pt x="2887" y="1202"/>
                  <a:pt x="2887" y="1202"/>
                </a:cubicBezTo>
                <a:cubicBezTo>
                  <a:pt x="2885" y="1199"/>
                  <a:pt x="2885" y="1199"/>
                  <a:pt x="2885" y="1199"/>
                </a:cubicBezTo>
                <a:cubicBezTo>
                  <a:pt x="2883" y="1199"/>
                  <a:pt x="2883" y="1199"/>
                  <a:pt x="2883" y="1199"/>
                </a:cubicBezTo>
                <a:cubicBezTo>
                  <a:pt x="2881" y="1196"/>
                  <a:pt x="2881" y="1196"/>
                  <a:pt x="2881" y="1196"/>
                </a:cubicBezTo>
                <a:cubicBezTo>
                  <a:pt x="2881" y="1194"/>
                  <a:pt x="2881" y="1194"/>
                  <a:pt x="2881" y="1194"/>
                </a:cubicBezTo>
                <a:cubicBezTo>
                  <a:pt x="2883" y="1191"/>
                  <a:pt x="2883" y="1191"/>
                  <a:pt x="2883" y="1191"/>
                </a:cubicBezTo>
                <a:cubicBezTo>
                  <a:pt x="2883" y="1188"/>
                  <a:pt x="2883" y="1188"/>
                  <a:pt x="2883" y="1188"/>
                </a:cubicBezTo>
                <a:cubicBezTo>
                  <a:pt x="2885" y="1187"/>
                  <a:pt x="2885" y="1187"/>
                  <a:pt x="2885" y="1187"/>
                </a:cubicBezTo>
                <a:cubicBezTo>
                  <a:pt x="2886" y="1184"/>
                  <a:pt x="2886" y="1184"/>
                  <a:pt x="2886" y="1184"/>
                </a:cubicBezTo>
                <a:cubicBezTo>
                  <a:pt x="2887" y="1182"/>
                  <a:pt x="2887" y="1182"/>
                  <a:pt x="2887" y="1182"/>
                </a:cubicBezTo>
                <a:cubicBezTo>
                  <a:pt x="2885" y="1184"/>
                  <a:pt x="2885" y="1184"/>
                  <a:pt x="2885" y="1184"/>
                </a:cubicBezTo>
                <a:cubicBezTo>
                  <a:pt x="2883" y="1181"/>
                  <a:pt x="2883" y="1181"/>
                  <a:pt x="2883" y="1181"/>
                </a:cubicBezTo>
                <a:cubicBezTo>
                  <a:pt x="2886" y="1179"/>
                  <a:pt x="2886" y="1179"/>
                  <a:pt x="2886" y="1179"/>
                </a:cubicBezTo>
                <a:cubicBezTo>
                  <a:pt x="2885" y="1177"/>
                  <a:pt x="2885" y="1177"/>
                  <a:pt x="2885" y="1177"/>
                </a:cubicBezTo>
                <a:cubicBezTo>
                  <a:pt x="2886" y="1177"/>
                  <a:pt x="2886" y="1177"/>
                  <a:pt x="2886" y="1177"/>
                </a:cubicBezTo>
                <a:cubicBezTo>
                  <a:pt x="2887" y="1177"/>
                  <a:pt x="2887" y="1177"/>
                  <a:pt x="2887" y="1177"/>
                </a:cubicBezTo>
                <a:cubicBezTo>
                  <a:pt x="2888" y="1178"/>
                  <a:pt x="2888" y="1178"/>
                  <a:pt x="2888" y="1178"/>
                </a:cubicBezTo>
                <a:cubicBezTo>
                  <a:pt x="2890" y="1178"/>
                  <a:pt x="2890" y="1178"/>
                  <a:pt x="2890" y="1178"/>
                </a:cubicBezTo>
                <a:cubicBezTo>
                  <a:pt x="2892" y="1177"/>
                  <a:pt x="2892" y="1177"/>
                  <a:pt x="2892" y="1177"/>
                </a:cubicBezTo>
                <a:cubicBezTo>
                  <a:pt x="2893" y="1175"/>
                  <a:pt x="2893" y="1175"/>
                  <a:pt x="2893" y="1175"/>
                </a:cubicBezTo>
                <a:cubicBezTo>
                  <a:pt x="2891" y="1173"/>
                  <a:pt x="2891" y="1173"/>
                  <a:pt x="2891" y="1173"/>
                </a:cubicBezTo>
                <a:cubicBezTo>
                  <a:pt x="2893" y="1172"/>
                  <a:pt x="2893" y="1172"/>
                  <a:pt x="2893" y="1172"/>
                </a:cubicBezTo>
                <a:cubicBezTo>
                  <a:pt x="2894" y="1172"/>
                  <a:pt x="2894" y="1172"/>
                  <a:pt x="2894" y="1172"/>
                </a:cubicBezTo>
                <a:cubicBezTo>
                  <a:pt x="2895" y="1169"/>
                  <a:pt x="2895" y="1169"/>
                  <a:pt x="2895" y="1169"/>
                </a:cubicBezTo>
                <a:cubicBezTo>
                  <a:pt x="2897" y="1168"/>
                  <a:pt x="2897" y="1168"/>
                  <a:pt x="2897" y="1168"/>
                </a:cubicBezTo>
                <a:cubicBezTo>
                  <a:pt x="2898" y="1166"/>
                  <a:pt x="2898" y="1166"/>
                  <a:pt x="2898" y="1166"/>
                </a:cubicBezTo>
                <a:cubicBezTo>
                  <a:pt x="2898" y="1165"/>
                  <a:pt x="2898" y="1165"/>
                  <a:pt x="2898" y="1165"/>
                </a:cubicBezTo>
                <a:cubicBezTo>
                  <a:pt x="2896" y="1164"/>
                  <a:pt x="2896" y="1164"/>
                  <a:pt x="2896" y="1164"/>
                </a:cubicBezTo>
                <a:cubicBezTo>
                  <a:pt x="2895" y="1166"/>
                  <a:pt x="2895" y="1166"/>
                  <a:pt x="2895" y="1166"/>
                </a:cubicBezTo>
                <a:cubicBezTo>
                  <a:pt x="2893" y="1165"/>
                  <a:pt x="2893" y="1165"/>
                  <a:pt x="2893" y="1165"/>
                </a:cubicBezTo>
                <a:cubicBezTo>
                  <a:pt x="2893" y="1162"/>
                  <a:pt x="2893" y="1162"/>
                  <a:pt x="2893" y="1162"/>
                </a:cubicBezTo>
                <a:cubicBezTo>
                  <a:pt x="2891" y="1163"/>
                  <a:pt x="2891" y="1163"/>
                  <a:pt x="2891" y="1163"/>
                </a:cubicBezTo>
                <a:cubicBezTo>
                  <a:pt x="2889" y="1166"/>
                  <a:pt x="2889" y="1166"/>
                  <a:pt x="2889" y="1166"/>
                </a:cubicBezTo>
                <a:cubicBezTo>
                  <a:pt x="2890" y="1166"/>
                  <a:pt x="2890" y="1166"/>
                  <a:pt x="2890" y="1166"/>
                </a:cubicBezTo>
                <a:cubicBezTo>
                  <a:pt x="2890" y="1167"/>
                  <a:pt x="2890" y="1167"/>
                  <a:pt x="2890" y="1167"/>
                </a:cubicBezTo>
                <a:cubicBezTo>
                  <a:pt x="2889" y="1168"/>
                  <a:pt x="2889" y="1168"/>
                  <a:pt x="2889" y="1168"/>
                </a:cubicBezTo>
                <a:cubicBezTo>
                  <a:pt x="2887" y="1167"/>
                  <a:pt x="2887" y="1167"/>
                  <a:pt x="2887" y="1167"/>
                </a:cubicBezTo>
                <a:cubicBezTo>
                  <a:pt x="2887" y="1166"/>
                  <a:pt x="2887" y="1166"/>
                  <a:pt x="2887" y="1166"/>
                </a:cubicBezTo>
                <a:cubicBezTo>
                  <a:pt x="2886" y="1165"/>
                  <a:pt x="2886" y="1165"/>
                  <a:pt x="2886" y="1165"/>
                </a:cubicBezTo>
                <a:cubicBezTo>
                  <a:pt x="2885" y="1166"/>
                  <a:pt x="2885" y="1166"/>
                  <a:pt x="2885" y="1166"/>
                </a:cubicBezTo>
                <a:cubicBezTo>
                  <a:pt x="2884" y="1167"/>
                  <a:pt x="2884" y="1167"/>
                  <a:pt x="2884" y="1167"/>
                </a:cubicBezTo>
                <a:cubicBezTo>
                  <a:pt x="2884" y="1165"/>
                  <a:pt x="2884" y="1165"/>
                  <a:pt x="2884" y="1165"/>
                </a:cubicBezTo>
                <a:cubicBezTo>
                  <a:pt x="2885" y="1164"/>
                  <a:pt x="2885" y="1164"/>
                  <a:pt x="2885" y="1164"/>
                </a:cubicBezTo>
                <a:cubicBezTo>
                  <a:pt x="2885" y="1163"/>
                  <a:pt x="2885" y="1163"/>
                  <a:pt x="2885" y="1163"/>
                </a:cubicBezTo>
                <a:cubicBezTo>
                  <a:pt x="2884" y="1164"/>
                  <a:pt x="2884" y="1164"/>
                  <a:pt x="2884" y="1164"/>
                </a:cubicBezTo>
                <a:cubicBezTo>
                  <a:pt x="2883" y="1165"/>
                  <a:pt x="2883" y="1165"/>
                  <a:pt x="2883" y="1165"/>
                </a:cubicBezTo>
                <a:cubicBezTo>
                  <a:pt x="2880" y="1166"/>
                  <a:pt x="2880" y="1166"/>
                  <a:pt x="2880" y="1166"/>
                </a:cubicBezTo>
                <a:cubicBezTo>
                  <a:pt x="2880" y="1167"/>
                  <a:pt x="2880" y="1167"/>
                  <a:pt x="2880" y="1167"/>
                </a:cubicBezTo>
                <a:cubicBezTo>
                  <a:pt x="2879" y="1167"/>
                  <a:pt x="2879" y="1167"/>
                  <a:pt x="2879" y="1167"/>
                </a:cubicBezTo>
                <a:cubicBezTo>
                  <a:pt x="2878" y="1166"/>
                  <a:pt x="2878" y="1166"/>
                  <a:pt x="2878" y="1166"/>
                </a:cubicBezTo>
                <a:cubicBezTo>
                  <a:pt x="2876" y="1166"/>
                  <a:pt x="2876" y="1166"/>
                  <a:pt x="2876" y="1166"/>
                </a:cubicBezTo>
                <a:cubicBezTo>
                  <a:pt x="2876" y="1165"/>
                  <a:pt x="2876" y="1165"/>
                  <a:pt x="2876" y="1165"/>
                </a:cubicBezTo>
                <a:cubicBezTo>
                  <a:pt x="2875" y="1163"/>
                  <a:pt x="2875" y="1163"/>
                  <a:pt x="2875" y="1163"/>
                </a:cubicBezTo>
                <a:cubicBezTo>
                  <a:pt x="2874" y="1163"/>
                  <a:pt x="2874" y="1163"/>
                  <a:pt x="2874" y="1163"/>
                </a:cubicBezTo>
                <a:cubicBezTo>
                  <a:pt x="2872" y="1164"/>
                  <a:pt x="2872" y="1164"/>
                  <a:pt x="2872" y="1164"/>
                </a:cubicBezTo>
                <a:cubicBezTo>
                  <a:pt x="2870" y="1163"/>
                  <a:pt x="2870" y="1163"/>
                  <a:pt x="2870" y="1163"/>
                </a:cubicBezTo>
                <a:cubicBezTo>
                  <a:pt x="2869" y="1164"/>
                  <a:pt x="2869" y="1164"/>
                  <a:pt x="2869" y="1164"/>
                </a:cubicBezTo>
                <a:cubicBezTo>
                  <a:pt x="2868" y="1162"/>
                  <a:pt x="2868" y="1162"/>
                  <a:pt x="2868" y="1162"/>
                </a:cubicBezTo>
                <a:cubicBezTo>
                  <a:pt x="2867" y="1162"/>
                  <a:pt x="2867" y="1162"/>
                  <a:pt x="2867" y="1162"/>
                </a:cubicBezTo>
                <a:cubicBezTo>
                  <a:pt x="2866" y="1160"/>
                  <a:pt x="2866" y="1160"/>
                  <a:pt x="2866" y="1160"/>
                </a:cubicBezTo>
                <a:cubicBezTo>
                  <a:pt x="2864" y="1161"/>
                  <a:pt x="2864" y="1161"/>
                  <a:pt x="2864" y="1161"/>
                </a:cubicBezTo>
                <a:cubicBezTo>
                  <a:pt x="2861" y="1161"/>
                  <a:pt x="2861" y="1161"/>
                  <a:pt x="2861" y="1161"/>
                </a:cubicBezTo>
                <a:cubicBezTo>
                  <a:pt x="2859" y="1160"/>
                  <a:pt x="2859" y="1160"/>
                  <a:pt x="2859" y="1160"/>
                </a:cubicBezTo>
                <a:cubicBezTo>
                  <a:pt x="2859" y="1158"/>
                  <a:pt x="2859" y="1158"/>
                  <a:pt x="2859" y="1158"/>
                </a:cubicBezTo>
                <a:cubicBezTo>
                  <a:pt x="2858" y="1156"/>
                  <a:pt x="2858" y="1156"/>
                  <a:pt x="2858" y="1156"/>
                </a:cubicBezTo>
                <a:cubicBezTo>
                  <a:pt x="2857" y="1156"/>
                  <a:pt x="2857" y="1156"/>
                  <a:pt x="2857" y="1156"/>
                </a:cubicBezTo>
                <a:cubicBezTo>
                  <a:pt x="2857" y="1157"/>
                  <a:pt x="2857" y="1157"/>
                  <a:pt x="2857" y="1157"/>
                </a:cubicBezTo>
                <a:cubicBezTo>
                  <a:pt x="2854" y="1158"/>
                  <a:pt x="2854" y="1158"/>
                  <a:pt x="2854" y="1158"/>
                </a:cubicBezTo>
                <a:cubicBezTo>
                  <a:pt x="2853" y="1156"/>
                  <a:pt x="2853" y="1156"/>
                  <a:pt x="2853" y="1156"/>
                </a:cubicBezTo>
                <a:cubicBezTo>
                  <a:pt x="2852" y="1156"/>
                  <a:pt x="2852" y="1156"/>
                  <a:pt x="2852" y="1156"/>
                </a:cubicBezTo>
                <a:cubicBezTo>
                  <a:pt x="2849" y="1154"/>
                  <a:pt x="2849" y="1154"/>
                  <a:pt x="2849" y="1154"/>
                </a:cubicBezTo>
                <a:cubicBezTo>
                  <a:pt x="2848" y="1155"/>
                  <a:pt x="2848" y="1155"/>
                  <a:pt x="2848" y="1155"/>
                </a:cubicBezTo>
                <a:cubicBezTo>
                  <a:pt x="2847" y="1154"/>
                  <a:pt x="2847" y="1154"/>
                  <a:pt x="2847" y="1154"/>
                </a:cubicBezTo>
                <a:cubicBezTo>
                  <a:pt x="2845" y="1155"/>
                  <a:pt x="2845" y="1155"/>
                  <a:pt x="2845" y="1155"/>
                </a:cubicBezTo>
                <a:cubicBezTo>
                  <a:pt x="2847" y="1157"/>
                  <a:pt x="2847" y="1157"/>
                  <a:pt x="2847" y="1157"/>
                </a:cubicBezTo>
                <a:cubicBezTo>
                  <a:pt x="2847" y="1157"/>
                  <a:pt x="2847" y="1157"/>
                  <a:pt x="2847" y="1157"/>
                </a:cubicBezTo>
                <a:cubicBezTo>
                  <a:pt x="2849" y="1158"/>
                  <a:pt x="2849" y="1158"/>
                  <a:pt x="2849" y="1158"/>
                </a:cubicBezTo>
                <a:cubicBezTo>
                  <a:pt x="2850" y="1157"/>
                  <a:pt x="2850" y="1157"/>
                  <a:pt x="2850" y="1157"/>
                </a:cubicBezTo>
                <a:cubicBezTo>
                  <a:pt x="2853" y="1160"/>
                  <a:pt x="2853" y="1160"/>
                  <a:pt x="2853" y="1160"/>
                </a:cubicBezTo>
                <a:cubicBezTo>
                  <a:pt x="2853" y="1161"/>
                  <a:pt x="2853" y="1161"/>
                  <a:pt x="2853" y="1161"/>
                </a:cubicBezTo>
                <a:cubicBezTo>
                  <a:pt x="2854" y="1164"/>
                  <a:pt x="2854" y="1164"/>
                  <a:pt x="2854" y="1164"/>
                </a:cubicBezTo>
                <a:cubicBezTo>
                  <a:pt x="2852" y="1164"/>
                  <a:pt x="2852" y="1164"/>
                  <a:pt x="2852" y="1164"/>
                </a:cubicBezTo>
                <a:cubicBezTo>
                  <a:pt x="2851" y="1167"/>
                  <a:pt x="2851" y="1167"/>
                  <a:pt x="2851" y="1167"/>
                </a:cubicBezTo>
                <a:cubicBezTo>
                  <a:pt x="2850" y="1165"/>
                  <a:pt x="2850" y="1165"/>
                  <a:pt x="2850" y="1165"/>
                </a:cubicBezTo>
                <a:cubicBezTo>
                  <a:pt x="2849" y="1165"/>
                  <a:pt x="2849" y="1165"/>
                  <a:pt x="2849" y="1165"/>
                </a:cubicBezTo>
                <a:cubicBezTo>
                  <a:pt x="2847" y="1166"/>
                  <a:pt x="2847" y="1166"/>
                  <a:pt x="2847" y="1166"/>
                </a:cubicBezTo>
                <a:cubicBezTo>
                  <a:pt x="2841" y="1166"/>
                  <a:pt x="2841" y="1166"/>
                  <a:pt x="2841" y="1166"/>
                </a:cubicBezTo>
                <a:cubicBezTo>
                  <a:pt x="2839" y="1164"/>
                  <a:pt x="2839" y="1164"/>
                  <a:pt x="2839" y="1164"/>
                </a:cubicBezTo>
                <a:cubicBezTo>
                  <a:pt x="2839" y="1165"/>
                  <a:pt x="2839" y="1165"/>
                  <a:pt x="2839" y="1165"/>
                </a:cubicBezTo>
                <a:cubicBezTo>
                  <a:pt x="2836" y="1166"/>
                  <a:pt x="2836" y="1166"/>
                  <a:pt x="2836" y="1166"/>
                </a:cubicBezTo>
                <a:cubicBezTo>
                  <a:pt x="2837" y="1168"/>
                  <a:pt x="2837" y="1168"/>
                  <a:pt x="2837" y="1168"/>
                </a:cubicBezTo>
                <a:cubicBezTo>
                  <a:pt x="2835" y="1167"/>
                  <a:pt x="2835" y="1167"/>
                  <a:pt x="2835" y="1167"/>
                </a:cubicBezTo>
                <a:cubicBezTo>
                  <a:pt x="2835" y="1170"/>
                  <a:pt x="2835" y="1170"/>
                  <a:pt x="2835" y="1170"/>
                </a:cubicBezTo>
                <a:cubicBezTo>
                  <a:pt x="2835" y="1169"/>
                  <a:pt x="2835" y="1169"/>
                  <a:pt x="2835" y="1169"/>
                </a:cubicBezTo>
                <a:cubicBezTo>
                  <a:pt x="2832" y="1168"/>
                  <a:pt x="2832" y="1168"/>
                  <a:pt x="2832" y="1168"/>
                </a:cubicBezTo>
                <a:cubicBezTo>
                  <a:pt x="2831" y="1170"/>
                  <a:pt x="2831" y="1170"/>
                  <a:pt x="2831" y="1170"/>
                </a:cubicBezTo>
                <a:cubicBezTo>
                  <a:pt x="2832" y="1171"/>
                  <a:pt x="2832" y="1171"/>
                  <a:pt x="2832" y="1171"/>
                </a:cubicBezTo>
                <a:cubicBezTo>
                  <a:pt x="2832" y="1172"/>
                  <a:pt x="2832" y="1172"/>
                  <a:pt x="2832" y="1172"/>
                </a:cubicBezTo>
                <a:cubicBezTo>
                  <a:pt x="2830" y="1171"/>
                  <a:pt x="2830" y="1171"/>
                  <a:pt x="2830" y="1171"/>
                </a:cubicBezTo>
                <a:cubicBezTo>
                  <a:pt x="2828" y="1172"/>
                  <a:pt x="2828" y="1172"/>
                  <a:pt x="2828" y="1172"/>
                </a:cubicBezTo>
                <a:cubicBezTo>
                  <a:pt x="2829" y="1173"/>
                  <a:pt x="2829" y="1173"/>
                  <a:pt x="2829" y="1173"/>
                </a:cubicBezTo>
                <a:cubicBezTo>
                  <a:pt x="2828" y="1174"/>
                  <a:pt x="2828" y="1174"/>
                  <a:pt x="2828" y="1174"/>
                </a:cubicBezTo>
                <a:cubicBezTo>
                  <a:pt x="2827" y="1175"/>
                  <a:pt x="2827" y="1175"/>
                  <a:pt x="2827" y="1175"/>
                </a:cubicBezTo>
                <a:cubicBezTo>
                  <a:pt x="2827" y="1176"/>
                  <a:pt x="2827" y="1176"/>
                  <a:pt x="2827" y="1176"/>
                </a:cubicBezTo>
                <a:cubicBezTo>
                  <a:pt x="2828" y="1178"/>
                  <a:pt x="2828" y="1178"/>
                  <a:pt x="2828" y="1178"/>
                </a:cubicBezTo>
                <a:cubicBezTo>
                  <a:pt x="2829" y="1179"/>
                  <a:pt x="2829" y="1179"/>
                  <a:pt x="2829" y="1179"/>
                </a:cubicBezTo>
                <a:cubicBezTo>
                  <a:pt x="2827" y="1178"/>
                  <a:pt x="2827" y="1178"/>
                  <a:pt x="2827" y="1178"/>
                </a:cubicBezTo>
                <a:cubicBezTo>
                  <a:pt x="2825" y="1179"/>
                  <a:pt x="2825" y="1179"/>
                  <a:pt x="2825" y="1179"/>
                </a:cubicBezTo>
                <a:cubicBezTo>
                  <a:pt x="2824" y="1179"/>
                  <a:pt x="2824" y="1179"/>
                  <a:pt x="2824" y="1179"/>
                </a:cubicBezTo>
                <a:cubicBezTo>
                  <a:pt x="2822" y="1182"/>
                  <a:pt x="2822" y="1182"/>
                  <a:pt x="2822" y="1182"/>
                </a:cubicBezTo>
                <a:cubicBezTo>
                  <a:pt x="2820" y="1185"/>
                  <a:pt x="2820" y="1185"/>
                  <a:pt x="2820" y="1185"/>
                </a:cubicBezTo>
                <a:cubicBezTo>
                  <a:pt x="2819" y="1186"/>
                  <a:pt x="2819" y="1186"/>
                  <a:pt x="2819" y="1186"/>
                </a:cubicBezTo>
                <a:cubicBezTo>
                  <a:pt x="2818" y="1188"/>
                  <a:pt x="2818" y="1188"/>
                  <a:pt x="2818" y="1188"/>
                </a:cubicBezTo>
                <a:cubicBezTo>
                  <a:pt x="2817" y="1189"/>
                  <a:pt x="2817" y="1189"/>
                  <a:pt x="2817" y="1189"/>
                </a:cubicBezTo>
                <a:cubicBezTo>
                  <a:pt x="2818" y="1191"/>
                  <a:pt x="2818" y="1191"/>
                  <a:pt x="2818" y="1191"/>
                </a:cubicBezTo>
                <a:cubicBezTo>
                  <a:pt x="2822" y="1191"/>
                  <a:pt x="2822" y="1191"/>
                  <a:pt x="2822" y="1191"/>
                </a:cubicBezTo>
                <a:cubicBezTo>
                  <a:pt x="2820" y="1192"/>
                  <a:pt x="2820" y="1192"/>
                  <a:pt x="2820" y="1192"/>
                </a:cubicBezTo>
                <a:cubicBezTo>
                  <a:pt x="2819" y="1193"/>
                  <a:pt x="2819" y="1193"/>
                  <a:pt x="2819" y="1193"/>
                </a:cubicBezTo>
                <a:cubicBezTo>
                  <a:pt x="2824" y="1194"/>
                  <a:pt x="2824" y="1194"/>
                  <a:pt x="2824" y="1194"/>
                </a:cubicBezTo>
                <a:cubicBezTo>
                  <a:pt x="2822" y="1195"/>
                  <a:pt x="2822" y="1195"/>
                  <a:pt x="2822" y="1195"/>
                </a:cubicBezTo>
                <a:cubicBezTo>
                  <a:pt x="2819" y="1195"/>
                  <a:pt x="2819" y="1195"/>
                  <a:pt x="2819" y="1195"/>
                </a:cubicBezTo>
                <a:cubicBezTo>
                  <a:pt x="2819" y="1194"/>
                  <a:pt x="2819" y="1194"/>
                  <a:pt x="2819" y="1194"/>
                </a:cubicBezTo>
                <a:cubicBezTo>
                  <a:pt x="2819" y="1195"/>
                  <a:pt x="2819" y="1195"/>
                  <a:pt x="2819" y="1195"/>
                </a:cubicBezTo>
                <a:cubicBezTo>
                  <a:pt x="2820" y="1196"/>
                  <a:pt x="2820" y="1196"/>
                  <a:pt x="2820" y="1196"/>
                </a:cubicBezTo>
                <a:cubicBezTo>
                  <a:pt x="2820" y="1198"/>
                  <a:pt x="2820" y="1198"/>
                  <a:pt x="2820" y="1198"/>
                </a:cubicBezTo>
                <a:cubicBezTo>
                  <a:pt x="2822" y="1201"/>
                  <a:pt x="2822" y="1201"/>
                  <a:pt x="2822" y="1201"/>
                </a:cubicBezTo>
                <a:cubicBezTo>
                  <a:pt x="2819" y="1199"/>
                  <a:pt x="2819" y="1199"/>
                  <a:pt x="2819" y="1199"/>
                </a:cubicBezTo>
                <a:cubicBezTo>
                  <a:pt x="2818" y="1196"/>
                  <a:pt x="2818" y="1196"/>
                  <a:pt x="2818" y="1196"/>
                </a:cubicBezTo>
                <a:cubicBezTo>
                  <a:pt x="2816" y="1195"/>
                  <a:pt x="2816" y="1195"/>
                  <a:pt x="2816" y="1195"/>
                </a:cubicBezTo>
                <a:cubicBezTo>
                  <a:pt x="2816" y="1197"/>
                  <a:pt x="2816" y="1197"/>
                  <a:pt x="2816" y="1197"/>
                </a:cubicBezTo>
                <a:cubicBezTo>
                  <a:pt x="2815" y="1198"/>
                  <a:pt x="2815" y="1198"/>
                  <a:pt x="2815" y="1198"/>
                </a:cubicBezTo>
                <a:cubicBezTo>
                  <a:pt x="2815" y="1196"/>
                  <a:pt x="2815" y="1196"/>
                  <a:pt x="2815" y="1196"/>
                </a:cubicBezTo>
                <a:cubicBezTo>
                  <a:pt x="2811" y="1194"/>
                  <a:pt x="2811" y="1194"/>
                  <a:pt x="2811" y="1194"/>
                </a:cubicBezTo>
                <a:cubicBezTo>
                  <a:pt x="2807" y="1194"/>
                  <a:pt x="2807" y="1194"/>
                  <a:pt x="2807" y="1194"/>
                </a:cubicBezTo>
                <a:cubicBezTo>
                  <a:pt x="2808" y="1195"/>
                  <a:pt x="2808" y="1195"/>
                  <a:pt x="2808" y="1195"/>
                </a:cubicBezTo>
                <a:cubicBezTo>
                  <a:pt x="2807" y="1197"/>
                  <a:pt x="2807" y="1197"/>
                  <a:pt x="2807" y="1197"/>
                </a:cubicBezTo>
                <a:cubicBezTo>
                  <a:pt x="2806" y="1196"/>
                  <a:pt x="2806" y="1196"/>
                  <a:pt x="2806" y="1196"/>
                </a:cubicBezTo>
                <a:cubicBezTo>
                  <a:pt x="2805" y="1196"/>
                  <a:pt x="2805" y="1196"/>
                  <a:pt x="2805" y="1196"/>
                </a:cubicBezTo>
                <a:cubicBezTo>
                  <a:pt x="2804" y="1197"/>
                  <a:pt x="2804" y="1197"/>
                  <a:pt x="2804" y="1197"/>
                </a:cubicBezTo>
                <a:cubicBezTo>
                  <a:pt x="2806" y="1199"/>
                  <a:pt x="2806" y="1199"/>
                  <a:pt x="2806" y="1199"/>
                </a:cubicBezTo>
                <a:cubicBezTo>
                  <a:pt x="2806" y="1200"/>
                  <a:pt x="2806" y="1200"/>
                  <a:pt x="2806" y="1200"/>
                </a:cubicBezTo>
                <a:cubicBezTo>
                  <a:pt x="2805" y="1199"/>
                  <a:pt x="2805" y="1199"/>
                  <a:pt x="2805" y="1199"/>
                </a:cubicBezTo>
                <a:cubicBezTo>
                  <a:pt x="2804" y="1199"/>
                  <a:pt x="2804" y="1199"/>
                  <a:pt x="2804" y="1199"/>
                </a:cubicBezTo>
                <a:cubicBezTo>
                  <a:pt x="2804" y="1200"/>
                  <a:pt x="2804" y="1200"/>
                  <a:pt x="2804" y="1200"/>
                </a:cubicBezTo>
                <a:cubicBezTo>
                  <a:pt x="2802" y="1201"/>
                  <a:pt x="2802" y="1201"/>
                  <a:pt x="2802" y="1201"/>
                </a:cubicBezTo>
                <a:cubicBezTo>
                  <a:pt x="2799" y="1202"/>
                  <a:pt x="2799" y="1202"/>
                  <a:pt x="2799" y="1202"/>
                </a:cubicBezTo>
                <a:cubicBezTo>
                  <a:pt x="2802" y="1201"/>
                  <a:pt x="2802" y="1201"/>
                  <a:pt x="2802" y="1201"/>
                </a:cubicBezTo>
                <a:cubicBezTo>
                  <a:pt x="2803" y="1199"/>
                  <a:pt x="2803" y="1199"/>
                  <a:pt x="2803" y="1199"/>
                </a:cubicBezTo>
                <a:cubicBezTo>
                  <a:pt x="2803" y="1196"/>
                  <a:pt x="2803" y="1196"/>
                  <a:pt x="2803" y="1196"/>
                </a:cubicBezTo>
                <a:cubicBezTo>
                  <a:pt x="2805" y="1194"/>
                  <a:pt x="2805" y="1194"/>
                  <a:pt x="2805" y="1194"/>
                </a:cubicBezTo>
                <a:cubicBezTo>
                  <a:pt x="2804" y="1192"/>
                  <a:pt x="2804" y="1192"/>
                  <a:pt x="2804" y="1192"/>
                </a:cubicBezTo>
                <a:cubicBezTo>
                  <a:pt x="2802" y="1192"/>
                  <a:pt x="2802" y="1192"/>
                  <a:pt x="2802" y="1192"/>
                </a:cubicBezTo>
                <a:cubicBezTo>
                  <a:pt x="2799" y="1187"/>
                  <a:pt x="2799" y="1187"/>
                  <a:pt x="2799" y="1187"/>
                </a:cubicBezTo>
                <a:cubicBezTo>
                  <a:pt x="2798" y="1185"/>
                  <a:pt x="2798" y="1185"/>
                  <a:pt x="2798" y="1185"/>
                </a:cubicBezTo>
                <a:cubicBezTo>
                  <a:pt x="2795" y="1184"/>
                  <a:pt x="2795" y="1184"/>
                  <a:pt x="2795" y="1184"/>
                </a:cubicBezTo>
                <a:cubicBezTo>
                  <a:pt x="2793" y="1183"/>
                  <a:pt x="2793" y="1183"/>
                  <a:pt x="2793" y="1183"/>
                </a:cubicBezTo>
                <a:cubicBezTo>
                  <a:pt x="2792" y="1183"/>
                  <a:pt x="2792" y="1183"/>
                  <a:pt x="2792" y="1183"/>
                </a:cubicBezTo>
                <a:cubicBezTo>
                  <a:pt x="2793" y="1184"/>
                  <a:pt x="2793" y="1184"/>
                  <a:pt x="2793" y="1184"/>
                </a:cubicBezTo>
                <a:cubicBezTo>
                  <a:pt x="2791" y="1185"/>
                  <a:pt x="2791" y="1185"/>
                  <a:pt x="2791" y="1185"/>
                </a:cubicBezTo>
                <a:cubicBezTo>
                  <a:pt x="2790" y="1187"/>
                  <a:pt x="2790" y="1187"/>
                  <a:pt x="2790" y="1187"/>
                </a:cubicBezTo>
                <a:cubicBezTo>
                  <a:pt x="2789" y="1187"/>
                  <a:pt x="2789" y="1187"/>
                  <a:pt x="2789" y="1187"/>
                </a:cubicBezTo>
                <a:cubicBezTo>
                  <a:pt x="2789" y="1186"/>
                  <a:pt x="2789" y="1186"/>
                  <a:pt x="2789" y="1186"/>
                </a:cubicBezTo>
                <a:cubicBezTo>
                  <a:pt x="2787" y="1186"/>
                  <a:pt x="2787" y="1186"/>
                  <a:pt x="2787" y="1186"/>
                </a:cubicBezTo>
                <a:cubicBezTo>
                  <a:pt x="2787" y="1187"/>
                  <a:pt x="2787" y="1187"/>
                  <a:pt x="2787" y="1187"/>
                </a:cubicBezTo>
                <a:cubicBezTo>
                  <a:pt x="2785" y="1184"/>
                  <a:pt x="2785" y="1184"/>
                  <a:pt x="2785" y="1184"/>
                </a:cubicBezTo>
                <a:cubicBezTo>
                  <a:pt x="2784" y="1184"/>
                  <a:pt x="2784" y="1184"/>
                  <a:pt x="2784" y="1184"/>
                </a:cubicBezTo>
                <a:cubicBezTo>
                  <a:pt x="2784" y="1186"/>
                  <a:pt x="2784" y="1186"/>
                  <a:pt x="2784" y="1186"/>
                </a:cubicBezTo>
                <a:cubicBezTo>
                  <a:pt x="2785" y="1187"/>
                  <a:pt x="2785" y="1187"/>
                  <a:pt x="2785" y="1187"/>
                </a:cubicBezTo>
                <a:cubicBezTo>
                  <a:pt x="2783" y="1188"/>
                  <a:pt x="2783" y="1188"/>
                  <a:pt x="2783" y="1188"/>
                </a:cubicBezTo>
                <a:cubicBezTo>
                  <a:pt x="2783" y="1190"/>
                  <a:pt x="2783" y="1190"/>
                  <a:pt x="2783" y="1190"/>
                </a:cubicBezTo>
                <a:cubicBezTo>
                  <a:pt x="2783" y="1191"/>
                  <a:pt x="2783" y="1191"/>
                  <a:pt x="2783" y="1191"/>
                </a:cubicBezTo>
                <a:cubicBezTo>
                  <a:pt x="2781" y="1193"/>
                  <a:pt x="2781" y="1193"/>
                  <a:pt x="2781" y="1193"/>
                </a:cubicBezTo>
                <a:cubicBezTo>
                  <a:pt x="2780" y="1191"/>
                  <a:pt x="2780" y="1191"/>
                  <a:pt x="2780" y="1191"/>
                </a:cubicBezTo>
                <a:cubicBezTo>
                  <a:pt x="2779" y="1191"/>
                  <a:pt x="2779" y="1191"/>
                  <a:pt x="2779" y="1191"/>
                </a:cubicBezTo>
                <a:cubicBezTo>
                  <a:pt x="2779" y="1190"/>
                  <a:pt x="2779" y="1190"/>
                  <a:pt x="2779" y="1190"/>
                </a:cubicBezTo>
                <a:cubicBezTo>
                  <a:pt x="2780" y="1188"/>
                  <a:pt x="2780" y="1188"/>
                  <a:pt x="2780" y="1188"/>
                </a:cubicBezTo>
                <a:cubicBezTo>
                  <a:pt x="2779" y="1188"/>
                  <a:pt x="2779" y="1188"/>
                  <a:pt x="2779" y="1188"/>
                </a:cubicBezTo>
                <a:cubicBezTo>
                  <a:pt x="2778" y="1191"/>
                  <a:pt x="2778" y="1191"/>
                  <a:pt x="2778" y="1191"/>
                </a:cubicBezTo>
                <a:cubicBezTo>
                  <a:pt x="2776" y="1191"/>
                  <a:pt x="2776" y="1191"/>
                  <a:pt x="2776" y="1191"/>
                </a:cubicBezTo>
                <a:cubicBezTo>
                  <a:pt x="2775" y="1192"/>
                  <a:pt x="2775" y="1192"/>
                  <a:pt x="2775" y="1192"/>
                </a:cubicBezTo>
                <a:cubicBezTo>
                  <a:pt x="2775" y="1194"/>
                  <a:pt x="2775" y="1194"/>
                  <a:pt x="2775" y="1194"/>
                </a:cubicBezTo>
                <a:cubicBezTo>
                  <a:pt x="2778" y="1195"/>
                  <a:pt x="2778" y="1195"/>
                  <a:pt x="2778" y="1195"/>
                </a:cubicBezTo>
                <a:cubicBezTo>
                  <a:pt x="2775" y="1198"/>
                  <a:pt x="2775" y="1198"/>
                  <a:pt x="2775" y="1198"/>
                </a:cubicBezTo>
                <a:cubicBezTo>
                  <a:pt x="2773" y="1196"/>
                  <a:pt x="2773" y="1196"/>
                  <a:pt x="2773" y="1196"/>
                </a:cubicBezTo>
                <a:cubicBezTo>
                  <a:pt x="2771" y="1198"/>
                  <a:pt x="2771" y="1198"/>
                  <a:pt x="2771" y="1198"/>
                </a:cubicBezTo>
                <a:cubicBezTo>
                  <a:pt x="2771" y="1200"/>
                  <a:pt x="2771" y="1200"/>
                  <a:pt x="2771" y="1200"/>
                </a:cubicBezTo>
                <a:cubicBezTo>
                  <a:pt x="2774" y="1200"/>
                  <a:pt x="2774" y="1200"/>
                  <a:pt x="2774" y="1200"/>
                </a:cubicBezTo>
                <a:cubicBezTo>
                  <a:pt x="2773" y="1202"/>
                  <a:pt x="2773" y="1202"/>
                  <a:pt x="2773" y="1202"/>
                </a:cubicBezTo>
                <a:cubicBezTo>
                  <a:pt x="2772" y="1202"/>
                  <a:pt x="2772" y="1202"/>
                  <a:pt x="2772" y="1202"/>
                </a:cubicBezTo>
                <a:cubicBezTo>
                  <a:pt x="2770" y="1199"/>
                  <a:pt x="2770" y="1199"/>
                  <a:pt x="2770" y="1199"/>
                </a:cubicBezTo>
                <a:cubicBezTo>
                  <a:pt x="2768" y="1201"/>
                  <a:pt x="2768" y="1201"/>
                  <a:pt x="2768" y="1201"/>
                </a:cubicBezTo>
                <a:cubicBezTo>
                  <a:pt x="2766" y="1202"/>
                  <a:pt x="2766" y="1202"/>
                  <a:pt x="2766" y="1202"/>
                </a:cubicBezTo>
                <a:cubicBezTo>
                  <a:pt x="2766" y="1203"/>
                  <a:pt x="2766" y="1203"/>
                  <a:pt x="2766" y="1203"/>
                </a:cubicBezTo>
                <a:cubicBezTo>
                  <a:pt x="2767" y="1205"/>
                  <a:pt x="2767" y="1205"/>
                  <a:pt x="2767" y="1205"/>
                </a:cubicBezTo>
                <a:cubicBezTo>
                  <a:pt x="2767" y="1206"/>
                  <a:pt x="2767" y="1206"/>
                  <a:pt x="2767" y="1206"/>
                </a:cubicBezTo>
                <a:cubicBezTo>
                  <a:pt x="2768" y="1205"/>
                  <a:pt x="2768" y="1205"/>
                  <a:pt x="2768" y="1205"/>
                </a:cubicBezTo>
                <a:cubicBezTo>
                  <a:pt x="2767" y="1207"/>
                  <a:pt x="2767" y="1207"/>
                  <a:pt x="2767" y="1207"/>
                </a:cubicBezTo>
                <a:cubicBezTo>
                  <a:pt x="2768" y="1209"/>
                  <a:pt x="2768" y="1209"/>
                  <a:pt x="2768" y="1209"/>
                </a:cubicBezTo>
                <a:cubicBezTo>
                  <a:pt x="2766" y="1210"/>
                  <a:pt x="2766" y="1210"/>
                  <a:pt x="2766" y="1210"/>
                </a:cubicBezTo>
                <a:cubicBezTo>
                  <a:pt x="2765" y="1211"/>
                  <a:pt x="2765" y="1211"/>
                  <a:pt x="2765" y="1211"/>
                </a:cubicBezTo>
                <a:cubicBezTo>
                  <a:pt x="2768" y="1212"/>
                  <a:pt x="2768" y="1212"/>
                  <a:pt x="2768" y="1212"/>
                </a:cubicBezTo>
                <a:cubicBezTo>
                  <a:pt x="2766" y="1213"/>
                  <a:pt x="2766" y="1213"/>
                  <a:pt x="2766" y="1213"/>
                </a:cubicBezTo>
                <a:cubicBezTo>
                  <a:pt x="2766" y="1214"/>
                  <a:pt x="2766" y="1214"/>
                  <a:pt x="2766" y="1214"/>
                </a:cubicBezTo>
                <a:cubicBezTo>
                  <a:pt x="2764" y="1213"/>
                  <a:pt x="2764" y="1213"/>
                  <a:pt x="2764" y="1213"/>
                </a:cubicBezTo>
                <a:cubicBezTo>
                  <a:pt x="2763" y="1212"/>
                  <a:pt x="2763" y="1212"/>
                  <a:pt x="2763" y="1212"/>
                </a:cubicBezTo>
                <a:cubicBezTo>
                  <a:pt x="2761" y="1211"/>
                  <a:pt x="2761" y="1211"/>
                  <a:pt x="2761" y="1211"/>
                </a:cubicBezTo>
                <a:cubicBezTo>
                  <a:pt x="2760" y="1212"/>
                  <a:pt x="2760" y="1212"/>
                  <a:pt x="2760" y="1212"/>
                </a:cubicBezTo>
                <a:cubicBezTo>
                  <a:pt x="2759" y="1211"/>
                  <a:pt x="2759" y="1211"/>
                  <a:pt x="2759" y="1211"/>
                </a:cubicBezTo>
                <a:cubicBezTo>
                  <a:pt x="2757" y="1209"/>
                  <a:pt x="2757" y="1209"/>
                  <a:pt x="2757" y="1209"/>
                </a:cubicBezTo>
                <a:cubicBezTo>
                  <a:pt x="2756" y="1211"/>
                  <a:pt x="2756" y="1211"/>
                  <a:pt x="2756" y="1211"/>
                </a:cubicBezTo>
                <a:cubicBezTo>
                  <a:pt x="2758" y="1212"/>
                  <a:pt x="2758" y="1212"/>
                  <a:pt x="2758" y="1212"/>
                </a:cubicBezTo>
                <a:cubicBezTo>
                  <a:pt x="2757" y="1213"/>
                  <a:pt x="2757" y="1213"/>
                  <a:pt x="2757" y="1213"/>
                </a:cubicBezTo>
                <a:cubicBezTo>
                  <a:pt x="2756" y="1215"/>
                  <a:pt x="2756" y="1215"/>
                  <a:pt x="2756" y="1215"/>
                </a:cubicBezTo>
                <a:cubicBezTo>
                  <a:pt x="2758" y="1217"/>
                  <a:pt x="2758" y="1217"/>
                  <a:pt x="2758" y="1217"/>
                </a:cubicBezTo>
                <a:cubicBezTo>
                  <a:pt x="2760" y="1217"/>
                  <a:pt x="2760" y="1217"/>
                  <a:pt x="2760" y="1217"/>
                </a:cubicBezTo>
                <a:cubicBezTo>
                  <a:pt x="2759" y="1218"/>
                  <a:pt x="2759" y="1218"/>
                  <a:pt x="2759" y="1218"/>
                </a:cubicBezTo>
                <a:cubicBezTo>
                  <a:pt x="2759" y="1220"/>
                  <a:pt x="2759" y="1220"/>
                  <a:pt x="2759" y="1220"/>
                </a:cubicBezTo>
                <a:cubicBezTo>
                  <a:pt x="2759" y="1219"/>
                  <a:pt x="2759" y="1219"/>
                  <a:pt x="2759" y="1219"/>
                </a:cubicBezTo>
                <a:cubicBezTo>
                  <a:pt x="2757" y="1219"/>
                  <a:pt x="2757" y="1219"/>
                  <a:pt x="2757" y="1219"/>
                </a:cubicBezTo>
                <a:cubicBezTo>
                  <a:pt x="2758" y="1221"/>
                  <a:pt x="2758" y="1221"/>
                  <a:pt x="2758" y="1221"/>
                </a:cubicBezTo>
                <a:cubicBezTo>
                  <a:pt x="2757" y="1224"/>
                  <a:pt x="2757" y="1224"/>
                  <a:pt x="2757" y="1224"/>
                </a:cubicBezTo>
                <a:cubicBezTo>
                  <a:pt x="2757" y="1226"/>
                  <a:pt x="2757" y="1226"/>
                  <a:pt x="2757" y="1226"/>
                </a:cubicBezTo>
                <a:cubicBezTo>
                  <a:pt x="2753" y="1219"/>
                  <a:pt x="2753" y="1219"/>
                  <a:pt x="2753" y="1219"/>
                </a:cubicBezTo>
                <a:cubicBezTo>
                  <a:pt x="2751" y="1215"/>
                  <a:pt x="2751" y="1215"/>
                  <a:pt x="2751" y="1215"/>
                </a:cubicBezTo>
                <a:cubicBezTo>
                  <a:pt x="2750" y="1214"/>
                  <a:pt x="2750" y="1214"/>
                  <a:pt x="2750" y="1214"/>
                </a:cubicBezTo>
                <a:cubicBezTo>
                  <a:pt x="2751" y="1211"/>
                  <a:pt x="2751" y="1211"/>
                  <a:pt x="2751" y="1211"/>
                </a:cubicBezTo>
                <a:cubicBezTo>
                  <a:pt x="2750" y="1212"/>
                  <a:pt x="2750" y="1212"/>
                  <a:pt x="2750" y="1212"/>
                </a:cubicBezTo>
                <a:cubicBezTo>
                  <a:pt x="2748" y="1214"/>
                  <a:pt x="2748" y="1214"/>
                  <a:pt x="2748" y="1214"/>
                </a:cubicBezTo>
                <a:cubicBezTo>
                  <a:pt x="2747" y="1217"/>
                  <a:pt x="2747" y="1217"/>
                  <a:pt x="2747" y="1217"/>
                </a:cubicBezTo>
                <a:cubicBezTo>
                  <a:pt x="2746" y="1217"/>
                  <a:pt x="2746" y="1217"/>
                  <a:pt x="2746" y="1217"/>
                </a:cubicBezTo>
                <a:cubicBezTo>
                  <a:pt x="2745" y="1218"/>
                  <a:pt x="2745" y="1218"/>
                  <a:pt x="2745" y="1218"/>
                </a:cubicBezTo>
                <a:cubicBezTo>
                  <a:pt x="2743" y="1218"/>
                  <a:pt x="2743" y="1218"/>
                  <a:pt x="2743" y="1218"/>
                </a:cubicBezTo>
                <a:cubicBezTo>
                  <a:pt x="2742" y="1219"/>
                  <a:pt x="2742" y="1219"/>
                  <a:pt x="2742" y="1219"/>
                </a:cubicBezTo>
                <a:cubicBezTo>
                  <a:pt x="2741" y="1221"/>
                  <a:pt x="2741" y="1221"/>
                  <a:pt x="2741" y="1221"/>
                </a:cubicBezTo>
                <a:cubicBezTo>
                  <a:pt x="2741" y="1224"/>
                  <a:pt x="2741" y="1224"/>
                  <a:pt x="2741" y="1224"/>
                </a:cubicBezTo>
                <a:cubicBezTo>
                  <a:pt x="2741" y="1229"/>
                  <a:pt x="2741" y="1229"/>
                  <a:pt x="2741" y="1229"/>
                </a:cubicBezTo>
                <a:cubicBezTo>
                  <a:pt x="2742" y="1229"/>
                  <a:pt x="2742" y="1229"/>
                  <a:pt x="2742" y="1229"/>
                </a:cubicBezTo>
                <a:cubicBezTo>
                  <a:pt x="2742" y="1231"/>
                  <a:pt x="2742" y="1231"/>
                  <a:pt x="2742" y="1231"/>
                </a:cubicBezTo>
                <a:cubicBezTo>
                  <a:pt x="2740" y="1232"/>
                  <a:pt x="2740" y="1232"/>
                  <a:pt x="2740" y="1232"/>
                </a:cubicBezTo>
                <a:cubicBezTo>
                  <a:pt x="2739" y="1234"/>
                  <a:pt x="2739" y="1234"/>
                  <a:pt x="2739" y="1234"/>
                </a:cubicBezTo>
                <a:cubicBezTo>
                  <a:pt x="2736" y="1235"/>
                  <a:pt x="2736" y="1235"/>
                  <a:pt x="2736" y="1235"/>
                </a:cubicBezTo>
                <a:cubicBezTo>
                  <a:pt x="2737" y="1236"/>
                  <a:pt x="2737" y="1236"/>
                  <a:pt x="2737" y="1236"/>
                </a:cubicBezTo>
                <a:cubicBezTo>
                  <a:pt x="2734" y="1238"/>
                  <a:pt x="2734" y="1238"/>
                  <a:pt x="2734" y="1238"/>
                </a:cubicBezTo>
                <a:cubicBezTo>
                  <a:pt x="2734" y="1240"/>
                  <a:pt x="2734" y="1240"/>
                  <a:pt x="2734" y="1240"/>
                </a:cubicBezTo>
                <a:cubicBezTo>
                  <a:pt x="2733" y="1241"/>
                  <a:pt x="2733" y="1241"/>
                  <a:pt x="2733" y="1241"/>
                </a:cubicBezTo>
                <a:cubicBezTo>
                  <a:pt x="2730" y="1246"/>
                  <a:pt x="2730" y="1246"/>
                  <a:pt x="2730" y="1246"/>
                </a:cubicBezTo>
                <a:cubicBezTo>
                  <a:pt x="2724" y="1249"/>
                  <a:pt x="2724" y="1249"/>
                  <a:pt x="2724" y="1249"/>
                </a:cubicBezTo>
                <a:cubicBezTo>
                  <a:pt x="2719" y="1250"/>
                  <a:pt x="2719" y="1250"/>
                  <a:pt x="2719" y="1250"/>
                </a:cubicBezTo>
                <a:cubicBezTo>
                  <a:pt x="2716" y="1251"/>
                  <a:pt x="2716" y="1251"/>
                  <a:pt x="2716" y="1251"/>
                </a:cubicBezTo>
                <a:cubicBezTo>
                  <a:pt x="2713" y="1251"/>
                  <a:pt x="2713" y="1251"/>
                  <a:pt x="2713" y="1251"/>
                </a:cubicBezTo>
                <a:cubicBezTo>
                  <a:pt x="2711" y="1251"/>
                  <a:pt x="2711" y="1251"/>
                  <a:pt x="2711" y="1251"/>
                </a:cubicBezTo>
                <a:cubicBezTo>
                  <a:pt x="2708" y="1251"/>
                  <a:pt x="2708" y="1251"/>
                  <a:pt x="2708" y="1251"/>
                </a:cubicBezTo>
                <a:cubicBezTo>
                  <a:pt x="2705" y="1252"/>
                  <a:pt x="2705" y="1252"/>
                  <a:pt x="2705" y="1252"/>
                </a:cubicBezTo>
                <a:cubicBezTo>
                  <a:pt x="2705" y="1254"/>
                  <a:pt x="2705" y="1254"/>
                  <a:pt x="2705" y="1254"/>
                </a:cubicBezTo>
                <a:cubicBezTo>
                  <a:pt x="2703" y="1255"/>
                  <a:pt x="2703" y="1255"/>
                  <a:pt x="2703" y="1255"/>
                </a:cubicBezTo>
                <a:cubicBezTo>
                  <a:pt x="2696" y="1255"/>
                  <a:pt x="2696" y="1255"/>
                  <a:pt x="2696" y="1255"/>
                </a:cubicBezTo>
                <a:cubicBezTo>
                  <a:pt x="2695" y="1256"/>
                  <a:pt x="2695" y="1256"/>
                  <a:pt x="2695" y="1256"/>
                </a:cubicBezTo>
                <a:cubicBezTo>
                  <a:pt x="2694" y="1257"/>
                  <a:pt x="2694" y="1257"/>
                  <a:pt x="2694" y="1257"/>
                </a:cubicBezTo>
                <a:cubicBezTo>
                  <a:pt x="2690" y="1259"/>
                  <a:pt x="2690" y="1259"/>
                  <a:pt x="2690" y="1259"/>
                </a:cubicBezTo>
                <a:cubicBezTo>
                  <a:pt x="2687" y="1259"/>
                  <a:pt x="2687" y="1259"/>
                  <a:pt x="2687" y="1259"/>
                </a:cubicBezTo>
                <a:cubicBezTo>
                  <a:pt x="2685" y="1258"/>
                  <a:pt x="2685" y="1258"/>
                  <a:pt x="2685" y="1258"/>
                </a:cubicBezTo>
                <a:cubicBezTo>
                  <a:pt x="2684" y="1259"/>
                  <a:pt x="2684" y="1259"/>
                  <a:pt x="2684" y="1259"/>
                </a:cubicBezTo>
                <a:cubicBezTo>
                  <a:pt x="2683" y="1257"/>
                  <a:pt x="2683" y="1257"/>
                  <a:pt x="2683" y="1257"/>
                </a:cubicBezTo>
                <a:cubicBezTo>
                  <a:pt x="2681" y="1258"/>
                  <a:pt x="2681" y="1258"/>
                  <a:pt x="2681" y="1258"/>
                </a:cubicBezTo>
                <a:cubicBezTo>
                  <a:pt x="2680" y="1261"/>
                  <a:pt x="2680" y="1261"/>
                  <a:pt x="2680" y="1261"/>
                </a:cubicBezTo>
                <a:cubicBezTo>
                  <a:pt x="2675" y="1261"/>
                  <a:pt x="2675" y="1261"/>
                  <a:pt x="2675" y="1261"/>
                </a:cubicBezTo>
                <a:cubicBezTo>
                  <a:pt x="2675" y="1262"/>
                  <a:pt x="2675" y="1262"/>
                  <a:pt x="2675" y="1262"/>
                </a:cubicBezTo>
                <a:cubicBezTo>
                  <a:pt x="2674" y="1262"/>
                  <a:pt x="2674" y="1262"/>
                  <a:pt x="2674" y="1262"/>
                </a:cubicBezTo>
                <a:cubicBezTo>
                  <a:pt x="2670" y="1265"/>
                  <a:pt x="2670" y="1265"/>
                  <a:pt x="2670" y="1265"/>
                </a:cubicBezTo>
                <a:cubicBezTo>
                  <a:pt x="2666" y="1267"/>
                  <a:pt x="2666" y="1267"/>
                  <a:pt x="2666" y="1267"/>
                </a:cubicBezTo>
                <a:cubicBezTo>
                  <a:pt x="2660" y="1269"/>
                  <a:pt x="2660" y="1269"/>
                  <a:pt x="2660" y="1269"/>
                </a:cubicBezTo>
                <a:cubicBezTo>
                  <a:pt x="2658" y="1273"/>
                  <a:pt x="2658" y="1273"/>
                  <a:pt x="2658" y="1273"/>
                </a:cubicBezTo>
                <a:cubicBezTo>
                  <a:pt x="2658" y="1276"/>
                  <a:pt x="2658" y="1276"/>
                  <a:pt x="2658" y="1276"/>
                </a:cubicBezTo>
                <a:cubicBezTo>
                  <a:pt x="2655" y="1278"/>
                  <a:pt x="2655" y="1278"/>
                  <a:pt x="2655" y="1278"/>
                </a:cubicBezTo>
                <a:cubicBezTo>
                  <a:pt x="2654" y="1277"/>
                  <a:pt x="2654" y="1277"/>
                  <a:pt x="2654" y="1277"/>
                </a:cubicBezTo>
                <a:cubicBezTo>
                  <a:pt x="2655" y="1276"/>
                  <a:pt x="2655" y="1276"/>
                  <a:pt x="2655" y="1276"/>
                </a:cubicBezTo>
                <a:cubicBezTo>
                  <a:pt x="2654" y="1274"/>
                  <a:pt x="2654" y="1274"/>
                  <a:pt x="2654" y="1274"/>
                </a:cubicBezTo>
                <a:cubicBezTo>
                  <a:pt x="2655" y="1272"/>
                  <a:pt x="2655" y="1272"/>
                  <a:pt x="2655" y="1272"/>
                </a:cubicBezTo>
                <a:cubicBezTo>
                  <a:pt x="2655" y="1270"/>
                  <a:pt x="2655" y="1270"/>
                  <a:pt x="2655" y="1270"/>
                </a:cubicBezTo>
                <a:cubicBezTo>
                  <a:pt x="2652" y="1272"/>
                  <a:pt x="2652" y="1272"/>
                  <a:pt x="2652" y="1272"/>
                </a:cubicBezTo>
                <a:cubicBezTo>
                  <a:pt x="2651" y="1275"/>
                  <a:pt x="2651" y="1275"/>
                  <a:pt x="2651" y="1275"/>
                </a:cubicBezTo>
                <a:cubicBezTo>
                  <a:pt x="2649" y="1280"/>
                  <a:pt x="2649" y="1280"/>
                  <a:pt x="2649" y="1280"/>
                </a:cubicBezTo>
                <a:cubicBezTo>
                  <a:pt x="2651" y="1283"/>
                  <a:pt x="2651" y="1283"/>
                  <a:pt x="2651" y="1283"/>
                </a:cubicBezTo>
                <a:cubicBezTo>
                  <a:pt x="2649" y="1285"/>
                  <a:pt x="2649" y="1285"/>
                  <a:pt x="2649" y="1285"/>
                </a:cubicBezTo>
                <a:cubicBezTo>
                  <a:pt x="2650" y="1290"/>
                  <a:pt x="2650" y="1290"/>
                  <a:pt x="2650" y="1290"/>
                </a:cubicBezTo>
                <a:cubicBezTo>
                  <a:pt x="2646" y="1295"/>
                  <a:pt x="2646" y="1295"/>
                  <a:pt x="2646" y="1295"/>
                </a:cubicBezTo>
                <a:cubicBezTo>
                  <a:pt x="2644" y="1301"/>
                  <a:pt x="2644" y="1301"/>
                  <a:pt x="2644" y="1301"/>
                </a:cubicBezTo>
                <a:cubicBezTo>
                  <a:pt x="2645" y="1305"/>
                  <a:pt x="2645" y="1305"/>
                  <a:pt x="2645" y="1305"/>
                </a:cubicBezTo>
                <a:cubicBezTo>
                  <a:pt x="2645" y="1310"/>
                  <a:pt x="2645" y="1310"/>
                  <a:pt x="2645" y="1310"/>
                </a:cubicBezTo>
                <a:cubicBezTo>
                  <a:pt x="2648" y="1316"/>
                  <a:pt x="2648" y="1316"/>
                  <a:pt x="2648" y="1316"/>
                </a:cubicBezTo>
                <a:cubicBezTo>
                  <a:pt x="2648" y="1318"/>
                  <a:pt x="2648" y="1318"/>
                  <a:pt x="2648" y="1318"/>
                </a:cubicBezTo>
                <a:cubicBezTo>
                  <a:pt x="2650" y="1320"/>
                  <a:pt x="2650" y="1320"/>
                  <a:pt x="2650" y="1320"/>
                </a:cubicBezTo>
                <a:cubicBezTo>
                  <a:pt x="2649" y="1323"/>
                  <a:pt x="2649" y="1323"/>
                  <a:pt x="2649" y="1323"/>
                </a:cubicBezTo>
                <a:cubicBezTo>
                  <a:pt x="2649" y="1325"/>
                  <a:pt x="2649" y="1325"/>
                  <a:pt x="2649" y="1325"/>
                </a:cubicBezTo>
                <a:cubicBezTo>
                  <a:pt x="2647" y="1326"/>
                  <a:pt x="2647" y="1326"/>
                  <a:pt x="2647" y="1326"/>
                </a:cubicBezTo>
                <a:cubicBezTo>
                  <a:pt x="2646" y="1324"/>
                  <a:pt x="2646" y="1324"/>
                  <a:pt x="2646" y="1324"/>
                </a:cubicBezTo>
                <a:cubicBezTo>
                  <a:pt x="2646" y="1321"/>
                  <a:pt x="2646" y="1321"/>
                  <a:pt x="2646" y="1321"/>
                </a:cubicBezTo>
                <a:cubicBezTo>
                  <a:pt x="2645" y="1323"/>
                  <a:pt x="2645" y="1323"/>
                  <a:pt x="2645" y="1323"/>
                </a:cubicBezTo>
                <a:cubicBezTo>
                  <a:pt x="2644" y="1322"/>
                  <a:pt x="2644" y="1322"/>
                  <a:pt x="2644" y="1322"/>
                </a:cubicBezTo>
                <a:cubicBezTo>
                  <a:pt x="2644" y="1319"/>
                  <a:pt x="2644" y="1319"/>
                  <a:pt x="2644" y="1319"/>
                </a:cubicBezTo>
                <a:cubicBezTo>
                  <a:pt x="2642" y="1315"/>
                  <a:pt x="2642" y="1315"/>
                  <a:pt x="2642" y="1315"/>
                </a:cubicBezTo>
                <a:cubicBezTo>
                  <a:pt x="2641" y="1317"/>
                  <a:pt x="2641" y="1317"/>
                  <a:pt x="2641" y="1317"/>
                </a:cubicBezTo>
                <a:cubicBezTo>
                  <a:pt x="2641" y="1321"/>
                  <a:pt x="2641" y="1321"/>
                  <a:pt x="2641" y="1321"/>
                </a:cubicBezTo>
                <a:cubicBezTo>
                  <a:pt x="2644" y="1324"/>
                  <a:pt x="2644" y="1324"/>
                  <a:pt x="2644" y="1324"/>
                </a:cubicBezTo>
                <a:cubicBezTo>
                  <a:pt x="2646" y="1328"/>
                  <a:pt x="2646" y="1328"/>
                  <a:pt x="2646" y="1328"/>
                </a:cubicBezTo>
                <a:cubicBezTo>
                  <a:pt x="2643" y="1328"/>
                  <a:pt x="2643" y="1328"/>
                  <a:pt x="2643" y="1328"/>
                </a:cubicBezTo>
                <a:cubicBezTo>
                  <a:pt x="2641" y="1325"/>
                  <a:pt x="2641" y="1325"/>
                  <a:pt x="2641" y="1325"/>
                </a:cubicBezTo>
                <a:cubicBezTo>
                  <a:pt x="2640" y="1322"/>
                  <a:pt x="2640" y="1322"/>
                  <a:pt x="2640" y="1322"/>
                </a:cubicBezTo>
                <a:cubicBezTo>
                  <a:pt x="2640" y="1323"/>
                  <a:pt x="2640" y="1323"/>
                  <a:pt x="2640" y="1323"/>
                </a:cubicBezTo>
                <a:cubicBezTo>
                  <a:pt x="2638" y="1324"/>
                  <a:pt x="2638" y="1324"/>
                  <a:pt x="2638" y="1324"/>
                </a:cubicBezTo>
                <a:cubicBezTo>
                  <a:pt x="2640" y="1327"/>
                  <a:pt x="2640" y="1327"/>
                  <a:pt x="2640" y="1327"/>
                </a:cubicBezTo>
                <a:cubicBezTo>
                  <a:pt x="2644" y="1331"/>
                  <a:pt x="2644" y="1331"/>
                  <a:pt x="2644" y="1331"/>
                </a:cubicBezTo>
                <a:cubicBezTo>
                  <a:pt x="2646" y="1337"/>
                  <a:pt x="2646" y="1337"/>
                  <a:pt x="2646" y="1337"/>
                </a:cubicBezTo>
                <a:cubicBezTo>
                  <a:pt x="2645" y="1347"/>
                  <a:pt x="2645" y="1347"/>
                  <a:pt x="2645" y="1347"/>
                </a:cubicBezTo>
                <a:cubicBezTo>
                  <a:pt x="2647" y="1349"/>
                  <a:pt x="2647" y="1349"/>
                  <a:pt x="2647" y="1349"/>
                </a:cubicBezTo>
                <a:cubicBezTo>
                  <a:pt x="2648" y="1355"/>
                  <a:pt x="2648" y="1355"/>
                  <a:pt x="2648" y="1355"/>
                </a:cubicBezTo>
                <a:cubicBezTo>
                  <a:pt x="2651" y="1363"/>
                  <a:pt x="2651" y="1363"/>
                  <a:pt x="2651" y="1363"/>
                </a:cubicBezTo>
                <a:cubicBezTo>
                  <a:pt x="2650" y="1365"/>
                  <a:pt x="2650" y="1365"/>
                  <a:pt x="2650" y="1365"/>
                </a:cubicBezTo>
                <a:cubicBezTo>
                  <a:pt x="2650" y="1377"/>
                  <a:pt x="2650" y="1377"/>
                  <a:pt x="2650" y="1377"/>
                </a:cubicBezTo>
                <a:cubicBezTo>
                  <a:pt x="2650" y="1378"/>
                  <a:pt x="2650" y="1378"/>
                  <a:pt x="2650" y="1378"/>
                </a:cubicBezTo>
                <a:cubicBezTo>
                  <a:pt x="2651" y="1381"/>
                  <a:pt x="2651" y="1381"/>
                  <a:pt x="2651" y="1381"/>
                </a:cubicBezTo>
                <a:cubicBezTo>
                  <a:pt x="2651" y="1385"/>
                  <a:pt x="2651" y="1385"/>
                  <a:pt x="2651" y="1385"/>
                </a:cubicBezTo>
                <a:cubicBezTo>
                  <a:pt x="2653" y="1390"/>
                  <a:pt x="2653" y="1390"/>
                  <a:pt x="2653" y="1390"/>
                </a:cubicBezTo>
                <a:cubicBezTo>
                  <a:pt x="2653" y="1392"/>
                  <a:pt x="2653" y="1392"/>
                  <a:pt x="2653" y="1392"/>
                </a:cubicBezTo>
                <a:cubicBezTo>
                  <a:pt x="2651" y="1394"/>
                  <a:pt x="2651" y="1394"/>
                  <a:pt x="2651" y="1394"/>
                </a:cubicBezTo>
                <a:cubicBezTo>
                  <a:pt x="2652" y="1395"/>
                  <a:pt x="2652" y="1395"/>
                  <a:pt x="2652" y="1395"/>
                </a:cubicBezTo>
                <a:cubicBezTo>
                  <a:pt x="2651" y="1397"/>
                  <a:pt x="2651" y="1397"/>
                  <a:pt x="2651" y="1397"/>
                </a:cubicBezTo>
                <a:cubicBezTo>
                  <a:pt x="2651" y="1402"/>
                  <a:pt x="2651" y="1402"/>
                  <a:pt x="2651" y="1402"/>
                </a:cubicBezTo>
                <a:cubicBezTo>
                  <a:pt x="2649" y="1403"/>
                  <a:pt x="2649" y="1403"/>
                  <a:pt x="2649" y="1403"/>
                </a:cubicBezTo>
                <a:cubicBezTo>
                  <a:pt x="2650" y="1405"/>
                  <a:pt x="2650" y="1405"/>
                  <a:pt x="2650" y="1405"/>
                </a:cubicBezTo>
                <a:cubicBezTo>
                  <a:pt x="2649" y="1407"/>
                  <a:pt x="2649" y="1407"/>
                  <a:pt x="2649" y="1407"/>
                </a:cubicBezTo>
                <a:cubicBezTo>
                  <a:pt x="2647" y="1409"/>
                  <a:pt x="2647" y="1409"/>
                  <a:pt x="2647" y="1409"/>
                </a:cubicBezTo>
                <a:cubicBezTo>
                  <a:pt x="2648" y="1411"/>
                  <a:pt x="2648" y="1411"/>
                  <a:pt x="2648" y="1411"/>
                </a:cubicBezTo>
                <a:cubicBezTo>
                  <a:pt x="2645" y="1414"/>
                  <a:pt x="2645" y="1414"/>
                  <a:pt x="2645" y="1414"/>
                </a:cubicBezTo>
                <a:cubicBezTo>
                  <a:pt x="2643" y="1413"/>
                  <a:pt x="2643" y="1413"/>
                  <a:pt x="2643" y="1413"/>
                </a:cubicBezTo>
                <a:cubicBezTo>
                  <a:pt x="2641" y="1416"/>
                  <a:pt x="2641" y="1416"/>
                  <a:pt x="2641" y="1416"/>
                </a:cubicBezTo>
                <a:cubicBezTo>
                  <a:pt x="2641" y="1423"/>
                  <a:pt x="2641" y="1423"/>
                  <a:pt x="2641" y="1423"/>
                </a:cubicBezTo>
                <a:cubicBezTo>
                  <a:pt x="2642" y="1424"/>
                  <a:pt x="2642" y="1424"/>
                  <a:pt x="2642" y="1424"/>
                </a:cubicBezTo>
                <a:cubicBezTo>
                  <a:pt x="2644" y="1424"/>
                  <a:pt x="2644" y="1424"/>
                  <a:pt x="2644" y="1424"/>
                </a:cubicBezTo>
                <a:cubicBezTo>
                  <a:pt x="2648" y="1428"/>
                  <a:pt x="2648" y="1428"/>
                  <a:pt x="2648" y="1428"/>
                </a:cubicBezTo>
                <a:cubicBezTo>
                  <a:pt x="2648" y="1430"/>
                  <a:pt x="2648" y="1430"/>
                  <a:pt x="2648" y="1430"/>
                </a:cubicBezTo>
                <a:cubicBezTo>
                  <a:pt x="2649" y="1431"/>
                  <a:pt x="2649" y="1431"/>
                  <a:pt x="2649" y="1431"/>
                </a:cubicBezTo>
                <a:cubicBezTo>
                  <a:pt x="2651" y="1431"/>
                  <a:pt x="2651" y="1431"/>
                  <a:pt x="2651" y="1431"/>
                </a:cubicBezTo>
                <a:cubicBezTo>
                  <a:pt x="2652" y="1432"/>
                  <a:pt x="2652" y="1432"/>
                  <a:pt x="2652" y="1432"/>
                </a:cubicBezTo>
                <a:cubicBezTo>
                  <a:pt x="2655" y="1433"/>
                  <a:pt x="2655" y="1433"/>
                  <a:pt x="2655" y="1433"/>
                </a:cubicBezTo>
                <a:cubicBezTo>
                  <a:pt x="2656" y="1433"/>
                  <a:pt x="2656" y="1433"/>
                  <a:pt x="2656" y="1433"/>
                </a:cubicBezTo>
                <a:cubicBezTo>
                  <a:pt x="2656" y="1434"/>
                  <a:pt x="2656" y="1434"/>
                  <a:pt x="2656" y="1434"/>
                </a:cubicBezTo>
                <a:cubicBezTo>
                  <a:pt x="2659" y="1434"/>
                  <a:pt x="2659" y="1434"/>
                  <a:pt x="2659" y="1434"/>
                </a:cubicBezTo>
                <a:cubicBezTo>
                  <a:pt x="2661" y="1433"/>
                  <a:pt x="2661" y="1433"/>
                  <a:pt x="2661" y="1433"/>
                </a:cubicBezTo>
                <a:cubicBezTo>
                  <a:pt x="2662" y="1435"/>
                  <a:pt x="2662" y="1435"/>
                  <a:pt x="2662" y="1435"/>
                </a:cubicBezTo>
                <a:cubicBezTo>
                  <a:pt x="2663" y="1434"/>
                  <a:pt x="2663" y="1434"/>
                  <a:pt x="2663" y="1434"/>
                </a:cubicBezTo>
                <a:cubicBezTo>
                  <a:pt x="2664" y="1434"/>
                  <a:pt x="2664" y="1434"/>
                  <a:pt x="2664" y="1434"/>
                </a:cubicBezTo>
                <a:cubicBezTo>
                  <a:pt x="2667" y="1434"/>
                  <a:pt x="2667" y="1434"/>
                  <a:pt x="2667" y="1434"/>
                </a:cubicBezTo>
                <a:cubicBezTo>
                  <a:pt x="2669" y="1434"/>
                  <a:pt x="2669" y="1434"/>
                  <a:pt x="2669" y="1434"/>
                </a:cubicBezTo>
                <a:cubicBezTo>
                  <a:pt x="2669" y="1432"/>
                  <a:pt x="2669" y="1432"/>
                  <a:pt x="2669" y="1432"/>
                </a:cubicBezTo>
                <a:cubicBezTo>
                  <a:pt x="2671" y="1432"/>
                  <a:pt x="2671" y="1432"/>
                  <a:pt x="2671" y="1432"/>
                </a:cubicBezTo>
                <a:cubicBezTo>
                  <a:pt x="2673" y="1429"/>
                  <a:pt x="2673" y="1429"/>
                  <a:pt x="2673" y="1429"/>
                </a:cubicBezTo>
                <a:cubicBezTo>
                  <a:pt x="2676" y="1430"/>
                  <a:pt x="2676" y="1430"/>
                  <a:pt x="2676" y="1430"/>
                </a:cubicBezTo>
                <a:cubicBezTo>
                  <a:pt x="2676" y="1428"/>
                  <a:pt x="2676" y="1428"/>
                  <a:pt x="2676" y="1428"/>
                </a:cubicBezTo>
                <a:cubicBezTo>
                  <a:pt x="2678" y="1427"/>
                  <a:pt x="2678" y="1427"/>
                  <a:pt x="2678" y="1427"/>
                </a:cubicBezTo>
                <a:cubicBezTo>
                  <a:pt x="2679" y="1427"/>
                  <a:pt x="2679" y="1427"/>
                  <a:pt x="2679" y="1427"/>
                </a:cubicBezTo>
                <a:cubicBezTo>
                  <a:pt x="2681" y="1429"/>
                  <a:pt x="2681" y="1429"/>
                  <a:pt x="2681" y="1429"/>
                </a:cubicBezTo>
                <a:cubicBezTo>
                  <a:pt x="2682" y="1426"/>
                  <a:pt x="2682" y="1426"/>
                  <a:pt x="2682" y="1426"/>
                </a:cubicBezTo>
                <a:cubicBezTo>
                  <a:pt x="2683" y="1427"/>
                  <a:pt x="2683" y="1427"/>
                  <a:pt x="2683" y="1427"/>
                </a:cubicBezTo>
                <a:cubicBezTo>
                  <a:pt x="2684" y="1426"/>
                  <a:pt x="2684" y="1426"/>
                  <a:pt x="2684" y="1426"/>
                </a:cubicBezTo>
                <a:cubicBezTo>
                  <a:pt x="2685" y="1424"/>
                  <a:pt x="2685" y="1424"/>
                  <a:pt x="2685" y="1424"/>
                </a:cubicBezTo>
                <a:cubicBezTo>
                  <a:pt x="2690" y="1420"/>
                  <a:pt x="2690" y="1420"/>
                  <a:pt x="2690" y="1420"/>
                </a:cubicBezTo>
                <a:cubicBezTo>
                  <a:pt x="2692" y="1421"/>
                  <a:pt x="2692" y="1421"/>
                  <a:pt x="2692" y="1421"/>
                </a:cubicBezTo>
                <a:cubicBezTo>
                  <a:pt x="2694" y="1421"/>
                  <a:pt x="2694" y="1421"/>
                  <a:pt x="2694" y="1421"/>
                </a:cubicBezTo>
                <a:cubicBezTo>
                  <a:pt x="2696" y="1420"/>
                  <a:pt x="2696" y="1420"/>
                  <a:pt x="2696" y="1420"/>
                </a:cubicBezTo>
                <a:cubicBezTo>
                  <a:pt x="2701" y="1419"/>
                  <a:pt x="2701" y="1419"/>
                  <a:pt x="2701" y="1419"/>
                </a:cubicBezTo>
                <a:cubicBezTo>
                  <a:pt x="2702" y="1420"/>
                  <a:pt x="2702" y="1420"/>
                  <a:pt x="2702" y="1420"/>
                </a:cubicBezTo>
                <a:cubicBezTo>
                  <a:pt x="2705" y="1419"/>
                  <a:pt x="2705" y="1419"/>
                  <a:pt x="2705" y="1419"/>
                </a:cubicBezTo>
                <a:cubicBezTo>
                  <a:pt x="2706" y="1420"/>
                  <a:pt x="2706" y="1420"/>
                  <a:pt x="2706" y="1420"/>
                </a:cubicBezTo>
                <a:cubicBezTo>
                  <a:pt x="2708" y="1420"/>
                  <a:pt x="2708" y="1420"/>
                  <a:pt x="2708" y="1420"/>
                </a:cubicBezTo>
                <a:cubicBezTo>
                  <a:pt x="2710" y="1420"/>
                  <a:pt x="2710" y="1420"/>
                  <a:pt x="2710" y="1420"/>
                </a:cubicBezTo>
                <a:cubicBezTo>
                  <a:pt x="2710" y="1422"/>
                  <a:pt x="2710" y="1422"/>
                  <a:pt x="2710" y="1422"/>
                </a:cubicBezTo>
                <a:cubicBezTo>
                  <a:pt x="2712" y="1422"/>
                  <a:pt x="2712" y="1422"/>
                  <a:pt x="2712" y="1422"/>
                </a:cubicBezTo>
                <a:cubicBezTo>
                  <a:pt x="2713" y="1421"/>
                  <a:pt x="2713" y="1421"/>
                  <a:pt x="2713" y="1421"/>
                </a:cubicBezTo>
                <a:cubicBezTo>
                  <a:pt x="2714" y="1422"/>
                  <a:pt x="2714" y="1422"/>
                  <a:pt x="2714" y="1422"/>
                </a:cubicBezTo>
                <a:cubicBezTo>
                  <a:pt x="2716" y="1421"/>
                  <a:pt x="2716" y="1421"/>
                  <a:pt x="2716" y="1421"/>
                </a:cubicBezTo>
                <a:cubicBezTo>
                  <a:pt x="2720" y="1421"/>
                  <a:pt x="2720" y="1421"/>
                  <a:pt x="2720" y="1421"/>
                </a:cubicBezTo>
                <a:cubicBezTo>
                  <a:pt x="2720" y="1422"/>
                  <a:pt x="2720" y="1422"/>
                  <a:pt x="2720" y="1422"/>
                </a:cubicBezTo>
                <a:cubicBezTo>
                  <a:pt x="2720" y="1423"/>
                  <a:pt x="2720" y="1423"/>
                  <a:pt x="2720" y="1423"/>
                </a:cubicBezTo>
                <a:cubicBezTo>
                  <a:pt x="2722" y="1421"/>
                  <a:pt x="2722" y="1421"/>
                  <a:pt x="2722" y="1421"/>
                </a:cubicBezTo>
                <a:cubicBezTo>
                  <a:pt x="2725" y="1421"/>
                  <a:pt x="2725" y="1421"/>
                  <a:pt x="2725" y="1421"/>
                </a:cubicBezTo>
                <a:cubicBezTo>
                  <a:pt x="2727" y="1419"/>
                  <a:pt x="2727" y="1419"/>
                  <a:pt x="2727" y="1419"/>
                </a:cubicBezTo>
                <a:cubicBezTo>
                  <a:pt x="2728" y="1417"/>
                  <a:pt x="2728" y="1417"/>
                  <a:pt x="2728" y="1417"/>
                </a:cubicBezTo>
                <a:cubicBezTo>
                  <a:pt x="2729" y="1417"/>
                  <a:pt x="2729" y="1417"/>
                  <a:pt x="2729" y="1417"/>
                </a:cubicBezTo>
                <a:cubicBezTo>
                  <a:pt x="2732" y="1415"/>
                  <a:pt x="2732" y="1415"/>
                  <a:pt x="2732" y="1415"/>
                </a:cubicBezTo>
                <a:cubicBezTo>
                  <a:pt x="2733" y="1411"/>
                  <a:pt x="2733" y="1411"/>
                  <a:pt x="2733" y="1411"/>
                </a:cubicBezTo>
                <a:cubicBezTo>
                  <a:pt x="2735" y="1409"/>
                  <a:pt x="2735" y="1409"/>
                  <a:pt x="2735" y="1409"/>
                </a:cubicBezTo>
                <a:cubicBezTo>
                  <a:pt x="2738" y="1408"/>
                  <a:pt x="2738" y="1408"/>
                  <a:pt x="2738" y="1408"/>
                </a:cubicBezTo>
                <a:cubicBezTo>
                  <a:pt x="2739" y="1409"/>
                  <a:pt x="2739" y="1409"/>
                  <a:pt x="2739" y="1409"/>
                </a:cubicBezTo>
                <a:cubicBezTo>
                  <a:pt x="2743" y="1407"/>
                  <a:pt x="2743" y="1407"/>
                  <a:pt x="2743" y="1407"/>
                </a:cubicBezTo>
                <a:cubicBezTo>
                  <a:pt x="2749" y="1404"/>
                  <a:pt x="2749" y="1404"/>
                  <a:pt x="2749" y="1404"/>
                </a:cubicBezTo>
                <a:cubicBezTo>
                  <a:pt x="2752" y="1401"/>
                  <a:pt x="2752" y="1401"/>
                  <a:pt x="2752" y="1401"/>
                </a:cubicBezTo>
                <a:cubicBezTo>
                  <a:pt x="2754" y="1400"/>
                  <a:pt x="2754" y="1400"/>
                  <a:pt x="2754" y="1400"/>
                </a:cubicBezTo>
                <a:cubicBezTo>
                  <a:pt x="2755" y="1401"/>
                  <a:pt x="2755" y="1401"/>
                  <a:pt x="2755" y="1401"/>
                </a:cubicBezTo>
                <a:cubicBezTo>
                  <a:pt x="2757" y="1400"/>
                  <a:pt x="2757" y="1400"/>
                  <a:pt x="2757" y="1400"/>
                </a:cubicBezTo>
                <a:cubicBezTo>
                  <a:pt x="2760" y="1402"/>
                  <a:pt x="2760" y="1402"/>
                  <a:pt x="2760" y="1402"/>
                </a:cubicBezTo>
                <a:cubicBezTo>
                  <a:pt x="2763" y="1402"/>
                  <a:pt x="2763" y="1402"/>
                  <a:pt x="2763" y="1402"/>
                </a:cubicBezTo>
                <a:cubicBezTo>
                  <a:pt x="2764" y="1401"/>
                  <a:pt x="2764" y="1401"/>
                  <a:pt x="2764" y="1401"/>
                </a:cubicBezTo>
                <a:cubicBezTo>
                  <a:pt x="2768" y="1401"/>
                  <a:pt x="2768" y="1401"/>
                  <a:pt x="2768" y="1401"/>
                </a:cubicBezTo>
                <a:cubicBezTo>
                  <a:pt x="2774" y="1399"/>
                  <a:pt x="2774" y="1399"/>
                  <a:pt x="2774" y="1399"/>
                </a:cubicBezTo>
                <a:cubicBezTo>
                  <a:pt x="2777" y="1399"/>
                  <a:pt x="2777" y="1399"/>
                  <a:pt x="2777" y="1399"/>
                </a:cubicBezTo>
                <a:cubicBezTo>
                  <a:pt x="2780" y="1397"/>
                  <a:pt x="2780" y="1397"/>
                  <a:pt x="2780" y="1397"/>
                </a:cubicBezTo>
                <a:cubicBezTo>
                  <a:pt x="2781" y="1397"/>
                  <a:pt x="2781" y="1397"/>
                  <a:pt x="2781" y="1397"/>
                </a:cubicBezTo>
                <a:cubicBezTo>
                  <a:pt x="2784" y="1395"/>
                  <a:pt x="2784" y="1395"/>
                  <a:pt x="2784" y="1395"/>
                </a:cubicBezTo>
                <a:cubicBezTo>
                  <a:pt x="2788" y="1395"/>
                  <a:pt x="2788" y="1395"/>
                  <a:pt x="2788" y="1395"/>
                </a:cubicBezTo>
                <a:cubicBezTo>
                  <a:pt x="2799" y="1394"/>
                  <a:pt x="2799" y="1394"/>
                  <a:pt x="2799" y="1394"/>
                </a:cubicBezTo>
                <a:cubicBezTo>
                  <a:pt x="2803" y="1395"/>
                  <a:pt x="2803" y="1395"/>
                  <a:pt x="2803" y="1395"/>
                </a:cubicBezTo>
                <a:cubicBezTo>
                  <a:pt x="2806" y="1395"/>
                  <a:pt x="2806" y="1395"/>
                  <a:pt x="2806" y="1395"/>
                </a:cubicBezTo>
                <a:cubicBezTo>
                  <a:pt x="2809" y="1394"/>
                  <a:pt x="2809" y="1394"/>
                  <a:pt x="2809" y="1394"/>
                </a:cubicBezTo>
                <a:cubicBezTo>
                  <a:pt x="2811" y="1394"/>
                  <a:pt x="2811" y="1394"/>
                  <a:pt x="2811" y="1394"/>
                </a:cubicBezTo>
                <a:cubicBezTo>
                  <a:pt x="2814" y="1397"/>
                  <a:pt x="2814" y="1397"/>
                  <a:pt x="2814" y="1397"/>
                </a:cubicBezTo>
                <a:cubicBezTo>
                  <a:pt x="2816" y="1401"/>
                  <a:pt x="2816" y="1401"/>
                  <a:pt x="2816" y="1401"/>
                </a:cubicBezTo>
                <a:cubicBezTo>
                  <a:pt x="2818" y="1402"/>
                  <a:pt x="2818" y="1402"/>
                  <a:pt x="2818" y="1402"/>
                </a:cubicBezTo>
                <a:cubicBezTo>
                  <a:pt x="2820" y="1401"/>
                  <a:pt x="2820" y="1401"/>
                  <a:pt x="2820" y="1401"/>
                </a:cubicBezTo>
                <a:cubicBezTo>
                  <a:pt x="2821" y="1400"/>
                  <a:pt x="2821" y="1400"/>
                  <a:pt x="2821" y="1400"/>
                </a:cubicBezTo>
                <a:cubicBezTo>
                  <a:pt x="2822" y="1401"/>
                  <a:pt x="2822" y="1401"/>
                  <a:pt x="2822" y="1401"/>
                </a:cubicBezTo>
                <a:cubicBezTo>
                  <a:pt x="2823" y="1401"/>
                  <a:pt x="2823" y="1401"/>
                  <a:pt x="2823" y="1401"/>
                </a:cubicBezTo>
                <a:cubicBezTo>
                  <a:pt x="2825" y="1401"/>
                  <a:pt x="2825" y="1401"/>
                  <a:pt x="2825" y="1401"/>
                </a:cubicBezTo>
                <a:cubicBezTo>
                  <a:pt x="2827" y="1404"/>
                  <a:pt x="2827" y="1404"/>
                  <a:pt x="2827" y="1404"/>
                </a:cubicBezTo>
                <a:cubicBezTo>
                  <a:pt x="2830" y="1404"/>
                  <a:pt x="2830" y="1404"/>
                  <a:pt x="2830" y="1404"/>
                </a:cubicBezTo>
                <a:cubicBezTo>
                  <a:pt x="2831" y="1403"/>
                  <a:pt x="2831" y="1403"/>
                  <a:pt x="2831" y="1403"/>
                </a:cubicBezTo>
                <a:cubicBezTo>
                  <a:pt x="2835" y="1407"/>
                  <a:pt x="2835" y="1407"/>
                  <a:pt x="2835" y="1407"/>
                </a:cubicBezTo>
                <a:cubicBezTo>
                  <a:pt x="2835" y="1408"/>
                  <a:pt x="2835" y="1408"/>
                  <a:pt x="2835" y="1408"/>
                </a:cubicBezTo>
                <a:cubicBezTo>
                  <a:pt x="2836" y="1408"/>
                  <a:pt x="2836" y="1408"/>
                  <a:pt x="2836" y="1408"/>
                </a:cubicBezTo>
                <a:cubicBezTo>
                  <a:pt x="2838" y="1410"/>
                  <a:pt x="2838" y="1410"/>
                  <a:pt x="2838" y="1410"/>
                </a:cubicBezTo>
                <a:cubicBezTo>
                  <a:pt x="2837" y="1412"/>
                  <a:pt x="2837" y="1412"/>
                  <a:pt x="2837" y="1412"/>
                </a:cubicBezTo>
                <a:cubicBezTo>
                  <a:pt x="2835" y="1412"/>
                  <a:pt x="2835" y="1412"/>
                  <a:pt x="2835" y="1412"/>
                </a:cubicBezTo>
                <a:cubicBezTo>
                  <a:pt x="2835" y="1413"/>
                  <a:pt x="2835" y="1413"/>
                  <a:pt x="2835" y="1413"/>
                </a:cubicBezTo>
                <a:cubicBezTo>
                  <a:pt x="2837" y="1417"/>
                  <a:pt x="2837" y="1417"/>
                  <a:pt x="2837" y="1417"/>
                </a:cubicBezTo>
                <a:cubicBezTo>
                  <a:pt x="2839" y="1417"/>
                  <a:pt x="2839" y="1417"/>
                  <a:pt x="2839" y="1417"/>
                </a:cubicBezTo>
                <a:cubicBezTo>
                  <a:pt x="2841" y="1419"/>
                  <a:pt x="2841" y="1419"/>
                  <a:pt x="2841" y="1419"/>
                </a:cubicBezTo>
                <a:cubicBezTo>
                  <a:pt x="2841" y="1422"/>
                  <a:pt x="2841" y="1422"/>
                  <a:pt x="2841" y="1422"/>
                </a:cubicBezTo>
                <a:cubicBezTo>
                  <a:pt x="2841" y="1424"/>
                  <a:pt x="2841" y="1424"/>
                  <a:pt x="2841" y="1424"/>
                </a:cubicBezTo>
                <a:cubicBezTo>
                  <a:pt x="2843" y="1429"/>
                  <a:pt x="2843" y="1429"/>
                  <a:pt x="2843" y="1429"/>
                </a:cubicBezTo>
                <a:cubicBezTo>
                  <a:pt x="2842" y="1431"/>
                  <a:pt x="2842" y="1431"/>
                  <a:pt x="2842" y="1431"/>
                </a:cubicBezTo>
                <a:cubicBezTo>
                  <a:pt x="2843" y="1433"/>
                  <a:pt x="2843" y="1433"/>
                  <a:pt x="2843" y="1433"/>
                </a:cubicBezTo>
                <a:cubicBezTo>
                  <a:pt x="2843" y="1435"/>
                  <a:pt x="2843" y="1435"/>
                  <a:pt x="2843" y="1435"/>
                </a:cubicBezTo>
                <a:cubicBezTo>
                  <a:pt x="2842" y="1437"/>
                  <a:pt x="2842" y="1437"/>
                  <a:pt x="2842" y="1437"/>
                </a:cubicBezTo>
                <a:cubicBezTo>
                  <a:pt x="2841" y="1436"/>
                  <a:pt x="2841" y="1436"/>
                  <a:pt x="2841" y="1436"/>
                </a:cubicBezTo>
                <a:cubicBezTo>
                  <a:pt x="2840" y="1437"/>
                  <a:pt x="2840" y="1437"/>
                  <a:pt x="2840" y="1437"/>
                </a:cubicBezTo>
                <a:cubicBezTo>
                  <a:pt x="2842" y="1439"/>
                  <a:pt x="2842" y="1439"/>
                  <a:pt x="2842" y="1439"/>
                </a:cubicBezTo>
                <a:cubicBezTo>
                  <a:pt x="2843" y="1439"/>
                  <a:pt x="2843" y="1439"/>
                  <a:pt x="2843" y="1439"/>
                </a:cubicBezTo>
                <a:cubicBezTo>
                  <a:pt x="2844" y="1441"/>
                  <a:pt x="2844" y="1441"/>
                  <a:pt x="2844" y="1441"/>
                </a:cubicBezTo>
                <a:cubicBezTo>
                  <a:pt x="2846" y="1441"/>
                  <a:pt x="2846" y="1441"/>
                  <a:pt x="2846" y="1441"/>
                </a:cubicBezTo>
                <a:cubicBezTo>
                  <a:pt x="2848" y="1442"/>
                  <a:pt x="2848" y="1442"/>
                  <a:pt x="2848" y="1442"/>
                </a:cubicBezTo>
                <a:cubicBezTo>
                  <a:pt x="2848" y="1440"/>
                  <a:pt x="2848" y="1440"/>
                  <a:pt x="2848" y="1440"/>
                </a:cubicBezTo>
                <a:cubicBezTo>
                  <a:pt x="2847" y="1439"/>
                  <a:pt x="2847" y="1439"/>
                  <a:pt x="2847" y="1439"/>
                </a:cubicBezTo>
                <a:cubicBezTo>
                  <a:pt x="2848" y="1438"/>
                  <a:pt x="2848" y="1438"/>
                  <a:pt x="2848" y="1438"/>
                </a:cubicBezTo>
                <a:cubicBezTo>
                  <a:pt x="2849" y="1436"/>
                  <a:pt x="2849" y="1436"/>
                  <a:pt x="2849" y="1436"/>
                </a:cubicBezTo>
                <a:cubicBezTo>
                  <a:pt x="2850" y="1435"/>
                  <a:pt x="2850" y="1435"/>
                  <a:pt x="2850" y="1435"/>
                </a:cubicBezTo>
                <a:cubicBezTo>
                  <a:pt x="2851" y="1434"/>
                  <a:pt x="2851" y="1434"/>
                  <a:pt x="2851" y="1434"/>
                </a:cubicBezTo>
                <a:cubicBezTo>
                  <a:pt x="2853" y="1433"/>
                  <a:pt x="2853" y="1433"/>
                  <a:pt x="2853" y="1433"/>
                </a:cubicBezTo>
                <a:cubicBezTo>
                  <a:pt x="2854" y="1431"/>
                  <a:pt x="2854" y="1431"/>
                  <a:pt x="2854" y="1431"/>
                </a:cubicBezTo>
                <a:cubicBezTo>
                  <a:pt x="2855" y="1429"/>
                  <a:pt x="2855" y="1429"/>
                  <a:pt x="2855" y="1429"/>
                </a:cubicBezTo>
                <a:cubicBezTo>
                  <a:pt x="2860" y="1427"/>
                  <a:pt x="2860" y="1427"/>
                  <a:pt x="2860" y="1427"/>
                </a:cubicBezTo>
                <a:cubicBezTo>
                  <a:pt x="2860" y="1425"/>
                  <a:pt x="2860" y="1425"/>
                  <a:pt x="2860" y="1425"/>
                </a:cubicBezTo>
                <a:cubicBezTo>
                  <a:pt x="2861" y="1425"/>
                  <a:pt x="2861" y="1425"/>
                  <a:pt x="2861" y="1425"/>
                </a:cubicBezTo>
                <a:cubicBezTo>
                  <a:pt x="2864" y="1424"/>
                  <a:pt x="2864" y="1424"/>
                  <a:pt x="2864" y="1424"/>
                </a:cubicBezTo>
                <a:cubicBezTo>
                  <a:pt x="2865" y="1421"/>
                  <a:pt x="2865" y="1421"/>
                  <a:pt x="2865" y="1421"/>
                </a:cubicBezTo>
                <a:cubicBezTo>
                  <a:pt x="2868" y="1417"/>
                  <a:pt x="2868" y="1417"/>
                  <a:pt x="2868" y="1417"/>
                </a:cubicBezTo>
                <a:cubicBezTo>
                  <a:pt x="2871" y="1416"/>
                  <a:pt x="2871" y="1416"/>
                  <a:pt x="2871" y="1416"/>
                </a:cubicBezTo>
                <a:cubicBezTo>
                  <a:pt x="2872" y="1414"/>
                  <a:pt x="2872" y="1414"/>
                  <a:pt x="2872" y="1414"/>
                </a:cubicBezTo>
                <a:cubicBezTo>
                  <a:pt x="2871" y="1412"/>
                  <a:pt x="2871" y="1412"/>
                  <a:pt x="2871" y="1412"/>
                </a:cubicBezTo>
                <a:cubicBezTo>
                  <a:pt x="2872" y="1410"/>
                  <a:pt x="2872" y="1410"/>
                  <a:pt x="2872" y="1410"/>
                </a:cubicBezTo>
                <a:cubicBezTo>
                  <a:pt x="2873" y="1413"/>
                  <a:pt x="2873" y="1413"/>
                  <a:pt x="2873" y="1413"/>
                </a:cubicBezTo>
                <a:cubicBezTo>
                  <a:pt x="2873" y="1415"/>
                  <a:pt x="2873" y="1415"/>
                  <a:pt x="2873" y="1415"/>
                </a:cubicBezTo>
                <a:cubicBezTo>
                  <a:pt x="2873" y="1418"/>
                  <a:pt x="2873" y="1418"/>
                  <a:pt x="2873" y="1418"/>
                </a:cubicBezTo>
                <a:cubicBezTo>
                  <a:pt x="2872" y="1419"/>
                  <a:pt x="2872" y="1419"/>
                  <a:pt x="2872" y="1419"/>
                </a:cubicBezTo>
                <a:cubicBezTo>
                  <a:pt x="2871" y="1425"/>
                  <a:pt x="2871" y="1425"/>
                  <a:pt x="2871" y="1425"/>
                </a:cubicBezTo>
                <a:cubicBezTo>
                  <a:pt x="2867" y="1427"/>
                  <a:pt x="2867" y="1427"/>
                  <a:pt x="2867" y="1427"/>
                </a:cubicBezTo>
                <a:cubicBezTo>
                  <a:pt x="2866" y="1430"/>
                  <a:pt x="2866" y="1430"/>
                  <a:pt x="2866" y="1430"/>
                </a:cubicBezTo>
                <a:cubicBezTo>
                  <a:pt x="2865" y="1431"/>
                  <a:pt x="2865" y="1431"/>
                  <a:pt x="2865" y="1431"/>
                </a:cubicBezTo>
                <a:cubicBezTo>
                  <a:pt x="2865" y="1433"/>
                  <a:pt x="2865" y="1433"/>
                  <a:pt x="2865" y="1433"/>
                </a:cubicBezTo>
                <a:cubicBezTo>
                  <a:pt x="2863" y="1437"/>
                  <a:pt x="2863" y="1437"/>
                  <a:pt x="2863" y="1437"/>
                </a:cubicBezTo>
                <a:cubicBezTo>
                  <a:pt x="2864" y="1438"/>
                  <a:pt x="2864" y="1438"/>
                  <a:pt x="2864" y="1438"/>
                </a:cubicBezTo>
                <a:cubicBezTo>
                  <a:pt x="2862" y="1443"/>
                  <a:pt x="2862" y="1443"/>
                  <a:pt x="2862" y="1443"/>
                </a:cubicBezTo>
                <a:cubicBezTo>
                  <a:pt x="2857" y="1442"/>
                  <a:pt x="2857" y="1442"/>
                  <a:pt x="2857" y="1442"/>
                </a:cubicBezTo>
                <a:cubicBezTo>
                  <a:pt x="2856" y="1445"/>
                  <a:pt x="2856" y="1445"/>
                  <a:pt x="2856" y="1445"/>
                </a:cubicBezTo>
                <a:cubicBezTo>
                  <a:pt x="2855" y="1447"/>
                  <a:pt x="2855" y="1447"/>
                  <a:pt x="2855" y="1447"/>
                </a:cubicBezTo>
                <a:cubicBezTo>
                  <a:pt x="2855" y="1448"/>
                  <a:pt x="2855" y="1448"/>
                  <a:pt x="2855" y="1448"/>
                </a:cubicBezTo>
                <a:cubicBezTo>
                  <a:pt x="2858" y="1447"/>
                  <a:pt x="2858" y="1447"/>
                  <a:pt x="2858" y="1447"/>
                </a:cubicBezTo>
                <a:cubicBezTo>
                  <a:pt x="2861" y="1446"/>
                  <a:pt x="2861" y="1446"/>
                  <a:pt x="2861" y="1446"/>
                </a:cubicBezTo>
                <a:cubicBezTo>
                  <a:pt x="2864" y="1447"/>
                  <a:pt x="2864" y="1447"/>
                  <a:pt x="2864" y="1447"/>
                </a:cubicBezTo>
                <a:cubicBezTo>
                  <a:pt x="2867" y="1441"/>
                  <a:pt x="2867" y="1441"/>
                  <a:pt x="2867" y="1441"/>
                </a:cubicBezTo>
                <a:cubicBezTo>
                  <a:pt x="2868" y="1436"/>
                  <a:pt x="2868" y="1436"/>
                  <a:pt x="2868" y="1436"/>
                </a:cubicBezTo>
                <a:cubicBezTo>
                  <a:pt x="2871" y="1433"/>
                  <a:pt x="2871" y="1433"/>
                  <a:pt x="2871" y="1433"/>
                </a:cubicBezTo>
                <a:cubicBezTo>
                  <a:pt x="2872" y="1434"/>
                  <a:pt x="2872" y="1434"/>
                  <a:pt x="2872" y="1434"/>
                </a:cubicBezTo>
                <a:cubicBezTo>
                  <a:pt x="2872" y="1439"/>
                  <a:pt x="2872" y="1439"/>
                  <a:pt x="2872" y="1439"/>
                </a:cubicBezTo>
                <a:cubicBezTo>
                  <a:pt x="2873" y="1442"/>
                  <a:pt x="2873" y="1442"/>
                  <a:pt x="2873" y="1442"/>
                </a:cubicBezTo>
                <a:cubicBezTo>
                  <a:pt x="2872" y="1442"/>
                  <a:pt x="2872" y="1442"/>
                  <a:pt x="2872" y="1442"/>
                </a:cubicBezTo>
                <a:cubicBezTo>
                  <a:pt x="2873" y="1447"/>
                  <a:pt x="2873" y="1447"/>
                  <a:pt x="2873" y="1447"/>
                </a:cubicBezTo>
                <a:cubicBezTo>
                  <a:pt x="2870" y="1451"/>
                  <a:pt x="2870" y="1451"/>
                  <a:pt x="2870" y="1451"/>
                </a:cubicBezTo>
                <a:cubicBezTo>
                  <a:pt x="2866" y="1453"/>
                  <a:pt x="2866" y="1453"/>
                  <a:pt x="2866" y="1453"/>
                </a:cubicBezTo>
                <a:cubicBezTo>
                  <a:pt x="2867" y="1454"/>
                  <a:pt x="2867" y="1454"/>
                  <a:pt x="2867" y="1454"/>
                </a:cubicBezTo>
                <a:cubicBezTo>
                  <a:pt x="2870" y="1454"/>
                  <a:pt x="2870" y="1454"/>
                  <a:pt x="2870" y="1454"/>
                </a:cubicBezTo>
                <a:cubicBezTo>
                  <a:pt x="2872" y="1454"/>
                  <a:pt x="2872" y="1454"/>
                  <a:pt x="2872" y="1454"/>
                </a:cubicBezTo>
                <a:cubicBezTo>
                  <a:pt x="2873" y="1453"/>
                  <a:pt x="2873" y="1453"/>
                  <a:pt x="2873" y="1453"/>
                </a:cubicBezTo>
                <a:cubicBezTo>
                  <a:pt x="2875" y="1452"/>
                  <a:pt x="2875" y="1452"/>
                  <a:pt x="2875" y="1452"/>
                </a:cubicBezTo>
                <a:cubicBezTo>
                  <a:pt x="2877" y="1450"/>
                  <a:pt x="2877" y="1450"/>
                  <a:pt x="2877" y="1450"/>
                </a:cubicBezTo>
                <a:cubicBezTo>
                  <a:pt x="2879" y="1451"/>
                  <a:pt x="2879" y="1451"/>
                  <a:pt x="2879" y="1451"/>
                </a:cubicBezTo>
                <a:cubicBezTo>
                  <a:pt x="2880" y="1451"/>
                  <a:pt x="2880" y="1451"/>
                  <a:pt x="2880" y="1451"/>
                </a:cubicBezTo>
                <a:cubicBezTo>
                  <a:pt x="2879" y="1452"/>
                  <a:pt x="2879" y="1452"/>
                  <a:pt x="2879" y="1452"/>
                </a:cubicBezTo>
                <a:cubicBezTo>
                  <a:pt x="2878" y="1454"/>
                  <a:pt x="2878" y="1454"/>
                  <a:pt x="2878" y="1454"/>
                </a:cubicBezTo>
                <a:cubicBezTo>
                  <a:pt x="2876" y="1454"/>
                  <a:pt x="2876" y="1454"/>
                  <a:pt x="2876" y="1454"/>
                </a:cubicBezTo>
                <a:cubicBezTo>
                  <a:pt x="2876" y="1455"/>
                  <a:pt x="2876" y="1455"/>
                  <a:pt x="2876" y="1455"/>
                </a:cubicBezTo>
                <a:cubicBezTo>
                  <a:pt x="2878" y="1458"/>
                  <a:pt x="2878" y="1458"/>
                  <a:pt x="2878" y="1458"/>
                </a:cubicBezTo>
                <a:cubicBezTo>
                  <a:pt x="2878" y="1460"/>
                  <a:pt x="2878" y="1460"/>
                  <a:pt x="2878" y="1460"/>
                </a:cubicBezTo>
                <a:cubicBezTo>
                  <a:pt x="2880" y="1463"/>
                  <a:pt x="2880" y="1463"/>
                  <a:pt x="2880" y="1463"/>
                </a:cubicBezTo>
                <a:cubicBezTo>
                  <a:pt x="2880" y="1467"/>
                  <a:pt x="2880" y="1467"/>
                  <a:pt x="2880" y="1467"/>
                </a:cubicBezTo>
                <a:cubicBezTo>
                  <a:pt x="2879" y="1471"/>
                  <a:pt x="2879" y="1471"/>
                  <a:pt x="2879" y="1471"/>
                </a:cubicBezTo>
                <a:cubicBezTo>
                  <a:pt x="2877" y="1474"/>
                  <a:pt x="2877" y="1474"/>
                  <a:pt x="2877" y="1474"/>
                </a:cubicBezTo>
                <a:cubicBezTo>
                  <a:pt x="2877" y="1475"/>
                  <a:pt x="2877" y="1475"/>
                  <a:pt x="2877" y="1475"/>
                </a:cubicBezTo>
                <a:cubicBezTo>
                  <a:pt x="2877" y="1479"/>
                  <a:pt x="2877" y="1479"/>
                  <a:pt x="2877" y="1479"/>
                </a:cubicBezTo>
                <a:cubicBezTo>
                  <a:pt x="2879" y="1481"/>
                  <a:pt x="2879" y="1481"/>
                  <a:pt x="2879" y="1481"/>
                </a:cubicBezTo>
                <a:cubicBezTo>
                  <a:pt x="2880" y="1483"/>
                  <a:pt x="2880" y="1483"/>
                  <a:pt x="2880" y="1483"/>
                </a:cubicBezTo>
                <a:cubicBezTo>
                  <a:pt x="2881" y="1486"/>
                  <a:pt x="2881" y="1486"/>
                  <a:pt x="2881" y="1486"/>
                </a:cubicBezTo>
                <a:cubicBezTo>
                  <a:pt x="2884" y="1491"/>
                  <a:pt x="2884" y="1491"/>
                  <a:pt x="2884" y="1491"/>
                </a:cubicBezTo>
                <a:cubicBezTo>
                  <a:pt x="2887" y="1492"/>
                  <a:pt x="2887" y="1492"/>
                  <a:pt x="2887" y="1492"/>
                </a:cubicBezTo>
                <a:cubicBezTo>
                  <a:pt x="2889" y="1493"/>
                  <a:pt x="2889" y="1493"/>
                  <a:pt x="2889" y="1493"/>
                </a:cubicBezTo>
                <a:cubicBezTo>
                  <a:pt x="2890" y="1496"/>
                  <a:pt x="2890" y="1496"/>
                  <a:pt x="2890" y="1496"/>
                </a:cubicBezTo>
                <a:cubicBezTo>
                  <a:pt x="2892" y="1496"/>
                  <a:pt x="2892" y="1496"/>
                  <a:pt x="2892" y="1496"/>
                </a:cubicBezTo>
                <a:cubicBezTo>
                  <a:pt x="2892" y="1495"/>
                  <a:pt x="2892" y="1495"/>
                  <a:pt x="2892" y="1495"/>
                </a:cubicBezTo>
                <a:cubicBezTo>
                  <a:pt x="2894" y="1495"/>
                  <a:pt x="2894" y="1495"/>
                  <a:pt x="2894" y="1495"/>
                </a:cubicBezTo>
                <a:cubicBezTo>
                  <a:pt x="2896" y="1495"/>
                  <a:pt x="2896" y="1495"/>
                  <a:pt x="2896" y="1495"/>
                </a:cubicBezTo>
                <a:cubicBezTo>
                  <a:pt x="2899" y="1498"/>
                  <a:pt x="2899" y="1498"/>
                  <a:pt x="2899" y="1498"/>
                </a:cubicBezTo>
                <a:cubicBezTo>
                  <a:pt x="2901" y="1498"/>
                  <a:pt x="2901" y="1498"/>
                  <a:pt x="2901" y="1498"/>
                </a:cubicBezTo>
                <a:cubicBezTo>
                  <a:pt x="2903" y="1501"/>
                  <a:pt x="2903" y="1501"/>
                  <a:pt x="2903" y="1501"/>
                </a:cubicBezTo>
                <a:cubicBezTo>
                  <a:pt x="2904" y="1503"/>
                  <a:pt x="2904" y="1503"/>
                  <a:pt x="2904" y="1503"/>
                </a:cubicBezTo>
                <a:cubicBezTo>
                  <a:pt x="2906" y="1503"/>
                  <a:pt x="2906" y="1503"/>
                  <a:pt x="2906" y="1503"/>
                </a:cubicBezTo>
                <a:cubicBezTo>
                  <a:pt x="2908" y="1506"/>
                  <a:pt x="2908" y="1506"/>
                  <a:pt x="2908" y="1506"/>
                </a:cubicBezTo>
                <a:cubicBezTo>
                  <a:pt x="2909" y="1506"/>
                  <a:pt x="2909" y="1506"/>
                  <a:pt x="2909" y="1506"/>
                </a:cubicBezTo>
                <a:cubicBezTo>
                  <a:pt x="2910" y="1504"/>
                  <a:pt x="2910" y="1504"/>
                  <a:pt x="2910" y="1504"/>
                </a:cubicBezTo>
                <a:cubicBezTo>
                  <a:pt x="2914" y="1503"/>
                  <a:pt x="2914" y="1503"/>
                  <a:pt x="2914" y="1503"/>
                </a:cubicBezTo>
                <a:cubicBezTo>
                  <a:pt x="2915" y="1501"/>
                  <a:pt x="2915" y="1501"/>
                  <a:pt x="2915" y="1501"/>
                </a:cubicBezTo>
                <a:cubicBezTo>
                  <a:pt x="2917" y="1501"/>
                  <a:pt x="2917" y="1501"/>
                  <a:pt x="2917" y="1501"/>
                </a:cubicBezTo>
                <a:cubicBezTo>
                  <a:pt x="2920" y="1498"/>
                  <a:pt x="2920" y="1498"/>
                  <a:pt x="2920" y="1498"/>
                </a:cubicBezTo>
                <a:cubicBezTo>
                  <a:pt x="2922" y="1499"/>
                  <a:pt x="2922" y="1499"/>
                  <a:pt x="2922" y="1499"/>
                </a:cubicBezTo>
                <a:cubicBezTo>
                  <a:pt x="2923" y="1498"/>
                  <a:pt x="2923" y="1498"/>
                  <a:pt x="2923" y="1498"/>
                </a:cubicBezTo>
                <a:cubicBezTo>
                  <a:pt x="2922" y="1497"/>
                  <a:pt x="2922" y="1497"/>
                  <a:pt x="2922" y="1497"/>
                </a:cubicBezTo>
                <a:cubicBezTo>
                  <a:pt x="2920" y="1496"/>
                  <a:pt x="2920" y="1496"/>
                  <a:pt x="2920" y="1496"/>
                </a:cubicBezTo>
                <a:cubicBezTo>
                  <a:pt x="2921" y="1495"/>
                  <a:pt x="2921" y="1495"/>
                  <a:pt x="2921" y="1495"/>
                </a:cubicBezTo>
                <a:cubicBezTo>
                  <a:pt x="2925" y="1492"/>
                  <a:pt x="2925" y="1492"/>
                  <a:pt x="2925" y="1492"/>
                </a:cubicBezTo>
                <a:cubicBezTo>
                  <a:pt x="2928" y="1494"/>
                  <a:pt x="2928" y="1494"/>
                  <a:pt x="2928" y="1494"/>
                </a:cubicBezTo>
                <a:cubicBezTo>
                  <a:pt x="2928" y="1497"/>
                  <a:pt x="2928" y="1497"/>
                  <a:pt x="2928" y="1497"/>
                </a:cubicBezTo>
                <a:cubicBezTo>
                  <a:pt x="2924" y="1499"/>
                  <a:pt x="2924" y="1499"/>
                  <a:pt x="2924" y="1499"/>
                </a:cubicBezTo>
                <a:cubicBezTo>
                  <a:pt x="2925" y="1501"/>
                  <a:pt x="2925" y="1501"/>
                  <a:pt x="2925" y="1501"/>
                </a:cubicBezTo>
                <a:cubicBezTo>
                  <a:pt x="2926" y="1501"/>
                  <a:pt x="2926" y="1501"/>
                  <a:pt x="2926" y="1501"/>
                </a:cubicBezTo>
                <a:cubicBezTo>
                  <a:pt x="2928" y="1499"/>
                  <a:pt x="2928" y="1499"/>
                  <a:pt x="2928" y="1499"/>
                </a:cubicBezTo>
                <a:cubicBezTo>
                  <a:pt x="2929" y="1498"/>
                  <a:pt x="2929" y="1498"/>
                  <a:pt x="2929" y="1498"/>
                </a:cubicBezTo>
                <a:cubicBezTo>
                  <a:pt x="2931" y="1499"/>
                  <a:pt x="2931" y="1499"/>
                  <a:pt x="2931" y="1499"/>
                </a:cubicBezTo>
                <a:cubicBezTo>
                  <a:pt x="2931" y="1501"/>
                  <a:pt x="2931" y="1501"/>
                  <a:pt x="2931" y="1501"/>
                </a:cubicBezTo>
                <a:cubicBezTo>
                  <a:pt x="2930" y="1501"/>
                  <a:pt x="2930" y="1501"/>
                  <a:pt x="2930" y="1501"/>
                </a:cubicBezTo>
                <a:cubicBezTo>
                  <a:pt x="2928" y="1503"/>
                  <a:pt x="2928" y="1503"/>
                  <a:pt x="2928" y="1503"/>
                </a:cubicBezTo>
                <a:cubicBezTo>
                  <a:pt x="2931" y="1506"/>
                  <a:pt x="2931" y="1506"/>
                  <a:pt x="2931" y="1506"/>
                </a:cubicBezTo>
                <a:cubicBezTo>
                  <a:pt x="2932" y="1509"/>
                  <a:pt x="2932" y="1509"/>
                  <a:pt x="2932" y="1509"/>
                </a:cubicBezTo>
                <a:cubicBezTo>
                  <a:pt x="2933" y="1509"/>
                  <a:pt x="2933" y="1509"/>
                  <a:pt x="2933" y="1509"/>
                </a:cubicBezTo>
                <a:cubicBezTo>
                  <a:pt x="2934" y="1509"/>
                  <a:pt x="2934" y="1509"/>
                  <a:pt x="2934" y="1509"/>
                </a:cubicBezTo>
                <a:cubicBezTo>
                  <a:pt x="2934" y="1511"/>
                  <a:pt x="2934" y="1511"/>
                  <a:pt x="2934" y="1511"/>
                </a:cubicBezTo>
                <a:cubicBezTo>
                  <a:pt x="2935" y="1513"/>
                  <a:pt x="2935" y="1513"/>
                  <a:pt x="2935" y="1513"/>
                </a:cubicBezTo>
                <a:cubicBezTo>
                  <a:pt x="2937" y="1511"/>
                  <a:pt x="2937" y="1511"/>
                  <a:pt x="2937" y="1511"/>
                </a:cubicBezTo>
                <a:cubicBezTo>
                  <a:pt x="2937" y="1508"/>
                  <a:pt x="2937" y="1508"/>
                  <a:pt x="2937" y="1508"/>
                </a:cubicBezTo>
                <a:cubicBezTo>
                  <a:pt x="2935" y="1509"/>
                  <a:pt x="2935" y="1509"/>
                  <a:pt x="2935" y="1509"/>
                </a:cubicBezTo>
                <a:cubicBezTo>
                  <a:pt x="2935" y="1508"/>
                  <a:pt x="2935" y="1508"/>
                  <a:pt x="2935" y="1508"/>
                </a:cubicBezTo>
                <a:cubicBezTo>
                  <a:pt x="2936" y="1507"/>
                  <a:pt x="2936" y="1507"/>
                  <a:pt x="2936" y="1507"/>
                </a:cubicBezTo>
                <a:cubicBezTo>
                  <a:pt x="2941" y="1507"/>
                  <a:pt x="2941" y="1507"/>
                  <a:pt x="2941" y="1507"/>
                </a:cubicBezTo>
                <a:cubicBezTo>
                  <a:pt x="2942" y="1508"/>
                  <a:pt x="2942" y="1508"/>
                  <a:pt x="2942" y="1508"/>
                </a:cubicBezTo>
                <a:cubicBezTo>
                  <a:pt x="2942" y="1507"/>
                  <a:pt x="2942" y="1507"/>
                  <a:pt x="2942" y="1507"/>
                </a:cubicBezTo>
                <a:cubicBezTo>
                  <a:pt x="2945" y="1503"/>
                  <a:pt x="2945" y="1503"/>
                  <a:pt x="2945" y="1503"/>
                </a:cubicBezTo>
                <a:cubicBezTo>
                  <a:pt x="2950" y="1500"/>
                  <a:pt x="2950" y="1500"/>
                  <a:pt x="2950" y="1500"/>
                </a:cubicBezTo>
                <a:cubicBezTo>
                  <a:pt x="2953" y="1497"/>
                  <a:pt x="2953" y="1497"/>
                  <a:pt x="2953" y="1497"/>
                </a:cubicBezTo>
                <a:cubicBezTo>
                  <a:pt x="2951" y="1497"/>
                  <a:pt x="2951" y="1497"/>
                  <a:pt x="2951" y="1497"/>
                </a:cubicBezTo>
                <a:cubicBezTo>
                  <a:pt x="2950" y="1498"/>
                  <a:pt x="2950" y="1498"/>
                  <a:pt x="2950" y="1498"/>
                </a:cubicBezTo>
                <a:cubicBezTo>
                  <a:pt x="2951" y="1497"/>
                  <a:pt x="2951" y="1497"/>
                  <a:pt x="2951" y="1497"/>
                </a:cubicBezTo>
                <a:cubicBezTo>
                  <a:pt x="2949" y="1497"/>
                  <a:pt x="2949" y="1497"/>
                  <a:pt x="2949" y="1497"/>
                </a:cubicBezTo>
                <a:cubicBezTo>
                  <a:pt x="2951" y="1497"/>
                  <a:pt x="2951" y="1497"/>
                  <a:pt x="2951" y="1497"/>
                </a:cubicBezTo>
                <a:cubicBezTo>
                  <a:pt x="2953" y="1497"/>
                  <a:pt x="2953" y="1497"/>
                  <a:pt x="2953" y="1497"/>
                </a:cubicBezTo>
                <a:cubicBezTo>
                  <a:pt x="2957" y="1496"/>
                  <a:pt x="2957" y="1496"/>
                  <a:pt x="2957" y="1496"/>
                </a:cubicBezTo>
                <a:cubicBezTo>
                  <a:pt x="2965" y="1494"/>
                  <a:pt x="2965" y="1494"/>
                  <a:pt x="2965" y="1494"/>
                </a:cubicBezTo>
                <a:cubicBezTo>
                  <a:pt x="2971" y="1495"/>
                  <a:pt x="2971" y="1495"/>
                  <a:pt x="2971" y="1495"/>
                </a:cubicBezTo>
                <a:cubicBezTo>
                  <a:pt x="2974" y="1494"/>
                  <a:pt x="2974" y="1494"/>
                  <a:pt x="2974" y="1494"/>
                </a:cubicBezTo>
                <a:cubicBezTo>
                  <a:pt x="2974" y="1492"/>
                  <a:pt x="2974" y="1492"/>
                  <a:pt x="2974" y="1492"/>
                </a:cubicBezTo>
                <a:cubicBezTo>
                  <a:pt x="2976" y="1492"/>
                  <a:pt x="2976" y="1492"/>
                  <a:pt x="2976" y="1492"/>
                </a:cubicBezTo>
                <a:cubicBezTo>
                  <a:pt x="2978" y="1491"/>
                  <a:pt x="2978" y="1491"/>
                  <a:pt x="2978" y="1491"/>
                </a:cubicBezTo>
                <a:cubicBezTo>
                  <a:pt x="2979" y="1487"/>
                  <a:pt x="2979" y="1487"/>
                  <a:pt x="2979" y="1487"/>
                </a:cubicBezTo>
                <a:cubicBezTo>
                  <a:pt x="2979" y="1483"/>
                  <a:pt x="2979" y="1483"/>
                  <a:pt x="2979" y="1483"/>
                </a:cubicBezTo>
                <a:cubicBezTo>
                  <a:pt x="2979" y="1481"/>
                  <a:pt x="2979" y="1481"/>
                  <a:pt x="2979" y="1481"/>
                </a:cubicBezTo>
                <a:cubicBezTo>
                  <a:pt x="2982" y="1478"/>
                  <a:pt x="2982" y="1478"/>
                  <a:pt x="2982" y="1478"/>
                </a:cubicBezTo>
                <a:cubicBezTo>
                  <a:pt x="2982" y="1472"/>
                  <a:pt x="2982" y="1472"/>
                  <a:pt x="2982" y="1472"/>
                </a:cubicBezTo>
                <a:cubicBezTo>
                  <a:pt x="2984" y="1469"/>
                  <a:pt x="2984" y="1469"/>
                  <a:pt x="2984" y="1469"/>
                </a:cubicBezTo>
                <a:cubicBezTo>
                  <a:pt x="2984" y="1465"/>
                  <a:pt x="2984" y="1465"/>
                  <a:pt x="2984" y="1465"/>
                </a:cubicBezTo>
                <a:cubicBezTo>
                  <a:pt x="2986" y="1464"/>
                  <a:pt x="2986" y="1464"/>
                  <a:pt x="2986" y="1464"/>
                </a:cubicBezTo>
                <a:cubicBezTo>
                  <a:pt x="2986" y="1462"/>
                  <a:pt x="2986" y="1462"/>
                  <a:pt x="2986" y="1462"/>
                </a:cubicBezTo>
                <a:cubicBezTo>
                  <a:pt x="2992" y="1455"/>
                  <a:pt x="2992" y="1455"/>
                  <a:pt x="2992" y="1455"/>
                </a:cubicBezTo>
                <a:cubicBezTo>
                  <a:pt x="2994" y="1454"/>
                  <a:pt x="2994" y="1454"/>
                  <a:pt x="2994" y="1454"/>
                </a:cubicBezTo>
                <a:cubicBezTo>
                  <a:pt x="2995" y="1450"/>
                  <a:pt x="2995" y="1450"/>
                  <a:pt x="2995" y="1450"/>
                </a:cubicBezTo>
                <a:cubicBezTo>
                  <a:pt x="2998" y="1447"/>
                  <a:pt x="2998" y="1447"/>
                  <a:pt x="2998" y="1447"/>
                </a:cubicBezTo>
                <a:cubicBezTo>
                  <a:pt x="2999" y="1443"/>
                  <a:pt x="2999" y="1443"/>
                  <a:pt x="2999" y="1443"/>
                </a:cubicBezTo>
                <a:cubicBezTo>
                  <a:pt x="3002" y="1440"/>
                  <a:pt x="3002" y="1440"/>
                  <a:pt x="3002" y="1440"/>
                </a:cubicBezTo>
                <a:cubicBezTo>
                  <a:pt x="3001" y="1438"/>
                  <a:pt x="3001" y="1438"/>
                  <a:pt x="3001" y="1438"/>
                </a:cubicBezTo>
                <a:cubicBezTo>
                  <a:pt x="3003" y="1437"/>
                  <a:pt x="3003" y="1437"/>
                  <a:pt x="3003" y="1437"/>
                </a:cubicBezTo>
                <a:cubicBezTo>
                  <a:pt x="3005" y="1433"/>
                  <a:pt x="3005" y="1433"/>
                  <a:pt x="3005" y="1433"/>
                </a:cubicBezTo>
                <a:cubicBezTo>
                  <a:pt x="3003" y="1432"/>
                  <a:pt x="3003" y="1432"/>
                  <a:pt x="3003" y="1432"/>
                </a:cubicBezTo>
                <a:cubicBezTo>
                  <a:pt x="3007" y="1431"/>
                  <a:pt x="3007" y="1431"/>
                  <a:pt x="3007" y="1431"/>
                </a:cubicBezTo>
                <a:cubicBezTo>
                  <a:pt x="3009" y="1427"/>
                  <a:pt x="3009" y="1427"/>
                  <a:pt x="3009" y="1427"/>
                </a:cubicBezTo>
                <a:cubicBezTo>
                  <a:pt x="3010" y="1426"/>
                  <a:pt x="3010" y="1426"/>
                  <a:pt x="3010" y="1426"/>
                </a:cubicBezTo>
                <a:cubicBezTo>
                  <a:pt x="3011" y="1423"/>
                  <a:pt x="3011" y="1423"/>
                  <a:pt x="3011" y="1423"/>
                </a:cubicBezTo>
                <a:cubicBezTo>
                  <a:pt x="3014" y="1422"/>
                  <a:pt x="3014" y="1422"/>
                  <a:pt x="3014" y="1422"/>
                </a:cubicBezTo>
                <a:cubicBezTo>
                  <a:pt x="3016" y="1421"/>
                  <a:pt x="3016" y="1421"/>
                  <a:pt x="3016" y="1421"/>
                </a:cubicBezTo>
                <a:cubicBezTo>
                  <a:pt x="3013" y="1421"/>
                  <a:pt x="3013" y="1421"/>
                  <a:pt x="3013" y="1421"/>
                </a:cubicBezTo>
                <a:cubicBezTo>
                  <a:pt x="3014" y="1420"/>
                  <a:pt x="3014" y="1420"/>
                  <a:pt x="3014" y="1420"/>
                </a:cubicBezTo>
                <a:cubicBezTo>
                  <a:pt x="3018" y="1420"/>
                  <a:pt x="3018" y="1420"/>
                  <a:pt x="3018" y="1420"/>
                </a:cubicBezTo>
                <a:cubicBezTo>
                  <a:pt x="3021" y="1417"/>
                  <a:pt x="3021" y="1417"/>
                  <a:pt x="3021" y="1417"/>
                </a:cubicBezTo>
                <a:cubicBezTo>
                  <a:pt x="3022" y="1415"/>
                  <a:pt x="3022" y="1415"/>
                  <a:pt x="3022" y="1415"/>
                </a:cubicBezTo>
                <a:cubicBezTo>
                  <a:pt x="3021" y="1414"/>
                  <a:pt x="3021" y="1414"/>
                  <a:pt x="3021" y="1414"/>
                </a:cubicBezTo>
                <a:cubicBezTo>
                  <a:pt x="3022" y="1412"/>
                  <a:pt x="3022" y="1412"/>
                  <a:pt x="3022" y="1412"/>
                </a:cubicBezTo>
                <a:cubicBezTo>
                  <a:pt x="3025" y="1409"/>
                  <a:pt x="3025" y="1409"/>
                  <a:pt x="3025" y="1409"/>
                </a:cubicBezTo>
                <a:cubicBezTo>
                  <a:pt x="3025" y="1407"/>
                  <a:pt x="3025" y="1407"/>
                  <a:pt x="3025" y="1407"/>
                </a:cubicBezTo>
                <a:cubicBezTo>
                  <a:pt x="3027" y="1406"/>
                  <a:pt x="3027" y="1406"/>
                  <a:pt x="3027" y="1406"/>
                </a:cubicBezTo>
                <a:cubicBezTo>
                  <a:pt x="3029" y="1402"/>
                  <a:pt x="3029" y="1402"/>
                  <a:pt x="3029" y="1402"/>
                </a:cubicBezTo>
                <a:cubicBezTo>
                  <a:pt x="3029" y="1400"/>
                  <a:pt x="3029" y="1400"/>
                  <a:pt x="3029" y="1400"/>
                </a:cubicBezTo>
                <a:cubicBezTo>
                  <a:pt x="3030" y="1397"/>
                  <a:pt x="3030" y="1397"/>
                  <a:pt x="3030" y="1397"/>
                </a:cubicBezTo>
                <a:cubicBezTo>
                  <a:pt x="3029" y="1396"/>
                  <a:pt x="3029" y="1396"/>
                  <a:pt x="3029" y="1396"/>
                </a:cubicBezTo>
                <a:cubicBezTo>
                  <a:pt x="3030" y="1395"/>
                  <a:pt x="3030" y="1395"/>
                  <a:pt x="3030" y="1395"/>
                </a:cubicBezTo>
                <a:cubicBezTo>
                  <a:pt x="3033" y="1388"/>
                  <a:pt x="3033" y="1388"/>
                  <a:pt x="3033" y="1388"/>
                </a:cubicBezTo>
                <a:cubicBezTo>
                  <a:pt x="3033" y="1385"/>
                  <a:pt x="3033" y="1385"/>
                  <a:pt x="3033" y="1385"/>
                </a:cubicBezTo>
                <a:cubicBezTo>
                  <a:pt x="3037" y="1378"/>
                  <a:pt x="3037" y="1378"/>
                  <a:pt x="3037" y="1378"/>
                </a:cubicBezTo>
                <a:cubicBezTo>
                  <a:pt x="3037" y="1376"/>
                  <a:pt x="3037" y="1376"/>
                  <a:pt x="3037" y="1376"/>
                </a:cubicBezTo>
                <a:cubicBezTo>
                  <a:pt x="3039" y="1371"/>
                  <a:pt x="3039" y="1371"/>
                  <a:pt x="3039" y="1371"/>
                </a:cubicBezTo>
                <a:cubicBezTo>
                  <a:pt x="3041" y="1369"/>
                  <a:pt x="3041" y="1369"/>
                  <a:pt x="3041" y="1369"/>
                </a:cubicBezTo>
                <a:cubicBezTo>
                  <a:pt x="3042" y="1366"/>
                  <a:pt x="3042" y="1366"/>
                  <a:pt x="3042" y="1366"/>
                </a:cubicBezTo>
                <a:cubicBezTo>
                  <a:pt x="3042" y="1363"/>
                  <a:pt x="3042" y="1363"/>
                  <a:pt x="3042" y="1363"/>
                </a:cubicBezTo>
                <a:cubicBezTo>
                  <a:pt x="3043" y="1361"/>
                  <a:pt x="3043" y="1361"/>
                  <a:pt x="3043" y="1361"/>
                </a:cubicBezTo>
                <a:lnTo>
                  <a:pt x="3042" y="1356"/>
                </a:lnTo>
                <a:close/>
                <a:moveTo>
                  <a:pt x="2891" y="1188"/>
                </a:moveTo>
                <a:cubicBezTo>
                  <a:pt x="2892" y="1188"/>
                  <a:pt x="2892" y="1188"/>
                  <a:pt x="2892" y="1188"/>
                </a:cubicBezTo>
                <a:cubicBezTo>
                  <a:pt x="2895" y="1188"/>
                  <a:pt x="2895" y="1188"/>
                  <a:pt x="2895" y="1188"/>
                </a:cubicBezTo>
                <a:cubicBezTo>
                  <a:pt x="2896" y="1187"/>
                  <a:pt x="2896" y="1187"/>
                  <a:pt x="2896" y="1187"/>
                </a:cubicBezTo>
                <a:cubicBezTo>
                  <a:pt x="2895" y="1186"/>
                  <a:pt x="2895" y="1186"/>
                  <a:pt x="2895" y="1186"/>
                </a:cubicBezTo>
                <a:cubicBezTo>
                  <a:pt x="2894" y="1187"/>
                  <a:pt x="2894" y="1187"/>
                  <a:pt x="2894" y="1187"/>
                </a:cubicBezTo>
                <a:cubicBezTo>
                  <a:pt x="2894" y="1186"/>
                  <a:pt x="2894" y="1186"/>
                  <a:pt x="2894" y="1186"/>
                </a:cubicBezTo>
                <a:cubicBezTo>
                  <a:pt x="2895" y="1184"/>
                  <a:pt x="2895" y="1184"/>
                  <a:pt x="2895" y="1184"/>
                </a:cubicBezTo>
                <a:cubicBezTo>
                  <a:pt x="2895" y="1184"/>
                  <a:pt x="2895" y="1184"/>
                  <a:pt x="2895" y="1184"/>
                </a:cubicBezTo>
                <a:cubicBezTo>
                  <a:pt x="2893" y="1185"/>
                  <a:pt x="2893" y="1185"/>
                  <a:pt x="2893" y="1185"/>
                </a:cubicBezTo>
                <a:cubicBezTo>
                  <a:pt x="2893" y="1183"/>
                  <a:pt x="2893" y="1183"/>
                  <a:pt x="2893" y="1183"/>
                </a:cubicBezTo>
                <a:cubicBezTo>
                  <a:pt x="2892" y="1183"/>
                  <a:pt x="2892" y="1183"/>
                  <a:pt x="2892" y="1183"/>
                </a:cubicBezTo>
                <a:cubicBezTo>
                  <a:pt x="2892" y="1184"/>
                  <a:pt x="2892" y="1184"/>
                  <a:pt x="2892" y="1184"/>
                </a:cubicBezTo>
                <a:cubicBezTo>
                  <a:pt x="2890" y="1184"/>
                  <a:pt x="2890" y="1184"/>
                  <a:pt x="2890" y="1184"/>
                </a:cubicBezTo>
                <a:cubicBezTo>
                  <a:pt x="2891" y="1185"/>
                  <a:pt x="2891" y="1185"/>
                  <a:pt x="2891" y="1185"/>
                </a:cubicBezTo>
                <a:cubicBezTo>
                  <a:pt x="2890" y="1185"/>
                  <a:pt x="2890" y="1185"/>
                  <a:pt x="2890" y="1185"/>
                </a:cubicBezTo>
                <a:cubicBezTo>
                  <a:pt x="2891" y="1188"/>
                  <a:pt x="2891" y="1188"/>
                  <a:pt x="2891" y="1188"/>
                </a:cubicBezTo>
                <a:cubicBezTo>
                  <a:pt x="2890" y="1188"/>
                  <a:pt x="2890" y="1188"/>
                  <a:pt x="2890" y="1188"/>
                </a:cubicBezTo>
                <a:lnTo>
                  <a:pt x="2891" y="1188"/>
                </a:lnTo>
                <a:close/>
                <a:moveTo>
                  <a:pt x="2936" y="1570"/>
                </a:moveTo>
                <a:cubicBezTo>
                  <a:pt x="2937" y="1570"/>
                  <a:pt x="2937" y="1570"/>
                  <a:pt x="2937" y="1570"/>
                </a:cubicBezTo>
                <a:cubicBezTo>
                  <a:pt x="2936" y="1569"/>
                  <a:pt x="2936" y="1569"/>
                  <a:pt x="2936" y="1569"/>
                </a:cubicBezTo>
                <a:lnTo>
                  <a:pt x="2936" y="1570"/>
                </a:lnTo>
                <a:close/>
                <a:moveTo>
                  <a:pt x="2683" y="1124"/>
                </a:moveTo>
                <a:cubicBezTo>
                  <a:pt x="2681" y="1121"/>
                  <a:pt x="2681" y="1121"/>
                  <a:pt x="2681" y="1121"/>
                </a:cubicBezTo>
                <a:cubicBezTo>
                  <a:pt x="2678" y="1121"/>
                  <a:pt x="2678" y="1121"/>
                  <a:pt x="2678" y="1121"/>
                </a:cubicBezTo>
                <a:cubicBezTo>
                  <a:pt x="2675" y="1122"/>
                  <a:pt x="2675" y="1122"/>
                  <a:pt x="2675" y="1122"/>
                </a:cubicBezTo>
                <a:cubicBezTo>
                  <a:pt x="2673" y="1121"/>
                  <a:pt x="2673" y="1121"/>
                  <a:pt x="2673" y="1121"/>
                </a:cubicBezTo>
                <a:cubicBezTo>
                  <a:pt x="2671" y="1122"/>
                  <a:pt x="2671" y="1122"/>
                  <a:pt x="2671" y="1122"/>
                </a:cubicBezTo>
                <a:cubicBezTo>
                  <a:pt x="2671" y="1123"/>
                  <a:pt x="2671" y="1123"/>
                  <a:pt x="2671" y="1123"/>
                </a:cubicBezTo>
                <a:cubicBezTo>
                  <a:pt x="2672" y="1125"/>
                  <a:pt x="2672" y="1125"/>
                  <a:pt x="2672" y="1125"/>
                </a:cubicBezTo>
                <a:cubicBezTo>
                  <a:pt x="2674" y="1125"/>
                  <a:pt x="2674" y="1125"/>
                  <a:pt x="2674" y="1125"/>
                </a:cubicBezTo>
                <a:cubicBezTo>
                  <a:pt x="2677" y="1127"/>
                  <a:pt x="2677" y="1127"/>
                  <a:pt x="2677" y="1127"/>
                </a:cubicBezTo>
                <a:cubicBezTo>
                  <a:pt x="2677" y="1128"/>
                  <a:pt x="2677" y="1128"/>
                  <a:pt x="2677" y="1128"/>
                </a:cubicBezTo>
                <a:cubicBezTo>
                  <a:pt x="2678" y="1127"/>
                  <a:pt x="2678" y="1127"/>
                  <a:pt x="2678" y="1127"/>
                </a:cubicBezTo>
                <a:cubicBezTo>
                  <a:pt x="2680" y="1126"/>
                  <a:pt x="2680" y="1126"/>
                  <a:pt x="2680" y="1126"/>
                </a:cubicBezTo>
                <a:cubicBezTo>
                  <a:pt x="2680" y="1125"/>
                  <a:pt x="2680" y="1125"/>
                  <a:pt x="2680" y="1125"/>
                </a:cubicBezTo>
                <a:cubicBezTo>
                  <a:pt x="2682" y="1125"/>
                  <a:pt x="2682" y="1125"/>
                  <a:pt x="2682" y="1125"/>
                </a:cubicBezTo>
                <a:lnTo>
                  <a:pt x="2683" y="1124"/>
                </a:lnTo>
                <a:close/>
                <a:moveTo>
                  <a:pt x="2624" y="1052"/>
                </a:moveTo>
                <a:cubicBezTo>
                  <a:pt x="2625" y="1052"/>
                  <a:pt x="2625" y="1052"/>
                  <a:pt x="2625" y="1052"/>
                </a:cubicBezTo>
                <a:cubicBezTo>
                  <a:pt x="2627" y="1050"/>
                  <a:pt x="2627" y="1050"/>
                  <a:pt x="2627" y="1050"/>
                </a:cubicBezTo>
                <a:cubicBezTo>
                  <a:pt x="2625" y="1048"/>
                  <a:pt x="2625" y="1048"/>
                  <a:pt x="2625" y="1048"/>
                </a:cubicBezTo>
                <a:cubicBezTo>
                  <a:pt x="2623" y="1048"/>
                  <a:pt x="2623" y="1048"/>
                  <a:pt x="2623" y="1048"/>
                </a:cubicBezTo>
                <a:cubicBezTo>
                  <a:pt x="2623" y="1048"/>
                  <a:pt x="2623" y="1050"/>
                  <a:pt x="2623" y="1050"/>
                </a:cubicBezTo>
                <a:cubicBezTo>
                  <a:pt x="2623" y="1051"/>
                  <a:pt x="2623" y="1051"/>
                  <a:pt x="2623" y="1051"/>
                </a:cubicBezTo>
                <a:lnTo>
                  <a:pt x="2624" y="1052"/>
                </a:lnTo>
                <a:close/>
                <a:moveTo>
                  <a:pt x="2616" y="1055"/>
                </a:moveTo>
                <a:cubicBezTo>
                  <a:pt x="2618" y="1056"/>
                  <a:pt x="2618" y="1056"/>
                  <a:pt x="2618" y="1056"/>
                </a:cubicBezTo>
                <a:cubicBezTo>
                  <a:pt x="2618" y="1055"/>
                  <a:pt x="2618" y="1055"/>
                  <a:pt x="2618" y="1055"/>
                </a:cubicBezTo>
                <a:cubicBezTo>
                  <a:pt x="2618" y="1054"/>
                  <a:pt x="2618" y="1054"/>
                  <a:pt x="2618" y="1054"/>
                </a:cubicBezTo>
                <a:cubicBezTo>
                  <a:pt x="2616" y="1054"/>
                  <a:pt x="2616" y="1054"/>
                  <a:pt x="2616" y="1054"/>
                </a:cubicBezTo>
                <a:lnTo>
                  <a:pt x="2616" y="1055"/>
                </a:lnTo>
                <a:close/>
                <a:moveTo>
                  <a:pt x="2622" y="1041"/>
                </a:moveTo>
                <a:cubicBezTo>
                  <a:pt x="2620" y="1041"/>
                  <a:pt x="2620" y="1041"/>
                  <a:pt x="2620" y="1041"/>
                </a:cubicBezTo>
                <a:cubicBezTo>
                  <a:pt x="2619" y="1041"/>
                  <a:pt x="2619" y="1041"/>
                  <a:pt x="2619" y="1041"/>
                </a:cubicBezTo>
                <a:cubicBezTo>
                  <a:pt x="2620" y="1042"/>
                  <a:pt x="2620" y="1042"/>
                  <a:pt x="2620" y="1042"/>
                </a:cubicBezTo>
                <a:cubicBezTo>
                  <a:pt x="2622" y="1043"/>
                  <a:pt x="2622" y="1043"/>
                  <a:pt x="2622" y="1043"/>
                </a:cubicBezTo>
                <a:cubicBezTo>
                  <a:pt x="2623" y="1042"/>
                  <a:pt x="2623" y="1042"/>
                  <a:pt x="2623" y="1042"/>
                </a:cubicBezTo>
                <a:lnTo>
                  <a:pt x="2622" y="1041"/>
                </a:lnTo>
                <a:close/>
                <a:moveTo>
                  <a:pt x="2681" y="1129"/>
                </a:moveTo>
                <a:cubicBezTo>
                  <a:pt x="2682" y="1128"/>
                  <a:pt x="2682" y="1128"/>
                  <a:pt x="2682" y="1128"/>
                </a:cubicBezTo>
                <a:cubicBezTo>
                  <a:pt x="2681" y="1127"/>
                  <a:pt x="2681" y="1127"/>
                  <a:pt x="2681" y="1127"/>
                </a:cubicBezTo>
                <a:cubicBezTo>
                  <a:pt x="2680" y="1128"/>
                  <a:pt x="2680" y="1128"/>
                  <a:pt x="2680" y="1128"/>
                </a:cubicBezTo>
                <a:lnTo>
                  <a:pt x="2681" y="1129"/>
                </a:lnTo>
                <a:close/>
                <a:moveTo>
                  <a:pt x="2680" y="1109"/>
                </a:moveTo>
                <a:cubicBezTo>
                  <a:pt x="2681" y="1109"/>
                  <a:pt x="2681" y="1109"/>
                  <a:pt x="2681" y="1109"/>
                </a:cubicBezTo>
                <a:cubicBezTo>
                  <a:pt x="2682" y="1109"/>
                  <a:pt x="2682" y="1109"/>
                  <a:pt x="2682" y="1109"/>
                </a:cubicBezTo>
                <a:cubicBezTo>
                  <a:pt x="2682" y="1109"/>
                  <a:pt x="2682" y="1109"/>
                  <a:pt x="2682" y="1109"/>
                </a:cubicBezTo>
                <a:cubicBezTo>
                  <a:pt x="2680" y="1108"/>
                  <a:pt x="2680" y="1108"/>
                  <a:pt x="2680" y="1108"/>
                </a:cubicBezTo>
                <a:cubicBezTo>
                  <a:pt x="2679" y="1108"/>
                  <a:pt x="2679" y="1108"/>
                  <a:pt x="2679" y="1108"/>
                </a:cubicBezTo>
                <a:cubicBezTo>
                  <a:pt x="2678" y="1109"/>
                  <a:pt x="2678" y="1109"/>
                  <a:pt x="2678" y="1109"/>
                </a:cubicBezTo>
                <a:cubicBezTo>
                  <a:pt x="2678" y="1109"/>
                  <a:pt x="2678" y="1109"/>
                  <a:pt x="2678" y="1109"/>
                </a:cubicBezTo>
                <a:cubicBezTo>
                  <a:pt x="2679" y="1111"/>
                  <a:pt x="2679" y="1111"/>
                  <a:pt x="2679" y="1111"/>
                </a:cubicBezTo>
                <a:lnTo>
                  <a:pt x="2680" y="1109"/>
                </a:lnTo>
                <a:close/>
                <a:moveTo>
                  <a:pt x="2663" y="1110"/>
                </a:moveTo>
                <a:cubicBezTo>
                  <a:pt x="2662" y="1109"/>
                  <a:pt x="2662" y="1109"/>
                  <a:pt x="2662" y="1109"/>
                </a:cubicBezTo>
                <a:cubicBezTo>
                  <a:pt x="2656" y="1109"/>
                  <a:pt x="2656" y="1109"/>
                  <a:pt x="2656" y="1109"/>
                </a:cubicBezTo>
                <a:cubicBezTo>
                  <a:pt x="2655" y="1108"/>
                  <a:pt x="2655" y="1108"/>
                  <a:pt x="2655" y="1108"/>
                </a:cubicBezTo>
                <a:cubicBezTo>
                  <a:pt x="2654" y="1110"/>
                  <a:pt x="2654" y="1110"/>
                  <a:pt x="2654" y="1110"/>
                </a:cubicBezTo>
                <a:cubicBezTo>
                  <a:pt x="2656" y="1112"/>
                  <a:pt x="2656" y="1112"/>
                  <a:pt x="2656" y="1112"/>
                </a:cubicBezTo>
                <a:cubicBezTo>
                  <a:pt x="2657" y="1113"/>
                  <a:pt x="2657" y="1113"/>
                  <a:pt x="2657" y="1113"/>
                </a:cubicBezTo>
                <a:cubicBezTo>
                  <a:pt x="2659" y="1112"/>
                  <a:pt x="2659" y="1112"/>
                  <a:pt x="2659" y="1112"/>
                </a:cubicBezTo>
                <a:cubicBezTo>
                  <a:pt x="2662" y="1112"/>
                  <a:pt x="2662" y="1112"/>
                  <a:pt x="2662" y="1112"/>
                </a:cubicBezTo>
                <a:cubicBezTo>
                  <a:pt x="2664" y="1111"/>
                  <a:pt x="2664" y="1111"/>
                  <a:pt x="2664" y="1111"/>
                </a:cubicBezTo>
                <a:cubicBezTo>
                  <a:pt x="2666" y="1111"/>
                  <a:pt x="2666" y="1111"/>
                  <a:pt x="2666" y="1111"/>
                </a:cubicBezTo>
                <a:cubicBezTo>
                  <a:pt x="2667" y="1110"/>
                  <a:pt x="2667" y="1110"/>
                  <a:pt x="2667" y="1110"/>
                </a:cubicBezTo>
                <a:cubicBezTo>
                  <a:pt x="2666" y="1109"/>
                  <a:pt x="2666" y="1109"/>
                  <a:pt x="2666" y="1109"/>
                </a:cubicBezTo>
                <a:lnTo>
                  <a:pt x="2663" y="1110"/>
                </a:lnTo>
                <a:close/>
                <a:moveTo>
                  <a:pt x="2625" y="1048"/>
                </a:moveTo>
                <a:cubicBezTo>
                  <a:pt x="2625" y="1047"/>
                  <a:pt x="2625" y="1047"/>
                  <a:pt x="2625" y="1047"/>
                </a:cubicBezTo>
                <a:cubicBezTo>
                  <a:pt x="2625" y="1047"/>
                  <a:pt x="2625" y="1047"/>
                  <a:pt x="2625" y="1047"/>
                </a:cubicBezTo>
                <a:cubicBezTo>
                  <a:pt x="2623" y="1046"/>
                  <a:pt x="2623" y="1046"/>
                  <a:pt x="2623" y="1046"/>
                </a:cubicBezTo>
                <a:cubicBezTo>
                  <a:pt x="2621" y="1045"/>
                  <a:pt x="2621" y="1045"/>
                  <a:pt x="2621" y="1045"/>
                </a:cubicBezTo>
                <a:cubicBezTo>
                  <a:pt x="2621" y="1046"/>
                  <a:pt x="2621" y="1046"/>
                  <a:pt x="2621" y="1046"/>
                </a:cubicBezTo>
                <a:cubicBezTo>
                  <a:pt x="2622" y="1048"/>
                  <a:pt x="2622" y="1048"/>
                  <a:pt x="2622" y="1048"/>
                </a:cubicBezTo>
                <a:cubicBezTo>
                  <a:pt x="2623" y="1048"/>
                  <a:pt x="2623" y="1048"/>
                  <a:pt x="2623" y="1048"/>
                </a:cubicBezTo>
                <a:lnTo>
                  <a:pt x="2625" y="1048"/>
                </a:lnTo>
                <a:close/>
                <a:moveTo>
                  <a:pt x="2864" y="1456"/>
                </a:moveTo>
                <a:cubicBezTo>
                  <a:pt x="2862" y="1456"/>
                  <a:pt x="2862" y="1456"/>
                  <a:pt x="2862" y="1456"/>
                </a:cubicBezTo>
                <a:cubicBezTo>
                  <a:pt x="2863" y="1455"/>
                  <a:pt x="2863" y="1455"/>
                  <a:pt x="2863" y="1455"/>
                </a:cubicBezTo>
                <a:cubicBezTo>
                  <a:pt x="2862" y="1455"/>
                  <a:pt x="2862" y="1455"/>
                  <a:pt x="2862" y="1455"/>
                </a:cubicBezTo>
                <a:cubicBezTo>
                  <a:pt x="2861" y="1454"/>
                  <a:pt x="2861" y="1454"/>
                  <a:pt x="2861" y="1454"/>
                </a:cubicBezTo>
                <a:cubicBezTo>
                  <a:pt x="2862" y="1453"/>
                  <a:pt x="2862" y="1453"/>
                  <a:pt x="2862" y="1453"/>
                </a:cubicBezTo>
                <a:cubicBezTo>
                  <a:pt x="2860" y="1453"/>
                  <a:pt x="2860" y="1453"/>
                  <a:pt x="2860" y="1453"/>
                </a:cubicBezTo>
                <a:cubicBezTo>
                  <a:pt x="2858" y="1453"/>
                  <a:pt x="2858" y="1453"/>
                  <a:pt x="2858" y="1453"/>
                </a:cubicBezTo>
                <a:cubicBezTo>
                  <a:pt x="2853" y="1454"/>
                  <a:pt x="2853" y="1454"/>
                  <a:pt x="2853" y="1454"/>
                </a:cubicBezTo>
                <a:cubicBezTo>
                  <a:pt x="2850" y="1456"/>
                  <a:pt x="2850" y="1456"/>
                  <a:pt x="2850" y="1456"/>
                </a:cubicBezTo>
                <a:cubicBezTo>
                  <a:pt x="2850" y="1457"/>
                  <a:pt x="2850" y="1457"/>
                  <a:pt x="2850" y="1457"/>
                </a:cubicBezTo>
                <a:cubicBezTo>
                  <a:pt x="2852" y="1458"/>
                  <a:pt x="2852" y="1458"/>
                  <a:pt x="2852" y="1458"/>
                </a:cubicBezTo>
                <a:cubicBezTo>
                  <a:pt x="2854" y="1458"/>
                  <a:pt x="2854" y="1458"/>
                  <a:pt x="2854" y="1458"/>
                </a:cubicBezTo>
                <a:cubicBezTo>
                  <a:pt x="2855" y="1458"/>
                  <a:pt x="2855" y="1458"/>
                  <a:pt x="2855" y="1458"/>
                </a:cubicBezTo>
                <a:cubicBezTo>
                  <a:pt x="2857" y="1458"/>
                  <a:pt x="2857" y="1458"/>
                  <a:pt x="2857" y="1458"/>
                </a:cubicBezTo>
                <a:cubicBezTo>
                  <a:pt x="2858" y="1458"/>
                  <a:pt x="2858" y="1458"/>
                  <a:pt x="2858" y="1458"/>
                </a:cubicBezTo>
                <a:cubicBezTo>
                  <a:pt x="2859" y="1459"/>
                  <a:pt x="2859" y="1459"/>
                  <a:pt x="2859" y="1459"/>
                </a:cubicBezTo>
                <a:cubicBezTo>
                  <a:pt x="2860" y="1459"/>
                  <a:pt x="2860" y="1459"/>
                  <a:pt x="2860" y="1459"/>
                </a:cubicBezTo>
                <a:cubicBezTo>
                  <a:pt x="2860" y="1458"/>
                  <a:pt x="2860" y="1458"/>
                  <a:pt x="2860" y="1458"/>
                </a:cubicBezTo>
                <a:cubicBezTo>
                  <a:pt x="2861" y="1458"/>
                  <a:pt x="2861" y="1458"/>
                  <a:pt x="2861" y="1458"/>
                </a:cubicBezTo>
                <a:cubicBezTo>
                  <a:pt x="2862" y="1457"/>
                  <a:pt x="2862" y="1457"/>
                  <a:pt x="2862" y="1457"/>
                </a:cubicBezTo>
                <a:cubicBezTo>
                  <a:pt x="2865" y="1457"/>
                  <a:pt x="2865" y="1457"/>
                  <a:pt x="2865" y="1457"/>
                </a:cubicBezTo>
                <a:cubicBezTo>
                  <a:pt x="2866" y="1456"/>
                  <a:pt x="2866" y="1456"/>
                  <a:pt x="2866" y="1456"/>
                </a:cubicBezTo>
                <a:cubicBezTo>
                  <a:pt x="2865" y="1456"/>
                  <a:pt x="2865" y="1456"/>
                  <a:pt x="2865" y="1456"/>
                </a:cubicBezTo>
                <a:lnTo>
                  <a:pt x="2864" y="1456"/>
                </a:lnTo>
                <a:close/>
                <a:moveTo>
                  <a:pt x="2910" y="1524"/>
                </a:moveTo>
                <a:cubicBezTo>
                  <a:pt x="2911" y="1522"/>
                  <a:pt x="2911" y="1522"/>
                  <a:pt x="2911" y="1522"/>
                </a:cubicBezTo>
                <a:cubicBezTo>
                  <a:pt x="2911" y="1520"/>
                  <a:pt x="2911" y="1520"/>
                  <a:pt x="2911" y="1520"/>
                </a:cubicBezTo>
                <a:cubicBezTo>
                  <a:pt x="2911" y="1517"/>
                  <a:pt x="2911" y="1517"/>
                  <a:pt x="2911" y="1517"/>
                </a:cubicBezTo>
                <a:cubicBezTo>
                  <a:pt x="2910" y="1516"/>
                  <a:pt x="2910" y="1516"/>
                  <a:pt x="2910" y="1516"/>
                </a:cubicBezTo>
                <a:cubicBezTo>
                  <a:pt x="2909" y="1517"/>
                  <a:pt x="2909" y="1517"/>
                  <a:pt x="2909" y="1517"/>
                </a:cubicBezTo>
                <a:cubicBezTo>
                  <a:pt x="2907" y="1519"/>
                  <a:pt x="2907" y="1519"/>
                  <a:pt x="2907" y="1519"/>
                </a:cubicBezTo>
                <a:cubicBezTo>
                  <a:pt x="2908" y="1521"/>
                  <a:pt x="2908" y="1521"/>
                  <a:pt x="2908" y="1521"/>
                </a:cubicBezTo>
                <a:cubicBezTo>
                  <a:pt x="2906" y="1523"/>
                  <a:pt x="2906" y="1523"/>
                  <a:pt x="2906" y="1523"/>
                </a:cubicBezTo>
                <a:cubicBezTo>
                  <a:pt x="2907" y="1524"/>
                  <a:pt x="2907" y="1524"/>
                  <a:pt x="2907" y="1524"/>
                </a:cubicBezTo>
                <a:cubicBezTo>
                  <a:pt x="2906" y="1526"/>
                  <a:pt x="2906" y="1526"/>
                  <a:pt x="2906" y="1526"/>
                </a:cubicBezTo>
                <a:cubicBezTo>
                  <a:pt x="2908" y="1526"/>
                  <a:pt x="2908" y="1526"/>
                  <a:pt x="2908" y="1526"/>
                </a:cubicBezTo>
                <a:cubicBezTo>
                  <a:pt x="2909" y="1525"/>
                  <a:pt x="2909" y="1525"/>
                  <a:pt x="2909" y="1525"/>
                </a:cubicBezTo>
                <a:lnTo>
                  <a:pt x="2910" y="1524"/>
                </a:lnTo>
                <a:close/>
                <a:moveTo>
                  <a:pt x="2924" y="1578"/>
                </a:moveTo>
                <a:cubicBezTo>
                  <a:pt x="2924" y="1579"/>
                  <a:pt x="2924" y="1579"/>
                  <a:pt x="2924" y="1579"/>
                </a:cubicBezTo>
                <a:cubicBezTo>
                  <a:pt x="2923" y="1582"/>
                  <a:pt x="2923" y="1582"/>
                  <a:pt x="2923" y="1582"/>
                </a:cubicBezTo>
                <a:cubicBezTo>
                  <a:pt x="2924" y="1582"/>
                  <a:pt x="2924" y="1582"/>
                  <a:pt x="2924" y="1582"/>
                </a:cubicBezTo>
                <a:cubicBezTo>
                  <a:pt x="2925" y="1579"/>
                  <a:pt x="2925" y="1579"/>
                  <a:pt x="2925" y="1579"/>
                </a:cubicBezTo>
                <a:cubicBezTo>
                  <a:pt x="2926" y="1578"/>
                  <a:pt x="2926" y="1578"/>
                  <a:pt x="2926" y="1578"/>
                </a:cubicBezTo>
                <a:cubicBezTo>
                  <a:pt x="2925" y="1577"/>
                  <a:pt x="2925" y="1577"/>
                  <a:pt x="2925" y="1577"/>
                </a:cubicBezTo>
                <a:lnTo>
                  <a:pt x="2924" y="1578"/>
                </a:lnTo>
                <a:close/>
                <a:moveTo>
                  <a:pt x="2636" y="1317"/>
                </a:moveTo>
                <a:cubicBezTo>
                  <a:pt x="2637" y="1321"/>
                  <a:pt x="2637" y="1321"/>
                  <a:pt x="2637" y="1321"/>
                </a:cubicBezTo>
                <a:cubicBezTo>
                  <a:pt x="2638" y="1318"/>
                  <a:pt x="2638" y="1318"/>
                  <a:pt x="2638" y="1318"/>
                </a:cubicBezTo>
                <a:cubicBezTo>
                  <a:pt x="2637" y="1315"/>
                  <a:pt x="2637" y="1315"/>
                  <a:pt x="2637" y="1315"/>
                </a:cubicBezTo>
                <a:lnTo>
                  <a:pt x="2636" y="1317"/>
                </a:lnTo>
                <a:close/>
                <a:moveTo>
                  <a:pt x="2638" y="1312"/>
                </a:moveTo>
                <a:cubicBezTo>
                  <a:pt x="2638" y="1309"/>
                  <a:pt x="2638" y="1309"/>
                  <a:pt x="2638" y="1309"/>
                </a:cubicBezTo>
                <a:cubicBezTo>
                  <a:pt x="2637" y="1313"/>
                  <a:pt x="2637" y="1313"/>
                  <a:pt x="2637" y="1313"/>
                </a:cubicBezTo>
                <a:cubicBezTo>
                  <a:pt x="2637" y="1313"/>
                  <a:pt x="2638" y="1312"/>
                  <a:pt x="2638" y="1312"/>
                </a:cubicBezTo>
                <a:close/>
                <a:moveTo>
                  <a:pt x="2668" y="1261"/>
                </a:moveTo>
                <a:cubicBezTo>
                  <a:pt x="2669" y="1260"/>
                  <a:pt x="2669" y="1260"/>
                  <a:pt x="2669" y="1260"/>
                </a:cubicBezTo>
                <a:cubicBezTo>
                  <a:pt x="2669" y="1257"/>
                  <a:pt x="2669" y="1257"/>
                  <a:pt x="2669" y="1257"/>
                </a:cubicBezTo>
                <a:cubicBezTo>
                  <a:pt x="2667" y="1260"/>
                  <a:pt x="2667" y="1260"/>
                  <a:pt x="2667" y="1260"/>
                </a:cubicBezTo>
                <a:lnTo>
                  <a:pt x="2668" y="1261"/>
                </a:lnTo>
                <a:close/>
                <a:moveTo>
                  <a:pt x="2783" y="633"/>
                </a:moveTo>
                <a:cubicBezTo>
                  <a:pt x="2782" y="633"/>
                  <a:pt x="2782" y="633"/>
                  <a:pt x="2782" y="633"/>
                </a:cubicBezTo>
                <a:cubicBezTo>
                  <a:pt x="2781" y="635"/>
                  <a:pt x="2781" y="635"/>
                  <a:pt x="2781" y="635"/>
                </a:cubicBezTo>
                <a:cubicBezTo>
                  <a:pt x="2781" y="636"/>
                  <a:pt x="2781" y="636"/>
                  <a:pt x="2781" y="636"/>
                </a:cubicBezTo>
                <a:cubicBezTo>
                  <a:pt x="2782" y="638"/>
                  <a:pt x="2782" y="638"/>
                  <a:pt x="2782" y="638"/>
                </a:cubicBezTo>
                <a:cubicBezTo>
                  <a:pt x="2783" y="637"/>
                  <a:pt x="2783" y="637"/>
                  <a:pt x="2783" y="637"/>
                </a:cubicBezTo>
                <a:cubicBezTo>
                  <a:pt x="2784" y="635"/>
                  <a:pt x="2784" y="635"/>
                  <a:pt x="2784" y="635"/>
                </a:cubicBezTo>
                <a:cubicBezTo>
                  <a:pt x="2783" y="634"/>
                  <a:pt x="2783" y="634"/>
                  <a:pt x="2783" y="634"/>
                </a:cubicBezTo>
                <a:lnTo>
                  <a:pt x="2783" y="633"/>
                </a:lnTo>
                <a:close/>
                <a:moveTo>
                  <a:pt x="824" y="1635"/>
                </a:moveTo>
                <a:cubicBezTo>
                  <a:pt x="825" y="1634"/>
                  <a:pt x="825" y="1634"/>
                  <a:pt x="825" y="1634"/>
                </a:cubicBezTo>
                <a:cubicBezTo>
                  <a:pt x="826" y="1634"/>
                  <a:pt x="826" y="1634"/>
                  <a:pt x="826" y="1634"/>
                </a:cubicBezTo>
                <a:cubicBezTo>
                  <a:pt x="826" y="1633"/>
                  <a:pt x="826" y="1633"/>
                  <a:pt x="826" y="1633"/>
                </a:cubicBezTo>
                <a:cubicBezTo>
                  <a:pt x="823" y="1631"/>
                  <a:pt x="823" y="1631"/>
                  <a:pt x="823" y="1631"/>
                </a:cubicBezTo>
                <a:cubicBezTo>
                  <a:pt x="822" y="1631"/>
                  <a:pt x="822" y="1631"/>
                  <a:pt x="822" y="1631"/>
                </a:cubicBezTo>
                <a:cubicBezTo>
                  <a:pt x="821" y="1630"/>
                  <a:pt x="821" y="1630"/>
                  <a:pt x="821" y="1630"/>
                </a:cubicBezTo>
                <a:cubicBezTo>
                  <a:pt x="820" y="1630"/>
                  <a:pt x="820" y="1630"/>
                  <a:pt x="820" y="1630"/>
                </a:cubicBezTo>
                <a:cubicBezTo>
                  <a:pt x="821" y="1632"/>
                  <a:pt x="821" y="1632"/>
                  <a:pt x="821" y="1632"/>
                </a:cubicBezTo>
                <a:cubicBezTo>
                  <a:pt x="820" y="1634"/>
                  <a:pt x="820" y="1634"/>
                  <a:pt x="820" y="1634"/>
                </a:cubicBezTo>
                <a:cubicBezTo>
                  <a:pt x="819" y="1635"/>
                  <a:pt x="819" y="1635"/>
                  <a:pt x="819" y="1635"/>
                </a:cubicBezTo>
                <a:cubicBezTo>
                  <a:pt x="820" y="1635"/>
                  <a:pt x="820" y="1635"/>
                  <a:pt x="820" y="1635"/>
                </a:cubicBezTo>
                <a:cubicBezTo>
                  <a:pt x="822" y="1635"/>
                  <a:pt x="822" y="1635"/>
                  <a:pt x="822" y="1635"/>
                </a:cubicBezTo>
                <a:lnTo>
                  <a:pt x="824" y="1635"/>
                </a:lnTo>
                <a:close/>
                <a:moveTo>
                  <a:pt x="820" y="1625"/>
                </a:moveTo>
                <a:cubicBezTo>
                  <a:pt x="820" y="1624"/>
                  <a:pt x="820" y="1624"/>
                  <a:pt x="820" y="1624"/>
                </a:cubicBezTo>
                <a:cubicBezTo>
                  <a:pt x="819" y="1623"/>
                  <a:pt x="819" y="1623"/>
                  <a:pt x="819" y="1623"/>
                </a:cubicBezTo>
                <a:cubicBezTo>
                  <a:pt x="818" y="1624"/>
                  <a:pt x="818" y="1624"/>
                  <a:pt x="818" y="1624"/>
                </a:cubicBezTo>
                <a:cubicBezTo>
                  <a:pt x="819" y="1626"/>
                  <a:pt x="819" y="1626"/>
                  <a:pt x="819" y="1626"/>
                </a:cubicBezTo>
                <a:lnTo>
                  <a:pt x="820" y="1625"/>
                </a:lnTo>
                <a:close/>
                <a:moveTo>
                  <a:pt x="823" y="1638"/>
                </a:moveTo>
                <a:cubicBezTo>
                  <a:pt x="823" y="1639"/>
                  <a:pt x="823" y="1639"/>
                  <a:pt x="823" y="1639"/>
                </a:cubicBezTo>
                <a:cubicBezTo>
                  <a:pt x="823" y="1639"/>
                  <a:pt x="823" y="1639"/>
                  <a:pt x="823" y="1639"/>
                </a:cubicBezTo>
                <a:cubicBezTo>
                  <a:pt x="823" y="1640"/>
                  <a:pt x="823" y="1640"/>
                  <a:pt x="823" y="1640"/>
                </a:cubicBezTo>
                <a:cubicBezTo>
                  <a:pt x="822" y="1641"/>
                  <a:pt x="822" y="1641"/>
                  <a:pt x="822" y="1641"/>
                </a:cubicBezTo>
                <a:cubicBezTo>
                  <a:pt x="823" y="1642"/>
                  <a:pt x="823" y="1642"/>
                  <a:pt x="823" y="1642"/>
                </a:cubicBezTo>
                <a:cubicBezTo>
                  <a:pt x="824" y="1643"/>
                  <a:pt x="824" y="1643"/>
                  <a:pt x="824" y="1643"/>
                </a:cubicBezTo>
                <a:cubicBezTo>
                  <a:pt x="825" y="1643"/>
                  <a:pt x="825" y="1643"/>
                  <a:pt x="825" y="1643"/>
                </a:cubicBezTo>
                <a:cubicBezTo>
                  <a:pt x="824" y="1642"/>
                  <a:pt x="824" y="1642"/>
                  <a:pt x="824" y="1642"/>
                </a:cubicBezTo>
                <a:cubicBezTo>
                  <a:pt x="825" y="1641"/>
                  <a:pt x="825" y="1641"/>
                  <a:pt x="825" y="1641"/>
                </a:cubicBezTo>
                <a:cubicBezTo>
                  <a:pt x="825" y="1639"/>
                  <a:pt x="825" y="1639"/>
                  <a:pt x="825" y="1639"/>
                </a:cubicBezTo>
                <a:cubicBezTo>
                  <a:pt x="824" y="1638"/>
                  <a:pt x="824" y="1638"/>
                  <a:pt x="824" y="1638"/>
                </a:cubicBezTo>
                <a:lnTo>
                  <a:pt x="823" y="1638"/>
                </a:lnTo>
                <a:close/>
                <a:moveTo>
                  <a:pt x="828" y="1642"/>
                </a:moveTo>
                <a:cubicBezTo>
                  <a:pt x="828" y="1641"/>
                  <a:pt x="828" y="1641"/>
                  <a:pt x="828" y="1641"/>
                </a:cubicBezTo>
                <a:cubicBezTo>
                  <a:pt x="827" y="1640"/>
                  <a:pt x="827" y="1640"/>
                  <a:pt x="827" y="1640"/>
                </a:cubicBezTo>
                <a:cubicBezTo>
                  <a:pt x="826" y="1639"/>
                  <a:pt x="826" y="1639"/>
                  <a:pt x="826" y="1639"/>
                </a:cubicBezTo>
                <a:cubicBezTo>
                  <a:pt x="826" y="1639"/>
                  <a:pt x="826" y="1639"/>
                  <a:pt x="826" y="1639"/>
                </a:cubicBezTo>
                <a:cubicBezTo>
                  <a:pt x="825" y="1640"/>
                  <a:pt x="825" y="1640"/>
                  <a:pt x="825" y="1640"/>
                </a:cubicBezTo>
                <a:cubicBezTo>
                  <a:pt x="826" y="1642"/>
                  <a:pt x="826" y="1642"/>
                  <a:pt x="826" y="1642"/>
                </a:cubicBezTo>
                <a:cubicBezTo>
                  <a:pt x="826" y="1642"/>
                  <a:pt x="826" y="1642"/>
                  <a:pt x="826" y="1642"/>
                </a:cubicBezTo>
                <a:cubicBezTo>
                  <a:pt x="826" y="1643"/>
                  <a:pt x="826" y="1643"/>
                  <a:pt x="826" y="1643"/>
                </a:cubicBezTo>
                <a:cubicBezTo>
                  <a:pt x="827" y="1643"/>
                  <a:pt x="827" y="1643"/>
                  <a:pt x="827" y="1643"/>
                </a:cubicBezTo>
                <a:lnTo>
                  <a:pt x="828" y="1642"/>
                </a:lnTo>
                <a:close/>
                <a:moveTo>
                  <a:pt x="827" y="1645"/>
                </a:moveTo>
                <a:cubicBezTo>
                  <a:pt x="827" y="1647"/>
                  <a:pt x="827" y="1647"/>
                  <a:pt x="827" y="1647"/>
                </a:cubicBezTo>
                <a:cubicBezTo>
                  <a:pt x="827" y="1648"/>
                  <a:pt x="827" y="1648"/>
                  <a:pt x="827" y="1648"/>
                </a:cubicBezTo>
                <a:cubicBezTo>
                  <a:pt x="827" y="1648"/>
                  <a:pt x="827" y="1648"/>
                  <a:pt x="827" y="1648"/>
                </a:cubicBezTo>
                <a:cubicBezTo>
                  <a:pt x="828" y="1648"/>
                  <a:pt x="828" y="1648"/>
                  <a:pt x="828" y="1648"/>
                </a:cubicBezTo>
                <a:cubicBezTo>
                  <a:pt x="829" y="1645"/>
                  <a:pt x="829" y="1645"/>
                  <a:pt x="829" y="1645"/>
                </a:cubicBezTo>
                <a:cubicBezTo>
                  <a:pt x="828" y="1644"/>
                  <a:pt x="828" y="1644"/>
                  <a:pt x="828" y="1644"/>
                </a:cubicBezTo>
                <a:lnTo>
                  <a:pt x="827" y="1645"/>
                </a:lnTo>
                <a:close/>
                <a:moveTo>
                  <a:pt x="821" y="1625"/>
                </a:moveTo>
                <a:cubicBezTo>
                  <a:pt x="820" y="1625"/>
                  <a:pt x="820" y="1625"/>
                  <a:pt x="820" y="1625"/>
                </a:cubicBezTo>
                <a:cubicBezTo>
                  <a:pt x="821" y="1628"/>
                  <a:pt x="821" y="1628"/>
                  <a:pt x="821" y="1628"/>
                </a:cubicBezTo>
                <a:cubicBezTo>
                  <a:pt x="823" y="1630"/>
                  <a:pt x="823" y="1630"/>
                  <a:pt x="823" y="1630"/>
                </a:cubicBezTo>
                <a:cubicBezTo>
                  <a:pt x="825" y="1630"/>
                  <a:pt x="825" y="1630"/>
                  <a:pt x="825" y="1630"/>
                </a:cubicBezTo>
                <a:cubicBezTo>
                  <a:pt x="826" y="1629"/>
                  <a:pt x="826" y="1629"/>
                  <a:pt x="826" y="1629"/>
                </a:cubicBezTo>
                <a:cubicBezTo>
                  <a:pt x="824" y="1626"/>
                  <a:pt x="824" y="1626"/>
                  <a:pt x="824" y="1626"/>
                </a:cubicBezTo>
                <a:lnTo>
                  <a:pt x="821" y="1625"/>
                </a:lnTo>
                <a:close/>
                <a:moveTo>
                  <a:pt x="819" y="1616"/>
                </a:moveTo>
                <a:cubicBezTo>
                  <a:pt x="817" y="1616"/>
                  <a:pt x="817" y="1616"/>
                  <a:pt x="817" y="1616"/>
                </a:cubicBezTo>
                <a:cubicBezTo>
                  <a:pt x="816" y="1616"/>
                  <a:pt x="816" y="1616"/>
                  <a:pt x="816" y="1616"/>
                </a:cubicBezTo>
                <a:cubicBezTo>
                  <a:pt x="815" y="1616"/>
                  <a:pt x="815" y="1616"/>
                  <a:pt x="815" y="1616"/>
                </a:cubicBezTo>
                <a:cubicBezTo>
                  <a:pt x="815" y="1617"/>
                  <a:pt x="815" y="1617"/>
                  <a:pt x="815" y="1617"/>
                </a:cubicBezTo>
                <a:cubicBezTo>
                  <a:pt x="815" y="1618"/>
                  <a:pt x="815" y="1618"/>
                  <a:pt x="815" y="1618"/>
                </a:cubicBezTo>
                <a:cubicBezTo>
                  <a:pt x="816" y="1619"/>
                  <a:pt x="816" y="1619"/>
                  <a:pt x="816" y="1619"/>
                </a:cubicBezTo>
                <a:cubicBezTo>
                  <a:pt x="816" y="1621"/>
                  <a:pt x="816" y="1621"/>
                  <a:pt x="816" y="1621"/>
                </a:cubicBezTo>
                <a:cubicBezTo>
                  <a:pt x="817" y="1621"/>
                  <a:pt x="817" y="1621"/>
                  <a:pt x="817" y="1621"/>
                </a:cubicBezTo>
                <a:cubicBezTo>
                  <a:pt x="818" y="1620"/>
                  <a:pt x="818" y="1620"/>
                  <a:pt x="818" y="1620"/>
                </a:cubicBezTo>
                <a:cubicBezTo>
                  <a:pt x="818" y="1618"/>
                  <a:pt x="818" y="1618"/>
                  <a:pt x="818" y="1618"/>
                </a:cubicBezTo>
                <a:lnTo>
                  <a:pt x="819" y="1616"/>
                </a:lnTo>
                <a:close/>
                <a:moveTo>
                  <a:pt x="815" y="1624"/>
                </a:moveTo>
                <a:cubicBezTo>
                  <a:pt x="816" y="1623"/>
                  <a:pt x="816" y="1623"/>
                  <a:pt x="816" y="1623"/>
                </a:cubicBezTo>
                <a:cubicBezTo>
                  <a:pt x="817" y="1622"/>
                  <a:pt x="817" y="1622"/>
                  <a:pt x="817" y="1622"/>
                </a:cubicBezTo>
                <a:cubicBezTo>
                  <a:pt x="815" y="1622"/>
                  <a:pt x="815" y="1622"/>
                  <a:pt x="815" y="1622"/>
                </a:cubicBezTo>
                <a:lnTo>
                  <a:pt x="815" y="1624"/>
                </a:lnTo>
                <a:close/>
                <a:moveTo>
                  <a:pt x="831" y="1643"/>
                </a:moveTo>
                <a:cubicBezTo>
                  <a:pt x="831" y="1642"/>
                  <a:pt x="831" y="1642"/>
                  <a:pt x="831" y="1642"/>
                </a:cubicBezTo>
                <a:cubicBezTo>
                  <a:pt x="829" y="1641"/>
                  <a:pt x="829" y="1641"/>
                  <a:pt x="829" y="1641"/>
                </a:cubicBezTo>
                <a:cubicBezTo>
                  <a:pt x="829" y="1642"/>
                  <a:pt x="829" y="1642"/>
                  <a:pt x="829" y="1642"/>
                </a:cubicBezTo>
                <a:cubicBezTo>
                  <a:pt x="831" y="1643"/>
                  <a:pt x="831" y="1643"/>
                  <a:pt x="831" y="1643"/>
                </a:cubicBezTo>
                <a:close/>
                <a:moveTo>
                  <a:pt x="832" y="1639"/>
                </a:moveTo>
                <a:cubicBezTo>
                  <a:pt x="831" y="1637"/>
                  <a:pt x="831" y="1637"/>
                  <a:pt x="831" y="1637"/>
                </a:cubicBezTo>
                <a:cubicBezTo>
                  <a:pt x="830" y="1637"/>
                  <a:pt x="830" y="1637"/>
                  <a:pt x="830" y="1637"/>
                </a:cubicBezTo>
                <a:cubicBezTo>
                  <a:pt x="830" y="1640"/>
                  <a:pt x="830" y="1640"/>
                  <a:pt x="830" y="1640"/>
                </a:cubicBezTo>
                <a:cubicBezTo>
                  <a:pt x="831" y="1641"/>
                  <a:pt x="831" y="1641"/>
                  <a:pt x="831" y="1641"/>
                </a:cubicBezTo>
                <a:cubicBezTo>
                  <a:pt x="834" y="1643"/>
                  <a:pt x="834" y="1643"/>
                  <a:pt x="834" y="1643"/>
                </a:cubicBezTo>
                <a:cubicBezTo>
                  <a:pt x="834" y="1642"/>
                  <a:pt x="834" y="1642"/>
                  <a:pt x="834" y="1642"/>
                </a:cubicBezTo>
                <a:cubicBezTo>
                  <a:pt x="834" y="1641"/>
                  <a:pt x="834" y="1641"/>
                  <a:pt x="834" y="1641"/>
                </a:cubicBezTo>
                <a:lnTo>
                  <a:pt x="832" y="1639"/>
                </a:lnTo>
                <a:close/>
                <a:moveTo>
                  <a:pt x="849" y="1674"/>
                </a:moveTo>
                <a:cubicBezTo>
                  <a:pt x="850" y="1674"/>
                  <a:pt x="850" y="1674"/>
                  <a:pt x="850" y="1674"/>
                </a:cubicBezTo>
                <a:cubicBezTo>
                  <a:pt x="851" y="1675"/>
                  <a:pt x="851" y="1675"/>
                  <a:pt x="851" y="1675"/>
                </a:cubicBezTo>
                <a:cubicBezTo>
                  <a:pt x="852" y="1674"/>
                  <a:pt x="852" y="1674"/>
                  <a:pt x="852" y="1674"/>
                </a:cubicBezTo>
                <a:cubicBezTo>
                  <a:pt x="851" y="1673"/>
                  <a:pt x="851" y="1673"/>
                  <a:pt x="851" y="1673"/>
                </a:cubicBezTo>
                <a:lnTo>
                  <a:pt x="849" y="1674"/>
                </a:lnTo>
                <a:close/>
                <a:moveTo>
                  <a:pt x="844" y="1665"/>
                </a:moveTo>
                <a:cubicBezTo>
                  <a:pt x="846" y="1665"/>
                  <a:pt x="846" y="1665"/>
                  <a:pt x="846" y="1665"/>
                </a:cubicBezTo>
                <a:cubicBezTo>
                  <a:pt x="847" y="1664"/>
                  <a:pt x="847" y="1664"/>
                  <a:pt x="847" y="1664"/>
                </a:cubicBezTo>
                <a:cubicBezTo>
                  <a:pt x="846" y="1664"/>
                  <a:pt x="846" y="1664"/>
                  <a:pt x="846" y="1664"/>
                </a:cubicBezTo>
                <a:cubicBezTo>
                  <a:pt x="845" y="1664"/>
                  <a:pt x="845" y="1664"/>
                  <a:pt x="845" y="1664"/>
                </a:cubicBezTo>
                <a:cubicBezTo>
                  <a:pt x="843" y="1662"/>
                  <a:pt x="843" y="1662"/>
                  <a:pt x="843" y="1662"/>
                </a:cubicBezTo>
                <a:cubicBezTo>
                  <a:pt x="842" y="1661"/>
                  <a:pt x="842" y="1661"/>
                  <a:pt x="842" y="1661"/>
                </a:cubicBezTo>
                <a:cubicBezTo>
                  <a:pt x="840" y="1661"/>
                  <a:pt x="840" y="1661"/>
                  <a:pt x="840" y="1661"/>
                </a:cubicBezTo>
                <a:cubicBezTo>
                  <a:pt x="839" y="1660"/>
                  <a:pt x="839" y="1660"/>
                  <a:pt x="839" y="1660"/>
                </a:cubicBezTo>
                <a:cubicBezTo>
                  <a:pt x="837" y="1660"/>
                  <a:pt x="837" y="1660"/>
                  <a:pt x="837" y="1660"/>
                </a:cubicBezTo>
                <a:cubicBezTo>
                  <a:pt x="835" y="1660"/>
                  <a:pt x="835" y="1660"/>
                  <a:pt x="835" y="1660"/>
                </a:cubicBezTo>
                <a:cubicBezTo>
                  <a:pt x="834" y="1659"/>
                  <a:pt x="834" y="1659"/>
                  <a:pt x="834" y="1659"/>
                </a:cubicBezTo>
                <a:cubicBezTo>
                  <a:pt x="832" y="1656"/>
                  <a:pt x="832" y="1656"/>
                  <a:pt x="832" y="1656"/>
                </a:cubicBezTo>
                <a:cubicBezTo>
                  <a:pt x="830" y="1655"/>
                  <a:pt x="830" y="1655"/>
                  <a:pt x="830" y="1655"/>
                </a:cubicBezTo>
                <a:cubicBezTo>
                  <a:pt x="830" y="1656"/>
                  <a:pt x="830" y="1656"/>
                  <a:pt x="830" y="1656"/>
                </a:cubicBezTo>
                <a:cubicBezTo>
                  <a:pt x="830" y="1658"/>
                  <a:pt x="830" y="1658"/>
                  <a:pt x="830" y="1658"/>
                </a:cubicBezTo>
                <a:cubicBezTo>
                  <a:pt x="832" y="1661"/>
                  <a:pt x="832" y="1661"/>
                  <a:pt x="832" y="1661"/>
                </a:cubicBezTo>
                <a:cubicBezTo>
                  <a:pt x="834" y="1661"/>
                  <a:pt x="834" y="1661"/>
                  <a:pt x="834" y="1661"/>
                </a:cubicBezTo>
                <a:cubicBezTo>
                  <a:pt x="837" y="1662"/>
                  <a:pt x="837" y="1662"/>
                  <a:pt x="837" y="1662"/>
                </a:cubicBezTo>
                <a:cubicBezTo>
                  <a:pt x="838" y="1664"/>
                  <a:pt x="838" y="1664"/>
                  <a:pt x="838" y="1664"/>
                </a:cubicBezTo>
                <a:cubicBezTo>
                  <a:pt x="839" y="1664"/>
                  <a:pt x="839" y="1664"/>
                  <a:pt x="839" y="1664"/>
                </a:cubicBezTo>
                <a:cubicBezTo>
                  <a:pt x="840" y="1663"/>
                  <a:pt x="840" y="1663"/>
                  <a:pt x="840" y="1663"/>
                </a:cubicBezTo>
                <a:cubicBezTo>
                  <a:pt x="843" y="1664"/>
                  <a:pt x="843" y="1664"/>
                  <a:pt x="843" y="1664"/>
                </a:cubicBezTo>
                <a:lnTo>
                  <a:pt x="844" y="1665"/>
                </a:lnTo>
                <a:close/>
                <a:moveTo>
                  <a:pt x="831" y="1646"/>
                </a:moveTo>
                <a:cubicBezTo>
                  <a:pt x="832" y="1647"/>
                  <a:pt x="832" y="1647"/>
                  <a:pt x="832" y="1647"/>
                </a:cubicBezTo>
                <a:cubicBezTo>
                  <a:pt x="834" y="1649"/>
                  <a:pt x="834" y="1649"/>
                  <a:pt x="834" y="1649"/>
                </a:cubicBezTo>
                <a:cubicBezTo>
                  <a:pt x="835" y="1649"/>
                  <a:pt x="835" y="1649"/>
                  <a:pt x="835" y="1649"/>
                </a:cubicBezTo>
                <a:cubicBezTo>
                  <a:pt x="835" y="1648"/>
                  <a:pt x="835" y="1648"/>
                  <a:pt x="835" y="1648"/>
                </a:cubicBezTo>
                <a:cubicBezTo>
                  <a:pt x="832" y="1645"/>
                  <a:pt x="832" y="1645"/>
                  <a:pt x="832" y="1645"/>
                </a:cubicBezTo>
                <a:lnTo>
                  <a:pt x="831" y="1646"/>
                </a:lnTo>
                <a:close/>
                <a:moveTo>
                  <a:pt x="834" y="1645"/>
                </a:moveTo>
                <a:cubicBezTo>
                  <a:pt x="834" y="1644"/>
                  <a:pt x="834" y="1644"/>
                  <a:pt x="834" y="1644"/>
                </a:cubicBezTo>
                <a:cubicBezTo>
                  <a:pt x="832" y="1644"/>
                  <a:pt x="832" y="1644"/>
                  <a:pt x="832" y="1644"/>
                </a:cubicBezTo>
                <a:cubicBezTo>
                  <a:pt x="832" y="1644"/>
                  <a:pt x="832" y="1644"/>
                  <a:pt x="832" y="1644"/>
                </a:cubicBezTo>
                <a:cubicBezTo>
                  <a:pt x="833" y="1646"/>
                  <a:pt x="833" y="1646"/>
                  <a:pt x="833" y="1646"/>
                </a:cubicBezTo>
                <a:lnTo>
                  <a:pt x="834" y="1645"/>
                </a:lnTo>
                <a:close/>
                <a:moveTo>
                  <a:pt x="826" y="1625"/>
                </a:moveTo>
                <a:cubicBezTo>
                  <a:pt x="824" y="1622"/>
                  <a:pt x="824" y="1622"/>
                  <a:pt x="824" y="1622"/>
                </a:cubicBezTo>
                <a:cubicBezTo>
                  <a:pt x="823" y="1622"/>
                  <a:pt x="823" y="1622"/>
                  <a:pt x="823" y="1622"/>
                </a:cubicBezTo>
                <a:cubicBezTo>
                  <a:pt x="821" y="1621"/>
                  <a:pt x="821" y="1621"/>
                  <a:pt x="821" y="1621"/>
                </a:cubicBezTo>
                <a:cubicBezTo>
                  <a:pt x="821" y="1621"/>
                  <a:pt x="821" y="1621"/>
                  <a:pt x="821" y="1621"/>
                </a:cubicBezTo>
                <a:cubicBezTo>
                  <a:pt x="821" y="1622"/>
                  <a:pt x="821" y="1622"/>
                  <a:pt x="821" y="1622"/>
                </a:cubicBezTo>
                <a:cubicBezTo>
                  <a:pt x="822" y="1624"/>
                  <a:pt x="822" y="1624"/>
                  <a:pt x="822" y="1624"/>
                </a:cubicBezTo>
                <a:cubicBezTo>
                  <a:pt x="824" y="1625"/>
                  <a:pt x="824" y="1625"/>
                  <a:pt x="824" y="1625"/>
                </a:cubicBezTo>
                <a:cubicBezTo>
                  <a:pt x="827" y="1627"/>
                  <a:pt x="827" y="1627"/>
                  <a:pt x="827" y="1627"/>
                </a:cubicBezTo>
                <a:lnTo>
                  <a:pt x="826" y="1625"/>
                </a:lnTo>
                <a:close/>
                <a:moveTo>
                  <a:pt x="833" y="1651"/>
                </a:moveTo>
                <a:cubicBezTo>
                  <a:pt x="832" y="1651"/>
                  <a:pt x="832" y="1651"/>
                  <a:pt x="832" y="1651"/>
                </a:cubicBezTo>
                <a:cubicBezTo>
                  <a:pt x="832" y="1652"/>
                  <a:pt x="832" y="1652"/>
                  <a:pt x="832" y="1652"/>
                </a:cubicBezTo>
                <a:cubicBezTo>
                  <a:pt x="834" y="1652"/>
                  <a:pt x="834" y="1652"/>
                  <a:pt x="834" y="1652"/>
                </a:cubicBezTo>
                <a:cubicBezTo>
                  <a:pt x="835" y="1653"/>
                  <a:pt x="835" y="1653"/>
                  <a:pt x="835" y="1653"/>
                </a:cubicBezTo>
                <a:cubicBezTo>
                  <a:pt x="836" y="1654"/>
                  <a:pt x="836" y="1654"/>
                  <a:pt x="836" y="1654"/>
                </a:cubicBezTo>
                <a:cubicBezTo>
                  <a:pt x="837" y="1654"/>
                  <a:pt x="837" y="1654"/>
                  <a:pt x="837" y="1654"/>
                </a:cubicBezTo>
                <a:cubicBezTo>
                  <a:pt x="838" y="1652"/>
                  <a:pt x="838" y="1652"/>
                  <a:pt x="838" y="1652"/>
                </a:cubicBezTo>
                <a:cubicBezTo>
                  <a:pt x="837" y="1651"/>
                  <a:pt x="837" y="1651"/>
                  <a:pt x="837" y="1651"/>
                </a:cubicBezTo>
                <a:cubicBezTo>
                  <a:pt x="835" y="1651"/>
                  <a:pt x="835" y="1651"/>
                  <a:pt x="835" y="1651"/>
                </a:cubicBezTo>
                <a:lnTo>
                  <a:pt x="833" y="1651"/>
                </a:lnTo>
                <a:close/>
                <a:moveTo>
                  <a:pt x="836" y="1665"/>
                </a:moveTo>
                <a:cubicBezTo>
                  <a:pt x="835" y="1666"/>
                  <a:pt x="835" y="1666"/>
                  <a:pt x="835" y="1666"/>
                </a:cubicBezTo>
                <a:cubicBezTo>
                  <a:pt x="837" y="1666"/>
                  <a:pt x="837" y="1666"/>
                  <a:pt x="837" y="1666"/>
                </a:cubicBezTo>
                <a:cubicBezTo>
                  <a:pt x="837" y="1666"/>
                  <a:pt x="836" y="1665"/>
                  <a:pt x="836" y="1665"/>
                </a:cubicBezTo>
                <a:close/>
                <a:moveTo>
                  <a:pt x="305" y="284"/>
                </a:moveTo>
                <a:cubicBezTo>
                  <a:pt x="304" y="283"/>
                  <a:pt x="304" y="283"/>
                  <a:pt x="304" y="283"/>
                </a:cubicBezTo>
                <a:cubicBezTo>
                  <a:pt x="303" y="284"/>
                  <a:pt x="303" y="284"/>
                  <a:pt x="303" y="284"/>
                </a:cubicBezTo>
                <a:cubicBezTo>
                  <a:pt x="303" y="283"/>
                  <a:pt x="303" y="283"/>
                  <a:pt x="303" y="283"/>
                </a:cubicBezTo>
                <a:cubicBezTo>
                  <a:pt x="304" y="281"/>
                  <a:pt x="304" y="281"/>
                  <a:pt x="304" y="281"/>
                </a:cubicBezTo>
                <a:cubicBezTo>
                  <a:pt x="302" y="279"/>
                  <a:pt x="302" y="279"/>
                  <a:pt x="302" y="279"/>
                </a:cubicBezTo>
                <a:cubicBezTo>
                  <a:pt x="301" y="279"/>
                  <a:pt x="301" y="279"/>
                  <a:pt x="301" y="279"/>
                </a:cubicBezTo>
                <a:cubicBezTo>
                  <a:pt x="301" y="281"/>
                  <a:pt x="301" y="281"/>
                  <a:pt x="301" y="281"/>
                </a:cubicBezTo>
                <a:cubicBezTo>
                  <a:pt x="299" y="280"/>
                  <a:pt x="299" y="280"/>
                  <a:pt x="299" y="280"/>
                </a:cubicBezTo>
                <a:cubicBezTo>
                  <a:pt x="298" y="281"/>
                  <a:pt x="298" y="281"/>
                  <a:pt x="298" y="281"/>
                </a:cubicBezTo>
                <a:cubicBezTo>
                  <a:pt x="298" y="283"/>
                  <a:pt x="298" y="283"/>
                  <a:pt x="298" y="283"/>
                </a:cubicBezTo>
                <a:cubicBezTo>
                  <a:pt x="299" y="284"/>
                  <a:pt x="299" y="284"/>
                  <a:pt x="299" y="284"/>
                </a:cubicBezTo>
                <a:cubicBezTo>
                  <a:pt x="298" y="286"/>
                  <a:pt x="298" y="286"/>
                  <a:pt x="298" y="286"/>
                </a:cubicBezTo>
                <a:cubicBezTo>
                  <a:pt x="299" y="287"/>
                  <a:pt x="299" y="287"/>
                  <a:pt x="299" y="287"/>
                </a:cubicBezTo>
                <a:cubicBezTo>
                  <a:pt x="299" y="289"/>
                  <a:pt x="299" y="289"/>
                  <a:pt x="299" y="289"/>
                </a:cubicBezTo>
                <a:cubicBezTo>
                  <a:pt x="298" y="290"/>
                  <a:pt x="298" y="290"/>
                  <a:pt x="298" y="290"/>
                </a:cubicBezTo>
                <a:cubicBezTo>
                  <a:pt x="297" y="289"/>
                  <a:pt x="297" y="289"/>
                  <a:pt x="297" y="289"/>
                </a:cubicBezTo>
                <a:cubicBezTo>
                  <a:pt x="296" y="290"/>
                  <a:pt x="296" y="290"/>
                  <a:pt x="296" y="290"/>
                </a:cubicBezTo>
                <a:cubicBezTo>
                  <a:pt x="296" y="291"/>
                  <a:pt x="296" y="291"/>
                  <a:pt x="296" y="291"/>
                </a:cubicBezTo>
                <a:cubicBezTo>
                  <a:pt x="296" y="293"/>
                  <a:pt x="296" y="293"/>
                  <a:pt x="296" y="293"/>
                </a:cubicBezTo>
                <a:cubicBezTo>
                  <a:pt x="295" y="294"/>
                  <a:pt x="295" y="294"/>
                  <a:pt x="295" y="294"/>
                </a:cubicBezTo>
                <a:cubicBezTo>
                  <a:pt x="296" y="295"/>
                  <a:pt x="296" y="295"/>
                  <a:pt x="296" y="295"/>
                </a:cubicBezTo>
                <a:cubicBezTo>
                  <a:pt x="297" y="292"/>
                  <a:pt x="297" y="292"/>
                  <a:pt x="297" y="292"/>
                </a:cubicBezTo>
                <a:cubicBezTo>
                  <a:pt x="298" y="293"/>
                  <a:pt x="298" y="293"/>
                  <a:pt x="298" y="293"/>
                </a:cubicBezTo>
                <a:cubicBezTo>
                  <a:pt x="297" y="295"/>
                  <a:pt x="297" y="295"/>
                  <a:pt x="297" y="295"/>
                </a:cubicBezTo>
                <a:cubicBezTo>
                  <a:pt x="299" y="294"/>
                  <a:pt x="299" y="294"/>
                  <a:pt x="299" y="294"/>
                </a:cubicBezTo>
                <a:cubicBezTo>
                  <a:pt x="300" y="293"/>
                  <a:pt x="300" y="293"/>
                  <a:pt x="300" y="293"/>
                </a:cubicBezTo>
                <a:cubicBezTo>
                  <a:pt x="300" y="291"/>
                  <a:pt x="300" y="291"/>
                  <a:pt x="300" y="291"/>
                </a:cubicBezTo>
                <a:cubicBezTo>
                  <a:pt x="303" y="288"/>
                  <a:pt x="303" y="288"/>
                  <a:pt x="303" y="288"/>
                </a:cubicBezTo>
                <a:lnTo>
                  <a:pt x="305" y="284"/>
                </a:lnTo>
                <a:close/>
                <a:moveTo>
                  <a:pt x="299" y="270"/>
                </a:moveTo>
                <a:cubicBezTo>
                  <a:pt x="298" y="270"/>
                  <a:pt x="298" y="270"/>
                  <a:pt x="298" y="270"/>
                </a:cubicBezTo>
                <a:cubicBezTo>
                  <a:pt x="299" y="271"/>
                  <a:pt x="299" y="271"/>
                  <a:pt x="299" y="271"/>
                </a:cubicBezTo>
                <a:lnTo>
                  <a:pt x="299" y="270"/>
                </a:lnTo>
                <a:close/>
                <a:moveTo>
                  <a:pt x="302" y="297"/>
                </a:moveTo>
                <a:cubicBezTo>
                  <a:pt x="304" y="296"/>
                  <a:pt x="304" y="296"/>
                  <a:pt x="304" y="296"/>
                </a:cubicBezTo>
                <a:cubicBezTo>
                  <a:pt x="302" y="295"/>
                  <a:pt x="302" y="295"/>
                  <a:pt x="302" y="295"/>
                </a:cubicBezTo>
                <a:cubicBezTo>
                  <a:pt x="301" y="295"/>
                  <a:pt x="301" y="295"/>
                  <a:pt x="301" y="295"/>
                </a:cubicBezTo>
                <a:cubicBezTo>
                  <a:pt x="299" y="298"/>
                  <a:pt x="299" y="298"/>
                  <a:pt x="299" y="298"/>
                </a:cubicBezTo>
                <a:cubicBezTo>
                  <a:pt x="300" y="298"/>
                  <a:pt x="300" y="298"/>
                  <a:pt x="300" y="298"/>
                </a:cubicBezTo>
                <a:cubicBezTo>
                  <a:pt x="301" y="297"/>
                  <a:pt x="301" y="297"/>
                  <a:pt x="301" y="297"/>
                </a:cubicBezTo>
                <a:lnTo>
                  <a:pt x="302" y="297"/>
                </a:lnTo>
                <a:close/>
                <a:moveTo>
                  <a:pt x="297" y="321"/>
                </a:moveTo>
                <a:cubicBezTo>
                  <a:pt x="298" y="322"/>
                  <a:pt x="298" y="322"/>
                  <a:pt x="298" y="322"/>
                </a:cubicBezTo>
                <a:cubicBezTo>
                  <a:pt x="300" y="320"/>
                  <a:pt x="300" y="320"/>
                  <a:pt x="300" y="320"/>
                </a:cubicBezTo>
                <a:cubicBezTo>
                  <a:pt x="298" y="317"/>
                  <a:pt x="298" y="317"/>
                  <a:pt x="298" y="317"/>
                </a:cubicBezTo>
                <a:cubicBezTo>
                  <a:pt x="299" y="316"/>
                  <a:pt x="299" y="316"/>
                  <a:pt x="299" y="316"/>
                </a:cubicBezTo>
                <a:cubicBezTo>
                  <a:pt x="297" y="315"/>
                  <a:pt x="297" y="315"/>
                  <a:pt x="297" y="315"/>
                </a:cubicBezTo>
                <a:cubicBezTo>
                  <a:pt x="296" y="316"/>
                  <a:pt x="296" y="316"/>
                  <a:pt x="296" y="316"/>
                </a:cubicBezTo>
                <a:cubicBezTo>
                  <a:pt x="296" y="317"/>
                  <a:pt x="296" y="317"/>
                  <a:pt x="296" y="317"/>
                </a:cubicBezTo>
                <a:cubicBezTo>
                  <a:pt x="297" y="319"/>
                  <a:pt x="297" y="319"/>
                  <a:pt x="297" y="319"/>
                </a:cubicBezTo>
                <a:lnTo>
                  <a:pt x="297" y="321"/>
                </a:lnTo>
                <a:close/>
                <a:moveTo>
                  <a:pt x="300" y="301"/>
                </a:moveTo>
                <a:cubicBezTo>
                  <a:pt x="300" y="300"/>
                  <a:pt x="300" y="300"/>
                  <a:pt x="300" y="300"/>
                </a:cubicBezTo>
                <a:cubicBezTo>
                  <a:pt x="299" y="301"/>
                  <a:pt x="299" y="301"/>
                  <a:pt x="299" y="301"/>
                </a:cubicBezTo>
                <a:cubicBezTo>
                  <a:pt x="299" y="302"/>
                  <a:pt x="299" y="302"/>
                  <a:pt x="299" y="302"/>
                </a:cubicBezTo>
                <a:lnTo>
                  <a:pt x="300" y="301"/>
                </a:lnTo>
                <a:close/>
                <a:moveTo>
                  <a:pt x="301" y="334"/>
                </a:moveTo>
                <a:cubicBezTo>
                  <a:pt x="299" y="337"/>
                  <a:pt x="299" y="337"/>
                  <a:pt x="299" y="337"/>
                </a:cubicBezTo>
                <a:cubicBezTo>
                  <a:pt x="297" y="341"/>
                  <a:pt x="297" y="341"/>
                  <a:pt x="297" y="341"/>
                </a:cubicBezTo>
                <a:cubicBezTo>
                  <a:pt x="295" y="341"/>
                  <a:pt x="295" y="341"/>
                  <a:pt x="295" y="341"/>
                </a:cubicBezTo>
                <a:cubicBezTo>
                  <a:pt x="295" y="340"/>
                  <a:pt x="295" y="340"/>
                  <a:pt x="295" y="340"/>
                </a:cubicBezTo>
                <a:cubicBezTo>
                  <a:pt x="294" y="339"/>
                  <a:pt x="294" y="339"/>
                  <a:pt x="294" y="339"/>
                </a:cubicBezTo>
                <a:cubicBezTo>
                  <a:pt x="297" y="338"/>
                  <a:pt x="297" y="338"/>
                  <a:pt x="297" y="338"/>
                </a:cubicBezTo>
                <a:cubicBezTo>
                  <a:pt x="299" y="336"/>
                  <a:pt x="299" y="336"/>
                  <a:pt x="299" y="336"/>
                </a:cubicBezTo>
                <a:cubicBezTo>
                  <a:pt x="299" y="334"/>
                  <a:pt x="299" y="334"/>
                  <a:pt x="299" y="334"/>
                </a:cubicBezTo>
                <a:cubicBezTo>
                  <a:pt x="299" y="332"/>
                  <a:pt x="299" y="332"/>
                  <a:pt x="299" y="332"/>
                </a:cubicBezTo>
                <a:cubicBezTo>
                  <a:pt x="298" y="332"/>
                  <a:pt x="298" y="332"/>
                  <a:pt x="298" y="332"/>
                </a:cubicBezTo>
                <a:cubicBezTo>
                  <a:pt x="297" y="333"/>
                  <a:pt x="297" y="333"/>
                  <a:pt x="297" y="333"/>
                </a:cubicBezTo>
                <a:cubicBezTo>
                  <a:pt x="295" y="333"/>
                  <a:pt x="295" y="333"/>
                  <a:pt x="295" y="333"/>
                </a:cubicBezTo>
                <a:cubicBezTo>
                  <a:pt x="296" y="331"/>
                  <a:pt x="296" y="331"/>
                  <a:pt x="296" y="331"/>
                </a:cubicBezTo>
                <a:cubicBezTo>
                  <a:pt x="293" y="330"/>
                  <a:pt x="293" y="330"/>
                  <a:pt x="293" y="330"/>
                </a:cubicBezTo>
                <a:cubicBezTo>
                  <a:pt x="290" y="335"/>
                  <a:pt x="290" y="335"/>
                  <a:pt x="290" y="335"/>
                </a:cubicBezTo>
                <a:cubicBezTo>
                  <a:pt x="290" y="339"/>
                  <a:pt x="290" y="339"/>
                  <a:pt x="290" y="339"/>
                </a:cubicBezTo>
                <a:cubicBezTo>
                  <a:pt x="289" y="341"/>
                  <a:pt x="289" y="341"/>
                  <a:pt x="289" y="341"/>
                </a:cubicBezTo>
                <a:cubicBezTo>
                  <a:pt x="289" y="342"/>
                  <a:pt x="289" y="342"/>
                  <a:pt x="289" y="342"/>
                </a:cubicBezTo>
                <a:cubicBezTo>
                  <a:pt x="291" y="343"/>
                  <a:pt x="291" y="343"/>
                  <a:pt x="291" y="343"/>
                </a:cubicBezTo>
                <a:cubicBezTo>
                  <a:pt x="292" y="344"/>
                  <a:pt x="292" y="344"/>
                  <a:pt x="292" y="344"/>
                </a:cubicBezTo>
                <a:cubicBezTo>
                  <a:pt x="292" y="346"/>
                  <a:pt x="292" y="346"/>
                  <a:pt x="292" y="346"/>
                </a:cubicBezTo>
                <a:cubicBezTo>
                  <a:pt x="291" y="346"/>
                  <a:pt x="291" y="346"/>
                  <a:pt x="291" y="346"/>
                </a:cubicBezTo>
                <a:cubicBezTo>
                  <a:pt x="289" y="345"/>
                  <a:pt x="289" y="345"/>
                  <a:pt x="289" y="345"/>
                </a:cubicBezTo>
                <a:cubicBezTo>
                  <a:pt x="289" y="347"/>
                  <a:pt x="289" y="347"/>
                  <a:pt x="289" y="347"/>
                </a:cubicBezTo>
                <a:cubicBezTo>
                  <a:pt x="291" y="348"/>
                  <a:pt x="291" y="348"/>
                  <a:pt x="291" y="348"/>
                </a:cubicBezTo>
                <a:cubicBezTo>
                  <a:pt x="290" y="350"/>
                  <a:pt x="290" y="350"/>
                  <a:pt x="290" y="350"/>
                </a:cubicBezTo>
                <a:cubicBezTo>
                  <a:pt x="291" y="351"/>
                  <a:pt x="291" y="351"/>
                  <a:pt x="291" y="351"/>
                </a:cubicBezTo>
                <a:cubicBezTo>
                  <a:pt x="293" y="353"/>
                  <a:pt x="293" y="353"/>
                  <a:pt x="293" y="353"/>
                </a:cubicBezTo>
                <a:cubicBezTo>
                  <a:pt x="290" y="353"/>
                  <a:pt x="290" y="353"/>
                  <a:pt x="290" y="353"/>
                </a:cubicBezTo>
                <a:cubicBezTo>
                  <a:pt x="289" y="354"/>
                  <a:pt x="289" y="354"/>
                  <a:pt x="289" y="354"/>
                </a:cubicBezTo>
                <a:cubicBezTo>
                  <a:pt x="290" y="356"/>
                  <a:pt x="290" y="356"/>
                  <a:pt x="290" y="356"/>
                </a:cubicBezTo>
                <a:cubicBezTo>
                  <a:pt x="292" y="356"/>
                  <a:pt x="292" y="356"/>
                  <a:pt x="292" y="356"/>
                </a:cubicBezTo>
                <a:cubicBezTo>
                  <a:pt x="292" y="358"/>
                  <a:pt x="292" y="358"/>
                  <a:pt x="292" y="358"/>
                </a:cubicBezTo>
                <a:cubicBezTo>
                  <a:pt x="292" y="360"/>
                  <a:pt x="292" y="360"/>
                  <a:pt x="292" y="360"/>
                </a:cubicBezTo>
                <a:cubicBezTo>
                  <a:pt x="295" y="367"/>
                  <a:pt x="295" y="367"/>
                  <a:pt x="295" y="367"/>
                </a:cubicBezTo>
                <a:cubicBezTo>
                  <a:pt x="298" y="368"/>
                  <a:pt x="298" y="368"/>
                  <a:pt x="298" y="368"/>
                </a:cubicBezTo>
                <a:cubicBezTo>
                  <a:pt x="299" y="366"/>
                  <a:pt x="299" y="366"/>
                  <a:pt x="299" y="366"/>
                </a:cubicBezTo>
                <a:cubicBezTo>
                  <a:pt x="298" y="365"/>
                  <a:pt x="298" y="365"/>
                  <a:pt x="298" y="365"/>
                </a:cubicBezTo>
                <a:cubicBezTo>
                  <a:pt x="297" y="365"/>
                  <a:pt x="297" y="365"/>
                  <a:pt x="297" y="365"/>
                </a:cubicBezTo>
                <a:cubicBezTo>
                  <a:pt x="296" y="362"/>
                  <a:pt x="296" y="362"/>
                  <a:pt x="296" y="362"/>
                </a:cubicBezTo>
                <a:cubicBezTo>
                  <a:pt x="295" y="359"/>
                  <a:pt x="295" y="359"/>
                  <a:pt x="295" y="359"/>
                </a:cubicBezTo>
                <a:cubicBezTo>
                  <a:pt x="295" y="356"/>
                  <a:pt x="295" y="356"/>
                  <a:pt x="295" y="356"/>
                </a:cubicBezTo>
                <a:cubicBezTo>
                  <a:pt x="295" y="354"/>
                  <a:pt x="295" y="354"/>
                  <a:pt x="295" y="354"/>
                </a:cubicBezTo>
                <a:cubicBezTo>
                  <a:pt x="296" y="351"/>
                  <a:pt x="296" y="351"/>
                  <a:pt x="296" y="351"/>
                </a:cubicBezTo>
                <a:cubicBezTo>
                  <a:pt x="298" y="351"/>
                  <a:pt x="298" y="351"/>
                  <a:pt x="298" y="351"/>
                </a:cubicBezTo>
                <a:cubicBezTo>
                  <a:pt x="298" y="349"/>
                  <a:pt x="298" y="349"/>
                  <a:pt x="298" y="349"/>
                </a:cubicBezTo>
                <a:cubicBezTo>
                  <a:pt x="296" y="349"/>
                  <a:pt x="296" y="349"/>
                  <a:pt x="296" y="349"/>
                </a:cubicBezTo>
                <a:cubicBezTo>
                  <a:pt x="295" y="349"/>
                  <a:pt x="295" y="349"/>
                  <a:pt x="295" y="349"/>
                </a:cubicBezTo>
                <a:cubicBezTo>
                  <a:pt x="293" y="349"/>
                  <a:pt x="293" y="349"/>
                  <a:pt x="293" y="349"/>
                </a:cubicBezTo>
                <a:cubicBezTo>
                  <a:pt x="295" y="348"/>
                  <a:pt x="295" y="348"/>
                  <a:pt x="295" y="348"/>
                </a:cubicBezTo>
                <a:cubicBezTo>
                  <a:pt x="296" y="348"/>
                  <a:pt x="296" y="348"/>
                  <a:pt x="296" y="348"/>
                </a:cubicBezTo>
                <a:cubicBezTo>
                  <a:pt x="299" y="346"/>
                  <a:pt x="299" y="346"/>
                  <a:pt x="299" y="346"/>
                </a:cubicBezTo>
                <a:cubicBezTo>
                  <a:pt x="299" y="343"/>
                  <a:pt x="299" y="343"/>
                  <a:pt x="299" y="343"/>
                </a:cubicBezTo>
                <a:cubicBezTo>
                  <a:pt x="301" y="340"/>
                  <a:pt x="301" y="340"/>
                  <a:pt x="301" y="340"/>
                </a:cubicBezTo>
                <a:cubicBezTo>
                  <a:pt x="301" y="337"/>
                  <a:pt x="301" y="337"/>
                  <a:pt x="301" y="337"/>
                </a:cubicBezTo>
                <a:cubicBezTo>
                  <a:pt x="305" y="333"/>
                  <a:pt x="305" y="333"/>
                  <a:pt x="305" y="333"/>
                </a:cubicBezTo>
                <a:cubicBezTo>
                  <a:pt x="304" y="333"/>
                  <a:pt x="304" y="333"/>
                  <a:pt x="304" y="333"/>
                </a:cubicBezTo>
                <a:lnTo>
                  <a:pt x="301" y="334"/>
                </a:lnTo>
                <a:close/>
                <a:moveTo>
                  <a:pt x="298" y="312"/>
                </a:moveTo>
                <a:cubicBezTo>
                  <a:pt x="297" y="313"/>
                  <a:pt x="297" y="313"/>
                  <a:pt x="297" y="313"/>
                </a:cubicBezTo>
                <a:cubicBezTo>
                  <a:pt x="297" y="315"/>
                  <a:pt x="297" y="315"/>
                  <a:pt x="297" y="315"/>
                </a:cubicBezTo>
                <a:cubicBezTo>
                  <a:pt x="299" y="314"/>
                  <a:pt x="299" y="314"/>
                  <a:pt x="299" y="314"/>
                </a:cubicBezTo>
                <a:cubicBezTo>
                  <a:pt x="298" y="313"/>
                  <a:pt x="298" y="313"/>
                  <a:pt x="298" y="313"/>
                </a:cubicBezTo>
                <a:lnTo>
                  <a:pt x="298" y="312"/>
                </a:lnTo>
                <a:close/>
                <a:moveTo>
                  <a:pt x="814" y="1594"/>
                </a:moveTo>
                <a:cubicBezTo>
                  <a:pt x="816" y="1594"/>
                  <a:pt x="816" y="1594"/>
                  <a:pt x="816" y="1594"/>
                </a:cubicBezTo>
                <a:cubicBezTo>
                  <a:pt x="818" y="1594"/>
                  <a:pt x="818" y="1594"/>
                  <a:pt x="818" y="1594"/>
                </a:cubicBezTo>
                <a:cubicBezTo>
                  <a:pt x="817" y="1591"/>
                  <a:pt x="817" y="1591"/>
                  <a:pt x="817" y="1591"/>
                </a:cubicBezTo>
                <a:cubicBezTo>
                  <a:pt x="815" y="1590"/>
                  <a:pt x="815" y="1590"/>
                  <a:pt x="815" y="1590"/>
                </a:cubicBezTo>
                <a:cubicBezTo>
                  <a:pt x="815" y="1587"/>
                  <a:pt x="815" y="1587"/>
                  <a:pt x="815" y="1587"/>
                </a:cubicBezTo>
                <a:cubicBezTo>
                  <a:pt x="813" y="1587"/>
                  <a:pt x="813" y="1587"/>
                  <a:pt x="813" y="1587"/>
                </a:cubicBezTo>
                <a:cubicBezTo>
                  <a:pt x="813" y="1583"/>
                  <a:pt x="813" y="1583"/>
                  <a:pt x="813" y="1583"/>
                </a:cubicBezTo>
                <a:cubicBezTo>
                  <a:pt x="812" y="1584"/>
                  <a:pt x="812" y="1584"/>
                  <a:pt x="812" y="1584"/>
                </a:cubicBezTo>
                <a:cubicBezTo>
                  <a:pt x="810" y="1585"/>
                  <a:pt x="810" y="1585"/>
                  <a:pt x="810" y="1585"/>
                </a:cubicBezTo>
                <a:cubicBezTo>
                  <a:pt x="809" y="1586"/>
                  <a:pt x="809" y="1586"/>
                  <a:pt x="809" y="1586"/>
                </a:cubicBezTo>
                <a:cubicBezTo>
                  <a:pt x="811" y="1587"/>
                  <a:pt x="811" y="1587"/>
                  <a:pt x="811" y="1587"/>
                </a:cubicBezTo>
                <a:cubicBezTo>
                  <a:pt x="813" y="1591"/>
                  <a:pt x="813" y="1591"/>
                  <a:pt x="813" y="1591"/>
                </a:cubicBezTo>
                <a:cubicBezTo>
                  <a:pt x="814" y="1590"/>
                  <a:pt x="814" y="1590"/>
                  <a:pt x="814" y="1590"/>
                </a:cubicBezTo>
                <a:cubicBezTo>
                  <a:pt x="815" y="1591"/>
                  <a:pt x="815" y="1591"/>
                  <a:pt x="815" y="1591"/>
                </a:cubicBezTo>
                <a:cubicBezTo>
                  <a:pt x="813" y="1592"/>
                  <a:pt x="813" y="1592"/>
                  <a:pt x="813" y="1592"/>
                </a:cubicBezTo>
                <a:lnTo>
                  <a:pt x="814" y="1594"/>
                </a:lnTo>
                <a:close/>
                <a:moveTo>
                  <a:pt x="810" y="1604"/>
                </a:moveTo>
                <a:cubicBezTo>
                  <a:pt x="812" y="1601"/>
                  <a:pt x="812" y="1601"/>
                  <a:pt x="812" y="1601"/>
                </a:cubicBezTo>
                <a:cubicBezTo>
                  <a:pt x="813" y="1600"/>
                  <a:pt x="813" y="1600"/>
                  <a:pt x="813" y="1600"/>
                </a:cubicBezTo>
                <a:cubicBezTo>
                  <a:pt x="812" y="1599"/>
                  <a:pt x="812" y="1599"/>
                  <a:pt x="812" y="1599"/>
                </a:cubicBezTo>
                <a:cubicBezTo>
                  <a:pt x="810" y="1598"/>
                  <a:pt x="810" y="1598"/>
                  <a:pt x="810" y="1598"/>
                </a:cubicBezTo>
                <a:cubicBezTo>
                  <a:pt x="809" y="1597"/>
                  <a:pt x="809" y="1597"/>
                  <a:pt x="809" y="1597"/>
                </a:cubicBezTo>
                <a:cubicBezTo>
                  <a:pt x="808" y="1598"/>
                  <a:pt x="808" y="1598"/>
                  <a:pt x="808" y="1598"/>
                </a:cubicBezTo>
                <a:cubicBezTo>
                  <a:pt x="809" y="1602"/>
                  <a:pt x="809" y="1602"/>
                  <a:pt x="809" y="1602"/>
                </a:cubicBezTo>
                <a:cubicBezTo>
                  <a:pt x="809" y="1603"/>
                  <a:pt x="809" y="1603"/>
                  <a:pt x="809" y="1603"/>
                </a:cubicBezTo>
                <a:lnTo>
                  <a:pt x="810" y="1604"/>
                </a:lnTo>
                <a:close/>
                <a:moveTo>
                  <a:pt x="302" y="315"/>
                </a:moveTo>
                <a:cubicBezTo>
                  <a:pt x="301" y="314"/>
                  <a:pt x="301" y="314"/>
                  <a:pt x="301" y="314"/>
                </a:cubicBezTo>
                <a:cubicBezTo>
                  <a:pt x="300" y="315"/>
                  <a:pt x="300" y="315"/>
                  <a:pt x="300" y="315"/>
                </a:cubicBezTo>
                <a:cubicBezTo>
                  <a:pt x="301" y="316"/>
                  <a:pt x="301" y="316"/>
                  <a:pt x="301" y="316"/>
                </a:cubicBezTo>
                <a:lnTo>
                  <a:pt x="302" y="315"/>
                </a:lnTo>
                <a:close/>
                <a:moveTo>
                  <a:pt x="810" y="1609"/>
                </a:moveTo>
                <a:cubicBezTo>
                  <a:pt x="811" y="1610"/>
                  <a:pt x="811" y="1610"/>
                  <a:pt x="811" y="1610"/>
                </a:cubicBezTo>
                <a:cubicBezTo>
                  <a:pt x="810" y="1611"/>
                  <a:pt x="810" y="1611"/>
                  <a:pt x="810" y="1611"/>
                </a:cubicBezTo>
                <a:cubicBezTo>
                  <a:pt x="811" y="1612"/>
                  <a:pt x="811" y="1612"/>
                  <a:pt x="811" y="1612"/>
                </a:cubicBezTo>
                <a:cubicBezTo>
                  <a:pt x="813" y="1611"/>
                  <a:pt x="813" y="1611"/>
                  <a:pt x="813" y="1611"/>
                </a:cubicBezTo>
                <a:cubicBezTo>
                  <a:pt x="813" y="1610"/>
                  <a:pt x="813" y="1610"/>
                  <a:pt x="813" y="1610"/>
                </a:cubicBezTo>
                <a:cubicBezTo>
                  <a:pt x="812" y="1608"/>
                  <a:pt x="812" y="1608"/>
                  <a:pt x="812" y="1608"/>
                </a:cubicBezTo>
                <a:lnTo>
                  <a:pt x="810" y="1609"/>
                </a:lnTo>
                <a:close/>
                <a:moveTo>
                  <a:pt x="809" y="1594"/>
                </a:moveTo>
                <a:cubicBezTo>
                  <a:pt x="808" y="1592"/>
                  <a:pt x="808" y="1592"/>
                  <a:pt x="808" y="1592"/>
                </a:cubicBezTo>
                <a:cubicBezTo>
                  <a:pt x="807" y="1592"/>
                  <a:pt x="807" y="1592"/>
                  <a:pt x="807" y="1592"/>
                </a:cubicBezTo>
                <a:cubicBezTo>
                  <a:pt x="806" y="1592"/>
                  <a:pt x="806" y="1592"/>
                  <a:pt x="806" y="1592"/>
                </a:cubicBezTo>
                <a:cubicBezTo>
                  <a:pt x="806" y="1594"/>
                  <a:pt x="806" y="1594"/>
                  <a:pt x="806" y="1594"/>
                </a:cubicBezTo>
                <a:cubicBezTo>
                  <a:pt x="807" y="1595"/>
                  <a:pt x="807" y="1595"/>
                  <a:pt x="807" y="1595"/>
                </a:cubicBezTo>
                <a:cubicBezTo>
                  <a:pt x="808" y="1596"/>
                  <a:pt x="808" y="1596"/>
                  <a:pt x="808" y="1596"/>
                </a:cubicBezTo>
                <a:cubicBezTo>
                  <a:pt x="809" y="1596"/>
                  <a:pt x="809" y="1596"/>
                  <a:pt x="809" y="1596"/>
                </a:cubicBezTo>
                <a:lnTo>
                  <a:pt x="809" y="1594"/>
                </a:lnTo>
                <a:close/>
                <a:moveTo>
                  <a:pt x="307" y="320"/>
                </a:moveTo>
                <a:cubicBezTo>
                  <a:pt x="308" y="319"/>
                  <a:pt x="308" y="319"/>
                  <a:pt x="308" y="319"/>
                </a:cubicBezTo>
                <a:cubicBezTo>
                  <a:pt x="307" y="318"/>
                  <a:pt x="307" y="318"/>
                  <a:pt x="307" y="318"/>
                </a:cubicBezTo>
                <a:cubicBezTo>
                  <a:pt x="306" y="318"/>
                  <a:pt x="306" y="318"/>
                  <a:pt x="306" y="318"/>
                </a:cubicBezTo>
                <a:cubicBezTo>
                  <a:pt x="307" y="316"/>
                  <a:pt x="307" y="316"/>
                  <a:pt x="307" y="316"/>
                </a:cubicBezTo>
                <a:cubicBezTo>
                  <a:pt x="308" y="316"/>
                  <a:pt x="308" y="316"/>
                  <a:pt x="308" y="316"/>
                </a:cubicBezTo>
                <a:cubicBezTo>
                  <a:pt x="310" y="314"/>
                  <a:pt x="310" y="314"/>
                  <a:pt x="310" y="314"/>
                </a:cubicBezTo>
                <a:cubicBezTo>
                  <a:pt x="310" y="313"/>
                  <a:pt x="310" y="313"/>
                  <a:pt x="310" y="313"/>
                </a:cubicBezTo>
                <a:cubicBezTo>
                  <a:pt x="309" y="313"/>
                  <a:pt x="309" y="313"/>
                  <a:pt x="309" y="313"/>
                </a:cubicBezTo>
                <a:cubicBezTo>
                  <a:pt x="308" y="313"/>
                  <a:pt x="308" y="313"/>
                  <a:pt x="308" y="313"/>
                </a:cubicBezTo>
                <a:cubicBezTo>
                  <a:pt x="308" y="312"/>
                  <a:pt x="308" y="312"/>
                  <a:pt x="308" y="312"/>
                </a:cubicBezTo>
                <a:cubicBezTo>
                  <a:pt x="310" y="311"/>
                  <a:pt x="310" y="311"/>
                  <a:pt x="310" y="311"/>
                </a:cubicBezTo>
                <a:cubicBezTo>
                  <a:pt x="309" y="309"/>
                  <a:pt x="309" y="309"/>
                  <a:pt x="309" y="309"/>
                </a:cubicBezTo>
                <a:cubicBezTo>
                  <a:pt x="307" y="307"/>
                  <a:pt x="307" y="307"/>
                  <a:pt x="307" y="307"/>
                </a:cubicBezTo>
                <a:cubicBezTo>
                  <a:pt x="307" y="306"/>
                  <a:pt x="307" y="306"/>
                  <a:pt x="307" y="306"/>
                </a:cubicBezTo>
                <a:cubicBezTo>
                  <a:pt x="308" y="306"/>
                  <a:pt x="308" y="306"/>
                  <a:pt x="308" y="306"/>
                </a:cubicBezTo>
                <a:cubicBezTo>
                  <a:pt x="309" y="306"/>
                  <a:pt x="309" y="306"/>
                  <a:pt x="309" y="306"/>
                </a:cubicBezTo>
                <a:cubicBezTo>
                  <a:pt x="309" y="304"/>
                  <a:pt x="309" y="304"/>
                  <a:pt x="309" y="304"/>
                </a:cubicBezTo>
                <a:cubicBezTo>
                  <a:pt x="308" y="303"/>
                  <a:pt x="308" y="303"/>
                  <a:pt x="308" y="303"/>
                </a:cubicBezTo>
                <a:cubicBezTo>
                  <a:pt x="309" y="303"/>
                  <a:pt x="309" y="303"/>
                  <a:pt x="309" y="303"/>
                </a:cubicBezTo>
                <a:cubicBezTo>
                  <a:pt x="309" y="300"/>
                  <a:pt x="309" y="300"/>
                  <a:pt x="309" y="300"/>
                </a:cubicBezTo>
                <a:cubicBezTo>
                  <a:pt x="307" y="298"/>
                  <a:pt x="307" y="298"/>
                  <a:pt x="307" y="298"/>
                </a:cubicBezTo>
                <a:cubicBezTo>
                  <a:pt x="306" y="299"/>
                  <a:pt x="306" y="299"/>
                  <a:pt x="306" y="299"/>
                </a:cubicBezTo>
                <a:cubicBezTo>
                  <a:pt x="305" y="297"/>
                  <a:pt x="305" y="297"/>
                  <a:pt x="305" y="297"/>
                </a:cubicBezTo>
                <a:cubicBezTo>
                  <a:pt x="305" y="296"/>
                  <a:pt x="305" y="296"/>
                  <a:pt x="305" y="296"/>
                </a:cubicBezTo>
                <a:cubicBezTo>
                  <a:pt x="307" y="294"/>
                  <a:pt x="307" y="294"/>
                  <a:pt x="307" y="294"/>
                </a:cubicBezTo>
                <a:cubicBezTo>
                  <a:pt x="305" y="292"/>
                  <a:pt x="305" y="292"/>
                  <a:pt x="305" y="292"/>
                </a:cubicBezTo>
                <a:cubicBezTo>
                  <a:pt x="304" y="292"/>
                  <a:pt x="304" y="292"/>
                  <a:pt x="304" y="292"/>
                </a:cubicBezTo>
                <a:cubicBezTo>
                  <a:pt x="303" y="293"/>
                  <a:pt x="303" y="293"/>
                  <a:pt x="303" y="293"/>
                </a:cubicBezTo>
                <a:cubicBezTo>
                  <a:pt x="304" y="294"/>
                  <a:pt x="304" y="294"/>
                  <a:pt x="304" y="294"/>
                </a:cubicBezTo>
                <a:cubicBezTo>
                  <a:pt x="305" y="296"/>
                  <a:pt x="305" y="296"/>
                  <a:pt x="305" y="296"/>
                </a:cubicBezTo>
                <a:cubicBezTo>
                  <a:pt x="304" y="299"/>
                  <a:pt x="304" y="299"/>
                  <a:pt x="304" y="299"/>
                </a:cubicBezTo>
                <a:cubicBezTo>
                  <a:pt x="304" y="301"/>
                  <a:pt x="304" y="301"/>
                  <a:pt x="304" y="301"/>
                </a:cubicBezTo>
                <a:cubicBezTo>
                  <a:pt x="303" y="303"/>
                  <a:pt x="303" y="303"/>
                  <a:pt x="303" y="303"/>
                </a:cubicBezTo>
                <a:cubicBezTo>
                  <a:pt x="301" y="303"/>
                  <a:pt x="301" y="303"/>
                  <a:pt x="301" y="303"/>
                </a:cubicBezTo>
                <a:cubicBezTo>
                  <a:pt x="301" y="304"/>
                  <a:pt x="301" y="304"/>
                  <a:pt x="301" y="304"/>
                </a:cubicBezTo>
                <a:cubicBezTo>
                  <a:pt x="301" y="305"/>
                  <a:pt x="301" y="305"/>
                  <a:pt x="301" y="305"/>
                </a:cubicBezTo>
                <a:cubicBezTo>
                  <a:pt x="302" y="304"/>
                  <a:pt x="302" y="304"/>
                  <a:pt x="302" y="304"/>
                </a:cubicBezTo>
                <a:cubicBezTo>
                  <a:pt x="304" y="305"/>
                  <a:pt x="304" y="305"/>
                  <a:pt x="304" y="305"/>
                </a:cubicBezTo>
                <a:cubicBezTo>
                  <a:pt x="304" y="306"/>
                  <a:pt x="304" y="306"/>
                  <a:pt x="304" y="306"/>
                </a:cubicBezTo>
                <a:cubicBezTo>
                  <a:pt x="302" y="307"/>
                  <a:pt x="302" y="307"/>
                  <a:pt x="302" y="307"/>
                </a:cubicBezTo>
                <a:cubicBezTo>
                  <a:pt x="302" y="308"/>
                  <a:pt x="302" y="308"/>
                  <a:pt x="302" y="308"/>
                </a:cubicBezTo>
                <a:cubicBezTo>
                  <a:pt x="301" y="309"/>
                  <a:pt x="301" y="309"/>
                  <a:pt x="301" y="309"/>
                </a:cubicBezTo>
                <a:cubicBezTo>
                  <a:pt x="300" y="309"/>
                  <a:pt x="300" y="309"/>
                  <a:pt x="300" y="309"/>
                </a:cubicBezTo>
                <a:cubicBezTo>
                  <a:pt x="299" y="310"/>
                  <a:pt x="299" y="310"/>
                  <a:pt x="299" y="310"/>
                </a:cubicBezTo>
                <a:cubicBezTo>
                  <a:pt x="300" y="311"/>
                  <a:pt x="300" y="311"/>
                  <a:pt x="300" y="311"/>
                </a:cubicBezTo>
                <a:cubicBezTo>
                  <a:pt x="301" y="311"/>
                  <a:pt x="301" y="311"/>
                  <a:pt x="301" y="311"/>
                </a:cubicBezTo>
                <a:cubicBezTo>
                  <a:pt x="302" y="312"/>
                  <a:pt x="302" y="312"/>
                  <a:pt x="302" y="312"/>
                </a:cubicBezTo>
                <a:cubicBezTo>
                  <a:pt x="303" y="311"/>
                  <a:pt x="303" y="311"/>
                  <a:pt x="303" y="311"/>
                </a:cubicBezTo>
                <a:cubicBezTo>
                  <a:pt x="304" y="311"/>
                  <a:pt x="304" y="311"/>
                  <a:pt x="304" y="311"/>
                </a:cubicBezTo>
                <a:cubicBezTo>
                  <a:pt x="305" y="312"/>
                  <a:pt x="305" y="312"/>
                  <a:pt x="305" y="312"/>
                </a:cubicBezTo>
                <a:cubicBezTo>
                  <a:pt x="303" y="313"/>
                  <a:pt x="303" y="313"/>
                  <a:pt x="303" y="313"/>
                </a:cubicBezTo>
                <a:cubicBezTo>
                  <a:pt x="303" y="314"/>
                  <a:pt x="303" y="314"/>
                  <a:pt x="303" y="314"/>
                </a:cubicBezTo>
                <a:cubicBezTo>
                  <a:pt x="304" y="315"/>
                  <a:pt x="304" y="315"/>
                  <a:pt x="304" y="315"/>
                </a:cubicBezTo>
                <a:cubicBezTo>
                  <a:pt x="303" y="316"/>
                  <a:pt x="303" y="316"/>
                  <a:pt x="303" y="316"/>
                </a:cubicBezTo>
                <a:cubicBezTo>
                  <a:pt x="302" y="318"/>
                  <a:pt x="302" y="318"/>
                  <a:pt x="302" y="318"/>
                </a:cubicBezTo>
                <a:cubicBezTo>
                  <a:pt x="304" y="320"/>
                  <a:pt x="304" y="320"/>
                  <a:pt x="304" y="320"/>
                </a:cubicBezTo>
                <a:cubicBezTo>
                  <a:pt x="304" y="321"/>
                  <a:pt x="304" y="321"/>
                  <a:pt x="304" y="321"/>
                </a:cubicBezTo>
                <a:cubicBezTo>
                  <a:pt x="305" y="322"/>
                  <a:pt x="305" y="322"/>
                  <a:pt x="305" y="322"/>
                </a:cubicBezTo>
                <a:cubicBezTo>
                  <a:pt x="306" y="322"/>
                  <a:pt x="306" y="322"/>
                  <a:pt x="306" y="322"/>
                </a:cubicBezTo>
                <a:cubicBezTo>
                  <a:pt x="307" y="321"/>
                  <a:pt x="307" y="321"/>
                  <a:pt x="307" y="321"/>
                </a:cubicBezTo>
                <a:lnTo>
                  <a:pt x="307" y="320"/>
                </a:lnTo>
                <a:close/>
                <a:moveTo>
                  <a:pt x="807" y="1586"/>
                </a:moveTo>
                <a:cubicBezTo>
                  <a:pt x="806" y="1587"/>
                  <a:pt x="806" y="1587"/>
                  <a:pt x="806" y="1587"/>
                </a:cubicBezTo>
                <a:cubicBezTo>
                  <a:pt x="806" y="1588"/>
                  <a:pt x="806" y="1588"/>
                  <a:pt x="806" y="1588"/>
                </a:cubicBezTo>
                <a:cubicBezTo>
                  <a:pt x="806" y="1591"/>
                  <a:pt x="806" y="1591"/>
                  <a:pt x="806" y="1591"/>
                </a:cubicBezTo>
                <a:cubicBezTo>
                  <a:pt x="808" y="1591"/>
                  <a:pt x="808" y="1591"/>
                  <a:pt x="808" y="1591"/>
                </a:cubicBezTo>
                <a:cubicBezTo>
                  <a:pt x="810" y="1592"/>
                  <a:pt x="810" y="1592"/>
                  <a:pt x="810" y="1592"/>
                </a:cubicBezTo>
                <a:cubicBezTo>
                  <a:pt x="810" y="1593"/>
                  <a:pt x="810" y="1593"/>
                  <a:pt x="810" y="1593"/>
                </a:cubicBezTo>
                <a:cubicBezTo>
                  <a:pt x="810" y="1596"/>
                  <a:pt x="810" y="1596"/>
                  <a:pt x="810" y="1596"/>
                </a:cubicBezTo>
                <a:cubicBezTo>
                  <a:pt x="812" y="1597"/>
                  <a:pt x="812" y="1597"/>
                  <a:pt x="812" y="1597"/>
                </a:cubicBezTo>
                <a:cubicBezTo>
                  <a:pt x="813" y="1596"/>
                  <a:pt x="813" y="1596"/>
                  <a:pt x="813" y="1596"/>
                </a:cubicBezTo>
                <a:cubicBezTo>
                  <a:pt x="813" y="1594"/>
                  <a:pt x="813" y="1594"/>
                  <a:pt x="813" y="1594"/>
                </a:cubicBezTo>
                <a:cubicBezTo>
                  <a:pt x="811" y="1591"/>
                  <a:pt x="811" y="1591"/>
                  <a:pt x="811" y="1591"/>
                </a:cubicBezTo>
                <a:cubicBezTo>
                  <a:pt x="808" y="1587"/>
                  <a:pt x="808" y="1587"/>
                  <a:pt x="808" y="1587"/>
                </a:cubicBezTo>
                <a:lnTo>
                  <a:pt x="807" y="1586"/>
                </a:lnTo>
                <a:close/>
                <a:moveTo>
                  <a:pt x="816" y="1613"/>
                </a:moveTo>
                <a:cubicBezTo>
                  <a:pt x="817" y="1612"/>
                  <a:pt x="817" y="1612"/>
                  <a:pt x="817" y="1612"/>
                </a:cubicBezTo>
                <a:cubicBezTo>
                  <a:pt x="818" y="1610"/>
                  <a:pt x="818" y="1610"/>
                  <a:pt x="818" y="1610"/>
                </a:cubicBezTo>
                <a:cubicBezTo>
                  <a:pt x="818" y="1612"/>
                  <a:pt x="818" y="1612"/>
                  <a:pt x="818" y="1612"/>
                </a:cubicBezTo>
                <a:cubicBezTo>
                  <a:pt x="819" y="1614"/>
                  <a:pt x="819" y="1614"/>
                  <a:pt x="819" y="1614"/>
                </a:cubicBezTo>
                <a:cubicBezTo>
                  <a:pt x="820" y="1615"/>
                  <a:pt x="820" y="1615"/>
                  <a:pt x="820" y="1615"/>
                </a:cubicBezTo>
                <a:cubicBezTo>
                  <a:pt x="821" y="1614"/>
                  <a:pt x="821" y="1614"/>
                  <a:pt x="821" y="1614"/>
                </a:cubicBezTo>
                <a:cubicBezTo>
                  <a:pt x="821" y="1611"/>
                  <a:pt x="821" y="1611"/>
                  <a:pt x="821" y="1611"/>
                </a:cubicBezTo>
                <a:cubicBezTo>
                  <a:pt x="820" y="1608"/>
                  <a:pt x="820" y="1608"/>
                  <a:pt x="820" y="1608"/>
                </a:cubicBezTo>
                <a:cubicBezTo>
                  <a:pt x="821" y="1607"/>
                  <a:pt x="821" y="1607"/>
                  <a:pt x="821" y="1607"/>
                </a:cubicBezTo>
                <a:cubicBezTo>
                  <a:pt x="820" y="1604"/>
                  <a:pt x="820" y="1604"/>
                  <a:pt x="820" y="1604"/>
                </a:cubicBezTo>
                <a:cubicBezTo>
                  <a:pt x="819" y="1601"/>
                  <a:pt x="819" y="1601"/>
                  <a:pt x="819" y="1601"/>
                </a:cubicBezTo>
                <a:cubicBezTo>
                  <a:pt x="818" y="1597"/>
                  <a:pt x="818" y="1597"/>
                  <a:pt x="818" y="1597"/>
                </a:cubicBezTo>
                <a:cubicBezTo>
                  <a:pt x="817" y="1596"/>
                  <a:pt x="817" y="1596"/>
                  <a:pt x="817" y="1596"/>
                </a:cubicBezTo>
                <a:cubicBezTo>
                  <a:pt x="814" y="1596"/>
                  <a:pt x="814" y="1596"/>
                  <a:pt x="814" y="1596"/>
                </a:cubicBezTo>
                <a:cubicBezTo>
                  <a:pt x="813" y="1597"/>
                  <a:pt x="813" y="1597"/>
                  <a:pt x="813" y="1597"/>
                </a:cubicBezTo>
                <a:cubicBezTo>
                  <a:pt x="813" y="1599"/>
                  <a:pt x="813" y="1599"/>
                  <a:pt x="813" y="1599"/>
                </a:cubicBezTo>
                <a:cubicBezTo>
                  <a:pt x="814" y="1600"/>
                  <a:pt x="814" y="1600"/>
                  <a:pt x="814" y="1600"/>
                </a:cubicBezTo>
                <a:cubicBezTo>
                  <a:pt x="814" y="1602"/>
                  <a:pt x="814" y="1602"/>
                  <a:pt x="814" y="1602"/>
                </a:cubicBezTo>
                <a:cubicBezTo>
                  <a:pt x="814" y="1603"/>
                  <a:pt x="814" y="1603"/>
                  <a:pt x="814" y="1603"/>
                </a:cubicBezTo>
                <a:cubicBezTo>
                  <a:pt x="815" y="1603"/>
                  <a:pt x="815" y="1603"/>
                  <a:pt x="815" y="1603"/>
                </a:cubicBezTo>
                <a:cubicBezTo>
                  <a:pt x="816" y="1602"/>
                  <a:pt x="816" y="1602"/>
                  <a:pt x="816" y="1602"/>
                </a:cubicBezTo>
                <a:cubicBezTo>
                  <a:pt x="815" y="1603"/>
                  <a:pt x="815" y="1603"/>
                  <a:pt x="815" y="1603"/>
                </a:cubicBezTo>
                <a:cubicBezTo>
                  <a:pt x="814" y="1605"/>
                  <a:pt x="814" y="1605"/>
                  <a:pt x="814" y="1605"/>
                </a:cubicBezTo>
                <a:cubicBezTo>
                  <a:pt x="812" y="1605"/>
                  <a:pt x="812" y="1605"/>
                  <a:pt x="812" y="1605"/>
                </a:cubicBezTo>
                <a:cubicBezTo>
                  <a:pt x="814" y="1609"/>
                  <a:pt x="814" y="1609"/>
                  <a:pt x="814" y="1609"/>
                </a:cubicBezTo>
                <a:cubicBezTo>
                  <a:pt x="815" y="1611"/>
                  <a:pt x="815" y="1611"/>
                  <a:pt x="815" y="1611"/>
                </a:cubicBezTo>
                <a:lnTo>
                  <a:pt x="816" y="1613"/>
                </a:lnTo>
                <a:close/>
                <a:moveTo>
                  <a:pt x="1997" y="1171"/>
                </a:moveTo>
                <a:cubicBezTo>
                  <a:pt x="1998" y="1170"/>
                  <a:pt x="1998" y="1170"/>
                  <a:pt x="1998" y="1170"/>
                </a:cubicBezTo>
                <a:cubicBezTo>
                  <a:pt x="1997" y="1169"/>
                  <a:pt x="1997" y="1169"/>
                  <a:pt x="1997" y="1169"/>
                </a:cubicBezTo>
                <a:cubicBezTo>
                  <a:pt x="1997" y="1170"/>
                  <a:pt x="1997" y="1170"/>
                  <a:pt x="1997" y="1170"/>
                </a:cubicBezTo>
                <a:lnTo>
                  <a:pt x="1997" y="1171"/>
                </a:lnTo>
                <a:close/>
                <a:moveTo>
                  <a:pt x="1349" y="58"/>
                </a:moveTo>
                <a:cubicBezTo>
                  <a:pt x="1347" y="58"/>
                  <a:pt x="1347" y="58"/>
                  <a:pt x="1347" y="58"/>
                </a:cubicBezTo>
                <a:cubicBezTo>
                  <a:pt x="1345" y="61"/>
                  <a:pt x="1345" y="61"/>
                  <a:pt x="1345" y="61"/>
                </a:cubicBezTo>
                <a:cubicBezTo>
                  <a:pt x="1345" y="63"/>
                  <a:pt x="1345" y="63"/>
                  <a:pt x="1345" y="63"/>
                </a:cubicBezTo>
                <a:cubicBezTo>
                  <a:pt x="1347" y="64"/>
                  <a:pt x="1347" y="64"/>
                  <a:pt x="1347" y="64"/>
                </a:cubicBezTo>
                <a:cubicBezTo>
                  <a:pt x="1348" y="64"/>
                  <a:pt x="1348" y="64"/>
                  <a:pt x="1348" y="64"/>
                </a:cubicBezTo>
                <a:cubicBezTo>
                  <a:pt x="1350" y="66"/>
                  <a:pt x="1350" y="66"/>
                  <a:pt x="1350" y="66"/>
                </a:cubicBezTo>
                <a:cubicBezTo>
                  <a:pt x="1351" y="66"/>
                  <a:pt x="1351" y="66"/>
                  <a:pt x="1351" y="66"/>
                </a:cubicBezTo>
                <a:cubicBezTo>
                  <a:pt x="1354" y="66"/>
                  <a:pt x="1354" y="66"/>
                  <a:pt x="1354" y="66"/>
                </a:cubicBezTo>
                <a:cubicBezTo>
                  <a:pt x="1355" y="65"/>
                  <a:pt x="1355" y="65"/>
                  <a:pt x="1355" y="65"/>
                </a:cubicBezTo>
                <a:cubicBezTo>
                  <a:pt x="1356" y="63"/>
                  <a:pt x="1356" y="63"/>
                  <a:pt x="1356" y="63"/>
                </a:cubicBezTo>
                <a:cubicBezTo>
                  <a:pt x="1356" y="62"/>
                  <a:pt x="1356" y="62"/>
                  <a:pt x="1356" y="62"/>
                </a:cubicBezTo>
                <a:cubicBezTo>
                  <a:pt x="1356" y="60"/>
                  <a:pt x="1356" y="60"/>
                  <a:pt x="1356" y="60"/>
                </a:cubicBezTo>
                <a:cubicBezTo>
                  <a:pt x="1352" y="57"/>
                  <a:pt x="1352" y="57"/>
                  <a:pt x="1352" y="57"/>
                </a:cubicBezTo>
                <a:lnTo>
                  <a:pt x="1349" y="58"/>
                </a:lnTo>
                <a:close/>
                <a:moveTo>
                  <a:pt x="1336" y="276"/>
                </a:moveTo>
                <a:cubicBezTo>
                  <a:pt x="1335" y="277"/>
                  <a:pt x="1335" y="277"/>
                  <a:pt x="1335" y="277"/>
                </a:cubicBezTo>
                <a:cubicBezTo>
                  <a:pt x="1336" y="278"/>
                  <a:pt x="1336" y="278"/>
                  <a:pt x="1336" y="278"/>
                </a:cubicBezTo>
                <a:cubicBezTo>
                  <a:pt x="1337" y="278"/>
                  <a:pt x="1337" y="278"/>
                  <a:pt x="1337" y="278"/>
                </a:cubicBezTo>
                <a:cubicBezTo>
                  <a:pt x="1337" y="275"/>
                  <a:pt x="1337" y="275"/>
                  <a:pt x="1337" y="275"/>
                </a:cubicBezTo>
                <a:lnTo>
                  <a:pt x="1336" y="276"/>
                </a:lnTo>
                <a:close/>
                <a:moveTo>
                  <a:pt x="1366" y="57"/>
                </a:moveTo>
                <a:cubicBezTo>
                  <a:pt x="1367" y="57"/>
                  <a:pt x="1367" y="57"/>
                  <a:pt x="1367" y="57"/>
                </a:cubicBezTo>
                <a:cubicBezTo>
                  <a:pt x="1368" y="55"/>
                  <a:pt x="1368" y="55"/>
                  <a:pt x="1368" y="55"/>
                </a:cubicBezTo>
                <a:cubicBezTo>
                  <a:pt x="1368" y="54"/>
                  <a:pt x="1368" y="54"/>
                  <a:pt x="1368" y="54"/>
                </a:cubicBezTo>
                <a:cubicBezTo>
                  <a:pt x="1367" y="54"/>
                  <a:pt x="1367" y="54"/>
                  <a:pt x="1367" y="54"/>
                </a:cubicBezTo>
                <a:cubicBezTo>
                  <a:pt x="1366" y="55"/>
                  <a:pt x="1366" y="55"/>
                  <a:pt x="1366" y="55"/>
                </a:cubicBezTo>
                <a:lnTo>
                  <a:pt x="1366" y="57"/>
                </a:lnTo>
                <a:close/>
                <a:moveTo>
                  <a:pt x="1378" y="44"/>
                </a:moveTo>
                <a:cubicBezTo>
                  <a:pt x="1377" y="44"/>
                  <a:pt x="1377" y="44"/>
                  <a:pt x="1377" y="44"/>
                </a:cubicBezTo>
                <a:cubicBezTo>
                  <a:pt x="1376" y="42"/>
                  <a:pt x="1376" y="42"/>
                  <a:pt x="1376" y="42"/>
                </a:cubicBezTo>
                <a:cubicBezTo>
                  <a:pt x="1376" y="40"/>
                  <a:pt x="1376" y="40"/>
                  <a:pt x="1376" y="40"/>
                </a:cubicBezTo>
                <a:cubicBezTo>
                  <a:pt x="1375" y="39"/>
                  <a:pt x="1375" y="39"/>
                  <a:pt x="1375" y="39"/>
                </a:cubicBezTo>
                <a:cubicBezTo>
                  <a:pt x="1375" y="38"/>
                  <a:pt x="1375" y="38"/>
                  <a:pt x="1375" y="38"/>
                </a:cubicBezTo>
                <a:cubicBezTo>
                  <a:pt x="1376" y="38"/>
                  <a:pt x="1376" y="38"/>
                  <a:pt x="1376" y="38"/>
                </a:cubicBezTo>
                <a:cubicBezTo>
                  <a:pt x="1377" y="36"/>
                  <a:pt x="1377" y="36"/>
                  <a:pt x="1377" y="36"/>
                </a:cubicBezTo>
                <a:cubicBezTo>
                  <a:pt x="1375" y="35"/>
                  <a:pt x="1375" y="35"/>
                  <a:pt x="1375" y="35"/>
                </a:cubicBezTo>
                <a:cubicBezTo>
                  <a:pt x="1374" y="37"/>
                  <a:pt x="1374" y="37"/>
                  <a:pt x="1374" y="37"/>
                </a:cubicBezTo>
                <a:cubicBezTo>
                  <a:pt x="1372" y="37"/>
                  <a:pt x="1372" y="37"/>
                  <a:pt x="1372" y="37"/>
                </a:cubicBezTo>
                <a:cubicBezTo>
                  <a:pt x="1371" y="37"/>
                  <a:pt x="1371" y="37"/>
                  <a:pt x="1371" y="37"/>
                </a:cubicBezTo>
                <a:cubicBezTo>
                  <a:pt x="1370" y="37"/>
                  <a:pt x="1370" y="37"/>
                  <a:pt x="1370" y="37"/>
                </a:cubicBezTo>
                <a:cubicBezTo>
                  <a:pt x="1370" y="42"/>
                  <a:pt x="1370" y="42"/>
                  <a:pt x="1370" y="42"/>
                </a:cubicBezTo>
                <a:cubicBezTo>
                  <a:pt x="1369" y="44"/>
                  <a:pt x="1369" y="44"/>
                  <a:pt x="1369" y="44"/>
                </a:cubicBezTo>
                <a:cubicBezTo>
                  <a:pt x="1370" y="46"/>
                  <a:pt x="1370" y="46"/>
                  <a:pt x="1370" y="46"/>
                </a:cubicBezTo>
                <a:cubicBezTo>
                  <a:pt x="1371" y="47"/>
                  <a:pt x="1371" y="47"/>
                  <a:pt x="1371" y="47"/>
                </a:cubicBezTo>
                <a:cubicBezTo>
                  <a:pt x="1373" y="47"/>
                  <a:pt x="1373" y="47"/>
                  <a:pt x="1373" y="47"/>
                </a:cubicBezTo>
                <a:cubicBezTo>
                  <a:pt x="1376" y="47"/>
                  <a:pt x="1376" y="47"/>
                  <a:pt x="1376" y="47"/>
                </a:cubicBezTo>
                <a:cubicBezTo>
                  <a:pt x="1376" y="46"/>
                  <a:pt x="1376" y="46"/>
                  <a:pt x="1376" y="46"/>
                </a:cubicBezTo>
                <a:cubicBezTo>
                  <a:pt x="1377" y="47"/>
                  <a:pt x="1377" y="47"/>
                  <a:pt x="1377" y="47"/>
                </a:cubicBezTo>
                <a:cubicBezTo>
                  <a:pt x="1378" y="48"/>
                  <a:pt x="1378" y="48"/>
                  <a:pt x="1378" y="48"/>
                </a:cubicBezTo>
                <a:cubicBezTo>
                  <a:pt x="1379" y="46"/>
                  <a:pt x="1379" y="46"/>
                  <a:pt x="1379" y="46"/>
                </a:cubicBezTo>
                <a:cubicBezTo>
                  <a:pt x="1380" y="45"/>
                  <a:pt x="1380" y="45"/>
                  <a:pt x="1380" y="45"/>
                </a:cubicBezTo>
                <a:cubicBezTo>
                  <a:pt x="1380" y="42"/>
                  <a:pt x="1380" y="42"/>
                  <a:pt x="1380" y="42"/>
                </a:cubicBezTo>
                <a:cubicBezTo>
                  <a:pt x="1379" y="42"/>
                  <a:pt x="1379" y="42"/>
                  <a:pt x="1379" y="42"/>
                </a:cubicBezTo>
                <a:cubicBezTo>
                  <a:pt x="1378" y="43"/>
                  <a:pt x="1378" y="43"/>
                  <a:pt x="1378" y="43"/>
                </a:cubicBezTo>
                <a:lnTo>
                  <a:pt x="1378" y="44"/>
                </a:lnTo>
                <a:close/>
                <a:moveTo>
                  <a:pt x="1373" y="6"/>
                </a:moveTo>
                <a:cubicBezTo>
                  <a:pt x="1372" y="5"/>
                  <a:pt x="1372" y="5"/>
                  <a:pt x="1372" y="5"/>
                </a:cubicBezTo>
                <a:cubicBezTo>
                  <a:pt x="1371" y="7"/>
                  <a:pt x="1371" y="7"/>
                  <a:pt x="1371" y="7"/>
                </a:cubicBezTo>
                <a:cubicBezTo>
                  <a:pt x="1371" y="7"/>
                  <a:pt x="1371" y="7"/>
                  <a:pt x="1371" y="7"/>
                </a:cubicBezTo>
                <a:cubicBezTo>
                  <a:pt x="1372" y="8"/>
                  <a:pt x="1372" y="8"/>
                  <a:pt x="1372" y="8"/>
                </a:cubicBezTo>
                <a:cubicBezTo>
                  <a:pt x="1372" y="9"/>
                  <a:pt x="1372" y="9"/>
                  <a:pt x="1372" y="9"/>
                </a:cubicBezTo>
                <a:cubicBezTo>
                  <a:pt x="1371" y="10"/>
                  <a:pt x="1371" y="10"/>
                  <a:pt x="1371" y="10"/>
                </a:cubicBezTo>
                <a:cubicBezTo>
                  <a:pt x="1371" y="13"/>
                  <a:pt x="1371" y="13"/>
                  <a:pt x="1371" y="13"/>
                </a:cubicBezTo>
                <a:cubicBezTo>
                  <a:pt x="1373" y="15"/>
                  <a:pt x="1373" y="15"/>
                  <a:pt x="1373" y="15"/>
                </a:cubicBezTo>
                <a:cubicBezTo>
                  <a:pt x="1373" y="19"/>
                  <a:pt x="1373" y="19"/>
                  <a:pt x="1373" y="19"/>
                </a:cubicBezTo>
                <a:cubicBezTo>
                  <a:pt x="1372" y="21"/>
                  <a:pt x="1372" y="21"/>
                  <a:pt x="1372" y="21"/>
                </a:cubicBezTo>
                <a:cubicBezTo>
                  <a:pt x="1372" y="23"/>
                  <a:pt x="1372" y="23"/>
                  <a:pt x="1372" y="23"/>
                </a:cubicBezTo>
                <a:cubicBezTo>
                  <a:pt x="1373" y="24"/>
                  <a:pt x="1373" y="24"/>
                  <a:pt x="1373" y="24"/>
                </a:cubicBezTo>
                <a:cubicBezTo>
                  <a:pt x="1374" y="23"/>
                  <a:pt x="1374" y="23"/>
                  <a:pt x="1374" y="23"/>
                </a:cubicBezTo>
                <a:cubicBezTo>
                  <a:pt x="1374" y="20"/>
                  <a:pt x="1374" y="20"/>
                  <a:pt x="1374" y="20"/>
                </a:cubicBezTo>
                <a:cubicBezTo>
                  <a:pt x="1375" y="19"/>
                  <a:pt x="1375" y="19"/>
                  <a:pt x="1375" y="19"/>
                </a:cubicBezTo>
                <a:cubicBezTo>
                  <a:pt x="1375" y="16"/>
                  <a:pt x="1375" y="16"/>
                  <a:pt x="1375" y="16"/>
                </a:cubicBezTo>
                <a:cubicBezTo>
                  <a:pt x="1373" y="14"/>
                  <a:pt x="1373" y="14"/>
                  <a:pt x="1373" y="14"/>
                </a:cubicBezTo>
                <a:cubicBezTo>
                  <a:pt x="1373" y="10"/>
                  <a:pt x="1373" y="10"/>
                  <a:pt x="1373" y="10"/>
                </a:cubicBezTo>
                <a:cubicBezTo>
                  <a:pt x="1374" y="8"/>
                  <a:pt x="1374" y="8"/>
                  <a:pt x="1374" y="8"/>
                </a:cubicBezTo>
                <a:lnTo>
                  <a:pt x="1373" y="6"/>
                </a:lnTo>
                <a:close/>
                <a:moveTo>
                  <a:pt x="1323" y="82"/>
                </a:moveTo>
                <a:cubicBezTo>
                  <a:pt x="1326" y="85"/>
                  <a:pt x="1326" y="85"/>
                  <a:pt x="1326" y="85"/>
                </a:cubicBezTo>
                <a:cubicBezTo>
                  <a:pt x="1330" y="85"/>
                  <a:pt x="1330" y="85"/>
                  <a:pt x="1330" y="85"/>
                </a:cubicBezTo>
                <a:cubicBezTo>
                  <a:pt x="1331" y="85"/>
                  <a:pt x="1331" y="85"/>
                  <a:pt x="1331" y="85"/>
                </a:cubicBezTo>
                <a:cubicBezTo>
                  <a:pt x="1330" y="84"/>
                  <a:pt x="1330" y="84"/>
                  <a:pt x="1330" y="84"/>
                </a:cubicBezTo>
                <a:cubicBezTo>
                  <a:pt x="1325" y="81"/>
                  <a:pt x="1325" y="81"/>
                  <a:pt x="1325" y="81"/>
                </a:cubicBezTo>
                <a:cubicBezTo>
                  <a:pt x="1319" y="80"/>
                  <a:pt x="1319" y="80"/>
                  <a:pt x="1319" y="80"/>
                </a:cubicBezTo>
                <a:cubicBezTo>
                  <a:pt x="1318" y="80"/>
                  <a:pt x="1318" y="80"/>
                  <a:pt x="1318" y="80"/>
                </a:cubicBezTo>
                <a:cubicBezTo>
                  <a:pt x="1318" y="82"/>
                  <a:pt x="1318" y="82"/>
                  <a:pt x="1318" y="82"/>
                </a:cubicBezTo>
                <a:cubicBezTo>
                  <a:pt x="1315" y="82"/>
                  <a:pt x="1315" y="82"/>
                  <a:pt x="1315" y="82"/>
                </a:cubicBezTo>
                <a:cubicBezTo>
                  <a:pt x="1314" y="83"/>
                  <a:pt x="1314" y="83"/>
                  <a:pt x="1314" y="83"/>
                </a:cubicBezTo>
                <a:cubicBezTo>
                  <a:pt x="1315" y="85"/>
                  <a:pt x="1315" y="85"/>
                  <a:pt x="1315" y="85"/>
                </a:cubicBezTo>
                <a:cubicBezTo>
                  <a:pt x="1318" y="85"/>
                  <a:pt x="1318" y="85"/>
                  <a:pt x="1318" y="85"/>
                </a:cubicBezTo>
                <a:cubicBezTo>
                  <a:pt x="1320" y="88"/>
                  <a:pt x="1320" y="88"/>
                  <a:pt x="1320" y="88"/>
                </a:cubicBezTo>
                <a:cubicBezTo>
                  <a:pt x="1323" y="89"/>
                  <a:pt x="1323" y="89"/>
                  <a:pt x="1323" y="89"/>
                </a:cubicBezTo>
                <a:cubicBezTo>
                  <a:pt x="1327" y="88"/>
                  <a:pt x="1327" y="88"/>
                  <a:pt x="1327" y="88"/>
                </a:cubicBezTo>
                <a:cubicBezTo>
                  <a:pt x="1333" y="89"/>
                  <a:pt x="1333" y="89"/>
                  <a:pt x="1333" y="89"/>
                </a:cubicBezTo>
                <a:cubicBezTo>
                  <a:pt x="1335" y="88"/>
                  <a:pt x="1335" y="88"/>
                  <a:pt x="1335" y="88"/>
                </a:cubicBezTo>
                <a:cubicBezTo>
                  <a:pt x="1335" y="87"/>
                  <a:pt x="1335" y="87"/>
                  <a:pt x="1335" y="87"/>
                </a:cubicBezTo>
                <a:cubicBezTo>
                  <a:pt x="1333" y="87"/>
                  <a:pt x="1333" y="87"/>
                  <a:pt x="1333" y="87"/>
                </a:cubicBezTo>
                <a:cubicBezTo>
                  <a:pt x="1328" y="87"/>
                  <a:pt x="1328" y="87"/>
                  <a:pt x="1328" y="87"/>
                </a:cubicBezTo>
                <a:cubicBezTo>
                  <a:pt x="1326" y="86"/>
                  <a:pt x="1326" y="86"/>
                  <a:pt x="1326" y="86"/>
                </a:cubicBezTo>
                <a:cubicBezTo>
                  <a:pt x="1323" y="85"/>
                  <a:pt x="1323" y="85"/>
                  <a:pt x="1323" y="85"/>
                </a:cubicBezTo>
                <a:cubicBezTo>
                  <a:pt x="1321" y="84"/>
                  <a:pt x="1321" y="84"/>
                  <a:pt x="1321" y="84"/>
                </a:cubicBezTo>
                <a:cubicBezTo>
                  <a:pt x="1320" y="83"/>
                  <a:pt x="1320" y="83"/>
                  <a:pt x="1320" y="83"/>
                </a:cubicBezTo>
                <a:cubicBezTo>
                  <a:pt x="1321" y="82"/>
                  <a:pt x="1321" y="82"/>
                  <a:pt x="1321" y="82"/>
                </a:cubicBezTo>
                <a:lnTo>
                  <a:pt x="1323" y="82"/>
                </a:lnTo>
                <a:close/>
                <a:moveTo>
                  <a:pt x="1345" y="88"/>
                </a:moveTo>
                <a:cubicBezTo>
                  <a:pt x="1346" y="89"/>
                  <a:pt x="1346" y="89"/>
                  <a:pt x="1346" y="89"/>
                </a:cubicBezTo>
                <a:cubicBezTo>
                  <a:pt x="1347" y="88"/>
                  <a:pt x="1347" y="88"/>
                  <a:pt x="1347" y="88"/>
                </a:cubicBezTo>
                <a:cubicBezTo>
                  <a:pt x="1347" y="87"/>
                  <a:pt x="1347" y="87"/>
                  <a:pt x="1347" y="87"/>
                </a:cubicBezTo>
                <a:cubicBezTo>
                  <a:pt x="1345" y="88"/>
                  <a:pt x="1345" y="88"/>
                  <a:pt x="1345" y="88"/>
                </a:cubicBezTo>
                <a:close/>
                <a:moveTo>
                  <a:pt x="1342" y="93"/>
                </a:moveTo>
                <a:cubicBezTo>
                  <a:pt x="1339" y="91"/>
                  <a:pt x="1339" y="91"/>
                  <a:pt x="1339" y="91"/>
                </a:cubicBezTo>
                <a:cubicBezTo>
                  <a:pt x="1338" y="91"/>
                  <a:pt x="1338" y="91"/>
                  <a:pt x="1338" y="91"/>
                </a:cubicBezTo>
                <a:cubicBezTo>
                  <a:pt x="1335" y="89"/>
                  <a:pt x="1335" y="89"/>
                  <a:pt x="1335" y="89"/>
                </a:cubicBezTo>
                <a:cubicBezTo>
                  <a:pt x="1333" y="89"/>
                  <a:pt x="1333" y="89"/>
                  <a:pt x="1333" y="89"/>
                </a:cubicBezTo>
                <a:cubicBezTo>
                  <a:pt x="1329" y="90"/>
                  <a:pt x="1329" y="90"/>
                  <a:pt x="1329" y="90"/>
                </a:cubicBezTo>
                <a:cubicBezTo>
                  <a:pt x="1327" y="89"/>
                  <a:pt x="1327" y="89"/>
                  <a:pt x="1327" y="89"/>
                </a:cubicBezTo>
                <a:cubicBezTo>
                  <a:pt x="1324" y="90"/>
                  <a:pt x="1324" y="90"/>
                  <a:pt x="1324" y="90"/>
                </a:cubicBezTo>
                <a:cubicBezTo>
                  <a:pt x="1323" y="89"/>
                  <a:pt x="1323" y="89"/>
                  <a:pt x="1323" y="89"/>
                </a:cubicBezTo>
                <a:cubicBezTo>
                  <a:pt x="1323" y="89"/>
                  <a:pt x="1322" y="90"/>
                  <a:pt x="1322" y="90"/>
                </a:cubicBezTo>
                <a:cubicBezTo>
                  <a:pt x="1323" y="91"/>
                  <a:pt x="1323" y="91"/>
                  <a:pt x="1323" y="91"/>
                </a:cubicBezTo>
                <a:cubicBezTo>
                  <a:pt x="1326" y="91"/>
                  <a:pt x="1326" y="91"/>
                  <a:pt x="1326" y="91"/>
                </a:cubicBezTo>
                <a:cubicBezTo>
                  <a:pt x="1328" y="93"/>
                  <a:pt x="1328" y="93"/>
                  <a:pt x="1328" y="93"/>
                </a:cubicBezTo>
                <a:cubicBezTo>
                  <a:pt x="1331" y="93"/>
                  <a:pt x="1331" y="93"/>
                  <a:pt x="1331" y="93"/>
                </a:cubicBezTo>
                <a:cubicBezTo>
                  <a:pt x="1333" y="94"/>
                  <a:pt x="1333" y="94"/>
                  <a:pt x="1333" y="94"/>
                </a:cubicBezTo>
                <a:cubicBezTo>
                  <a:pt x="1335" y="94"/>
                  <a:pt x="1335" y="94"/>
                  <a:pt x="1335" y="94"/>
                </a:cubicBezTo>
                <a:cubicBezTo>
                  <a:pt x="1335" y="94"/>
                  <a:pt x="1335" y="94"/>
                  <a:pt x="1335" y="94"/>
                </a:cubicBezTo>
                <a:cubicBezTo>
                  <a:pt x="1335" y="96"/>
                  <a:pt x="1335" y="96"/>
                  <a:pt x="1335" y="96"/>
                </a:cubicBezTo>
                <a:cubicBezTo>
                  <a:pt x="1337" y="97"/>
                  <a:pt x="1337" y="97"/>
                  <a:pt x="1337" y="97"/>
                </a:cubicBezTo>
                <a:cubicBezTo>
                  <a:pt x="1339" y="96"/>
                  <a:pt x="1339" y="96"/>
                  <a:pt x="1339" y="96"/>
                </a:cubicBezTo>
                <a:cubicBezTo>
                  <a:pt x="1340" y="97"/>
                  <a:pt x="1340" y="97"/>
                  <a:pt x="1340" y="97"/>
                </a:cubicBezTo>
                <a:cubicBezTo>
                  <a:pt x="1341" y="96"/>
                  <a:pt x="1341" y="96"/>
                  <a:pt x="1341" y="96"/>
                </a:cubicBezTo>
                <a:cubicBezTo>
                  <a:pt x="1341" y="95"/>
                  <a:pt x="1341" y="95"/>
                  <a:pt x="1341" y="95"/>
                </a:cubicBezTo>
                <a:cubicBezTo>
                  <a:pt x="1341" y="94"/>
                  <a:pt x="1341" y="94"/>
                  <a:pt x="1341" y="94"/>
                </a:cubicBezTo>
                <a:cubicBezTo>
                  <a:pt x="1341" y="93"/>
                  <a:pt x="1341" y="93"/>
                  <a:pt x="1341" y="93"/>
                </a:cubicBezTo>
                <a:lnTo>
                  <a:pt x="1342" y="93"/>
                </a:lnTo>
                <a:close/>
                <a:moveTo>
                  <a:pt x="2008" y="1206"/>
                </a:moveTo>
                <a:cubicBezTo>
                  <a:pt x="2008" y="1207"/>
                  <a:pt x="2008" y="1207"/>
                  <a:pt x="2008" y="1207"/>
                </a:cubicBezTo>
                <a:cubicBezTo>
                  <a:pt x="2008" y="1209"/>
                  <a:pt x="2008" y="1209"/>
                  <a:pt x="2008" y="1209"/>
                </a:cubicBezTo>
                <a:cubicBezTo>
                  <a:pt x="2008" y="1210"/>
                  <a:pt x="2008" y="1210"/>
                  <a:pt x="2008" y="1210"/>
                </a:cubicBezTo>
                <a:cubicBezTo>
                  <a:pt x="2009" y="1208"/>
                  <a:pt x="2009" y="1208"/>
                  <a:pt x="2009" y="1208"/>
                </a:cubicBezTo>
                <a:cubicBezTo>
                  <a:pt x="2009" y="1207"/>
                  <a:pt x="2009" y="1207"/>
                  <a:pt x="2009" y="1207"/>
                </a:cubicBezTo>
                <a:cubicBezTo>
                  <a:pt x="2010" y="1205"/>
                  <a:pt x="2010" y="1205"/>
                  <a:pt x="2010" y="1205"/>
                </a:cubicBezTo>
                <a:cubicBezTo>
                  <a:pt x="2009" y="1206"/>
                  <a:pt x="2009" y="1206"/>
                  <a:pt x="2009" y="1206"/>
                </a:cubicBezTo>
                <a:lnTo>
                  <a:pt x="2008" y="1206"/>
                </a:lnTo>
                <a:close/>
                <a:moveTo>
                  <a:pt x="297" y="309"/>
                </a:moveTo>
                <a:cubicBezTo>
                  <a:pt x="296" y="311"/>
                  <a:pt x="296" y="311"/>
                  <a:pt x="296" y="311"/>
                </a:cubicBezTo>
                <a:cubicBezTo>
                  <a:pt x="297" y="311"/>
                  <a:pt x="297" y="311"/>
                  <a:pt x="297" y="311"/>
                </a:cubicBezTo>
                <a:lnTo>
                  <a:pt x="297" y="309"/>
                </a:lnTo>
                <a:close/>
                <a:moveTo>
                  <a:pt x="1995" y="1172"/>
                </a:moveTo>
                <a:cubicBezTo>
                  <a:pt x="1996" y="1170"/>
                  <a:pt x="1996" y="1170"/>
                  <a:pt x="1996" y="1170"/>
                </a:cubicBezTo>
                <a:cubicBezTo>
                  <a:pt x="1995" y="1170"/>
                  <a:pt x="1995" y="1170"/>
                  <a:pt x="1995" y="1170"/>
                </a:cubicBezTo>
                <a:cubicBezTo>
                  <a:pt x="1994" y="1169"/>
                  <a:pt x="1994" y="1169"/>
                  <a:pt x="1994" y="1169"/>
                </a:cubicBezTo>
                <a:cubicBezTo>
                  <a:pt x="1994" y="1169"/>
                  <a:pt x="1994" y="1169"/>
                  <a:pt x="1994" y="1169"/>
                </a:cubicBezTo>
                <a:cubicBezTo>
                  <a:pt x="1993" y="1171"/>
                  <a:pt x="1993" y="1171"/>
                  <a:pt x="1993" y="1171"/>
                </a:cubicBezTo>
                <a:cubicBezTo>
                  <a:pt x="1994" y="1171"/>
                  <a:pt x="1994" y="1171"/>
                  <a:pt x="1994" y="1171"/>
                </a:cubicBezTo>
                <a:lnTo>
                  <a:pt x="1995" y="1172"/>
                </a:lnTo>
                <a:close/>
                <a:moveTo>
                  <a:pt x="1384" y="956"/>
                </a:moveTo>
                <a:cubicBezTo>
                  <a:pt x="1383" y="956"/>
                  <a:pt x="1383" y="956"/>
                  <a:pt x="1383" y="956"/>
                </a:cubicBezTo>
                <a:cubicBezTo>
                  <a:pt x="1383" y="957"/>
                  <a:pt x="1383" y="957"/>
                  <a:pt x="1383" y="957"/>
                </a:cubicBezTo>
                <a:cubicBezTo>
                  <a:pt x="1383" y="958"/>
                  <a:pt x="1383" y="958"/>
                  <a:pt x="1383" y="958"/>
                </a:cubicBezTo>
                <a:cubicBezTo>
                  <a:pt x="1384" y="959"/>
                  <a:pt x="1384" y="959"/>
                  <a:pt x="1384" y="959"/>
                </a:cubicBezTo>
                <a:cubicBezTo>
                  <a:pt x="1385" y="959"/>
                  <a:pt x="1385" y="959"/>
                  <a:pt x="1385" y="959"/>
                </a:cubicBezTo>
                <a:cubicBezTo>
                  <a:pt x="1385" y="957"/>
                  <a:pt x="1385" y="957"/>
                  <a:pt x="1385" y="957"/>
                </a:cubicBezTo>
                <a:lnTo>
                  <a:pt x="1384" y="956"/>
                </a:lnTo>
                <a:close/>
                <a:moveTo>
                  <a:pt x="1999" y="1165"/>
                </a:moveTo>
                <a:cubicBezTo>
                  <a:pt x="1999" y="1164"/>
                  <a:pt x="1999" y="1164"/>
                  <a:pt x="1999" y="1164"/>
                </a:cubicBezTo>
                <a:cubicBezTo>
                  <a:pt x="1997" y="1166"/>
                  <a:pt x="1997" y="1166"/>
                  <a:pt x="1997" y="1166"/>
                </a:cubicBezTo>
                <a:cubicBezTo>
                  <a:pt x="1998" y="1167"/>
                  <a:pt x="1998" y="1167"/>
                  <a:pt x="1998" y="1167"/>
                </a:cubicBezTo>
                <a:lnTo>
                  <a:pt x="1999" y="1165"/>
                </a:lnTo>
                <a:close/>
                <a:moveTo>
                  <a:pt x="2012" y="1187"/>
                </a:moveTo>
                <a:cubicBezTo>
                  <a:pt x="2012" y="1185"/>
                  <a:pt x="2012" y="1185"/>
                  <a:pt x="2012" y="1185"/>
                </a:cubicBezTo>
                <a:cubicBezTo>
                  <a:pt x="2013" y="1185"/>
                  <a:pt x="2013" y="1185"/>
                  <a:pt x="2013" y="1185"/>
                </a:cubicBezTo>
                <a:cubicBezTo>
                  <a:pt x="2013" y="1182"/>
                  <a:pt x="2013" y="1182"/>
                  <a:pt x="2013" y="1182"/>
                </a:cubicBezTo>
                <a:cubicBezTo>
                  <a:pt x="2012" y="1180"/>
                  <a:pt x="2012" y="1180"/>
                  <a:pt x="2012" y="1180"/>
                </a:cubicBezTo>
                <a:cubicBezTo>
                  <a:pt x="2012" y="1179"/>
                  <a:pt x="2012" y="1179"/>
                  <a:pt x="2012" y="1179"/>
                </a:cubicBezTo>
                <a:cubicBezTo>
                  <a:pt x="2013" y="1173"/>
                  <a:pt x="2013" y="1173"/>
                  <a:pt x="2013" y="1173"/>
                </a:cubicBezTo>
                <a:cubicBezTo>
                  <a:pt x="2011" y="1171"/>
                  <a:pt x="2011" y="1171"/>
                  <a:pt x="2011" y="1171"/>
                </a:cubicBezTo>
                <a:cubicBezTo>
                  <a:pt x="2011" y="1167"/>
                  <a:pt x="2011" y="1167"/>
                  <a:pt x="2011" y="1167"/>
                </a:cubicBezTo>
                <a:cubicBezTo>
                  <a:pt x="2010" y="1165"/>
                  <a:pt x="2010" y="1165"/>
                  <a:pt x="2010" y="1165"/>
                </a:cubicBezTo>
                <a:cubicBezTo>
                  <a:pt x="2009" y="1166"/>
                  <a:pt x="2009" y="1166"/>
                  <a:pt x="2009" y="1166"/>
                </a:cubicBezTo>
                <a:cubicBezTo>
                  <a:pt x="2008" y="1163"/>
                  <a:pt x="2008" y="1163"/>
                  <a:pt x="2008" y="1163"/>
                </a:cubicBezTo>
                <a:cubicBezTo>
                  <a:pt x="2007" y="1161"/>
                  <a:pt x="2007" y="1161"/>
                  <a:pt x="2007" y="1161"/>
                </a:cubicBezTo>
                <a:cubicBezTo>
                  <a:pt x="2006" y="1161"/>
                  <a:pt x="2006" y="1161"/>
                  <a:pt x="2006" y="1161"/>
                </a:cubicBezTo>
                <a:cubicBezTo>
                  <a:pt x="2007" y="1159"/>
                  <a:pt x="2007" y="1159"/>
                  <a:pt x="2007" y="1159"/>
                </a:cubicBezTo>
                <a:cubicBezTo>
                  <a:pt x="2006" y="1156"/>
                  <a:pt x="2006" y="1156"/>
                  <a:pt x="2006" y="1156"/>
                </a:cubicBezTo>
                <a:cubicBezTo>
                  <a:pt x="2003" y="1159"/>
                  <a:pt x="2003" y="1159"/>
                  <a:pt x="2003" y="1159"/>
                </a:cubicBezTo>
                <a:cubicBezTo>
                  <a:pt x="2004" y="1160"/>
                  <a:pt x="2004" y="1160"/>
                  <a:pt x="2004" y="1160"/>
                </a:cubicBezTo>
                <a:cubicBezTo>
                  <a:pt x="2002" y="1161"/>
                  <a:pt x="2002" y="1161"/>
                  <a:pt x="2002" y="1161"/>
                </a:cubicBezTo>
                <a:cubicBezTo>
                  <a:pt x="2000" y="1160"/>
                  <a:pt x="2000" y="1160"/>
                  <a:pt x="2000" y="1160"/>
                </a:cubicBezTo>
                <a:cubicBezTo>
                  <a:pt x="1999" y="1160"/>
                  <a:pt x="1999" y="1160"/>
                  <a:pt x="1999" y="1160"/>
                </a:cubicBezTo>
                <a:cubicBezTo>
                  <a:pt x="2001" y="1163"/>
                  <a:pt x="2001" y="1163"/>
                  <a:pt x="2001" y="1163"/>
                </a:cubicBezTo>
                <a:cubicBezTo>
                  <a:pt x="2001" y="1164"/>
                  <a:pt x="2001" y="1164"/>
                  <a:pt x="2001" y="1164"/>
                </a:cubicBezTo>
                <a:cubicBezTo>
                  <a:pt x="2002" y="1165"/>
                  <a:pt x="2002" y="1165"/>
                  <a:pt x="2002" y="1165"/>
                </a:cubicBezTo>
                <a:cubicBezTo>
                  <a:pt x="2002" y="1166"/>
                  <a:pt x="2002" y="1166"/>
                  <a:pt x="2002" y="1166"/>
                </a:cubicBezTo>
                <a:cubicBezTo>
                  <a:pt x="2000" y="1168"/>
                  <a:pt x="2000" y="1168"/>
                  <a:pt x="2000" y="1168"/>
                </a:cubicBezTo>
                <a:cubicBezTo>
                  <a:pt x="2000" y="1171"/>
                  <a:pt x="2000" y="1171"/>
                  <a:pt x="2000" y="1171"/>
                </a:cubicBezTo>
                <a:cubicBezTo>
                  <a:pt x="1999" y="1173"/>
                  <a:pt x="1999" y="1173"/>
                  <a:pt x="1999" y="1173"/>
                </a:cubicBezTo>
                <a:cubicBezTo>
                  <a:pt x="1998" y="1172"/>
                  <a:pt x="1998" y="1172"/>
                  <a:pt x="1998" y="1172"/>
                </a:cubicBezTo>
                <a:cubicBezTo>
                  <a:pt x="1996" y="1174"/>
                  <a:pt x="1996" y="1174"/>
                  <a:pt x="1996" y="1174"/>
                </a:cubicBezTo>
                <a:cubicBezTo>
                  <a:pt x="1996" y="1176"/>
                  <a:pt x="1996" y="1176"/>
                  <a:pt x="1996" y="1176"/>
                </a:cubicBezTo>
                <a:cubicBezTo>
                  <a:pt x="1994" y="1177"/>
                  <a:pt x="1994" y="1177"/>
                  <a:pt x="1994" y="1177"/>
                </a:cubicBezTo>
                <a:cubicBezTo>
                  <a:pt x="1993" y="1176"/>
                  <a:pt x="1993" y="1176"/>
                  <a:pt x="1993" y="1176"/>
                </a:cubicBezTo>
                <a:cubicBezTo>
                  <a:pt x="1993" y="1174"/>
                  <a:pt x="1993" y="1174"/>
                  <a:pt x="1993" y="1174"/>
                </a:cubicBezTo>
                <a:cubicBezTo>
                  <a:pt x="1992" y="1173"/>
                  <a:pt x="1992" y="1173"/>
                  <a:pt x="1992" y="1173"/>
                </a:cubicBezTo>
                <a:cubicBezTo>
                  <a:pt x="1991" y="1175"/>
                  <a:pt x="1991" y="1175"/>
                  <a:pt x="1991" y="1175"/>
                </a:cubicBezTo>
                <a:cubicBezTo>
                  <a:pt x="1991" y="1177"/>
                  <a:pt x="1991" y="1177"/>
                  <a:pt x="1991" y="1177"/>
                </a:cubicBezTo>
                <a:cubicBezTo>
                  <a:pt x="1993" y="1179"/>
                  <a:pt x="1993" y="1179"/>
                  <a:pt x="1993" y="1179"/>
                </a:cubicBezTo>
                <a:cubicBezTo>
                  <a:pt x="1993" y="1180"/>
                  <a:pt x="1993" y="1180"/>
                  <a:pt x="1993" y="1180"/>
                </a:cubicBezTo>
                <a:cubicBezTo>
                  <a:pt x="1992" y="1181"/>
                  <a:pt x="1992" y="1181"/>
                  <a:pt x="1992" y="1181"/>
                </a:cubicBezTo>
                <a:cubicBezTo>
                  <a:pt x="1991" y="1180"/>
                  <a:pt x="1991" y="1180"/>
                  <a:pt x="1991" y="1180"/>
                </a:cubicBezTo>
                <a:cubicBezTo>
                  <a:pt x="1989" y="1181"/>
                  <a:pt x="1989" y="1181"/>
                  <a:pt x="1989" y="1181"/>
                </a:cubicBezTo>
                <a:cubicBezTo>
                  <a:pt x="1990" y="1183"/>
                  <a:pt x="1990" y="1183"/>
                  <a:pt x="1990" y="1183"/>
                </a:cubicBezTo>
                <a:cubicBezTo>
                  <a:pt x="1992" y="1183"/>
                  <a:pt x="1992" y="1183"/>
                  <a:pt x="1992" y="1183"/>
                </a:cubicBezTo>
                <a:cubicBezTo>
                  <a:pt x="1992" y="1184"/>
                  <a:pt x="1992" y="1184"/>
                  <a:pt x="1992" y="1184"/>
                </a:cubicBezTo>
                <a:cubicBezTo>
                  <a:pt x="1991" y="1186"/>
                  <a:pt x="1991" y="1186"/>
                  <a:pt x="1991" y="1186"/>
                </a:cubicBezTo>
                <a:cubicBezTo>
                  <a:pt x="1990" y="1184"/>
                  <a:pt x="1990" y="1184"/>
                  <a:pt x="1990" y="1184"/>
                </a:cubicBezTo>
                <a:cubicBezTo>
                  <a:pt x="1989" y="1185"/>
                  <a:pt x="1989" y="1185"/>
                  <a:pt x="1989" y="1185"/>
                </a:cubicBezTo>
                <a:cubicBezTo>
                  <a:pt x="1988" y="1186"/>
                  <a:pt x="1988" y="1186"/>
                  <a:pt x="1988" y="1186"/>
                </a:cubicBezTo>
                <a:cubicBezTo>
                  <a:pt x="1985" y="1189"/>
                  <a:pt x="1985" y="1189"/>
                  <a:pt x="1985" y="1189"/>
                </a:cubicBezTo>
                <a:cubicBezTo>
                  <a:pt x="1985" y="1186"/>
                  <a:pt x="1985" y="1186"/>
                  <a:pt x="1985" y="1186"/>
                </a:cubicBezTo>
                <a:cubicBezTo>
                  <a:pt x="1986" y="1186"/>
                  <a:pt x="1986" y="1186"/>
                  <a:pt x="1986" y="1186"/>
                </a:cubicBezTo>
                <a:cubicBezTo>
                  <a:pt x="1985" y="1184"/>
                  <a:pt x="1985" y="1184"/>
                  <a:pt x="1985" y="1184"/>
                </a:cubicBezTo>
                <a:cubicBezTo>
                  <a:pt x="1983" y="1186"/>
                  <a:pt x="1983" y="1186"/>
                  <a:pt x="1983" y="1186"/>
                </a:cubicBezTo>
                <a:cubicBezTo>
                  <a:pt x="1984" y="1187"/>
                  <a:pt x="1984" y="1187"/>
                  <a:pt x="1984" y="1187"/>
                </a:cubicBezTo>
                <a:cubicBezTo>
                  <a:pt x="1984" y="1188"/>
                  <a:pt x="1984" y="1188"/>
                  <a:pt x="1984" y="1188"/>
                </a:cubicBezTo>
                <a:cubicBezTo>
                  <a:pt x="1982" y="1189"/>
                  <a:pt x="1982" y="1189"/>
                  <a:pt x="1982" y="1189"/>
                </a:cubicBezTo>
                <a:cubicBezTo>
                  <a:pt x="1983" y="1191"/>
                  <a:pt x="1983" y="1191"/>
                  <a:pt x="1983" y="1191"/>
                </a:cubicBezTo>
                <a:cubicBezTo>
                  <a:pt x="1984" y="1192"/>
                  <a:pt x="1984" y="1192"/>
                  <a:pt x="1984" y="1192"/>
                </a:cubicBezTo>
                <a:cubicBezTo>
                  <a:pt x="1984" y="1193"/>
                  <a:pt x="1984" y="1193"/>
                  <a:pt x="1984" y="1193"/>
                </a:cubicBezTo>
                <a:cubicBezTo>
                  <a:pt x="1983" y="1193"/>
                  <a:pt x="1983" y="1193"/>
                  <a:pt x="1983" y="1193"/>
                </a:cubicBezTo>
                <a:cubicBezTo>
                  <a:pt x="1981" y="1194"/>
                  <a:pt x="1981" y="1194"/>
                  <a:pt x="1981" y="1194"/>
                </a:cubicBezTo>
                <a:cubicBezTo>
                  <a:pt x="1981" y="1193"/>
                  <a:pt x="1981" y="1193"/>
                  <a:pt x="1981" y="1193"/>
                </a:cubicBezTo>
                <a:cubicBezTo>
                  <a:pt x="1980" y="1192"/>
                  <a:pt x="1980" y="1192"/>
                  <a:pt x="1980" y="1192"/>
                </a:cubicBezTo>
                <a:cubicBezTo>
                  <a:pt x="1981" y="1191"/>
                  <a:pt x="1981" y="1191"/>
                  <a:pt x="1981" y="1191"/>
                </a:cubicBezTo>
                <a:cubicBezTo>
                  <a:pt x="1980" y="1190"/>
                  <a:pt x="1980" y="1190"/>
                  <a:pt x="1980" y="1190"/>
                </a:cubicBezTo>
                <a:cubicBezTo>
                  <a:pt x="1976" y="1193"/>
                  <a:pt x="1976" y="1193"/>
                  <a:pt x="1976" y="1193"/>
                </a:cubicBezTo>
                <a:cubicBezTo>
                  <a:pt x="1976" y="1196"/>
                  <a:pt x="1976" y="1196"/>
                  <a:pt x="1976" y="1196"/>
                </a:cubicBezTo>
                <a:cubicBezTo>
                  <a:pt x="1976" y="1197"/>
                  <a:pt x="1976" y="1197"/>
                  <a:pt x="1976" y="1197"/>
                </a:cubicBezTo>
                <a:cubicBezTo>
                  <a:pt x="1975" y="1199"/>
                  <a:pt x="1975" y="1199"/>
                  <a:pt x="1975" y="1199"/>
                </a:cubicBezTo>
                <a:cubicBezTo>
                  <a:pt x="1974" y="1198"/>
                  <a:pt x="1974" y="1198"/>
                  <a:pt x="1974" y="1198"/>
                </a:cubicBezTo>
                <a:cubicBezTo>
                  <a:pt x="1973" y="1198"/>
                  <a:pt x="1973" y="1198"/>
                  <a:pt x="1973" y="1198"/>
                </a:cubicBezTo>
                <a:cubicBezTo>
                  <a:pt x="1973" y="1195"/>
                  <a:pt x="1973" y="1195"/>
                  <a:pt x="1973" y="1195"/>
                </a:cubicBezTo>
                <a:cubicBezTo>
                  <a:pt x="1972" y="1195"/>
                  <a:pt x="1972" y="1195"/>
                  <a:pt x="1972" y="1195"/>
                </a:cubicBezTo>
                <a:cubicBezTo>
                  <a:pt x="1970" y="1197"/>
                  <a:pt x="1970" y="1197"/>
                  <a:pt x="1970" y="1197"/>
                </a:cubicBezTo>
                <a:cubicBezTo>
                  <a:pt x="1967" y="1195"/>
                  <a:pt x="1967" y="1195"/>
                  <a:pt x="1967" y="1195"/>
                </a:cubicBezTo>
                <a:cubicBezTo>
                  <a:pt x="1967" y="1196"/>
                  <a:pt x="1967" y="1196"/>
                  <a:pt x="1967" y="1196"/>
                </a:cubicBezTo>
                <a:cubicBezTo>
                  <a:pt x="1966" y="1196"/>
                  <a:pt x="1966" y="1196"/>
                  <a:pt x="1966" y="1196"/>
                </a:cubicBezTo>
                <a:cubicBezTo>
                  <a:pt x="1966" y="1199"/>
                  <a:pt x="1966" y="1199"/>
                  <a:pt x="1966" y="1199"/>
                </a:cubicBezTo>
                <a:cubicBezTo>
                  <a:pt x="1966" y="1199"/>
                  <a:pt x="1966" y="1199"/>
                  <a:pt x="1966" y="1199"/>
                </a:cubicBezTo>
                <a:cubicBezTo>
                  <a:pt x="1965" y="1199"/>
                  <a:pt x="1965" y="1199"/>
                  <a:pt x="1965" y="1199"/>
                </a:cubicBezTo>
                <a:cubicBezTo>
                  <a:pt x="1965" y="1198"/>
                  <a:pt x="1965" y="1198"/>
                  <a:pt x="1965" y="1198"/>
                </a:cubicBezTo>
                <a:cubicBezTo>
                  <a:pt x="1964" y="1197"/>
                  <a:pt x="1964" y="1197"/>
                  <a:pt x="1964" y="1197"/>
                </a:cubicBezTo>
                <a:cubicBezTo>
                  <a:pt x="1963" y="1199"/>
                  <a:pt x="1963" y="1199"/>
                  <a:pt x="1963" y="1199"/>
                </a:cubicBezTo>
                <a:cubicBezTo>
                  <a:pt x="1962" y="1197"/>
                  <a:pt x="1962" y="1197"/>
                  <a:pt x="1962" y="1197"/>
                </a:cubicBezTo>
                <a:cubicBezTo>
                  <a:pt x="1958" y="1201"/>
                  <a:pt x="1958" y="1201"/>
                  <a:pt x="1958" y="1201"/>
                </a:cubicBezTo>
                <a:cubicBezTo>
                  <a:pt x="1957" y="1201"/>
                  <a:pt x="1957" y="1201"/>
                  <a:pt x="1957" y="1201"/>
                </a:cubicBezTo>
                <a:cubicBezTo>
                  <a:pt x="1956" y="1200"/>
                  <a:pt x="1956" y="1200"/>
                  <a:pt x="1956" y="1200"/>
                </a:cubicBezTo>
                <a:cubicBezTo>
                  <a:pt x="1954" y="1200"/>
                  <a:pt x="1954" y="1200"/>
                  <a:pt x="1954" y="1200"/>
                </a:cubicBezTo>
                <a:cubicBezTo>
                  <a:pt x="1953" y="1202"/>
                  <a:pt x="1953" y="1202"/>
                  <a:pt x="1953" y="1202"/>
                </a:cubicBezTo>
                <a:cubicBezTo>
                  <a:pt x="1953" y="1205"/>
                  <a:pt x="1953" y="1205"/>
                  <a:pt x="1953" y="1205"/>
                </a:cubicBezTo>
                <a:cubicBezTo>
                  <a:pt x="1950" y="1209"/>
                  <a:pt x="1950" y="1209"/>
                  <a:pt x="1950" y="1209"/>
                </a:cubicBezTo>
                <a:cubicBezTo>
                  <a:pt x="1950" y="1210"/>
                  <a:pt x="1950" y="1210"/>
                  <a:pt x="1950" y="1210"/>
                </a:cubicBezTo>
                <a:cubicBezTo>
                  <a:pt x="1947" y="1213"/>
                  <a:pt x="1947" y="1213"/>
                  <a:pt x="1947" y="1213"/>
                </a:cubicBezTo>
                <a:cubicBezTo>
                  <a:pt x="1947" y="1215"/>
                  <a:pt x="1947" y="1215"/>
                  <a:pt x="1947" y="1215"/>
                </a:cubicBezTo>
                <a:cubicBezTo>
                  <a:pt x="1949" y="1216"/>
                  <a:pt x="1949" y="1216"/>
                  <a:pt x="1949" y="1216"/>
                </a:cubicBezTo>
                <a:cubicBezTo>
                  <a:pt x="1948" y="1218"/>
                  <a:pt x="1948" y="1218"/>
                  <a:pt x="1948" y="1218"/>
                </a:cubicBezTo>
                <a:cubicBezTo>
                  <a:pt x="1949" y="1221"/>
                  <a:pt x="1949" y="1221"/>
                  <a:pt x="1949" y="1221"/>
                </a:cubicBezTo>
                <a:cubicBezTo>
                  <a:pt x="1949" y="1223"/>
                  <a:pt x="1949" y="1223"/>
                  <a:pt x="1949" y="1223"/>
                </a:cubicBezTo>
                <a:cubicBezTo>
                  <a:pt x="1951" y="1229"/>
                  <a:pt x="1951" y="1229"/>
                  <a:pt x="1951" y="1229"/>
                </a:cubicBezTo>
                <a:cubicBezTo>
                  <a:pt x="1951" y="1230"/>
                  <a:pt x="1951" y="1230"/>
                  <a:pt x="1951" y="1230"/>
                </a:cubicBezTo>
                <a:cubicBezTo>
                  <a:pt x="1953" y="1232"/>
                  <a:pt x="1953" y="1232"/>
                  <a:pt x="1953" y="1232"/>
                </a:cubicBezTo>
                <a:cubicBezTo>
                  <a:pt x="1953" y="1233"/>
                  <a:pt x="1953" y="1233"/>
                  <a:pt x="1953" y="1233"/>
                </a:cubicBezTo>
                <a:cubicBezTo>
                  <a:pt x="1952" y="1235"/>
                  <a:pt x="1952" y="1235"/>
                  <a:pt x="1952" y="1235"/>
                </a:cubicBezTo>
                <a:cubicBezTo>
                  <a:pt x="1952" y="1236"/>
                  <a:pt x="1952" y="1236"/>
                  <a:pt x="1952" y="1236"/>
                </a:cubicBezTo>
                <a:cubicBezTo>
                  <a:pt x="1951" y="1241"/>
                  <a:pt x="1951" y="1241"/>
                  <a:pt x="1951" y="1241"/>
                </a:cubicBezTo>
                <a:cubicBezTo>
                  <a:pt x="1949" y="1242"/>
                  <a:pt x="1949" y="1242"/>
                  <a:pt x="1949" y="1242"/>
                </a:cubicBezTo>
                <a:cubicBezTo>
                  <a:pt x="1948" y="1244"/>
                  <a:pt x="1948" y="1244"/>
                  <a:pt x="1948" y="1244"/>
                </a:cubicBezTo>
                <a:cubicBezTo>
                  <a:pt x="1947" y="1245"/>
                  <a:pt x="1947" y="1245"/>
                  <a:pt x="1947" y="1245"/>
                </a:cubicBezTo>
                <a:cubicBezTo>
                  <a:pt x="1947" y="1246"/>
                  <a:pt x="1947" y="1246"/>
                  <a:pt x="1947" y="1246"/>
                </a:cubicBezTo>
                <a:cubicBezTo>
                  <a:pt x="1945" y="1248"/>
                  <a:pt x="1945" y="1248"/>
                  <a:pt x="1945" y="1248"/>
                </a:cubicBezTo>
                <a:cubicBezTo>
                  <a:pt x="1945" y="1252"/>
                  <a:pt x="1945" y="1252"/>
                  <a:pt x="1945" y="1252"/>
                </a:cubicBezTo>
                <a:cubicBezTo>
                  <a:pt x="1943" y="1253"/>
                  <a:pt x="1943" y="1253"/>
                  <a:pt x="1943" y="1253"/>
                </a:cubicBezTo>
                <a:cubicBezTo>
                  <a:pt x="1940" y="1254"/>
                  <a:pt x="1940" y="1254"/>
                  <a:pt x="1940" y="1254"/>
                </a:cubicBezTo>
                <a:cubicBezTo>
                  <a:pt x="1940" y="1255"/>
                  <a:pt x="1940" y="1255"/>
                  <a:pt x="1940" y="1255"/>
                </a:cubicBezTo>
                <a:cubicBezTo>
                  <a:pt x="1940" y="1258"/>
                  <a:pt x="1940" y="1258"/>
                  <a:pt x="1940" y="1258"/>
                </a:cubicBezTo>
                <a:cubicBezTo>
                  <a:pt x="1938" y="1260"/>
                  <a:pt x="1938" y="1260"/>
                  <a:pt x="1938" y="1260"/>
                </a:cubicBezTo>
                <a:cubicBezTo>
                  <a:pt x="1938" y="1263"/>
                  <a:pt x="1938" y="1263"/>
                  <a:pt x="1938" y="1263"/>
                </a:cubicBezTo>
                <a:cubicBezTo>
                  <a:pt x="1937" y="1265"/>
                  <a:pt x="1937" y="1265"/>
                  <a:pt x="1937" y="1265"/>
                </a:cubicBezTo>
                <a:cubicBezTo>
                  <a:pt x="1938" y="1266"/>
                  <a:pt x="1938" y="1266"/>
                  <a:pt x="1938" y="1266"/>
                </a:cubicBezTo>
                <a:cubicBezTo>
                  <a:pt x="1938" y="1269"/>
                  <a:pt x="1938" y="1269"/>
                  <a:pt x="1938" y="1269"/>
                </a:cubicBezTo>
                <a:cubicBezTo>
                  <a:pt x="1941" y="1272"/>
                  <a:pt x="1941" y="1272"/>
                  <a:pt x="1941" y="1272"/>
                </a:cubicBezTo>
                <a:cubicBezTo>
                  <a:pt x="1940" y="1274"/>
                  <a:pt x="1940" y="1274"/>
                  <a:pt x="1940" y="1274"/>
                </a:cubicBezTo>
                <a:cubicBezTo>
                  <a:pt x="1941" y="1276"/>
                  <a:pt x="1941" y="1276"/>
                  <a:pt x="1941" y="1276"/>
                </a:cubicBezTo>
                <a:cubicBezTo>
                  <a:pt x="1942" y="1277"/>
                  <a:pt x="1942" y="1277"/>
                  <a:pt x="1942" y="1277"/>
                </a:cubicBezTo>
                <a:cubicBezTo>
                  <a:pt x="1943" y="1277"/>
                  <a:pt x="1943" y="1277"/>
                  <a:pt x="1943" y="1277"/>
                </a:cubicBezTo>
                <a:cubicBezTo>
                  <a:pt x="1942" y="1277"/>
                  <a:pt x="1942" y="1277"/>
                  <a:pt x="1942" y="1277"/>
                </a:cubicBezTo>
                <a:cubicBezTo>
                  <a:pt x="1940" y="1278"/>
                  <a:pt x="1940" y="1278"/>
                  <a:pt x="1940" y="1278"/>
                </a:cubicBezTo>
                <a:cubicBezTo>
                  <a:pt x="1940" y="1280"/>
                  <a:pt x="1940" y="1280"/>
                  <a:pt x="1940" y="1280"/>
                </a:cubicBezTo>
                <a:cubicBezTo>
                  <a:pt x="1940" y="1283"/>
                  <a:pt x="1940" y="1283"/>
                  <a:pt x="1940" y="1283"/>
                </a:cubicBezTo>
                <a:cubicBezTo>
                  <a:pt x="1940" y="1287"/>
                  <a:pt x="1940" y="1287"/>
                  <a:pt x="1940" y="1287"/>
                </a:cubicBezTo>
                <a:cubicBezTo>
                  <a:pt x="1941" y="1288"/>
                  <a:pt x="1941" y="1288"/>
                  <a:pt x="1941" y="1288"/>
                </a:cubicBezTo>
                <a:cubicBezTo>
                  <a:pt x="1941" y="1290"/>
                  <a:pt x="1941" y="1290"/>
                  <a:pt x="1941" y="1290"/>
                </a:cubicBezTo>
                <a:cubicBezTo>
                  <a:pt x="1942" y="1290"/>
                  <a:pt x="1942" y="1290"/>
                  <a:pt x="1942" y="1290"/>
                </a:cubicBezTo>
                <a:cubicBezTo>
                  <a:pt x="1943" y="1292"/>
                  <a:pt x="1943" y="1292"/>
                  <a:pt x="1943" y="1292"/>
                </a:cubicBezTo>
                <a:cubicBezTo>
                  <a:pt x="1944" y="1293"/>
                  <a:pt x="1944" y="1293"/>
                  <a:pt x="1944" y="1293"/>
                </a:cubicBezTo>
                <a:cubicBezTo>
                  <a:pt x="1945" y="1294"/>
                  <a:pt x="1945" y="1294"/>
                  <a:pt x="1945" y="1294"/>
                </a:cubicBezTo>
                <a:cubicBezTo>
                  <a:pt x="1947" y="1296"/>
                  <a:pt x="1947" y="1296"/>
                  <a:pt x="1947" y="1296"/>
                </a:cubicBezTo>
                <a:cubicBezTo>
                  <a:pt x="1948" y="1295"/>
                  <a:pt x="1948" y="1295"/>
                  <a:pt x="1948" y="1295"/>
                </a:cubicBezTo>
                <a:cubicBezTo>
                  <a:pt x="1949" y="1296"/>
                  <a:pt x="1949" y="1296"/>
                  <a:pt x="1949" y="1296"/>
                </a:cubicBezTo>
                <a:cubicBezTo>
                  <a:pt x="1950" y="1296"/>
                  <a:pt x="1950" y="1296"/>
                  <a:pt x="1950" y="1296"/>
                </a:cubicBezTo>
                <a:cubicBezTo>
                  <a:pt x="1952" y="1299"/>
                  <a:pt x="1952" y="1299"/>
                  <a:pt x="1952" y="1299"/>
                </a:cubicBezTo>
                <a:cubicBezTo>
                  <a:pt x="1953" y="1299"/>
                  <a:pt x="1953" y="1299"/>
                  <a:pt x="1953" y="1299"/>
                </a:cubicBezTo>
                <a:cubicBezTo>
                  <a:pt x="1953" y="1300"/>
                  <a:pt x="1953" y="1300"/>
                  <a:pt x="1953" y="1300"/>
                </a:cubicBezTo>
                <a:cubicBezTo>
                  <a:pt x="1954" y="1300"/>
                  <a:pt x="1954" y="1300"/>
                  <a:pt x="1954" y="1300"/>
                </a:cubicBezTo>
                <a:cubicBezTo>
                  <a:pt x="1955" y="1299"/>
                  <a:pt x="1955" y="1299"/>
                  <a:pt x="1955" y="1299"/>
                </a:cubicBezTo>
                <a:cubicBezTo>
                  <a:pt x="1957" y="1300"/>
                  <a:pt x="1957" y="1300"/>
                  <a:pt x="1957" y="1300"/>
                </a:cubicBezTo>
                <a:cubicBezTo>
                  <a:pt x="1960" y="1298"/>
                  <a:pt x="1960" y="1298"/>
                  <a:pt x="1960" y="1298"/>
                </a:cubicBezTo>
                <a:cubicBezTo>
                  <a:pt x="1962" y="1296"/>
                  <a:pt x="1962" y="1296"/>
                  <a:pt x="1962" y="1296"/>
                </a:cubicBezTo>
                <a:cubicBezTo>
                  <a:pt x="1968" y="1295"/>
                  <a:pt x="1968" y="1295"/>
                  <a:pt x="1968" y="1295"/>
                </a:cubicBezTo>
                <a:cubicBezTo>
                  <a:pt x="1970" y="1296"/>
                  <a:pt x="1970" y="1296"/>
                  <a:pt x="1970" y="1296"/>
                </a:cubicBezTo>
                <a:cubicBezTo>
                  <a:pt x="1973" y="1294"/>
                  <a:pt x="1973" y="1294"/>
                  <a:pt x="1973" y="1294"/>
                </a:cubicBezTo>
                <a:cubicBezTo>
                  <a:pt x="1974" y="1293"/>
                  <a:pt x="1974" y="1293"/>
                  <a:pt x="1974" y="1293"/>
                </a:cubicBezTo>
                <a:cubicBezTo>
                  <a:pt x="1976" y="1292"/>
                  <a:pt x="1976" y="1292"/>
                  <a:pt x="1976" y="1292"/>
                </a:cubicBezTo>
                <a:cubicBezTo>
                  <a:pt x="1977" y="1289"/>
                  <a:pt x="1977" y="1289"/>
                  <a:pt x="1977" y="1289"/>
                </a:cubicBezTo>
                <a:cubicBezTo>
                  <a:pt x="1978" y="1287"/>
                  <a:pt x="1978" y="1287"/>
                  <a:pt x="1978" y="1287"/>
                </a:cubicBezTo>
                <a:cubicBezTo>
                  <a:pt x="1978" y="1285"/>
                  <a:pt x="1978" y="1285"/>
                  <a:pt x="1978" y="1285"/>
                </a:cubicBezTo>
                <a:cubicBezTo>
                  <a:pt x="1980" y="1284"/>
                  <a:pt x="1980" y="1284"/>
                  <a:pt x="1980" y="1284"/>
                </a:cubicBezTo>
                <a:cubicBezTo>
                  <a:pt x="1980" y="1281"/>
                  <a:pt x="1980" y="1281"/>
                  <a:pt x="1980" y="1281"/>
                </a:cubicBezTo>
                <a:cubicBezTo>
                  <a:pt x="1980" y="1280"/>
                  <a:pt x="1980" y="1280"/>
                  <a:pt x="1980" y="1280"/>
                </a:cubicBezTo>
                <a:cubicBezTo>
                  <a:pt x="1981" y="1279"/>
                  <a:pt x="1981" y="1279"/>
                  <a:pt x="1981" y="1279"/>
                </a:cubicBezTo>
                <a:cubicBezTo>
                  <a:pt x="1982" y="1276"/>
                  <a:pt x="1982" y="1276"/>
                  <a:pt x="1982" y="1276"/>
                </a:cubicBezTo>
                <a:cubicBezTo>
                  <a:pt x="1982" y="1275"/>
                  <a:pt x="1982" y="1275"/>
                  <a:pt x="1982" y="1275"/>
                </a:cubicBezTo>
                <a:cubicBezTo>
                  <a:pt x="1983" y="1275"/>
                  <a:pt x="1983" y="1275"/>
                  <a:pt x="1983" y="1275"/>
                </a:cubicBezTo>
                <a:cubicBezTo>
                  <a:pt x="1984" y="1272"/>
                  <a:pt x="1984" y="1272"/>
                  <a:pt x="1984" y="1272"/>
                </a:cubicBezTo>
                <a:cubicBezTo>
                  <a:pt x="1986" y="1265"/>
                  <a:pt x="1986" y="1265"/>
                  <a:pt x="1986" y="1265"/>
                </a:cubicBezTo>
                <a:cubicBezTo>
                  <a:pt x="1987" y="1262"/>
                  <a:pt x="1987" y="1262"/>
                  <a:pt x="1987" y="1262"/>
                </a:cubicBezTo>
                <a:cubicBezTo>
                  <a:pt x="1988" y="1260"/>
                  <a:pt x="1988" y="1260"/>
                  <a:pt x="1988" y="1260"/>
                </a:cubicBezTo>
                <a:cubicBezTo>
                  <a:pt x="1989" y="1256"/>
                  <a:pt x="1989" y="1256"/>
                  <a:pt x="1989" y="1256"/>
                </a:cubicBezTo>
                <a:cubicBezTo>
                  <a:pt x="1992" y="1251"/>
                  <a:pt x="1992" y="1251"/>
                  <a:pt x="1992" y="1251"/>
                </a:cubicBezTo>
                <a:cubicBezTo>
                  <a:pt x="1995" y="1243"/>
                  <a:pt x="1995" y="1243"/>
                  <a:pt x="1995" y="1243"/>
                </a:cubicBezTo>
                <a:cubicBezTo>
                  <a:pt x="1997" y="1240"/>
                  <a:pt x="1997" y="1240"/>
                  <a:pt x="1997" y="1240"/>
                </a:cubicBezTo>
                <a:cubicBezTo>
                  <a:pt x="1997" y="1236"/>
                  <a:pt x="1997" y="1236"/>
                  <a:pt x="1997" y="1236"/>
                </a:cubicBezTo>
                <a:cubicBezTo>
                  <a:pt x="1999" y="1233"/>
                  <a:pt x="1999" y="1233"/>
                  <a:pt x="1999" y="1233"/>
                </a:cubicBezTo>
                <a:cubicBezTo>
                  <a:pt x="1999" y="1231"/>
                  <a:pt x="1999" y="1231"/>
                  <a:pt x="1999" y="1231"/>
                </a:cubicBezTo>
                <a:cubicBezTo>
                  <a:pt x="2001" y="1228"/>
                  <a:pt x="2001" y="1228"/>
                  <a:pt x="2001" y="1228"/>
                </a:cubicBezTo>
                <a:cubicBezTo>
                  <a:pt x="2002" y="1222"/>
                  <a:pt x="2002" y="1222"/>
                  <a:pt x="2002" y="1222"/>
                </a:cubicBezTo>
                <a:cubicBezTo>
                  <a:pt x="2003" y="1218"/>
                  <a:pt x="2003" y="1218"/>
                  <a:pt x="2003" y="1218"/>
                </a:cubicBezTo>
                <a:cubicBezTo>
                  <a:pt x="2004" y="1217"/>
                  <a:pt x="2004" y="1217"/>
                  <a:pt x="2004" y="1217"/>
                </a:cubicBezTo>
                <a:cubicBezTo>
                  <a:pt x="2005" y="1214"/>
                  <a:pt x="2005" y="1214"/>
                  <a:pt x="2005" y="1214"/>
                </a:cubicBezTo>
                <a:cubicBezTo>
                  <a:pt x="2004" y="1212"/>
                  <a:pt x="2004" y="1212"/>
                  <a:pt x="2004" y="1212"/>
                </a:cubicBezTo>
                <a:cubicBezTo>
                  <a:pt x="2004" y="1210"/>
                  <a:pt x="2004" y="1210"/>
                  <a:pt x="2004" y="1210"/>
                </a:cubicBezTo>
                <a:cubicBezTo>
                  <a:pt x="2007" y="1207"/>
                  <a:pt x="2007" y="1207"/>
                  <a:pt x="2007" y="1207"/>
                </a:cubicBezTo>
                <a:cubicBezTo>
                  <a:pt x="2006" y="1206"/>
                  <a:pt x="2006" y="1206"/>
                  <a:pt x="2006" y="1206"/>
                </a:cubicBezTo>
                <a:cubicBezTo>
                  <a:pt x="2008" y="1204"/>
                  <a:pt x="2008" y="1204"/>
                  <a:pt x="2008" y="1204"/>
                </a:cubicBezTo>
                <a:cubicBezTo>
                  <a:pt x="2007" y="1201"/>
                  <a:pt x="2007" y="1201"/>
                  <a:pt x="2007" y="1201"/>
                </a:cubicBezTo>
                <a:cubicBezTo>
                  <a:pt x="2007" y="1201"/>
                  <a:pt x="2007" y="1201"/>
                  <a:pt x="2007" y="1201"/>
                </a:cubicBezTo>
                <a:cubicBezTo>
                  <a:pt x="2007" y="1199"/>
                  <a:pt x="2007" y="1199"/>
                  <a:pt x="2007" y="1199"/>
                </a:cubicBezTo>
                <a:cubicBezTo>
                  <a:pt x="2007" y="1196"/>
                  <a:pt x="2007" y="1196"/>
                  <a:pt x="2007" y="1196"/>
                </a:cubicBezTo>
                <a:cubicBezTo>
                  <a:pt x="2007" y="1196"/>
                  <a:pt x="2007" y="1196"/>
                  <a:pt x="2007" y="1196"/>
                </a:cubicBezTo>
                <a:cubicBezTo>
                  <a:pt x="2007" y="1193"/>
                  <a:pt x="2007" y="1193"/>
                  <a:pt x="2007" y="1193"/>
                </a:cubicBezTo>
                <a:cubicBezTo>
                  <a:pt x="2008" y="1193"/>
                  <a:pt x="2008" y="1193"/>
                  <a:pt x="2008" y="1193"/>
                </a:cubicBezTo>
                <a:cubicBezTo>
                  <a:pt x="2009" y="1194"/>
                  <a:pt x="2009" y="1194"/>
                  <a:pt x="2009" y="1194"/>
                </a:cubicBezTo>
                <a:cubicBezTo>
                  <a:pt x="2009" y="1196"/>
                  <a:pt x="2009" y="1196"/>
                  <a:pt x="2009" y="1196"/>
                </a:cubicBezTo>
                <a:cubicBezTo>
                  <a:pt x="2011" y="1198"/>
                  <a:pt x="2011" y="1198"/>
                  <a:pt x="2011" y="1198"/>
                </a:cubicBezTo>
                <a:cubicBezTo>
                  <a:pt x="2012" y="1198"/>
                  <a:pt x="2012" y="1198"/>
                  <a:pt x="2012" y="1198"/>
                </a:cubicBezTo>
                <a:cubicBezTo>
                  <a:pt x="2013" y="1197"/>
                  <a:pt x="2013" y="1197"/>
                  <a:pt x="2013" y="1197"/>
                </a:cubicBezTo>
                <a:cubicBezTo>
                  <a:pt x="2013" y="1195"/>
                  <a:pt x="2013" y="1195"/>
                  <a:pt x="2013" y="1195"/>
                </a:cubicBezTo>
                <a:cubicBezTo>
                  <a:pt x="2014" y="1195"/>
                  <a:pt x="2014" y="1195"/>
                  <a:pt x="2014" y="1195"/>
                </a:cubicBezTo>
                <a:cubicBezTo>
                  <a:pt x="2014" y="1193"/>
                  <a:pt x="2014" y="1193"/>
                  <a:pt x="2014" y="1193"/>
                </a:cubicBezTo>
                <a:cubicBezTo>
                  <a:pt x="2015" y="1192"/>
                  <a:pt x="2015" y="1192"/>
                  <a:pt x="2015" y="1192"/>
                </a:cubicBezTo>
                <a:cubicBezTo>
                  <a:pt x="2014" y="1190"/>
                  <a:pt x="2014" y="1190"/>
                  <a:pt x="2014" y="1190"/>
                </a:cubicBezTo>
                <a:lnTo>
                  <a:pt x="2012" y="1187"/>
                </a:lnTo>
                <a:close/>
                <a:moveTo>
                  <a:pt x="1597" y="998"/>
                </a:moveTo>
                <a:cubicBezTo>
                  <a:pt x="1597" y="995"/>
                  <a:pt x="1597" y="995"/>
                  <a:pt x="1597" y="995"/>
                </a:cubicBezTo>
                <a:cubicBezTo>
                  <a:pt x="1596" y="994"/>
                  <a:pt x="1596" y="994"/>
                  <a:pt x="1596" y="994"/>
                </a:cubicBezTo>
                <a:cubicBezTo>
                  <a:pt x="1594" y="996"/>
                  <a:pt x="1594" y="996"/>
                  <a:pt x="1594" y="996"/>
                </a:cubicBezTo>
                <a:cubicBezTo>
                  <a:pt x="1594" y="999"/>
                  <a:pt x="1594" y="999"/>
                  <a:pt x="1594" y="999"/>
                </a:cubicBezTo>
                <a:cubicBezTo>
                  <a:pt x="1592" y="999"/>
                  <a:pt x="1592" y="999"/>
                  <a:pt x="1592" y="999"/>
                </a:cubicBezTo>
                <a:cubicBezTo>
                  <a:pt x="1592" y="1000"/>
                  <a:pt x="1592" y="1000"/>
                  <a:pt x="1592" y="1000"/>
                </a:cubicBezTo>
                <a:cubicBezTo>
                  <a:pt x="1594" y="1001"/>
                  <a:pt x="1594" y="1001"/>
                  <a:pt x="1594" y="1001"/>
                </a:cubicBezTo>
                <a:cubicBezTo>
                  <a:pt x="1596" y="1002"/>
                  <a:pt x="1596" y="1002"/>
                  <a:pt x="1596" y="1002"/>
                </a:cubicBezTo>
                <a:lnTo>
                  <a:pt x="1597" y="998"/>
                </a:lnTo>
                <a:close/>
                <a:moveTo>
                  <a:pt x="1317" y="92"/>
                </a:moveTo>
                <a:cubicBezTo>
                  <a:pt x="1317" y="93"/>
                  <a:pt x="1317" y="93"/>
                  <a:pt x="1317" y="93"/>
                </a:cubicBezTo>
                <a:cubicBezTo>
                  <a:pt x="1318" y="94"/>
                  <a:pt x="1318" y="94"/>
                  <a:pt x="1318" y="94"/>
                </a:cubicBezTo>
                <a:cubicBezTo>
                  <a:pt x="1319" y="93"/>
                  <a:pt x="1319" y="93"/>
                  <a:pt x="1319" y="93"/>
                </a:cubicBezTo>
                <a:cubicBezTo>
                  <a:pt x="1318" y="92"/>
                  <a:pt x="1318" y="92"/>
                  <a:pt x="1318" y="92"/>
                </a:cubicBezTo>
                <a:cubicBezTo>
                  <a:pt x="1319" y="91"/>
                  <a:pt x="1319" y="91"/>
                  <a:pt x="1319" y="91"/>
                </a:cubicBezTo>
                <a:lnTo>
                  <a:pt x="1317" y="92"/>
                </a:lnTo>
                <a:close/>
                <a:moveTo>
                  <a:pt x="869" y="1684"/>
                </a:moveTo>
                <a:cubicBezTo>
                  <a:pt x="868" y="1683"/>
                  <a:pt x="868" y="1683"/>
                  <a:pt x="868" y="1683"/>
                </a:cubicBezTo>
                <a:cubicBezTo>
                  <a:pt x="867" y="1685"/>
                  <a:pt x="867" y="1685"/>
                  <a:pt x="867" y="1685"/>
                </a:cubicBezTo>
                <a:cubicBezTo>
                  <a:pt x="868" y="1685"/>
                  <a:pt x="868" y="1685"/>
                  <a:pt x="868" y="1685"/>
                </a:cubicBezTo>
                <a:cubicBezTo>
                  <a:pt x="869" y="1685"/>
                  <a:pt x="869" y="1685"/>
                  <a:pt x="869" y="1685"/>
                </a:cubicBezTo>
                <a:lnTo>
                  <a:pt x="869" y="1684"/>
                </a:lnTo>
                <a:close/>
                <a:moveTo>
                  <a:pt x="907" y="1684"/>
                </a:moveTo>
                <a:cubicBezTo>
                  <a:pt x="905" y="1683"/>
                  <a:pt x="905" y="1683"/>
                  <a:pt x="905" y="1683"/>
                </a:cubicBezTo>
                <a:cubicBezTo>
                  <a:pt x="902" y="1683"/>
                  <a:pt x="902" y="1683"/>
                  <a:pt x="902" y="1683"/>
                </a:cubicBezTo>
                <a:cubicBezTo>
                  <a:pt x="899" y="1683"/>
                  <a:pt x="899" y="1683"/>
                  <a:pt x="899" y="1683"/>
                </a:cubicBezTo>
                <a:cubicBezTo>
                  <a:pt x="896" y="1683"/>
                  <a:pt x="896" y="1683"/>
                  <a:pt x="896" y="1683"/>
                </a:cubicBezTo>
                <a:cubicBezTo>
                  <a:pt x="893" y="1684"/>
                  <a:pt x="893" y="1684"/>
                  <a:pt x="893" y="1684"/>
                </a:cubicBezTo>
                <a:cubicBezTo>
                  <a:pt x="889" y="1685"/>
                  <a:pt x="889" y="1685"/>
                  <a:pt x="889" y="1685"/>
                </a:cubicBezTo>
                <a:cubicBezTo>
                  <a:pt x="886" y="1685"/>
                  <a:pt x="886" y="1685"/>
                  <a:pt x="886" y="1685"/>
                </a:cubicBezTo>
                <a:cubicBezTo>
                  <a:pt x="885" y="1685"/>
                  <a:pt x="885" y="1685"/>
                  <a:pt x="885" y="1685"/>
                </a:cubicBezTo>
                <a:cubicBezTo>
                  <a:pt x="884" y="1685"/>
                  <a:pt x="884" y="1685"/>
                  <a:pt x="884" y="1685"/>
                </a:cubicBezTo>
                <a:cubicBezTo>
                  <a:pt x="882" y="1686"/>
                  <a:pt x="882" y="1686"/>
                  <a:pt x="882" y="1686"/>
                </a:cubicBezTo>
                <a:cubicBezTo>
                  <a:pt x="883" y="1687"/>
                  <a:pt x="883" y="1687"/>
                  <a:pt x="883" y="1687"/>
                </a:cubicBezTo>
                <a:cubicBezTo>
                  <a:pt x="884" y="1686"/>
                  <a:pt x="884" y="1686"/>
                  <a:pt x="884" y="1686"/>
                </a:cubicBezTo>
                <a:cubicBezTo>
                  <a:pt x="886" y="1687"/>
                  <a:pt x="886" y="1687"/>
                  <a:pt x="886" y="1687"/>
                </a:cubicBezTo>
                <a:cubicBezTo>
                  <a:pt x="883" y="1688"/>
                  <a:pt x="883" y="1688"/>
                  <a:pt x="883" y="1688"/>
                </a:cubicBezTo>
                <a:cubicBezTo>
                  <a:pt x="882" y="1689"/>
                  <a:pt x="882" y="1689"/>
                  <a:pt x="882" y="1689"/>
                </a:cubicBezTo>
                <a:cubicBezTo>
                  <a:pt x="881" y="1690"/>
                  <a:pt x="881" y="1690"/>
                  <a:pt x="881" y="1690"/>
                </a:cubicBezTo>
                <a:cubicBezTo>
                  <a:pt x="883" y="1691"/>
                  <a:pt x="883" y="1691"/>
                  <a:pt x="883" y="1691"/>
                </a:cubicBezTo>
                <a:cubicBezTo>
                  <a:pt x="885" y="1690"/>
                  <a:pt x="885" y="1690"/>
                  <a:pt x="885" y="1690"/>
                </a:cubicBezTo>
                <a:cubicBezTo>
                  <a:pt x="884" y="1691"/>
                  <a:pt x="884" y="1691"/>
                  <a:pt x="884" y="1691"/>
                </a:cubicBezTo>
                <a:cubicBezTo>
                  <a:pt x="885" y="1692"/>
                  <a:pt x="885" y="1692"/>
                  <a:pt x="885" y="1692"/>
                </a:cubicBezTo>
                <a:cubicBezTo>
                  <a:pt x="886" y="1693"/>
                  <a:pt x="886" y="1693"/>
                  <a:pt x="886" y="1693"/>
                </a:cubicBezTo>
                <a:cubicBezTo>
                  <a:pt x="887" y="1692"/>
                  <a:pt x="887" y="1692"/>
                  <a:pt x="887" y="1692"/>
                </a:cubicBezTo>
                <a:cubicBezTo>
                  <a:pt x="889" y="1693"/>
                  <a:pt x="889" y="1693"/>
                  <a:pt x="889" y="1693"/>
                </a:cubicBezTo>
                <a:cubicBezTo>
                  <a:pt x="890" y="1693"/>
                  <a:pt x="890" y="1693"/>
                  <a:pt x="890" y="1693"/>
                </a:cubicBezTo>
                <a:cubicBezTo>
                  <a:pt x="891" y="1692"/>
                  <a:pt x="891" y="1692"/>
                  <a:pt x="891" y="1692"/>
                </a:cubicBezTo>
                <a:cubicBezTo>
                  <a:pt x="889" y="1691"/>
                  <a:pt x="889" y="1691"/>
                  <a:pt x="889" y="1691"/>
                </a:cubicBezTo>
                <a:cubicBezTo>
                  <a:pt x="889" y="1690"/>
                  <a:pt x="889" y="1690"/>
                  <a:pt x="889" y="1690"/>
                </a:cubicBezTo>
                <a:cubicBezTo>
                  <a:pt x="891" y="1690"/>
                  <a:pt x="891" y="1690"/>
                  <a:pt x="891" y="1690"/>
                </a:cubicBezTo>
                <a:cubicBezTo>
                  <a:pt x="892" y="1692"/>
                  <a:pt x="892" y="1692"/>
                  <a:pt x="892" y="1692"/>
                </a:cubicBezTo>
                <a:cubicBezTo>
                  <a:pt x="893" y="1693"/>
                  <a:pt x="893" y="1693"/>
                  <a:pt x="893" y="1693"/>
                </a:cubicBezTo>
                <a:cubicBezTo>
                  <a:pt x="895" y="1692"/>
                  <a:pt x="895" y="1692"/>
                  <a:pt x="895" y="1692"/>
                </a:cubicBezTo>
                <a:cubicBezTo>
                  <a:pt x="896" y="1692"/>
                  <a:pt x="896" y="1692"/>
                  <a:pt x="896" y="1692"/>
                </a:cubicBezTo>
                <a:cubicBezTo>
                  <a:pt x="899" y="1694"/>
                  <a:pt x="899" y="1694"/>
                  <a:pt x="899" y="1694"/>
                </a:cubicBezTo>
                <a:cubicBezTo>
                  <a:pt x="900" y="1694"/>
                  <a:pt x="900" y="1694"/>
                  <a:pt x="900" y="1694"/>
                </a:cubicBezTo>
                <a:cubicBezTo>
                  <a:pt x="900" y="1693"/>
                  <a:pt x="900" y="1693"/>
                  <a:pt x="900" y="1693"/>
                </a:cubicBezTo>
                <a:cubicBezTo>
                  <a:pt x="897" y="1691"/>
                  <a:pt x="897" y="1691"/>
                  <a:pt x="897" y="1691"/>
                </a:cubicBezTo>
                <a:cubicBezTo>
                  <a:pt x="896" y="1690"/>
                  <a:pt x="896" y="1690"/>
                  <a:pt x="896" y="1690"/>
                </a:cubicBezTo>
                <a:cubicBezTo>
                  <a:pt x="896" y="1689"/>
                  <a:pt x="896" y="1689"/>
                  <a:pt x="896" y="1689"/>
                </a:cubicBezTo>
                <a:cubicBezTo>
                  <a:pt x="895" y="1689"/>
                  <a:pt x="895" y="1689"/>
                  <a:pt x="895" y="1689"/>
                </a:cubicBezTo>
                <a:cubicBezTo>
                  <a:pt x="893" y="1688"/>
                  <a:pt x="893" y="1688"/>
                  <a:pt x="893" y="1688"/>
                </a:cubicBezTo>
                <a:cubicBezTo>
                  <a:pt x="893" y="1688"/>
                  <a:pt x="893" y="1688"/>
                  <a:pt x="893" y="1688"/>
                </a:cubicBezTo>
                <a:cubicBezTo>
                  <a:pt x="891" y="1687"/>
                  <a:pt x="891" y="1687"/>
                  <a:pt x="891" y="1687"/>
                </a:cubicBezTo>
                <a:cubicBezTo>
                  <a:pt x="893" y="1686"/>
                  <a:pt x="893" y="1686"/>
                  <a:pt x="893" y="1686"/>
                </a:cubicBezTo>
                <a:cubicBezTo>
                  <a:pt x="894" y="1686"/>
                  <a:pt x="894" y="1686"/>
                  <a:pt x="894" y="1686"/>
                </a:cubicBezTo>
                <a:cubicBezTo>
                  <a:pt x="896" y="1685"/>
                  <a:pt x="896" y="1685"/>
                  <a:pt x="896" y="1685"/>
                </a:cubicBezTo>
                <a:cubicBezTo>
                  <a:pt x="897" y="1685"/>
                  <a:pt x="897" y="1685"/>
                  <a:pt x="897" y="1685"/>
                </a:cubicBezTo>
                <a:cubicBezTo>
                  <a:pt x="898" y="1687"/>
                  <a:pt x="898" y="1687"/>
                  <a:pt x="898" y="1687"/>
                </a:cubicBezTo>
                <a:cubicBezTo>
                  <a:pt x="899" y="1688"/>
                  <a:pt x="899" y="1688"/>
                  <a:pt x="899" y="1688"/>
                </a:cubicBezTo>
                <a:cubicBezTo>
                  <a:pt x="901" y="1688"/>
                  <a:pt x="901" y="1688"/>
                  <a:pt x="901" y="1688"/>
                </a:cubicBezTo>
                <a:cubicBezTo>
                  <a:pt x="903" y="1687"/>
                  <a:pt x="903" y="1687"/>
                  <a:pt x="903" y="1687"/>
                </a:cubicBezTo>
                <a:cubicBezTo>
                  <a:pt x="904" y="1687"/>
                  <a:pt x="904" y="1687"/>
                  <a:pt x="904" y="1687"/>
                </a:cubicBezTo>
                <a:cubicBezTo>
                  <a:pt x="905" y="1688"/>
                  <a:pt x="905" y="1688"/>
                  <a:pt x="905" y="1688"/>
                </a:cubicBezTo>
                <a:cubicBezTo>
                  <a:pt x="907" y="1687"/>
                  <a:pt x="907" y="1687"/>
                  <a:pt x="907" y="1687"/>
                </a:cubicBezTo>
                <a:cubicBezTo>
                  <a:pt x="908" y="1686"/>
                  <a:pt x="908" y="1686"/>
                  <a:pt x="908" y="1686"/>
                </a:cubicBezTo>
                <a:cubicBezTo>
                  <a:pt x="907" y="1685"/>
                  <a:pt x="907" y="1685"/>
                  <a:pt x="907" y="1685"/>
                </a:cubicBezTo>
                <a:lnTo>
                  <a:pt x="907" y="1684"/>
                </a:lnTo>
                <a:close/>
                <a:moveTo>
                  <a:pt x="858" y="1671"/>
                </a:moveTo>
                <a:cubicBezTo>
                  <a:pt x="857" y="1669"/>
                  <a:pt x="857" y="1669"/>
                  <a:pt x="857" y="1669"/>
                </a:cubicBezTo>
                <a:cubicBezTo>
                  <a:pt x="856" y="1669"/>
                  <a:pt x="856" y="1669"/>
                  <a:pt x="856" y="1669"/>
                </a:cubicBezTo>
                <a:cubicBezTo>
                  <a:pt x="853" y="1669"/>
                  <a:pt x="853" y="1669"/>
                  <a:pt x="853" y="1669"/>
                </a:cubicBezTo>
                <a:cubicBezTo>
                  <a:pt x="853" y="1668"/>
                  <a:pt x="853" y="1668"/>
                  <a:pt x="853" y="1668"/>
                </a:cubicBezTo>
                <a:cubicBezTo>
                  <a:pt x="852" y="1668"/>
                  <a:pt x="852" y="1668"/>
                  <a:pt x="852" y="1668"/>
                </a:cubicBezTo>
                <a:cubicBezTo>
                  <a:pt x="849" y="1666"/>
                  <a:pt x="849" y="1666"/>
                  <a:pt x="849" y="1666"/>
                </a:cubicBezTo>
                <a:cubicBezTo>
                  <a:pt x="847" y="1666"/>
                  <a:pt x="847" y="1666"/>
                  <a:pt x="847" y="1666"/>
                </a:cubicBezTo>
                <a:cubicBezTo>
                  <a:pt x="845" y="1666"/>
                  <a:pt x="845" y="1666"/>
                  <a:pt x="845" y="1666"/>
                </a:cubicBezTo>
                <a:cubicBezTo>
                  <a:pt x="844" y="1666"/>
                  <a:pt x="844" y="1666"/>
                  <a:pt x="844" y="1666"/>
                </a:cubicBezTo>
                <a:cubicBezTo>
                  <a:pt x="843" y="1665"/>
                  <a:pt x="843" y="1665"/>
                  <a:pt x="843" y="1665"/>
                </a:cubicBezTo>
                <a:cubicBezTo>
                  <a:pt x="841" y="1665"/>
                  <a:pt x="841" y="1665"/>
                  <a:pt x="841" y="1665"/>
                </a:cubicBezTo>
                <a:cubicBezTo>
                  <a:pt x="841" y="1666"/>
                  <a:pt x="841" y="1666"/>
                  <a:pt x="841" y="1666"/>
                </a:cubicBezTo>
                <a:cubicBezTo>
                  <a:pt x="841" y="1667"/>
                  <a:pt x="841" y="1667"/>
                  <a:pt x="841" y="1667"/>
                </a:cubicBezTo>
                <a:cubicBezTo>
                  <a:pt x="843" y="1668"/>
                  <a:pt x="843" y="1668"/>
                  <a:pt x="843" y="1668"/>
                </a:cubicBezTo>
                <a:cubicBezTo>
                  <a:pt x="844" y="1670"/>
                  <a:pt x="844" y="1670"/>
                  <a:pt x="844" y="1670"/>
                </a:cubicBezTo>
                <a:cubicBezTo>
                  <a:pt x="845" y="1670"/>
                  <a:pt x="845" y="1670"/>
                  <a:pt x="845" y="1670"/>
                </a:cubicBezTo>
                <a:cubicBezTo>
                  <a:pt x="847" y="1673"/>
                  <a:pt x="847" y="1673"/>
                  <a:pt x="847" y="1673"/>
                </a:cubicBezTo>
                <a:cubicBezTo>
                  <a:pt x="849" y="1673"/>
                  <a:pt x="849" y="1673"/>
                  <a:pt x="849" y="1673"/>
                </a:cubicBezTo>
                <a:cubicBezTo>
                  <a:pt x="851" y="1672"/>
                  <a:pt x="851" y="1672"/>
                  <a:pt x="851" y="1672"/>
                </a:cubicBezTo>
                <a:cubicBezTo>
                  <a:pt x="852" y="1673"/>
                  <a:pt x="852" y="1673"/>
                  <a:pt x="852" y="1673"/>
                </a:cubicBezTo>
                <a:cubicBezTo>
                  <a:pt x="852" y="1674"/>
                  <a:pt x="852" y="1674"/>
                  <a:pt x="852" y="1674"/>
                </a:cubicBezTo>
                <a:cubicBezTo>
                  <a:pt x="854" y="1676"/>
                  <a:pt x="854" y="1676"/>
                  <a:pt x="854" y="1676"/>
                </a:cubicBezTo>
                <a:cubicBezTo>
                  <a:pt x="855" y="1675"/>
                  <a:pt x="855" y="1675"/>
                  <a:pt x="855" y="1675"/>
                </a:cubicBezTo>
                <a:cubicBezTo>
                  <a:pt x="855" y="1674"/>
                  <a:pt x="855" y="1674"/>
                  <a:pt x="855" y="1674"/>
                </a:cubicBezTo>
                <a:cubicBezTo>
                  <a:pt x="856" y="1673"/>
                  <a:pt x="856" y="1673"/>
                  <a:pt x="856" y="1673"/>
                </a:cubicBezTo>
                <a:cubicBezTo>
                  <a:pt x="856" y="1672"/>
                  <a:pt x="856" y="1672"/>
                  <a:pt x="856" y="1672"/>
                </a:cubicBezTo>
                <a:cubicBezTo>
                  <a:pt x="855" y="1671"/>
                  <a:pt x="855" y="1671"/>
                  <a:pt x="855" y="1671"/>
                </a:cubicBezTo>
                <a:cubicBezTo>
                  <a:pt x="856" y="1671"/>
                  <a:pt x="856" y="1671"/>
                  <a:pt x="856" y="1671"/>
                </a:cubicBezTo>
                <a:lnTo>
                  <a:pt x="858" y="1671"/>
                </a:lnTo>
                <a:close/>
                <a:moveTo>
                  <a:pt x="921" y="1676"/>
                </a:moveTo>
                <a:cubicBezTo>
                  <a:pt x="917" y="1677"/>
                  <a:pt x="917" y="1677"/>
                  <a:pt x="917" y="1677"/>
                </a:cubicBezTo>
                <a:cubicBezTo>
                  <a:pt x="915" y="1677"/>
                  <a:pt x="915" y="1677"/>
                  <a:pt x="915" y="1677"/>
                </a:cubicBezTo>
                <a:cubicBezTo>
                  <a:pt x="913" y="1674"/>
                  <a:pt x="913" y="1674"/>
                  <a:pt x="913" y="1674"/>
                </a:cubicBezTo>
                <a:cubicBezTo>
                  <a:pt x="910" y="1674"/>
                  <a:pt x="910" y="1674"/>
                  <a:pt x="910" y="1674"/>
                </a:cubicBezTo>
                <a:cubicBezTo>
                  <a:pt x="909" y="1672"/>
                  <a:pt x="909" y="1672"/>
                  <a:pt x="909" y="1672"/>
                </a:cubicBezTo>
                <a:cubicBezTo>
                  <a:pt x="901" y="1670"/>
                  <a:pt x="901" y="1670"/>
                  <a:pt x="901" y="1670"/>
                </a:cubicBezTo>
                <a:cubicBezTo>
                  <a:pt x="899" y="1669"/>
                  <a:pt x="899" y="1669"/>
                  <a:pt x="899" y="1669"/>
                </a:cubicBezTo>
                <a:cubicBezTo>
                  <a:pt x="899" y="1667"/>
                  <a:pt x="899" y="1667"/>
                  <a:pt x="899" y="1667"/>
                </a:cubicBezTo>
                <a:cubicBezTo>
                  <a:pt x="896" y="1665"/>
                  <a:pt x="896" y="1665"/>
                  <a:pt x="896" y="1665"/>
                </a:cubicBezTo>
                <a:cubicBezTo>
                  <a:pt x="894" y="1664"/>
                  <a:pt x="894" y="1664"/>
                  <a:pt x="894" y="1664"/>
                </a:cubicBezTo>
                <a:cubicBezTo>
                  <a:pt x="892" y="1661"/>
                  <a:pt x="892" y="1661"/>
                  <a:pt x="892" y="1661"/>
                </a:cubicBezTo>
                <a:cubicBezTo>
                  <a:pt x="891" y="1659"/>
                  <a:pt x="891" y="1659"/>
                  <a:pt x="891" y="1659"/>
                </a:cubicBezTo>
                <a:cubicBezTo>
                  <a:pt x="889" y="1659"/>
                  <a:pt x="889" y="1659"/>
                  <a:pt x="889" y="1659"/>
                </a:cubicBezTo>
                <a:cubicBezTo>
                  <a:pt x="887" y="1659"/>
                  <a:pt x="887" y="1659"/>
                  <a:pt x="887" y="1659"/>
                </a:cubicBezTo>
                <a:cubicBezTo>
                  <a:pt x="886" y="1659"/>
                  <a:pt x="886" y="1659"/>
                  <a:pt x="886" y="1659"/>
                </a:cubicBezTo>
                <a:cubicBezTo>
                  <a:pt x="887" y="1658"/>
                  <a:pt x="887" y="1658"/>
                  <a:pt x="887" y="1658"/>
                </a:cubicBezTo>
                <a:cubicBezTo>
                  <a:pt x="887" y="1657"/>
                  <a:pt x="887" y="1657"/>
                  <a:pt x="887" y="1657"/>
                </a:cubicBezTo>
                <a:cubicBezTo>
                  <a:pt x="889" y="1656"/>
                  <a:pt x="889" y="1656"/>
                  <a:pt x="889" y="1656"/>
                </a:cubicBezTo>
                <a:cubicBezTo>
                  <a:pt x="890" y="1657"/>
                  <a:pt x="890" y="1657"/>
                  <a:pt x="890" y="1657"/>
                </a:cubicBezTo>
                <a:cubicBezTo>
                  <a:pt x="889" y="1652"/>
                  <a:pt x="889" y="1652"/>
                  <a:pt x="889" y="1652"/>
                </a:cubicBezTo>
                <a:cubicBezTo>
                  <a:pt x="886" y="1649"/>
                  <a:pt x="886" y="1649"/>
                  <a:pt x="886" y="1649"/>
                </a:cubicBezTo>
                <a:cubicBezTo>
                  <a:pt x="884" y="1647"/>
                  <a:pt x="884" y="1647"/>
                  <a:pt x="884" y="1647"/>
                </a:cubicBezTo>
                <a:cubicBezTo>
                  <a:pt x="884" y="1647"/>
                  <a:pt x="884" y="1647"/>
                  <a:pt x="884" y="1647"/>
                </a:cubicBezTo>
                <a:cubicBezTo>
                  <a:pt x="881" y="1648"/>
                  <a:pt x="881" y="1648"/>
                  <a:pt x="881" y="1648"/>
                </a:cubicBezTo>
                <a:cubicBezTo>
                  <a:pt x="880" y="1649"/>
                  <a:pt x="880" y="1649"/>
                  <a:pt x="880" y="1649"/>
                </a:cubicBezTo>
                <a:cubicBezTo>
                  <a:pt x="879" y="1647"/>
                  <a:pt x="879" y="1647"/>
                  <a:pt x="879" y="1647"/>
                </a:cubicBezTo>
                <a:cubicBezTo>
                  <a:pt x="877" y="1647"/>
                  <a:pt x="877" y="1647"/>
                  <a:pt x="877" y="1647"/>
                </a:cubicBezTo>
                <a:cubicBezTo>
                  <a:pt x="876" y="1648"/>
                  <a:pt x="876" y="1648"/>
                  <a:pt x="876" y="1648"/>
                </a:cubicBezTo>
                <a:cubicBezTo>
                  <a:pt x="877" y="1650"/>
                  <a:pt x="877" y="1650"/>
                  <a:pt x="877" y="1650"/>
                </a:cubicBezTo>
                <a:cubicBezTo>
                  <a:pt x="876" y="1651"/>
                  <a:pt x="876" y="1651"/>
                  <a:pt x="876" y="1651"/>
                </a:cubicBezTo>
                <a:cubicBezTo>
                  <a:pt x="875" y="1653"/>
                  <a:pt x="875" y="1653"/>
                  <a:pt x="875" y="1653"/>
                </a:cubicBezTo>
                <a:cubicBezTo>
                  <a:pt x="874" y="1654"/>
                  <a:pt x="874" y="1654"/>
                  <a:pt x="874" y="1654"/>
                </a:cubicBezTo>
                <a:cubicBezTo>
                  <a:pt x="872" y="1653"/>
                  <a:pt x="872" y="1653"/>
                  <a:pt x="872" y="1653"/>
                </a:cubicBezTo>
                <a:cubicBezTo>
                  <a:pt x="871" y="1652"/>
                  <a:pt x="871" y="1652"/>
                  <a:pt x="871" y="1652"/>
                </a:cubicBezTo>
                <a:cubicBezTo>
                  <a:pt x="870" y="1654"/>
                  <a:pt x="870" y="1654"/>
                  <a:pt x="870" y="1654"/>
                </a:cubicBezTo>
                <a:cubicBezTo>
                  <a:pt x="871" y="1655"/>
                  <a:pt x="871" y="1655"/>
                  <a:pt x="871" y="1655"/>
                </a:cubicBezTo>
                <a:cubicBezTo>
                  <a:pt x="872" y="1655"/>
                  <a:pt x="872" y="1655"/>
                  <a:pt x="872" y="1655"/>
                </a:cubicBezTo>
                <a:cubicBezTo>
                  <a:pt x="872" y="1656"/>
                  <a:pt x="872" y="1656"/>
                  <a:pt x="872" y="1656"/>
                </a:cubicBezTo>
                <a:cubicBezTo>
                  <a:pt x="870" y="1658"/>
                  <a:pt x="870" y="1658"/>
                  <a:pt x="870" y="1658"/>
                </a:cubicBezTo>
                <a:cubicBezTo>
                  <a:pt x="871" y="1659"/>
                  <a:pt x="871" y="1659"/>
                  <a:pt x="871" y="1659"/>
                </a:cubicBezTo>
                <a:cubicBezTo>
                  <a:pt x="871" y="1661"/>
                  <a:pt x="871" y="1661"/>
                  <a:pt x="871" y="1661"/>
                </a:cubicBezTo>
                <a:cubicBezTo>
                  <a:pt x="873" y="1664"/>
                  <a:pt x="873" y="1664"/>
                  <a:pt x="873" y="1664"/>
                </a:cubicBezTo>
                <a:cubicBezTo>
                  <a:pt x="875" y="1664"/>
                  <a:pt x="875" y="1664"/>
                  <a:pt x="875" y="1664"/>
                </a:cubicBezTo>
                <a:cubicBezTo>
                  <a:pt x="876" y="1662"/>
                  <a:pt x="876" y="1662"/>
                  <a:pt x="876" y="1662"/>
                </a:cubicBezTo>
                <a:cubicBezTo>
                  <a:pt x="879" y="1661"/>
                  <a:pt x="879" y="1661"/>
                  <a:pt x="879" y="1661"/>
                </a:cubicBezTo>
                <a:cubicBezTo>
                  <a:pt x="881" y="1661"/>
                  <a:pt x="881" y="1661"/>
                  <a:pt x="881" y="1661"/>
                </a:cubicBezTo>
                <a:cubicBezTo>
                  <a:pt x="882" y="1662"/>
                  <a:pt x="882" y="1662"/>
                  <a:pt x="882" y="1662"/>
                </a:cubicBezTo>
                <a:cubicBezTo>
                  <a:pt x="880" y="1665"/>
                  <a:pt x="880" y="1665"/>
                  <a:pt x="880" y="1665"/>
                </a:cubicBezTo>
                <a:cubicBezTo>
                  <a:pt x="878" y="1665"/>
                  <a:pt x="878" y="1665"/>
                  <a:pt x="878" y="1665"/>
                </a:cubicBezTo>
                <a:cubicBezTo>
                  <a:pt x="878" y="1666"/>
                  <a:pt x="878" y="1666"/>
                  <a:pt x="878" y="1666"/>
                </a:cubicBezTo>
                <a:cubicBezTo>
                  <a:pt x="875" y="1668"/>
                  <a:pt x="875" y="1668"/>
                  <a:pt x="875" y="1668"/>
                </a:cubicBezTo>
                <a:cubicBezTo>
                  <a:pt x="875" y="1669"/>
                  <a:pt x="875" y="1669"/>
                  <a:pt x="875" y="1669"/>
                </a:cubicBezTo>
                <a:cubicBezTo>
                  <a:pt x="875" y="1670"/>
                  <a:pt x="875" y="1670"/>
                  <a:pt x="875" y="1670"/>
                </a:cubicBezTo>
                <a:cubicBezTo>
                  <a:pt x="877" y="1671"/>
                  <a:pt x="877" y="1671"/>
                  <a:pt x="877" y="1671"/>
                </a:cubicBezTo>
                <a:cubicBezTo>
                  <a:pt x="879" y="1673"/>
                  <a:pt x="879" y="1673"/>
                  <a:pt x="879" y="1673"/>
                </a:cubicBezTo>
                <a:cubicBezTo>
                  <a:pt x="881" y="1672"/>
                  <a:pt x="881" y="1672"/>
                  <a:pt x="881" y="1672"/>
                </a:cubicBezTo>
                <a:cubicBezTo>
                  <a:pt x="884" y="1674"/>
                  <a:pt x="884" y="1674"/>
                  <a:pt x="884" y="1674"/>
                </a:cubicBezTo>
                <a:cubicBezTo>
                  <a:pt x="889" y="1677"/>
                  <a:pt x="889" y="1677"/>
                  <a:pt x="889" y="1677"/>
                </a:cubicBezTo>
                <a:cubicBezTo>
                  <a:pt x="891" y="1678"/>
                  <a:pt x="891" y="1678"/>
                  <a:pt x="891" y="1678"/>
                </a:cubicBezTo>
                <a:cubicBezTo>
                  <a:pt x="892" y="1678"/>
                  <a:pt x="892" y="1678"/>
                  <a:pt x="892" y="1678"/>
                </a:cubicBezTo>
                <a:cubicBezTo>
                  <a:pt x="896" y="1677"/>
                  <a:pt x="896" y="1677"/>
                  <a:pt x="896" y="1677"/>
                </a:cubicBezTo>
                <a:cubicBezTo>
                  <a:pt x="898" y="1677"/>
                  <a:pt x="898" y="1677"/>
                  <a:pt x="898" y="1677"/>
                </a:cubicBezTo>
                <a:cubicBezTo>
                  <a:pt x="901" y="1676"/>
                  <a:pt x="901" y="1676"/>
                  <a:pt x="901" y="1676"/>
                </a:cubicBezTo>
                <a:cubicBezTo>
                  <a:pt x="901" y="1677"/>
                  <a:pt x="901" y="1677"/>
                  <a:pt x="901" y="1677"/>
                </a:cubicBezTo>
                <a:cubicBezTo>
                  <a:pt x="899" y="1677"/>
                  <a:pt x="899" y="1677"/>
                  <a:pt x="899" y="1677"/>
                </a:cubicBezTo>
                <a:cubicBezTo>
                  <a:pt x="897" y="1678"/>
                  <a:pt x="897" y="1678"/>
                  <a:pt x="897" y="1678"/>
                </a:cubicBezTo>
                <a:cubicBezTo>
                  <a:pt x="892" y="1679"/>
                  <a:pt x="892" y="1679"/>
                  <a:pt x="892" y="1679"/>
                </a:cubicBezTo>
                <a:cubicBezTo>
                  <a:pt x="891" y="1679"/>
                  <a:pt x="891" y="1679"/>
                  <a:pt x="891" y="1679"/>
                </a:cubicBezTo>
                <a:cubicBezTo>
                  <a:pt x="889" y="1677"/>
                  <a:pt x="889" y="1677"/>
                  <a:pt x="889" y="1677"/>
                </a:cubicBezTo>
                <a:cubicBezTo>
                  <a:pt x="885" y="1676"/>
                  <a:pt x="885" y="1676"/>
                  <a:pt x="885" y="1676"/>
                </a:cubicBezTo>
                <a:cubicBezTo>
                  <a:pt x="880" y="1675"/>
                  <a:pt x="880" y="1675"/>
                  <a:pt x="880" y="1675"/>
                </a:cubicBezTo>
                <a:cubicBezTo>
                  <a:pt x="878" y="1674"/>
                  <a:pt x="878" y="1674"/>
                  <a:pt x="878" y="1674"/>
                </a:cubicBezTo>
                <a:cubicBezTo>
                  <a:pt x="878" y="1675"/>
                  <a:pt x="878" y="1675"/>
                  <a:pt x="878" y="1675"/>
                </a:cubicBezTo>
                <a:cubicBezTo>
                  <a:pt x="878" y="1675"/>
                  <a:pt x="878" y="1675"/>
                  <a:pt x="878" y="1675"/>
                </a:cubicBezTo>
                <a:cubicBezTo>
                  <a:pt x="877" y="1676"/>
                  <a:pt x="877" y="1676"/>
                  <a:pt x="877" y="1676"/>
                </a:cubicBezTo>
                <a:cubicBezTo>
                  <a:pt x="877" y="1676"/>
                  <a:pt x="877" y="1676"/>
                  <a:pt x="877" y="1676"/>
                </a:cubicBezTo>
                <a:cubicBezTo>
                  <a:pt x="873" y="1674"/>
                  <a:pt x="873" y="1674"/>
                  <a:pt x="873" y="1674"/>
                </a:cubicBezTo>
                <a:cubicBezTo>
                  <a:pt x="871" y="1673"/>
                  <a:pt x="871" y="1673"/>
                  <a:pt x="871" y="1673"/>
                </a:cubicBezTo>
                <a:cubicBezTo>
                  <a:pt x="871" y="1674"/>
                  <a:pt x="871" y="1674"/>
                  <a:pt x="871" y="1674"/>
                </a:cubicBezTo>
                <a:cubicBezTo>
                  <a:pt x="872" y="1675"/>
                  <a:pt x="872" y="1675"/>
                  <a:pt x="872" y="1675"/>
                </a:cubicBezTo>
                <a:cubicBezTo>
                  <a:pt x="876" y="1677"/>
                  <a:pt x="876" y="1677"/>
                  <a:pt x="876" y="1677"/>
                </a:cubicBezTo>
                <a:cubicBezTo>
                  <a:pt x="876" y="1678"/>
                  <a:pt x="876" y="1678"/>
                  <a:pt x="876" y="1678"/>
                </a:cubicBezTo>
                <a:cubicBezTo>
                  <a:pt x="875" y="1678"/>
                  <a:pt x="875" y="1678"/>
                  <a:pt x="875" y="1678"/>
                </a:cubicBezTo>
                <a:cubicBezTo>
                  <a:pt x="875" y="1678"/>
                  <a:pt x="875" y="1678"/>
                  <a:pt x="875" y="1678"/>
                </a:cubicBezTo>
                <a:cubicBezTo>
                  <a:pt x="874" y="1679"/>
                  <a:pt x="874" y="1679"/>
                  <a:pt x="874" y="1679"/>
                </a:cubicBezTo>
                <a:cubicBezTo>
                  <a:pt x="874" y="1679"/>
                  <a:pt x="874" y="1679"/>
                  <a:pt x="874" y="1679"/>
                </a:cubicBezTo>
                <a:cubicBezTo>
                  <a:pt x="873" y="1678"/>
                  <a:pt x="873" y="1678"/>
                  <a:pt x="873" y="1678"/>
                </a:cubicBezTo>
                <a:cubicBezTo>
                  <a:pt x="871" y="1676"/>
                  <a:pt x="871" y="1676"/>
                  <a:pt x="871" y="1676"/>
                </a:cubicBezTo>
                <a:cubicBezTo>
                  <a:pt x="870" y="1677"/>
                  <a:pt x="870" y="1677"/>
                  <a:pt x="870" y="1677"/>
                </a:cubicBezTo>
                <a:cubicBezTo>
                  <a:pt x="871" y="1678"/>
                  <a:pt x="871" y="1678"/>
                  <a:pt x="871" y="1678"/>
                </a:cubicBezTo>
                <a:cubicBezTo>
                  <a:pt x="869" y="1678"/>
                  <a:pt x="869" y="1678"/>
                  <a:pt x="869" y="1678"/>
                </a:cubicBezTo>
                <a:cubicBezTo>
                  <a:pt x="866" y="1679"/>
                  <a:pt x="866" y="1679"/>
                  <a:pt x="866" y="1679"/>
                </a:cubicBezTo>
                <a:cubicBezTo>
                  <a:pt x="865" y="1679"/>
                  <a:pt x="865" y="1679"/>
                  <a:pt x="865" y="1679"/>
                </a:cubicBezTo>
                <a:cubicBezTo>
                  <a:pt x="866" y="1680"/>
                  <a:pt x="866" y="1680"/>
                  <a:pt x="866" y="1680"/>
                </a:cubicBezTo>
                <a:cubicBezTo>
                  <a:pt x="866" y="1680"/>
                  <a:pt x="866" y="1680"/>
                  <a:pt x="866" y="1680"/>
                </a:cubicBezTo>
                <a:cubicBezTo>
                  <a:pt x="864" y="1680"/>
                  <a:pt x="864" y="1680"/>
                  <a:pt x="864" y="1680"/>
                </a:cubicBezTo>
                <a:cubicBezTo>
                  <a:pt x="862" y="1681"/>
                  <a:pt x="862" y="1681"/>
                  <a:pt x="862" y="1681"/>
                </a:cubicBezTo>
                <a:cubicBezTo>
                  <a:pt x="862" y="1682"/>
                  <a:pt x="862" y="1682"/>
                  <a:pt x="862" y="1682"/>
                </a:cubicBezTo>
                <a:cubicBezTo>
                  <a:pt x="865" y="1682"/>
                  <a:pt x="865" y="1682"/>
                  <a:pt x="865" y="1682"/>
                </a:cubicBezTo>
                <a:cubicBezTo>
                  <a:pt x="866" y="1682"/>
                  <a:pt x="866" y="1682"/>
                  <a:pt x="866" y="1682"/>
                </a:cubicBezTo>
                <a:cubicBezTo>
                  <a:pt x="867" y="1681"/>
                  <a:pt x="867" y="1681"/>
                  <a:pt x="867" y="1681"/>
                </a:cubicBezTo>
                <a:cubicBezTo>
                  <a:pt x="868" y="1681"/>
                  <a:pt x="868" y="1681"/>
                  <a:pt x="868" y="1681"/>
                </a:cubicBezTo>
                <a:cubicBezTo>
                  <a:pt x="869" y="1681"/>
                  <a:pt x="869" y="1681"/>
                  <a:pt x="869" y="1681"/>
                </a:cubicBezTo>
                <a:cubicBezTo>
                  <a:pt x="871" y="1683"/>
                  <a:pt x="871" y="1683"/>
                  <a:pt x="871" y="1683"/>
                </a:cubicBezTo>
                <a:cubicBezTo>
                  <a:pt x="872" y="1682"/>
                  <a:pt x="872" y="1682"/>
                  <a:pt x="872" y="1682"/>
                </a:cubicBezTo>
                <a:cubicBezTo>
                  <a:pt x="872" y="1683"/>
                  <a:pt x="872" y="1683"/>
                  <a:pt x="872" y="1683"/>
                </a:cubicBezTo>
                <a:cubicBezTo>
                  <a:pt x="872" y="1684"/>
                  <a:pt x="872" y="1684"/>
                  <a:pt x="872" y="1684"/>
                </a:cubicBezTo>
                <a:cubicBezTo>
                  <a:pt x="874" y="1685"/>
                  <a:pt x="874" y="1685"/>
                  <a:pt x="874" y="1685"/>
                </a:cubicBezTo>
                <a:cubicBezTo>
                  <a:pt x="872" y="1685"/>
                  <a:pt x="872" y="1685"/>
                  <a:pt x="872" y="1685"/>
                </a:cubicBezTo>
                <a:cubicBezTo>
                  <a:pt x="871" y="1687"/>
                  <a:pt x="871" y="1687"/>
                  <a:pt x="871" y="1687"/>
                </a:cubicBezTo>
                <a:cubicBezTo>
                  <a:pt x="872" y="1689"/>
                  <a:pt x="872" y="1689"/>
                  <a:pt x="872" y="1689"/>
                </a:cubicBezTo>
                <a:cubicBezTo>
                  <a:pt x="874" y="1689"/>
                  <a:pt x="874" y="1689"/>
                  <a:pt x="874" y="1689"/>
                </a:cubicBezTo>
                <a:cubicBezTo>
                  <a:pt x="875" y="1689"/>
                  <a:pt x="875" y="1689"/>
                  <a:pt x="875" y="1689"/>
                </a:cubicBezTo>
                <a:cubicBezTo>
                  <a:pt x="876" y="1691"/>
                  <a:pt x="876" y="1691"/>
                  <a:pt x="876" y="1691"/>
                </a:cubicBezTo>
                <a:cubicBezTo>
                  <a:pt x="878" y="1691"/>
                  <a:pt x="878" y="1691"/>
                  <a:pt x="878" y="1691"/>
                </a:cubicBezTo>
                <a:cubicBezTo>
                  <a:pt x="878" y="1690"/>
                  <a:pt x="878" y="1690"/>
                  <a:pt x="878" y="1690"/>
                </a:cubicBezTo>
                <a:cubicBezTo>
                  <a:pt x="877" y="1689"/>
                  <a:pt x="877" y="1689"/>
                  <a:pt x="877" y="1689"/>
                </a:cubicBezTo>
                <a:cubicBezTo>
                  <a:pt x="875" y="1688"/>
                  <a:pt x="875" y="1688"/>
                  <a:pt x="875" y="1688"/>
                </a:cubicBezTo>
                <a:cubicBezTo>
                  <a:pt x="874" y="1687"/>
                  <a:pt x="874" y="1687"/>
                  <a:pt x="874" y="1687"/>
                </a:cubicBezTo>
                <a:cubicBezTo>
                  <a:pt x="875" y="1687"/>
                  <a:pt x="875" y="1687"/>
                  <a:pt x="875" y="1687"/>
                </a:cubicBezTo>
                <a:cubicBezTo>
                  <a:pt x="876" y="1687"/>
                  <a:pt x="876" y="1687"/>
                  <a:pt x="876" y="1687"/>
                </a:cubicBezTo>
                <a:cubicBezTo>
                  <a:pt x="878" y="1687"/>
                  <a:pt x="878" y="1687"/>
                  <a:pt x="878" y="1687"/>
                </a:cubicBezTo>
                <a:cubicBezTo>
                  <a:pt x="878" y="1686"/>
                  <a:pt x="878" y="1686"/>
                  <a:pt x="878" y="1686"/>
                </a:cubicBezTo>
                <a:cubicBezTo>
                  <a:pt x="877" y="1685"/>
                  <a:pt x="877" y="1685"/>
                  <a:pt x="877" y="1685"/>
                </a:cubicBezTo>
                <a:cubicBezTo>
                  <a:pt x="875" y="1685"/>
                  <a:pt x="875" y="1685"/>
                  <a:pt x="875" y="1685"/>
                </a:cubicBezTo>
                <a:cubicBezTo>
                  <a:pt x="880" y="1683"/>
                  <a:pt x="880" y="1683"/>
                  <a:pt x="880" y="1683"/>
                </a:cubicBezTo>
                <a:cubicBezTo>
                  <a:pt x="881" y="1682"/>
                  <a:pt x="881" y="1682"/>
                  <a:pt x="881" y="1682"/>
                </a:cubicBezTo>
                <a:cubicBezTo>
                  <a:pt x="890" y="1684"/>
                  <a:pt x="890" y="1684"/>
                  <a:pt x="890" y="1684"/>
                </a:cubicBezTo>
                <a:cubicBezTo>
                  <a:pt x="891" y="1684"/>
                  <a:pt x="891" y="1684"/>
                  <a:pt x="891" y="1684"/>
                </a:cubicBezTo>
                <a:cubicBezTo>
                  <a:pt x="890" y="1682"/>
                  <a:pt x="890" y="1682"/>
                  <a:pt x="890" y="1682"/>
                </a:cubicBezTo>
                <a:cubicBezTo>
                  <a:pt x="894" y="1682"/>
                  <a:pt x="894" y="1682"/>
                  <a:pt x="894" y="1682"/>
                </a:cubicBezTo>
                <a:cubicBezTo>
                  <a:pt x="897" y="1681"/>
                  <a:pt x="897" y="1681"/>
                  <a:pt x="897" y="1681"/>
                </a:cubicBezTo>
                <a:cubicBezTo>
                  <a:pt x="901" y="1682"/>
                  <a:pt x="901" y="1682"/>
                  <a:pt x="901" y="1682"/>
                </a:cubicBezTo>
                <a:cubicBezTo>
                  <a:pt x="904" y="1681"/>
                  <a:pt x="904" y="1681"/>
                  <a:pt x="904" y="1681"/>
                </a:cubicBezTo>
                <a:cubicBezTo>
                  <a:pt x="908" y="1682"/>
                  <a:pt x="908" y="1682"/>
                  <a:pt x="908" y="1682"/>
                </a:cubicBezTo>
                <a:cubicBezTo>
                  <a:pt x="911" y="1683"/>
                  <a:pt x="911" y="1683"/>
                  <a:pt x="911" y="1683"/>
                </a:cubicBezTo>
                <a:cubicBezTo>
                  <a:pt x="913" y="1684"/>
                  <a:pt x="913" y="1684"/>
                  <a:pt x="913" y="1684"/>
                </a:cubicBezTo>
                <a:cubicBezTo>
                  <a:pt x="915" y="1683"/>
                  <a:pt x="915" y="1683"/>
                  <a:pt x="915" y="1683"/>
                </a:cubicBezTo>
                <a:cubicBezTo>
                  <a:pt x="917" y="1682"/>
                  <a:pt x="917" y="1682"/>
                  <a:pt x="917" y="1682"/>
                </a:cubicBezTo>
                <a:cubicBezTo>
                  <a:pt x="918" y="1680"/>
                  <a:pt x="918" y="1680"/>
                  <a:pt x="918" y="1680"/>
                </a:cubicBezTo>
                <a:cubicBezTo>
                  <a:pt x="920" y="1679"/>
                  <a:pt x="920" y="1679"/>
                  <a:pt x="920" y="1679"/>
                </a:cubicBezTo>
                <a:cubicBezTo>
                  <a:pt x="921" y="1680"/>
                  <a:pt x="921" y="1680"/>
                  <a:pt x="921" y="1680"/>
                </a:cubicBezTo>
                <a:cubicBezTo>
                  <a:pt x="923" y="1678"/>
                  <a:pt x="923" y="1678"/>
                  <a:pt x="923" y="1678"/>
                </a:cubicBezTo>
                <a:cubicBezTo>
                  <a:pt x="923" y="1677"/>
                  <a:pt x="923" y="1677"/>
                  <a:pt x="923" y="1677"/>
                </a:cubicBezTo>
                <a:lnTo>
                  <a:pt x="921" y="1676"/>
                </a:lnTo>
                <a:close/>
                <a:moveTo>
                  <a:pt x="872" y="1665"/>
                </a:moveTo>
                <a:cubicBezTo>
                  <a:pt x="871" y="1663"/>
                  <a:pt x="871" y="1663"/>
                  <a:pt x="871" y="1663"/>
                </a:cubicBezTo>
                <a:cubicBezTo>
                  <a:pt x="870" y="1663"/>
                  <a:pt x="870" y="1663"/>
                  <a:pt x="870" y="1663"/>
                </a:cubicBezTo>
                <a:cubicBezTo>
                  <a:pt x="870" y="1665"/>
                  <a:pt x="870" y="1665"/>
                  <a:pt x="870" y="1665"/>
                </a:cubicBezTo>
                <a:cubicBezTo>
                  <a:pt x="869" y="1666"/>
                  <a:pt x="869" y="1666"/>
                  <a:pt x="869" y="1666"/>
                </a:cubicBezTo>
                <a:cubicBezTo>
                  <a:pt x="870" y="1668"/>
                  <a:pt x="870" y="1668"/>
                  <a:pt x="870" y="1668"/>
                </a:cubicBezTo>
                <a:cubicBezTo>
                  <a:pt x="869" y="1669"/>
                  <a:pt x="869" y="1669"/>
                  <a:pt x="869" y="1669"/>
                </a:cubicBezTo>
                <a:cubicBezTo>
                  <a:pt x="869" y="1671"/>
                  <a:pt x="869" y="1671"/>
                  <a:pt x="869" y="1671"/>
                </a:cubicBezTo>
                <a:cubicBezTo>
                  <a:pt x="871" y="1672"/>
                  <a:pt x="871" y="1672"/>
                  <a:pt x="871" y="1672"/>
                </a:cubicBezTo>
                <a:cubicBezTo>
                  <a:pt x="873" y="1672"/>
                  <a:pt x="873" y="1672"/>
                  <a:pt x="873" y="1672"/>
                </a:cubicBezTo>
                <a:cubicBezTo>
                  <a:pt x="874" y="1673"/>
                  <a:pt x="874" y="1673"/>
                  <a:pt x="874" y="1673"/>
                </a:cubicBezTo>
                <a:cubicBezTo>
                  <a:pt x="875" y="1672"/>
                  <a:pt x="875" y="1672"/>
                  <a:pt x="875" y="1672"/>
                </a:cubicBezTo>
                <a:cubicBezTo>
                  <a:pt x="872" y="1671"/>
                  <a:pt x="872" y="1671"/>
                  <a:pt x="872" y="1671"/>
                </a:cubicBezTo>
                <a:cubicBezTo>
                  <a:pt x="874" y="1669"/>
                  <a:pt x="874" y="1669"/>
                  <a:pt x="874" y="1669"/>
                </a:cubicBezTo>
                <a:cubicBezTo>
                  <a:pt x="873" y="1668"/>
                  <a:pt x="873" y="1668"/>
                  <a:pt x="873" y="1668"/>
                </a:cubicBezTo>
                <a:cubicBezTo>
                  <a:pt x="873" y="1667"/>
                  <a:pt x="873" y="1667"/>
                  <a:pt x="873" y="1667"/>
                </a:cubicBezTo>
                <a:lnTo>
                  <a:pt x="872" y="1665"/>
                </a:lnTo>
                <a:close/>
                <a:moveTo>
                  <a:pt x="867" y="1687"/>
                </a:moveTo>
                <a:cubicBezTo>
                  <a:pt x="868" y="1688"/>
                  <a:pt x="868" y="1688"/>
                  <a:pt x="868" y="1688"/>
                </a:cubicBezTo>
                <a:cubicBezTo>
                  <a:pt x="869" y="1687"/>
                  <a:pt x="869" y="1687"/>
                  <a:pt x="869" y="1687"/>
                </a:cubicBezTo>
                <a:cubicBezTo>
                  <a:pt x="869" y="1686"/>
                  <a:pt x="869" y="1686"/>
                  <a:pt x="869" y="1686"/>
                </a:cubicBezTo>
                <a:lnTo>
                  <a:pt x="867" y="1687"/>
                </a:lnTo>
                <a:close/>
                <a:moveTo>
                  <a:pt x="858" y="1675"/>
                </a:moveTo>
                <a:cubicBezTo>
                  <a:pt x="856" y="1676"/>
                  <a:pt x="856" y="1676"/>
                  <a:pt x="856" y="1676"/>
                </a:cubicBezTo>
                <a:cubicBezTo>
                  <a:pt x="856" y="1677"/>
                  <a:pt x="856" y="1677"/>
                  <a:pt x="856" y="1677"/>
                </a:cubicBezTo>
                <a:cubicBezTo>
                  <a:pt x="858" y="1677"/>
                  <a:pt x="858" y="1677"/>
                  <a:pt x="858" y="1677"/>
                </a:cubicBezTo>
                <a:cubicBezTo>
                  <a:pt x="859" y="1675"/>
                  <a:pt x="859" y="1675"/>
                  <a:pt x="859" y="1675"/>
                </a:cubicBezTo>
                <a:cubicBezTo>
                  <a:pt x="859" y="1675"/>
                  <a:pt x="859" y="1675"/>
                  <a:pt x="859" y="1675"/>
                </a:cubicBezTo>
                <a:cubicBezTo>
                  <a:pt x="858" y="1674"/>
                  <a:pt x="858" y="1674"/>
                  <a:pt x="858" y="1674"/>
                </a:cubicBezTo>
                <a:lnTo>
                  <a:pt x="858" y="1675"/>
                </a:lnTo>
                <a:close/>
                <a:moveTo>
                  <a:pt x="864" y="1676"/>
                </a:moveTo>
                <a:cubicBezTo>
                  <a:pt x="865" y="1675"/>
                  <a:pt x="865" y="1675"/>
                  <a:pt x="865" y="1675"/>
                </a:cubicBezTo>
                <a:cubicBezTo>
                  <a:pt x="866" y="1676"/>
                  <a:pt x="866" y="1676"/>
                  <a:pt x="866" y="1676"/>
                </a:cubicBezTo>
                <a:cubicBezTo>
                  <a:pt x="867" y="1676"/>
                  <a:pt x="867" y="1676"/>
                  <a:pt x="867" y="1676"/>
                </a:cubicBezTo>
                <a:cubicBezTo>
                  <a:pt x="869" y="1676"/>
                  <a:pt x="869" y="1676"/>
                  <a:pt x="869" y="1676"/>
                </a:cubicBezTo>
                <a:cubicBezTo>
                  <a:pt x="868" y="1674"/>
                  <a:pt x="868" y="1674"/>
                  <a:pt x="868" y="1674"/>
                </a:cubicBezTo>
                <a:cubicBezTo>
                  <a:pt x="869" y="1673"/>
                  <a:pt x="869" y="1673"/>
                  <a:pt x="869" y="1673"/>
                </a:cubicBezTo>
                <a:cubicBezTo>
                  <a:pt x="868" y="1672"/>
                  <a:pt x="868" y="1672"/>
                  <a:pt x="868" y="1672"/>
                </a:cubicBezTo>
                <a:cubicBezTo>
                  <a:pt x="867" y="1672"/>
                  <a:pt x="867" y="1672"/>
                  <a:pt x="867" y="1672"/>
                </a:cubicBezTo>
                <a:cubicBezTo>
                  <a:pt x="866" y="1673"/>
                  <a:pt x="866" y="1673"/>
                  <a:pt x="866" y="1673"/>
                </a:cubicBezTo>
                <a:cubicBezTo>
                  <a:pt x="865" y="1672"/>
                  <a:pt x="865" y="1672"/>
                  <a:pt x="865" y="1672"/>
                </a:cubicBezTo>
                <a:cubicBezTo>
                  <a:pt x="862" y="1671"/>
                  <a:pt x="862" y="1671"/>
                  <a:pt x="862" y="1671"/>
                </a:cubicBezTo>
                <a:cubicBezTo>
                  <a:pt x="861" y="1672"/>
                  <a:pt x="861" y="1672"/>
                  <a:pt x="861" y="1672"/>
                </a:cubicBezTo>
                <a:cubicBezTo>
                  <a:pt x="858" y="1672"/>
                  <a:pt x="858" y="1672"/>
                  <a:pt x="858" y="1672"/>
                </a:cubicBezTo>
                <a:cubicBezTo>
                  <a:pt x="858" y="1673"/>
                  <a:pt x="858" y="1673"/>
                  <a:pt x="858" y="1673"/>
                </a:cubicBezTo>
                <a:cubicBezTo>
                  <a:pt x="860" y="1674"/>
                  <a:pt x="860" y="1674"/>
                  <a:pt x="860" y="1674"/>
                </a:cubicBezTo>
                <a:cubicBezTo>
                  <a:pt x="860" y="1675"/>
                  <a:pt x="860" y="1675"/>
                  <a:pt x="860" y="1675"/>
                </a:cubicBezTo>
                <a:cubicBezTo>
                  <a:pt x="861" y="1674"/>
                  <a:pt x="861" y="1674"/>
                  <a:pt x="861" y="1674"/>
                </a:cubicBezTo>
                <a:cubicBezTo>
                  <a:pt x="863" y="1675"/>
                  <a:pt x="863" y="1675"/>
                  <a:pt x="863" y="1675"/>
                </a:cubicBezTo>
                <a:lnTo>
                  <a:pt x="864" y="1676"/>
                </a:lnTo>
                <a:close/>
                <a:moveTo>
                  <a:pt x="1177" y="234"/>
                </a:moveTo>
                <a:cubicBezTo>
                  <a:pt x="1177" y="235"/>
                  <a:pt x="1177" y="235"/>
                  <a:pt x="1177" y="235"/>
                </a:cubicBezTo>
                <a:cubicBezTo>
                  <a:pt x="1178" y="235"/>
                  <a:pt x="1178" y="235"/>
                  <a:pt x="1178" y="235"/>
                </a:cubicBezTo>
                <a:cubicBezTo>
                  <a:pt x="1178" y="234"/>
                  <a:pt x="1178" y="234"/>
                  <a:pt x="1178" y="234"/>
                </a:cubicBezTo>
                <a:cubicBezTo>
                  <a:pt x="1178" y="234"/>
                  <a:pt x="1178" y="234"/>
                  <a:pt x="1178" y="234"/>
                </a:cubicBezTo>
                <a:lnTo>
                  <a:pt x="1177" y="234"/>
                </a:lnTo>
                <a:close/>
                <a:moveTo>
                  <a:pt x="1335" y="273"/>
                </a:moveTo>
                <a:cubicBezTo>
                  <a:pt x="1337" y="274"/>
                  <a:pt x="1337" y="274"/>
                  <a:pt x="1337" y="274"/>
                </a:cubicBezTo>
                <a:cubicBezTo>
                  <a:pt x="1339" y="273"/>
                  <a:pt x="1339" y="273"/>
                  <a:pt x="1339" y="273"/>
                </a:cubicBezTo>
                <a:cubicBezTo>
                  <a:pt x="1340" y="273"/>
                  <a:pt x="1340" y="273"/>
                  <a:pt x="1340" y="273"/>
                </a:cubicBezTo>
                <a:cubicBezTo>
                  <a:pt x="1344" y="276"/>
                  <a:pt x="1344" y="276"/>
                  <a:pt x="1344" y="276"/>
                </a:cubicBezTo>
                <a:cubicBezTo>
                  <a:pt x="1348" y="276"/>
                  <a:pt x="1348" y="276"/>
                  <a:pt x="1348" y="276"/>
                </a:cubicBezTo>
                <a:cubicBezTo>
                  <a:pt x="1350" y="277"/>
                  <a:pt x="1350" y="277"/>
                  <a:pt x="1350" y="277"/>
                </a:cubicBezTo>
                <a:cubicBezTo>
                  <a:pt x="1352" y="276"/>
                  <a:pt x="1352" y="276"/>
                  <a:pt x="1352" y="276"/>
                </a:cubicBezTo>
                <a:cubicBezTo>
                  <a:pt x="1352" y="273"/>
                  <a:pt x="1352" y="273"/>
                  <a:pt x="1352" y="273"/>
                </a:cubicBezTo>
                <a:cubicBezTo>
                  <a:pt x="1353" y="272"/>
                  <a:pt x="1353" y="272"/>
                  <a:pt x="1353" y="272"/>
                </a:cubicBezTo>
                <a:cubicBezTo>
                  <a:pt x="1353" y="274"/>
                  <a:pt x="1353" y="274"/>
                  <a:pt x="1353" y="274"/>
                </a:cubicBezTo>
                <a:cubicBezTo>
                  <a:pt x="1355" y="274"/>
                  <a:pt x="1355" y="274"/>
                  <a:pt x="1355" y="274"/>
                </a:cubicBezTo>
                <a:cubicBezTo>
                  <a:pt x="1358" y="272"/>
                  <a:pt x="1358" y="272"/>
                  <a:pt x="1358" y="272"/>
                </a:cubicBezTo>
                <a:cubicBezTo>
                  <a:pt x="1358" y="270"/>
                  <a:pt x="1358" y="270"/>
                  <a:pt x="1358" y="270"/>
                </a:cubicBezTo>
                <a:cubicBezTo>
                  <a:pt x="1360" y="269"/>
                  <a:pt x="1360" y="269"/>
                  <a:pt x="1360" y="269"/>
                </a:cubicBezTo>
                <a:cubicBezTo>
                  <a:pt x="1359" y="271"/>
                  <a:pt x="1359" y="271"/>
                  <a:pt x="1359" y="271"/>
                </a:cubicBezTo>
                <a:cubicBezTo>
                  <a:pt x="1360" y="272"/>
                  <a:pt x="1360" y="272"/>
                  <a:pt x="1360" y="272"/>
                </a:cubicBezTo>
                <a:cubicBezTo>
                  <a:pt x="1361" y="271"/>
                  <a:pt x="1361" y="271"/>
                  <a:pt x="1361" y="271"/>
                </a:cubicBezTo>
                <a:cubicBezTo>
                  <a:pt x="1362" y="270"/>
                  <a:pt x="1362" y="270"/>
                  <a:pt x="1362" y="270"/>
                </a:cubicBezTo>
                <a:cubicBezTo>
                  <a:pt x="1364" y="268"/>
                  <a:pt x="1364" y="268"/>
                  <a:pt x="1364" y="268"/>
                </a:cubicBezTo>
                <a:cubicBezTo>
                  <a:pt x="1365" y="269"/>
                  <a:pt x="1365" y="269"/>
                  <a:pt x="1365" y="269"/>
                </a:cubicBezTo>
                <a:cubicBezTo>
                  <a:pt x="1366" y="268"/>
                  <a:pt x="1366" y="268"/>
                  <a:pt x="1366" y="268"/>
                </a:cubicBezTo>
                <a:cubicBezTo>
                  <a:pt x="1368" y="268"/>
                  <a:pt x="1368" y="268"/>
                  <a:pt x="1368" y="268"/>
                </a:cubicBezTo>
                <a:cubicBezTo>
                  <a:pt x="1368" y="269"/>
                  <a:pt x="1368" y="269"/>
                  <a:pt x="1368" y="269"/>
                </a:cubicBezTo>
                <a:cubicBezTo>
                  <a:pt x="1368" y="268"/>
                  <a:pt x="1368" y="268"/>
                  <a:pt x="1368" y="268"/>
                </a:cubicBezTo>
                <a:cubicBezTo>
                  <a:pt x="1373" y="265"/>
                  <a:pt x="1373" y="265"/>
                  <a:pt x="1373" y="265"/>
                </a:cubicBezTo>
                <a:cubicBezTo>
                  <a:pt x="1374" y="263"/>
                  <a:pt x="1374" y="263"/>
                  <a:pt x="1374" y="263"/>
                </a:cubicBezTo>
                <a:cubicBezTo>
                  <a:pt x="1379" y="262"/>
                  <a:pt x="1379" y="262"/>
                  <a:pt x="1379" y="262"/>
                </a:cubicBezTo>
                <a:cubicBezTo>
                  <a:pt x="1380" y="260"/>
                  <a:pt x="1380" y="260"/>
                  <a:pt x="1380" y="260"/>
                </a:cubicBezTo>
                <a:cubicBezTo>
                  <a:pt x="1380" y="259"/>
                  <a:pt x="1380" y="259"/>
                  <a:pt x="1380" y="259"/>
                </a:cubicBezTo>
                <a:cubicBezTo>
                  <a:pt x="1380" y="258"/>
                  <a:pt x="1380" y="258"/>
                  <a:pt x="1380" y="258"/>
                </a:cubicBezTo>
                <a:cubicBezTo>
                  <a:pt x="1381" y="258"/>
                  <a:pt x="1381" y="258"/>
                  <a:pt x="1381" y="258"/>
                </a:cubicBezTo>
                <a:cubicBezTo>
                  <a:pt x="1381" y="260"/>
                  <a:pt x="1381" y="260"/>
                  <a:pt x="1381" y="260"/>
                </a:cubicBezTo>
                <a:cubicBezTo>
                  <a:pt x="1384" y="261"/>
                  <a:pt x="1384" y="261"/>
                  <a:pt x="1384" y="261"/>
                </a:cubicBezTo>
                <a:cubicBezTo>
                  <a:pt x="1385" y="259"/>
                  <a:pt x="1385" y="259"/>
                  <a:pt x="1385" y="259"/>
                </a:cubicBezTo>
                <a:cubicBezTo>
                  <a:pt x="1386" y="258"/>
                  <a:pt x="1386" y="258"/>
                  <a:pt x="1386" y="258"/>
                </a:cubicBezTo>
                <a:cubicBezTo>
                  <a:pt x="1385" y="257"/>
                  <a:pt x="1385" y="257"/>
                  <a:pt x="1385" y="257"/>
                </a:cubicBezTo>
                <a:cubicBezTo>
                  <a:pt x="1385" y="256"/>
                  <a:pt x="1385" y="256"/>
                  <a:pt x="1385" y="256"/>
                </a:cubicBezTo>
                <a:cubicBezTo>
                  <a:pt x="1386" y="255"/>
                  <a:pt x="1386" y="255"/>
                  <a:pt x="1386" y="255"/>
                </a:cubicBezTo>
                <a:cubicBezTo>
                  <a:pt x="1386" y="253"/>
                  <a:pt x="1386" y="253"/>
                  <a:pt x="1386" y="253"/>
                </a:cubicBezTo>
                <a:cubicBezTo>
                  <a:pt x="1386" y="252"/>
                  <a:pt x="1386" y="252"/>
                  <a:pt x="1386" y="252"/>
                </a:cubicBezTo>
                <a:cubicBezTo>
                  <a:pt x="1388" y="253"/>
                  <a:pt x="1388" y="253"/>
                  <a:pt x="1388" y="253"/>
                </a:cubicBezTo>
                <a:cubicBezTo>
                  <a:pt x="1388" y="255"/>
                  <a:pt x="1388" y="255"/>
                  <a:pt x="1388" y="255"/>
                </a:cubicBezTo>
                <a:cubicBezTo>
                  <a:pt x="1390" y="254"/>
                  <a:pt x="1390" y="254"/>
                  <a:pt x="1390" y="254"/>
                </a:cubicBezTo>
                <a:cubicBezTo>
                  <a:pt x="1391" y="252"/>
                  <a:pt x="1391" y="252"/>
                  <a:pt x="1391" y="252"/>
                </a:cubicBezTo>
                <a:cubicBezTo>
                  <a:pt x="1391" y="250"/>
                  <a:pt x="1391" y="250"/>
                  <a:pt x="1391" y="250"/>
                </a:cubicBezTo>
                <a:cubicBezTo>
                  <a:pt x="1389" y="249"/>
                  <a:pt x="1389" y="249"/>
                  <a:pt x="1389" y="249"/>
                </a:cubicBezTo>
                <a:cubicBezTo>
                  <a:pt x="1389" y="247"/>
                  <a:pt x="1389" y="247"/>
                  <a:pt x="1389" y="247"/>
                </a:cubicBezTo>
                <a:cubicBezTo>
                  <a:pt x="1390" y="246"/>
                  <a:pt x="1390" y="246"/>
                  <a:pt x="1390" y="246"/>
                </a:cubicBezTo>
                <a:cubicBezTo>
                  <a:pt x="1390" y="244"/>
                  <a:pt x="1390" y="244"/>
                  <a:pt x="1390" y="244"/>
                </a:cubicBezTo>
                <a:cubicBezTo>
                  <a:pt x="1391" y="243"/>
                  <a:pt x="1391" y="243"/>
                  <a:pt x="1391" y="243"/>
                </a:cubicBezTo>
                <a:cubicBezTo>
                  <a:pt x="1393" y="243"/>
                  <a:pt x="1393" y="243"/>
                  <a:pt x="1393" y="243"/>
                </a:cubicBezTo>
                <a:cubicBezTo>
                  <a:pt x="1394" y="241"/>
                  <a:pt x="1394" y="241"/>
                  <a:pt x="1394" y="241"/>
                </a:cubicBezTo>
                <a:cubicBezTo>
                  <a:pt x="1392" y="240"/>
                  <a:pt x="1392" y="240"/>
                  <a:pt x="1392" y="240"/>
                </a:cubicBezTo>
                <a:cubicBezTo>
                  <a:pt x="1388" y="239"/>
                  <a:pt x="1388" y="239"/>
                  <a:pt x="1388" y="239"/>
                </a:cubicBezTo>
                <a:cubicBezTo>
                  <a:pt x="1387" y="240"/>
                  <a:pt x="1387" y="240"/>
                  <a:pt x="1387" y="240"/>
                </a:cubicBezTo>
                <a:cubicBezTo>
                  <a:pt x="1388" y="239"/>
                  <a:pt x="1388" y="239"/>
                  <a:pt x="1388" y="239"/>
                </a:cubicBezTo>
                <a:cubicBezTo>
                  <a:pt x="1388" y="237"/>
                  <a:pt x="1388" y="237"/>
                  <a:pt x="1388" y="237"/>
                </a:cubicBezTo>
                <a:cubicBezTo>
                  <a:pt x="1386" y="237"/>
                  <a:pt x="1386" y="237"/>
                  <a:pt x="1386" y="237"/>
                </a:cubicBezTo>
                <a:cubicBezTo>
                  <a:pt x="1385" y="237"/>
                  <a:pt x="1385" y="237"/>
                  <a:pt x="1385" y="237"/>
                </a:cubicBezTo>
                <a:cubicBezTo>
                  <a:pt x="1384" y="236"/>
                  <a:pt x="1384" y="236"/>
                  <a:pt x="1384" y="236"/>
                </a:cubicBezTo>
                <a:cubicBezTo>
                  <a:pt x="1386" y="234"/>
                  <a:pt x="1386" y="234"/>
                  <a:pt x="1386" y="234"/>
                </a:cubicBezTo>
                <a:cubicBezTo>
                  <a:pt x="1387" y="233"/>
                  <a:pt x="1387" y="233"/>
                  <a:pt x="1387" y="233"/>
                </a:cubicBezTo>
                <a:cubicBezTo>
                  <a:pt x="1387" y="231"/>
                  <a:pt x="1387" y="231"/>
                  <a:pt x="1387" y="231"/>
                </a:cubicBezTo>
                <a:cubicBezTo>
                  <a:pt x="1386" y="230"/>
                  <a:pt x="1386" y="230"/>
                  <a:pt x="1386" y="230"/>
                </a:cubicBezTo>
                <a:cubicBezTo>
                  <a:pt x="1384" y="231"/>
                  <a:pt x="1384" y="231"/>
                  <a:pt x="1384" y="231"/>
                </a:cubicBezTo>
                <a:cubicBezTo>
                  <a:pt x="1383" y="230"/>
                  <a:pt x="1383" y="230"/>
                  <a:pt x="1383" y="230"/>
                </a:cubicBezTo>
                <a:cubicBezTo>
                  <a:pt x="1382" y="229"/>
                  <a:pt x="1382" y="229"/>
                  <a:pt x="1382" y="229"/>
                </a:cubicBezTo>
                <a:cubicBezTo>
                  <a:pt x="1384" y="228"/>
                  <a:pt x="1384" y="228"/>
                  <a:pt x="1384" y="228"/>
                </a:cubicBezTo>
                <a:cubicBezTo>
                  <a:pt x="1384" y="226"/>
                  <a:pt x="1384" y="226"/>
                  <a:pt x="1384" y="226"/>
                </a:cubicBezTo>
                <a:cubicBezTo>
                  <a:pt x="1385" y="226"/>
                  <a:pt x="1385" y="226"/>
                  <a:pt x="1385" y="226"/>
                </a:cubicBezTo>
                <a:cubicBezTo>
                  <a:pt x="1387" y="225"/>
                  <a:pt x="1387" y="225"/>
                  <a:pt x="1387" y="225"/>
                </a:cubicBezTo>
                <a:cubicBezTo>
                  <a:pt x="1385" y="224"/>
                  <a:pt x="1385" y="224"/>
                  <a:pt x="1385" y="224"/>
                </a:cubicBezTo>
                <a:cubicBezTo>
                  <a:pt x="1383" y="225"/>
                  <a:pt x="1383" y="225"/>
                  <a:pt x="1383" y="225"/>
                </a:cubicBezTo>
                <a:cubicBezTo>
                  <a:pt x="1380" y="228"/>
                  <a:pt x="1380" y="228"/>
                  <a:pt x="1380" y="228"/>
                </a:cubicBezTo>
                <a:cubicBezTo>
                  <a:pt x="1379" y="229"/>
                  <a:pt x="1379" y="229"/>
                  <a:pt x="1379" y="229"/>
                </a:cubicBezTo>
                <a:cubicBezTo>
                  <a:pt x="1378" y="229"/>
                  <a:pt x="1378" y="229"/>
                  <a:pt x="1378" y="229"/>
                </a:cubicBezTo>
                <a:cubicBezTo>
                  <a:pt x="1377" y="228"/>
                  <a:pt x="1377" y="228"/>
                  <a:pt x="1377" y="228"/>
                </a:cubicBezTo>
                <a:cubicBezTo>
                  <a:pt x="1378" y="226"/>
                  <a:pt x="1378" y="226"/>
                  <a:pt x="1378" y="226"/>
                </a:cubicBezTo>
                <a:cubicBezTo>
                  <a:pt x="1377" y="225"/>
                  <a:pt x="1377" y="225"/>
                  <a:pt x="1377" y="225"/>
                </a:cubicBezTo>
                <a:cubicBezTo>
                  <a:pt x="1376" y="224"/>
                  <a:pt x="1376" y="224"/>
                  <a:pt x="1376" y="224"/>
                </a:cubicBezTo>
                <a:cubicBezTo>
                  <a:pt x="1375" y="223"/>
                  <a:pt x="1375" y="223"/>
                  <a:pt x="1375" y="223"/>
                </a:cubicBezTo>
                <a:cubicBezTo>
                  <a:pt x="1373" y="224"/>
                  <a:pt x="1373" y="224"/>
                  <a:pt x="1373" y="224"/>
                </a:cubicBezTo>
                <a:cubicBezTo>
                  <a:pt x="1372" y="223"/>
                  <a:pt x="1372" y="223"/>
                  <a:pt x="1372" y="223"/>
                </a:cubicBezTo>
                <a:cubicBezTo>
                  <a:pt x="1371" y="225"/>
                  <a:pt x="1371" y="225"/>
                  <a:pt x="1371" y="225"/>
                </a:cubicBezTo>
                <a:cubicBezTo>
                  <a:pt x="1372" y="227"/>
                  <a:pt x="1372" y="227"/>
                  <a:pt x="1372" y="227"/>
                </a:cubicBezTo>
                <a:cubicBezTo>
                  <a:pt x="1371" y="228"/>
                  <a:pt x="1371" y="228"/>
                  <a:pt x="1371" y="228"/>
                </a:cubicBezTo>
                <a:cubicBezTo>
                  <a:pt x="1369" y="229"/>
                  <a:pt x="1369" y="229"/>
                  <a:pt x="1369" y="229"/>
                </a:cubicBezTo>
                <a:cubicBezTo>
                  <a:pt x="1367" y="230"/>
                  <a:pt x="1367" y="230"/>
                  <a:pt x="1367" y="230"/>
                </a:cubicBezTo>
                <a:cubicBezTo>
                  <a:pt x="1367" y="228"/>
                  <a:pt x="1367" y="228"/>
                  <a:pt x="1367" y="228"/>
                </a:cubicBezTo>
                <a:cubicBezTo>
                  <a:pt x="1366" y="227"/>
                  <a:pt x="1366" y="227"/>
                  <a:pt x="1366" y="227"/>
                </a:cubicBezTo>
                <a:cubicBezTo>
                  <a:pt x="1365" y="229"/>
                  <a:pt x="1365" y="229"/>
                  <a:pt x="1365" y="229"/>
                </a:cubicBezTo>
                <a:cubicBezTo>
                  <a:pt x="1364" y="231"/>
                  <a:pt x="1364" y="231"/>
                  <a:pt x="1364" y="231"/>
                </a:cubicBezTo>
                <a:cubicBezTo>
                  <a:pt x="1362" y="231"/>
                  <a:pt x="1362" y="231"/>
                  <a:pt x="1362" y="231"/>
                </a:cubicBezTo>
                <a:cubicBezTo>
                  <a:pt x="1360" y="228"/>
                  <a:pt x="1360" y="228"/>
                  <a:pt x="1360" y="228"/>
                </a:cubicBezTo>
                <a:cubicBezTo>
                  <a:pt x="1358" y="228"/>
                  <a:pt x="1358" y="228"/>
                  <a:pt x="1358" y="228"/>
                </a:cubicBezTo>
                <a:cubicBezTo>
                  <a:pt x="1358" y="228"/>
                  <a:pt x="1358" y="228"/>
                  <a:pt x="1358" y="228"/>
                </a:cubicBezTo>
                <a:cubicBezTo>
                  <a:pt x="1356" y="228"/>
                  <a:pt x="1356" y="228"/>
                  <a:pt x="1356" y="228"/>
                </a:cubicBezTo>
                <a:cubicBezTo>
                  <a:pt x="1355" y="231"/>
                  <a:pt x="1355" y="231"/>
                  <a:pt x="1355" y="231"/>
                </a:cubicBezTo>
                <a:cubicBezTo>
                  <a:pt x="1357" y="235"/>
                  <a:pt x="1357" y="235"/>
                  <a:pt x="1357" y="235"/>
                </a:cubicBezTo>
                <a:cubicBezTo>
                  <a:pt x="1355" y="240"/>
                  <a:pt x="1355" y="240"/>
                  <a:pt x="1355" y="240"/>
                </a:cubicBezTo>
                <a:cubicBezTo>
                  <a:pt x="1356" y="236"/>
                  <a:pt x="1356" y="236"/>
                  <a:pt x="1356" y="236"/>
                </a:cubicBezTo>
                <a:cubicBezTo>
                  <a:pt x="1354" y="233"/>
                  <a:pt x="1354" y="233"/>
                  <a:pt x="1354" y="233"/>
                </a:cubicBezTo>
                <a:cubicBezTo>
                  <a:pt x="1354" y="231"/>
                  <a:pt x="1354" y="231"/>
                  <a:pt x="1354" y="231"/>
                </a:cubicBezTo>
                <a:cubicBezTo>
                  <a:pt x="1353" y="230"/>
                  <a:pt x="1353" y="230"/>
                  <a:pt x="1353" y="230"/>
                </a:cubicBezTo>
                <a:cubicBezTo>
                  <a:pt x="1353" y="228"/>
                  <a:pt x="1353" y="228"/>
                  <a:pt x="1353" y="228"/>
                </a:cubicBezTo>
                <a:cubicBezTo>
                  <a:pt x="1351" y="227"/>
                  <a:pt x="1351" y="227"/>
                  <a:pt x="1351" y="227"/>
                </a:cubicBezTo>
                <a:cubicBezTo>
                  <a:pt x="1347" y="230"/>
                  <a:pt x="1347" y="230"/>
                  <a:pt x="1347" y="230"/>
                </a:cubicBezTo>
                <a:cubicBezTo>
                  <a:pt x="1347" y="232"/>
                  <a:pt x="1347" y="232"/>
                  <a:pt x="1347" y="232"/>
                </a:cubicBezTo>
                <a:cubicBezTo>
                  <a:pt x="1347" y="233"/>
                  <a:pt x="1347" y="233"/>
                  <a:pt x="1347" y="233"/>
                </a:cubicBezTo>
                <a:cubicBezTo>
                  <a:pt x="1346" y="236"/>
                  <a:pt x="1346" y="236"/>
                  <a:pt x="1346" y="236"/>
                </a:cubicBezTo>
                <a:cubicBezTo>
                  <a:pt x="1344" y="236"/>
                  <a:pt x="1344" y="236"/>
                  <a:pt x="1344" y="236"/>
                </a:cubicBezTo>
                <a:cubicBezTo>
                  <a:pt x="1344" y="233"/>
                  <a:pt x="1344" y="233"/>
                  <a:pt x="1344" y="233"/>
                </a:cubicBezTo>
                <a:cubicBezTo>
                  <a:pt x="1343" y="233"/>
                  <a:pt x="1343" y="233"/>
                  <a:pt x="1343" y="233"/>
                </a:cubicBezTo>
                <a:cubicBezTo>
                  <a:pt x="1342" y="228"/>
                  <a:pt x="1342" y="228"/>
                  <a:pt x="1342" y="228"/>
                </a:cubicBezTo>
                <a:cubicBezTo>
                  <a:pt x="1341" y="227"/>
                  <a:pt x="1341" y="227"/>
                  <a:pt x="1341" y="227"/>
                </a:cubicBezTo>
                <a:cubicBezTo>
                  <a:pt x="1338" y="229"/>
                  <a:pt x="1338" y="229"/>
                  <a:pt x="1338" y="229"/>
                </a:cubicBezTo>
                <a:cubicBezTo>
                  <a:pt x="1339" y="234"/>
                  <a:pt x="1339" y="234"/>
                  <a:pt x="1339" y="234"/>
                </a:cubicBezTo>
                <a:cubicBezTo>
                  <a:pt x="1340" y="235"/>
                  <a:pt x="1340" y="235"/>
                  <a:pt x="1340" y="235"/>
                </a:cubicBezTo>
                <a:cubicBezTo>
                  <a:pt x="1340" y="239"/>
                  <a:pt x="1340" y="239"/>
                  <a:pt x="1340" y="239"/>
                </a:cubicBezTo>
                <a:cubicBezTo>
                  <a:pt x="1338" y="240"/>
                  <a:pt x="1338" y="240"/>
                  <a:pt x="1338" y="240"/>
                </a:cubicBezTo>
                <a:cubicBezTo>
                  <a:pt x="1337" y="240"/>
                  <a:pt x="1337" y="240"/>
                  <a:pt x="1337" y="240"/>
                </a:cubicBezTo>
                <a:cubicBezTo>
                  <a:pt x="1337" y="238"/>
                  <a:pt x="1337" y="238"/>
                  <a:pt x="1337" y="238"/>
                </a:cubicBezTo>
                <a:cubicBezTo>
                  <a:pt x="1335" y="239"/>
                  <a:pt x="1335" y="239"/>
                  <a:pt x="1335" y="239"/>
                </a:cubicBezTo>
                <a:cubicBezTo>
                  <a:pt x="1334" y="241"/>
                  <a:pt x="1334" y="241"/>
                  <a:pt x="1334" y="241"/>
                </a:cubicBezTo>
                <a:cubicBezTo>
                  <a:pt x="1333" y="242"/>
                  <a:pt x="1333" y="242"/>
                  <a:pt x="1333" y="242"/>
                </a:cubicBezTo>
                <a:cubicBezTo>
                  <a:pt x="1332" y="245"/>
                  <a:pt x="1332" y="245"/>
                  <a:pt x="1332" y="245"/>
                </a:cubicBezTo>
                <a:cubicBezTo>
                  <a:pt x="1331" y="242"/>
                  <a:pt x="1331" y="242"/>
                  <a:pt x="1331" y="242"/>
                </a:cubicBezTo>
                <a:cubicBezTo>
                  <a:pt x="1330" y="242"/>
                  <a:pt x="1330" y="242"/>
                  <a:pt x="1330" y="242"/>
                </a:cubicBezTo>
                <a:cubicBezTo>
                  <a:pt x="1330" y="240"/>
                  <a:pt x="1330" y="240"/>
                  <a:pt x="1330" y="240"/>
                </a:cubicBezTo>
                <a:cubicBezTo>
                  <a:pt x="1331" y="239"/>
                  <a:pt x="1331" y="239"/>
                  <a:pt x="1331" y="239"/>
                </a:cubicBezTo>
                <a:cubicBezTo>
                  <a:pt x="1331" y="237"/>
                  <a:pt x="1331" y="237"/>
                  <a:pt x="1331" y="237"/>
                </a:cubicBezTo>
                <a:cubicBezTo>
                  <a:pt x="1329" y="237"/>
                  <a:pt x="1329" y="237"/>
                  <a:pt x="1329" y="237"/>
                </a:cubicBezTo>
                <a:cubicBezTo>
                  <a:pt x="1330" y="236"/>
                  <a:pt x="1330" y="236"/>
                  <a:pt x="1330" y="236"/>
                </a:cubicBezTo>
                <a:cubicBezTo>
                  <a:pt x="1329" y="233"/>
                  <a:pt x="1329" y="233"/>
                  <a:pt x="1329" y="233"/>
                </a:cubicBezTo>
                <a:cubicBezTo>
                  <a:pt x="1330" y="234"/>
                  <a:pt x="1330" y="234"/>
                  <a:pt x="1330" y="234"/>
                </a:cubicBezTo>
                <a:cubicBezTo>
                  <a:pt x="1332" y="233"/>
                  <a:pt x="1332" y="233"/>
                  <a:pt x="1332" y="233"/>
                </a:cubicBezTo>
                <a:cubicBezTo>
                  <a:pt x="1332" y="232"/>
                  <a:pt x="1332" y="232"/>
                  <a:pt x="1332" y="232"/>
                </a:cubicBezTo>
                <a:cubicBezTo>
                  <a:pt x="1330" y="231"/>
                  <a:pt x="1330" y="231"/>
                  <a:pt x="1330" y="231"/>
                </a:cubicBezTo>
                <a:cubicBezTo>
                  <a:pt x="1331" y="229"/>
                  <a:pt x="1331" y="229"/>
                  <a:pt x="1331" y="229"/>
                </a:cubicBezTo>
                <a:cubicBezTo>
                  <a:pt x="1330" y="228"/>
                  <a:pt x="1330" y="228"/>
                  <a:pt x="1330" y="228"/>
                </a:cubicBezTo>
                <a:cubicBezTo>
                  <a:pt x="1329" y="229"/>
                  <a:pt x="1329" y="229"/>
                  <a:pt x="1329" y="229"/>
                </a:cubicBezTo>
                <a:cubicBezTo>
                  <a:pt x="1328" y="227"/>
                  <a:pt x="1328" y="227"/>
                  <a:pt x="1328" y="227"/>
                </a:cubicBezTo>
                <a:cubicBezTo>
                  <a:pt x="1325" y="226"/>
                  <a:pt x="1325" y="226"/>
                  <a:pt x="1325" y="226"/>
                </a:cubicBezTo>
                <a:cubicBezTo>
                  <a:pt x="1325" y="224"/>
                  <a:pt x="1325" y="224"/>
                  <a:pt x="1325" y="224"/>
                </a:cubicBezTo>
                <a:cubicBezTo>
                  <a:pt x="1324" y="222"/>
                  <a:pt x="1324" y="222"/>
                  <a:pt x="1324" y="222"/>
                </a:cubicBezTo>
                <a:cubicBezTo>
                  <a:pt x="1322" y="223"/>
                  <a:pt x="1322" y="223"/>
                  <a:pt x="1322" y="223"/>
                </a:cubicBezTo>
                <a:cubicBezTo>
                  <a:pt x="1320" y="222"/>
                  <a:pt x="1320" y="222"/>
                  <a:pt x="1320" y="222"/>
                </a:cubicBezTo>
                <a:cubicBezTo>
                  <a:pt x="1317" y="222"/>
                  <a:pt x="1317" y="222"/>
                  <a:pt x="1317" y="222"/>
                </a:cubicBezTo>
                <a:cubicBezTo>
                  <a:pt x="1317" y="223"/>
                  <a:pt x="1317" y="223"/>
                  <a:pt x="1317" y="223"/>
                </a:cubicBezTo>
                <a:cubicBezTo>
                  <a:pt x="1318" y="224"/>
                  <a:pt x="1318" y="224"/>
                  <a:pt x="1318" y="224"/>
                </a:cubicBezTo>
                <a:cubicBezTo>
                  <a:pt x="1319" y="224"/>
                  <a:pt x="1319" y="224"/>
                  <a:pt x="1319" y="224"/>
                </a:cubicBezTo>
                <a:cubicBezTo>
                  <a:pt x="1319" y="223"/>
                  <a:pt x="1319" y="223"/>
                  <a:pt x="1319" y="223"/>
                </a:cubicBezTo>
                <a:cubicBezTo>
                  <a:pt x="1321" y="223"/>
                  <a:pt x="1321" y="223"/>
                  <a:pt x="1321" y="223"/>
                </a:cubicBezTo>
                <a:cubicBezTo>
                  <a:pt x="1322" y="224"/>
                  <a:pt x="1322" y="224"/>
                  <a:pt x="1322" y="224"/>
                </a:cubicBezTo>
                <a:cubicBezTo>
                  <a:pt x="1323" y="225"/>
                  <a:pt x="1323" y="225"/>
                  <a:pt x="1323" y="225"/>
                </a:cubicBezTo>
                <a:cubicBezTo>
                  <a:pt x="1323" y="226"/>
                  <a:pt x="1323" y="226"/>
                  <a:pt x="1323" y="226"/>
                </a:cubicBezTo>
                <a:cubicBezTo>
                  <a:pt x="1321" y="225"/>
                  <a:pt x="1321" y="225"/>
                  <a:pt x="1321" y="225"/>
                </a:cubicBezTo>
                <a:cubicBezTo>
                  <a:pt x="1319" y="225"/>
                  <a:pt x="1319" y="225"/>
                  <a:pt x="1319" y="225"/>
                </a:cubicBezTo>
                <a:cubicBezTo>
                  <a:pt x="1319" y="226"/>
                  <a:pt x="1319" y="226"/>
                  <a:pt x="1319" y="226"/>
                </a:cubicBezTo>
                <a:cubicBezTo>
                  <a:pt x="1322" y="228"/>
                  <a:pt x="1322" y="228"/>
                  <a:pt x="1322" y="228"/>
                </a:cubicBezTo>
                <a:cubicBezTo>
                  <a:pt x="1324" y="230"/>
                  <a:pt x="1324" y="230"/>
                  <a:pt x="1324" y="230"/>
                </a:cubicBezTo>
                <a:cubicBezTo>
                  <a:pt x="1323" y="231"/>
                  <a:pt x="1323" y="231"/>
                  <a:pt x="1323" y="231"/>
                </a:cubicBezTo>
                <a:cubicBezTo>
                  <a:pt x="1323" y="231"/>
                  <a:pt x="1323" y="231"/>
                  <a:pt x="1323" y="231"/>
                </a:cubicBezTo>
                <a:cubicBezTo>
                  <a:pt x="1323" y="230"/>
                  <a:pt x="1323" y="230"/>
                  <a:pt x="1323" y="230"/>
                </a:cubicBezTo>
                <a:cubicBezTo>
                  <a:pt x="1320" y="229"/>
                  <a:pt x="1320" y="229"/>
                  <a:pt x="1320" y="229"/>
                </a:cubicBezTo>
                <a:cubicBezTo>
                  <a:pt x="1319" y="230"/>
                  <a:pt x="1319" y="230"/>
                  <a:pt x="1319" y="230"/>
                </a:cubicBezTo>
                <a:cubicBezTo>
                  <a:pt x="1318" y="230"/>
                  <a:pt x="1318" y="230"/>
                  <a:pt x="1318" y="230"/>
                </a:cubicBezTo>
                <a:cubicBezTo>
                  <a:pt x="1318" y="228"/>
                  <a:pt x="1318" y="228"/>
                  <a:pt x="1318" y="228"/>
                </a:cubicBezTo>
                <a:cubicBezTo>
                  <a:pt x="1317" y="226"/>
                  <a:pt x="1317" y="226"/>
                  <a:pt x="1317" y="226"/>
                </a:cubicBezTo>
                <a:cubicBezTo>
                  <a:pt x="1315" y="225"/>
                  <a:pt x="1315" y="225"/>
                  <a:pt x="1315" y="225"/>
                </a:cubicBezTo>
                <a:cubicBezTo>
                  <a:pt x="1313" y="226"/>
                  <a:pt x="1313" y="226"/>
                  <a:pt x="1313" y="226"/>
                </a:cubicBezTo>
                <a:cubicBezTo>
                  <a:pt x="1315" y="228"/>
                  <a:pt x="1315" y="228"/>
                  <a:pt x="1315" y="228"/>
                </a:cubicBezTo>
                <a:cubicBezTo>
                  <a:pt x="1314" y="229"/>
                  <a:pt x="1314" y="229"/>
                  <a:pt x="1314" y="229"/>
                </a:cubicBezTo>
                <a:cubicBezTo>
                  <a:pt x="1313" y="227"/>
                  <a:pt x="1313" y="227"/>
                  <a:pt x="1313" y="227"/>
                </a:cubicBezTo>
                <a:cubicBezTo>
                  <a:pt x="1312" y="227"/>
                  <a:pt x="1312" y="227"/>
                  <a:pt x="1312" y="227"/>
                </a:cubicBezTo>
                <a:cubicBezTo>
                  <a:pt x="1311" y="228"/>
                  <a:pt x="1311" y="228"/>
                  <a:pt x="1311" y="228"/>
                </a:cubicBezTo>
                <a:cubicBezTo>
                  <a:pt x="1312" y="230"/>
                  <a:pt x="1312" y="230"/>
                  <a:pt x="1312" y="230"/>
                </a:cubicBezTo>
                <a:cubicBezTo>
                  <a:pt x="1313" y="230"/>
                  <a:pt x="1313" y="230"/>
                  <a:pt x="1313" y="230"/>
                </a:cubicBezTo>
                <a:cubicBezTo>
                  <a:pt x="1314" y="231"/>
                  <a:pt x="1314" y="231"/>
                  <a:pt x="1314" y="231"/>
                </a:cubicBezTo>
                <a:cubicBezTo>
                  <a:pt x="1312" y="231"/>
                  <a:pt x="1312" y="231"/>
                  <a:pt x="1312" y="231"/>
                </a:cubicBezTo>
                <a:cubicBezTo>
                  <a:pt x="1311" y="231"/>
                  <a:pt x="1311" y="231"/>
                  <a:pt x="1311" y="231"/>
                </a:cubicBezTo>
                <a:cubicBezTo>
                  <a:pt x="1312" y="233"/>
                  <a:pt x="1312" y="233"/>
                  <a:pt x="1312" y="233"/>
                </a:cubicBezTo>
                <a:cubicBezTo>
                  <a:pt x="1314" y="234"/>
                  <a:pt x="1314" y="234"/>
                  <a:pt x="1314" y="234"/>
                </a:cubicBezTo>
                <a:cubicBezTo>
                  <a:pt x="1313" y="234"/>
                  <a:pt x="1313" y="234"/>
                  <a:pt x="1313" y="234"/>
                </a:cubicBezTo>
                <a:cubicBezTo>
                  <a:pt x="1312" y="234"/>
                  <a:pt x="1312" y="234"/>
                  <a:pt x="1312" y="234"/>
                </a:cubicBezTo>
                <a:cubicBezTo>
                  <a:pt x="1313" y="236"/>
                  <a:pt x="1313" y="236"/>
                  <a:pt x="1313" y="236"/>
                </a:cubicBezTo>
                <a:cubicBezTo>
                  <a:pt x="1312" y="236"/>
                  <a:pt x="1312" y="236"/>
                  <a:pt x="1312" y="236"/>
                </a:cubicBezTo>
                <a:cubicBezTo>
                  <a:pt x="1309" y="233"/>
                  <a:pt x="1309" y="233"/>
                  <a:pt x="1309" y="233"/>
                </a:cubicBezTo>
                <a:cubicBezTo>
                  <a:pt x="1309" y="233"/>
                  <a:pt x="1309" y="233"/>
                  <a:pt x="1309" y="233"/>
                </a:cubicBezTo>
                <a:cubicBezTo>
                  <a:pt x="1308" y="234"/>
                  <a:pt x="1308" y="234"/>
                  <a:pt x="1308" y="234"/>
                </a:cubicBezTo>
                <a:cubicBezTo>
                  <a:pt x="1309" y="236"/>
                  <a:pt x="1309" y="236"/>
                  <a:pt x="1309" y="236"/>
                </a:cubicBezTo>
                <a:cubicBezTo>
                  <a:pt x="1310" y="238"/>
                  <a:pt x="1310" y="238"/>
                  <a:pt x="1310" y="238"/>
                </a:cubicBezTo>
                <a:cubicBezTo>
                  <a:pt x="1309" y="238"/>
                  <a:pt x="1309" y="238"/>
                  <a:pt x="1309" y="238"/>
                </a:cubicBezTo>
                <a:cubicBezTo>
                  <a:pt x="1307" y="236"/>
                  <a:pt x="1307" y="236"/>
                  <a:pt x="1307" y="236"/>
                </a:cubicBezTo>
                <a:cubicBezTo>
                  <a:pt x="1305" y="235"/>
                  <a:pt x="1305" y="235"/>
                  <a:pt x="1305" y="235"/>
                </a:cubicBezTo>
                <a:cubicBezTo>
                  <a:pt x="1304" y="237"/>
                  <a:pt x="1304" y="237"/>
                  <a:pt x="1304" y="237"/>
                </a:cubicBezTo>
                <a:cubicBezTo>
                  <a:pt x="1307" y="238"/>
                  <a:pt x="1307" y="238"/>
                  <a:pt x="1307" y="238"/>
                </a:cubicBezTo>
                <a:cubicBezTo>
                  <a:pt x="1308" y="240"/>
                  <a:pt x="1308" y="240"/>
                  <a:pt x="1308" y="240"/>
                </a:cubicBezTo>
                <a:cubicBezTo>
                  <a:pt x="1311" y="240"/>
                  <a:pt x="1311" y="240"/>
                  <a:pt x="1311" y="240"/>
                </a:cubicBezTo>
                <a:cubicBezTo>
                  <a:pt x="1312" y="238"/>
                  <a:pt x="1312" y="238"/>
                  <a:pt x="1312" y="238"/>
                </a:cubicBezTo>
                <a:cubicBezTo>
                  <a:pt x="1314" y="238"/>
                  <a:pt x="1314" y="238"/>
                  <a:pt x="1314" y="238"/>
                </a:cubicBezTo>
                <a:cubicBezTo>
                  <a:pt x="1315" y="236"/>
                  <a:pt x="1315" y="236"/>
                  <a:pt x="1315" y="236"/>
                </a:cubicBezTo>
                <a:cubicBezTo>
                  <a:pt x="1316" y="237"/>
                  <a:pt x="1316" y="237"/>
                  <a:pt x="1316" y="237"/>
                </a:cubicBezTo>
                <a:cubicBezTo>
                  <a:pt x="1316" y="238"/>
                  <a:pt x="1316" y="238"/>
                  <a:pt x="1316" y="238"/>
                </a:cubicBezTo>
                <a:cubicBezTo>
                  <a:pt x="1317" y="238"/>
                  <a:pt x="1317" y="238"/>
                  <a:pt x="1317" y="238"/>
                </a:cubicBezTo>
                <a:cubicBezTo>
                  <a:pt x="1318" y="237"/>
                  <a:pt x="1318" y="237"/>
                  <a:pt x="1318" y="237"/>
                </a:cubicBezTo>
                <a:cubicBezTo>
                  <a:pt x="1319" y="239"/>
                  <a:pt x="1319" y="239"/>
                  <a:pt x="1319" y="239"/>
                </a:cubicBezTo>
                <a:cubicBezTo>
                  <a:pt x="1319" y="239"/>
                  <a:pt x="1319" y="239"/>
                  <a:pt x="1319" y="239"/>
                </a:cubicBezTo>
                <a:cubicBezTo>
                  <a:pt x="1321" y="238"/>
                  <a:pt x="1321" y="238"/>
                  <a:pt x="1321" y="238"/>
                </a:cubicBezTo>
                <a:cubicBezTo>
                  <a:pt x="1321" y="237"/>
                  <a:pt x="1321" y="237"/>
                  <a:pt x="1321" y="237"/>
                </a:cubicBezTo>
                <a:cubicBezTo>
                  <a:pt x="1322" y="239"/>
                  <a:pt x="1322" y="239"/>
                  <a:pt x="1322" y="239"/>
                </a:cubicBezTo>
                <a:cubicBezTo>
                  <a:pt x="1322" y="239"/>
                  <a:pt x="1322" y="239"/>
                  <a:pt x="1322" y="239"/>
                </a:cubicBezTo>
                <a:cubicBezTo>
                  <a:pt x="1324" y="237"/>
                  <a:pt x="1324" y="237"/>
                  <a:pt x="1324" y="237"/>
                </a:cubicBezTo>
                <a:cubicBezTo>
                  <a:pt x="1324" y="238"/>
                  <a:pt x="1324" y="238"/>
                  <a:pt x="1324" y="238"/>
                </a:cubicBezTo>
                <a:cubicBezTo>
                  <a:pt x="1324" y="240"/>
                  <a:pt x="1324" y="240"/>
                  <a:pt x="1324" y="240"/>
                </a:cubicBezTo>
                <a:cubicBezTo>
                  <a:pt x="1324" y="240"/>
                  <a:pt x="1324" y="240"/>
                  <a:pt x="1324" y="240"/>
                </a:cubicBezTo>
                <a:cubicBezTo>
                  <a:pt x="1326" y="239"/>
                  <a:pt x="1326" y="239"/>
                  <a:pt x="1326" y="239"/>
                </a:cubicBezTo>
                <a:cubicBezTo>
                  <a:pt x="1328" y="240"/>
                  <a:pt x="1328" y="240"/>
                  <a:pt x="1328" y="240"/>
                </a:cubicBezTo>
                <a:cubicBezTo>
                  <a:pt x="1327" y="241"/>
                  <a:pt x="1327" y="241"/>
                  <a:pt x="1327" y="241"/>
                </a:cubicBezTo>
                <a:cubicBezTo>
                  <a:pt x="1326" y="241"/>
                  <a:pt x="1326" y="241"/>
                  <a:pt x="1326" y="241"/>
                </a:cubicBezTo>
                <a:cubicBezTo>
                  <a:pt x="1324" y="242"/>
                  <a:pt x="1324" y="242"/>
                  <a:pt x="1324" y="242"/>
                </a:cubicBezTo>
                <a:cubicBezTo>
                  <a:pt x="1323" y="242"/>
                  <a:pt x="1323" y="242"/>
                  <a:pt x="1323" y="242"/>
                </a:cubicBezTo>
                <a:cubicBezTo>
                  <a:pt x="1320" y="243"/>
                  <a:pt x="1320" y="243"/>
                  <a:pt x="1320" y="243"/>
                </a:cubicBezTo>
                <a:cubicBezTo>
                  <a:pt x="1320" y="244"/>
                  <a:pt x="1320" y="244"/>
                  <a:pt x="1320" y="244"/>
                </a:cubicBezTo>
                <a:cubicBezTo>
                  <a:pt x="1323" y="245"/>
                  <a:pt x="1323" y="245"/>
                  <a:pt x="1323" y="245"/>
                </a:cubicBezTo>
                <a:cubicBezTo>
                  <a:pt x="1325" y="245"/>
                  <a:pt x="1325" y="245"/>
                  <a:pt x="1325" y="245"/>
                </a:cubicBezTo>
                <a:cubicBezTo>
                  <a:pt x="1326" y="243"/>
                  <a:pt x="1326" y="243"/>
                  <a:pt x="1326" y="243"/>
                </a:cubicBezTo>
                <a:cubicBezTo>
                  <a:pt x="1327" y="243"/>
                  <a:pt x="1327" y="243"/>
                  <a:pt x="1327" y="243"/>
                </a:cubicBezTo>
                <a:cubicBezTo>
                  <a:pt x="1327" y="245"/>
                  <a:pt x="1327" y="245"/>
                  <a:pt x="1327" y="245"/>
                </a:cubicBezTo>
                <a:cubicBezTo>
                  <a:pt x="1326" y="246"/>
                  <a:pt x="1326" y="246"/>
                  <a:pt x="1326" y="246"/>
                </a:cubicBezTo>
                <a:cubicBezTo>
                  <a:pt x="1322" y="247"/>
                  <a:pt x="1322" y="247"/>
                  <a:pt x="1322" y="247"/>
                </a:cubicBezTo>
                <a:cubicBezTo>
                  <a:pt x="1321" y="246"/>
                  <a:pt x="1321" y="246"/>
                  <a:pt x="1321" y="246"/>
                </a:cubicBezTo>
                <a:cubicBezTo>
                  <a:pt x="1319" y="248"/>
                  <a:pt x="1319" y="248"/>
                  <a:pt x="1319" y="248"/>
                </a:cubicBezTo>
                <a:cubicBezTo>
                  <a:pt x="1318" y="247"/>
                  <a:pt x="1318" y="247"/>
                  <a:pt x="1318" y="247"/>
                </a:cubicBezTo>
                <a:cubicBezTo>
                  <a:pt x="1318" y="246"/>
                  <a:pt x="1318" y="246"/>
                  <a:pt x="1318" y="246"/>
                </a:cubicBezTo>
                <a:cubicBezTo>
                  <a:pt x="1318" y="245"/>
                  <a:pt x="1318" y="245"/>
                  <a:pt x="1318" y="245"/>
                </a:cubicBezTo>
                <a:cubicBezTo>
                  <a:pt x="1317" y="245"/>
                  <a:pt x="1317" y="245"/>
                  <a:pt x="1317" y="245"/>
                </a:cubicBezTo>
                <a:cubicBezTo>
                  <a:pt x="1317" y="245"/>
                  <a:pt x="1317" y="245"/>
                  <a:pt x="1317" y="245"/>
                </a:cubicBezTo>
                <a:cubicBezTo>
                  <a:pt x="1317" y="246"/>
                  <a:pt x="1317" y="246"/>
                  <a:pt x="1317" y="246"/>
                </a:cubicBezTo>
                <a:cubicBezTo>
                  <a:pt x="1315" y="247"/>
                  <a:pt x="1315" y="247"/>
                  <a:pt x="1315" y="247"/>
                </a:cubicBezTo>
                <a:cubicBezTo>
                  <a:pt x="1314" y="247"/>
                  <a:pt x="1314" y="247"/>
                  <a:pt x="1314" y="247"/>
                </a:cubicBezTo>
                <a:cubicBezTo>
                  <a:pt x="1312" y="247"/>
                  <a:pt x="1312" y="247"/>
                  <a:pt x="1312" y="247"/>
                </a:cubicBezTo>
                <a:cubicBezTo>
                  <a:pt x="1311" y="248"/>
                  <a:pt x="1311" y="248"/>
                  <a:pt x="1311" y="248"/>
                </a:cubicBezTo>
                <a:cubicBezTo>
                  <a:pt x="1309" y="247"/>
                  <a:pt x="1309" y="247"/>
                  <a:pt x="1309" y="247"/>
                </a:cubicBezTo>
                <a:cubicBezTo>
                  <a:pt x="1307" y="248"/>
                  <a:pt x="1307" y="248"/>
                  <a:pt x="1307" y="248"/>
                </a:cubicBezTo>
                <a:cubicBezTo>
                  <a:pt x="1306" y="247"/>
                  <a:pt x="1306" y="247"/>
                  <a:pt x="1306" y="247"/>
                </a:cubicBezTo>
                <a:cubicBezTo>
                  <a:pt x="1308" y="250"/>
                  <a:pt x="1308" y="250"/>
                  <a:pt x="1308" y="250"/>
                </a:cubicBezTo>
                <a:cubicBezTo>
                  <a:pt x="1308" y="251"/>
                  <a:pt x="1308" y="251"/>
                  <a:pt x="1308" y="251"/>
                </a:cubicBezTo>
                <a:cubicBezTo>
                  <a:pt x="1311" y="252"/>
                  <a:pt x="1311" y="252"/>
                  <a:pt x="1311" y="252"/>
                </a:cubicBezTo>
                <a:cubicBezTo>
                  <a:pt x="1311" y="251"/>
                  <a:pt x="1311" y="251"/>
                  <a:pt x="1311" y="251"/>
                </a:cubicBezTo>
                <a:cubicBezTo>
                  <a:pt x="1314" y="252"/>
                  <a:pt x="1314" y="252"/>
                  <a:pt x="1314" y="252"/>
                </a:cubicBezTo>
                <a:cubicBezTo>
                  <a:pt x="1318" y="252"/>
                  <a:pt x="1318" y="252"/>
                  <a:pt x="1318" y="252"/>
                </a:cubicBezTo>
                <a:cubicBezTo>
                  <a:pt x="1320" y="252"/>
                  <a:pt x="1320" y="252"/>
                  <a:pt x="1320" y="252"/>
                </a:cubicBezTo>
                <a:cubicBezTo>
                  <a:pt x="1320" y="253"/>
                  <a:pt x="1320" y="253"/>
                  <a:pt x="1320" y="253"/>
                </a:cubicBezTo>
                <a:cubicBezTo>
                  <a:pt x="1319" y="253"/>
                  <a:pt x="1319" y="253"/>
                  <a:pt x="1319" y="253"/>
                </a:cubicBezTo>
                <a:cubicBezTo>
                  <a:pt x="1319" y="255"/>
                  <a:pt x="1319" y="255"/>
                  <a:pt x="1319" y="255"/>
                </a:cubicBezTo>
                <a:cubicBezTo>
                  <a:pt x="1321" y="256"/>
                  <a:pt x="1321" y="256"/>
                  <a:pt x="1321" y="256"/>
                </a:cubicBezTo>
                <a:cubicBezTo>
                  <a:pt x="1321" y="257"/>
                  <a:pt x="1321" y="257"/>
                  <a:pt x="1321" y="257"/>
                </a:cubicBezTo>
                <a:cubicBezTo>
                  <a:pt x="1322" y="257"/>
                  <a:pt x="1322" y="257"/>
                  <a:pt x="1322" y="257"/>
                </a:cubicBezTo>
                <a:cubicBezTo>
                  <a:pt x="1325" y="255"/>
                  <a:pt x="1325" y="255"/>
                  <a:pt x="1325" y="255"/>
                </a:cubicBezTo>
                <a:cubicBezTo>
                  <a:pt x="1324" y="256"/>
                  <a:pt x="1324" y="256"/>
                  <a:pt x="1324" y="256"/>
                </a:cubicBezTo>
                <a:cubicBezTo>
                  <a:pt x="1323" y="258"/>
                  <a:pt x="1323" y="258"/>
                  <a:pt x="1323" y="258"/>
                </a:cubicBezTo>
                <a:cubicBezTo>
                  <a:pt x="1322" y="259"/>
                  <a:pt x="1322" y="259"/>
                  <a:pt x="1322" y="259"/>
                </a:cubicBezTo>
                <a:cubicBezTo>
                  <a:pt x="1323" y="260"/>
                  <a:pt x="1323" y="260"/>
                  <a:pt x="1323" y="260"/>
                </a:cubicBezTo>
                <a:cubicBezTo>
                  <a:pt x="1326" y="258"/>
                  <a:pt x="1326" y="258"/>
                  <a:pt x="1326" y="258"/>
                </a:cubicBezTo>
                <a:cubicBezTo>
                  <a:pt x="1328" y="259"/>
                  <a:pt x="1328" y="259"/>
                  <a:pt x="1328" y="259"/>
                </a:cubicBezTo>
                <a:cubicBezTo>
                  <a:pt x="1329" y="260"/>
                  <a:pt x="1329" y="260"/>
                  <a:pt x="1329" y="260"/>
                </a:cubicBezTo>
                <a:cubicBezTo>
                  <a:pt x="1327" y="259"/>
                  <a:pt x="1327" y="259"/>
                  <a:pt x="1327" y="259"/>
                </a:cubicBezTo>
                <a:cubicBezTo>
                  <a:pt x="1325" y="260"/>
                  <a:pt x="1325" y="260"/>
                  <a:pt x="1325" y="260"/>
                </a:cubicBezTo>
                <a:cubicBezTo>
                  <a:pt x="1324" y="261"/>
                  <a:pt x="1324" y="261"/>
                  <a:pt x="1324" y="261"/>
                </a:cubicBezTo>
                <a:cubicBezTo>
                  <a:pt x="1322" y="261"/>
                  <a:pt x="1322" y="261"/>
                  <a:pt x="1322" y="261"/>
                </a:cubicBezTo>
                <a:cubicBezTo>
                  <a:pt x="1322" y="263"/>
                  <a:pt x="1322" y="263"/>
                  <a:pt x="1322" y="263"/>
                </a:cubicBezTo>
                <a:cubicBezTo>
                  <a:pt x="1321" y="264"/>
                  <a:pt x="1321" y="264"/>
                  <a:pt x="1321" y="264"/>
                </a:cubicBezTo>
                <a:cubicBezTo>
                  <a:pt x="1320" y="263"/>
                  <a:pt x="1320" y="263"/>
                  <a:pt x="1320" y="263"/>
                </a:cubicBezTo>
                <a:cubicBezTo>
                  <a:pt x="1318" y="264"/>
                  <a:pt x="1318" y="264"/>
                  <a:pt x="1318" y="264"/>
                </a:cubicBezTo>
                <a:cubicBezTo>
                  <a:pt x="1318" y="263"/>
                  <a:pt x="1318" y="263"/>
                  <a:pt x="1318" y="263"/>
                </a:cubicBezTo>
                <a:cubicBezTo>
                  <a:pt x="1316" y="262"/>
                  <a:pt x="1316" y="262"/>
                  <a:pt x="1316" y="262"/>
                </a:cubicBezTo>
                <a:cubicBezTo>
                  <a:pt x="1316" y="263"/>
                  <a:pt x="1316" y="263"/>
                  <a:pt x="1316" y="263"/>
                </a:cubicBezTo>
                <a:cubicBezTo>
                  <a:pt x="1315" y="263"/>
                  <a:pt x="1315" y="263"/>
                  <a:pt x="1315" y="263"/>
                </a:cubicBezTo>
                <a:cubicBezTo>
                  <a:pt x="1316" y="265"/>
                  <a:pt x="1316" y="265"/>
                  <a:pt x="1316" y="265"/>
                </a:cubicBezTo>
                <a:cubicBezTo>
                  <a:pt x="1317" y="265"/>
                  <a:pt x="1317" y="265"/>
                  <a:pt x="1317" y="265"/>
                </a:cubicBezTo>
                <a:cubicBezTo>
                  <a:pt x="1316" y="266"/>
                  <a:pt x="1316" y="266"/>
                  <a:pt x="1316" y="266"/>
                </a:cubicBezTo>
                <a:cubicBezTo>
                  <a:pt x="1316" y="269"/>
                  <a:pt x="1316" y="269"/>
                  <a:pt x="1316" y="269"/>
                </a:cubicBezTo>
                <a:cubicBezTo>
                  <a:pt x="1318" y="269"/>
                  <a:pt x="1318" y="269"/>
                  <a:pt x="1318" y="269"/>
                </a:cubicBezTo>
                <a:cubicBezTo>
                  <a:pt x="1319" y="269"/>
                  <a:pt x="1319" y="269"/>
                  <a:pt x="1319" y="269"/>
                </a:cubicBezTo>
                <a:cubicBezTo>
                  <a:pt x="1320" y="269"/>
                  <a:pt x="1320" y="269"/>
                  <a:pt x="1320" y="269"/>
                </a:cubicBezTo>
                <a:cubicBezTo>
                  <a:pt x="1324" y="270"/>
                  <a:pt x="1324" y="270"/>
                  <a:pt x="1324" y="270"/>
                </a:cubicBezTo>
                <a:cubicBezTo>
                  <a:pt x="1326" y="268"/>
                  <a:pt x="1326" y="268"/>
                  <a:pt x="1326" y="268"/>
                </a:cubicBezTo>
                <a:cubicBezTo>
                  <a:pt x="1328" y="269"/>
                  <a:pt x="1328" y="269"/>
                  <a:pt x="1328" y="269"/>
                </a:cubicBezTo>
                <a:cubicBezTo>
                  <a:pt x="1330" y="268"/>
                  <a:pt x="1330" y="268"/>
                  <a:pt x="1330" y="268"/>
                </a:cubicBezTo>
                <a:cubicBezTo>
                  <a:pt x="1330" y="269"/>
                  <a:pt x="1330" y="269"/>
                  <a:pt x="1330" y="269"/>
                </a:cubicBezTo>
                <a:cubicBezTo>
                  <a:pt x="1331" y="270"/>
                  <a:pt x="1331" y="270"/>
                  <a:pt x="1331" y="270"/>
                </a:cubicBezTo>
                <a:cubicBezTo>
                  <a:pt x="1333" y="269"/>
                  <a:pt x="1333" y="269"/>
                  <a:pt x="1333" y="269"/>
                </a:cubicBezTo>
                <a:cubicBezTo>
                  <a:pt x="1333" y="271"/>
                  <a:pt x="1333" y="271"/>
                  <a:pt x="1333" y="271"/>
                </a:cubicBezTo>
                <a:lnTo>
                  <a:pt x="1335" y="273"/>
                </a:lnTo>
                <a:close/>
                <a:moveTo>
                  <a:pt x="1322" y="162"/>
                </a:moveTo>
                <a:cubicBezTo>
                  <a:pt x="1323" y="162"/>
                  <a:pt x="1323" y="162"/>
                  <a:pt x="1323" y="162"/>
                </a:cubicBezTo>
                <a:cubicBezTo>
                  <a:pt x="1324" y="162"/>
                  <a:pt x="1324" y="162"/>
                  <a:pt x="1324" y="162"/>
                </a:cubicBezTo>
                <a:cubicBezTo>
                  <a:pt x="1323" y="161"/>
                  <a:pt x="1323" y="161"/>
                  <a:pt x="1323" y="161"/>
                </a:cubicBezTo>
                <a:cubicBezTo>
                  <a:pt x="1322" y="161"/>
                  <a:pt x="1322" y="161"/>
                  <a:pt x="1322" y="161"/>
                </a:cubicBezTo>
                <a:lnTo>
                  <a:pt x="1322" y="162"/>
                </a:lnTo>
                <a:close/>
                <a:moveTo>
                  <a:pt x="1202" y="227"/>
                </a:moveTo>
                <a:cubicBezTo>
                  <a:pt x="1201" y="228"/>
                  <a:pt x="1201" y="228"/>
                  <a:pt x="1201" y="228"/>
                </a:cubicBezTo>
                <a:cubicBezTo>
                  <a:pt x="1201" y="229"/>
                  <a:pt x="1201" y="229"/>
                  <a:pt x="1201" y="229"/>
                </a:cubicBezTo>
                <a:cubicBezTo>
                  <a:pt x="1202" y="229"/>
                  <a:pt x="1202" y="229"/>
                  <a:pt x="1202" y="229"/>
                </a:cubicBezTo>
                <a:cubicBezTo>
                  <a:pt x="1202" y="229"/>
                  <a:pt x="1202" y="229"/>
                  <a:pt x="1202" y="229"/>
                </a:cubicBezTo>
                <a:cubicBezTo>
                  <a:pt x="1202" y="228"/>
                  <a:pt x="1202" y="228"/>
                  <a:pt x="1202" y="228"/>
                </a:cubicBezTo>
                <a:lnTo>
                  <a:pt x="1202" y="227"/>
                </a:lnTo>
                <a:close/>
                <a:moveTo>
                  <a:pt x="1180" y="231"/>
                </a:moveTo>
                <a:cubicBezTo>
                  <a:pt x="1180" y="232"/>
                  <a:pt x="1180" y="232"/>
                  <a:pt x="1180" y="232"/>
                </a:cubicBezTo>
                <a:cubicBezTo>
                  <a:pt x="1181" y="231"/>
                  <a:pt x="1181" y="231"/>
                  <a:pt x="1181" y="231"/>
                </a:cubicBezTo>
                <a:cubicBezTo>
                  <a:pt x="1180" y="231"/>
                  <a:pt x="1180" y="231"/>
                  <a:pt x="1180" y="231"/>
                </a:cubicBezTo>
                <a:close/>
                <a:moveTo>
                  <a:pt x="1334" y="100"/>
                </a:moveTo>
                <a:cubicBezTo>
                  <a:pt x="1335" y="101"/>
                  <a:pt x="1335" y="101"/>
                  <a:pt x="1335" y="101"/>
                </a:cubicBezTo>
                <a:cubicBezTo>
                  <a:pt x="1337" y="102"/>
                  <a:pt x="1337" y="102"/>
                  <a:pt x="1337" y="102"/>
                </a:cubicBezTo>
                <a:cubicBezTo>
                  <a:pt x="1339" y="102"/>
                  <a:pt x="1339" y="102"/>
                  <a:pt x="1339" y="102"/>
                </a:cubicBezTo>
                <a:cubicBezTo>
                  <a:pt x="1340" y="103"/>
                  <a:pt x="1340" y="103"/>
                  <a:pt x="1340" y="103"/>
                </a:cubicBezTo>
                <a:cubicBezTo>
                  <a:pt x="1340" y="102"/>
                  <a:pt x="1340" y="102"/>
                  <a:pt x="1340" y="102"/>
                </a:cubicBezTo>
                <a:cubicBezTo>
                  <a:pt x="1339" y="100"/>
                  <a:pt x="1339" y="100"/>
                  <a:pt x="1339" y="100"/>
                </a:cubicBezTo>
                <a:cubicBezTo>
                  <a:pt x="1334" y="98"/>
                  <a:pt x="1334" y="98"/>
                  <a:pt x="1334" y="98"/>
                </a:cubicBezTo>
                <a:cubicBezTo>
                  <a:pt x="1333" y="95"/>
                  <a:pt x="1333" y="95"/>
                  <a:pt x="1333" y="95"/>
                </a:cubicBezTo>
                <a:cubicBezTo>
                  <a:pt x="1332" y="95"/>
                  <a:pt x="1332" y="95"/>
                  <a:pt x="1332" y="95"/>
                </a:cubicBezTo>
                <a:cubicBezTo>
                  <a:pt x="1330" y="95"/>
                  <a:pt x="1330" y="95"/>
                  <a:pt x="1330" y="95"/>
                </a:cubicBezTo>
                <a:cubicBezTo>
                  <a:pt x="1328" y="93"/>
                  <a:pt x="1328" y="93"/>
                  <a:pt x="1328" y="93"/>
                </a:cubicBezTo>
                <a:cubicBezTo>
                  <a:pt x="1326" y="93"/>
                  <a:pt x="1326" y="93"/>
                  <a:pt x="1326" y="93"/>
                </a:cubicBezTo>
                <a:cubicBezTo>
                  <a:pt x="1325" y="93"/>
                  <a:pt x="1325" y="93"/>
                  <a:pt x="1325" y="93"/>
                </a:cubicBezTo>
                <a:cubicBezTo>
                  <a:pt x="1323" y="92"/>
                  <a:pt x="1323" y="92"/>
                  <a:pt x="1323" y="92"/>
                </a:cubicBezTo>
                <a:cubicBezTo>
                  <a:pt x="1322" y="93"/>
                  <a:pt x="1322" y="93"/>
                  <a:pt x="1322" y="93"/>
                </a:cubicBezTo>
                <a:cubicBezTo>
                  <a:pt x="1322" y="94"/>
                  <a:pt x="1322" y="94"/>
                  <a:pt x="1322" y="94"/>
                </a:cubicBezTo>
                <a:cubicBezTo>
                  <a:pt x="1323" y="95"/>
                  <a:pt x="1323" y="95"/>
                  <a:pt x="1323" y="95"/>
                </a:cubicBezTo>
                <a:cubicBezTo>
                  <a:pt x="1322" y="97"/>
                  <a:pt x="1322" y="97"/>
                  <a:pt x="1322" y="97"/>
                </a:cubicBezTo>
                <a:cubicBezTo>
                  <a:pt x="1324" y="99"/>
                  <a:pt x="1324" y="99"/>
                  <a:pt x="1324" y="99"/>
                </a:cubicBezTo>
                <a:cubicBezTo>
                  <a:pt x="1325" y="101"/>
                  <a:pt x="1325" y="101"/>
                  <a:pt x="1325" y="101"/>
                </a:cubicBezTo>
                <a:cubicBezTo>
                  <a:pt x="1327" y="102"/>
                  <a:pt x="1327" y="102"/>
                  <a:pt x="1327" y="102"/>
                </a:cubicBezTo>
                <a:cubicBezTo>
                  <a:pt x="1330" y="104"/>
                  <a:pt x="1330" y="104"/>
                  <a:pt x="1330" y="104"/>
                </a:cubicBezTo>
                <a:cubicBezTo>
                  <a:pt x="1331" y="106"/>
                  <a:pt x="1331" y="106"/>
                  <a:pt x="1331" y="106"/>
                </a:cubicBezTo>
                <a:cubicBezTo>
                  <a:pt x="1333" y="107"/>
                  <a:pt x="1333" y="107"/>
                  <a:pt x="1333" y="107"/>
                </a:cubicBezTo>
                <a:cubicBezTo>
                  <a:pt x="1334" y="107"/>
                  <a:pt x="1334" y="107"/>
                  <a:pt x="1334" y="107"/>
                </a:cubicBezTo>
                <a:cubicBezTo>
                  <a:pt x="1335" y="108"/>
                  <a:pt x="1335" y="108"/>
                  <a:pt x="1335" y="108"/>
                </a:cubicBezTo>
                <a:cubicBezTo>
                  <a:pt x="1337" y="109"/>
                  <a:pt x="1337" y="109"/>
                  <a:pt x="1337" y="109"/>
                </a:cubicBezTo>
                <a:cubicBezTo>
                  <a:pt x="1337" y="108"/>
                  <a:pt x="1337" y="108"/>
                  <a:pt x="1337" y="108"/>
                </a:cubicBezTo>
                <a:cubicBezTo>
                  <a:pt x="1337" y="107"/>
                  <a:pt x="1337" y="107"/>
                  <a:pt x="1337" y="107"/>
                </a:cubicBezTo>
                <a:cubicBezTo>
                  <a:pt x="1338" y="106"/>
                  <a:pt x="1338" y="106"/>
                  <a:pt x="1338" y="106"/>
                </a:cubicBezTo>
                <a:cubicBezTo>
                  <a:pt x="1337" y="104"/>
                  <a:pt x="1337" y="104"/>
                  <a:pt x="1337" y="104"/>
                </a:cubicBezTo>
                <a:cubicBezTo>
                  <a:pt x="1335" y="103"/>
                  <a:pt x="1335" y="103"/>
                  <a:pt x="1335" y="103"/>
                </a:cubicBezTo>
                <a:cubicBezTo>
                  <a:pt x="1334" y="103"/>
                  <a:pt x="1334" y="103"/>
                  <a:pt x="1334" y="103"/>
                </a:cubicBezTo>
                <a:cubicBezTo>
                  <a:pt x="1333" y="102"/>
                  <a:pt x="1333" y="102"/>
                  <a:pt x="1333" y="102"/>
                </a:cubicBezTo>
                <a:cubicBezTo>
                  <a:pt x="1333" y="101"/>
                  <a:pt x="1333" y="101"/>
                  <a:pt x="1333" y="101"/>
                </a:cubicBezTo>
                <a:lnTo>
                  <a:pt x="1334" y="100"/>
                </a:lnTo>
                <a:close/>
                <a:moveTo>
                  <a:pt x="1197" y="225"/>
                </a:moveTo>
                <a:cubicBezTo>
                  <a:pt x="1196" y="224"/>
                  <a:pt x="1196" y="224"/>
                  <a:pt x="1196" y="224"/>
                </a:cubicBezTo>
                <a:cubicBezTo>
                  <a:pt x="1195" y="224"/>
                  <a:pt x="1195" y="224"/>
                  <a:pt x="1195" y="224"/>
                </a:cubicBezTo>
                <a:cubicBezTo>
                  <a:pt x="1194" y="226"/>
                  <a:pt x="1194" y="226"/>
                  <a:pt x="1194" y="226"/>
                </a:cubicBezTo>
                <a:cubicBezTo>
                  <a:pt x="1194" y="227"/>
                  <a:pt x="1194" y="227"/>
                  <a:pt x="1194" y="227"/>
                </a:cubicBezTo>
                <a:cubicBezTo>
                  <a:pt x="1193" y="228"/>
                  <a:pt x="1193" y="228"/>
                  <a:pt x="1193" y="228"/>
                </a:cubicBezTo>
                <a:cubicBezTo>
                  <a:pt x="1195" y="229"/>
                  <a:pt x="1195" y="229"/>
                  <a:pt x="1195" y="229"/>
                </a:cubicBezTo>
                <a:cubicBezTo>
                  <a:pt x="1195" y="230"/>
                  <a:pt x="1195" y="230"/>
                  <a:pt x="1195" y="230"/>
                </a:cubicBezTo>
                <a:cubicBezTo>
                  <a:pt x="1196" y="230"/>
                  <a:pt x="1196" y="230"/>
                  <a:pt x="1196" y="230"/>
                </a:cubicBezTo>
                <a:cubicBezTo>
                  <a:pt x="1197" y="229"/>
                  <a:pt x="1197" y="229"/>
                  <a:pt x="1197" y="229"/>
                </a:cubicBezTo>
                <a:cubicBezTo>
                  <a:pt x="1199" y="229"/>
                  <a:pt x="1199" y="229"/>
                  <a:pt x="1199" y="229"/>
                </a:cubicBezTo>
                <a:cubicBezTo>
                  <a:pt x="1199" y="228"/>
                  <a:pt x="1199" y="228"/>
                  <a:pt x="1199" y="228"/>
                </a:cubicBezTo>
                <a:cubicBezTo>
                  <a:pt x="1198" y="226"/>
                  <a:pt x="1198" y="226"/>
                  <a:pt x="1198" y="226"/>
                </a:cubicBezTo>
                <a:lnTo>
                  <a:pt x="1197" y="225"/>
                </a:lnTo>
                <a:close/>
                <a:moveTo>
                  <a:pt x="1170" y="243"/>
                </a:moveTo>
                <a:cubicBezTo>
                  <a:pt x="1169" y="242"/>
                  <a:pt x="1169" y="242"/>
                  <a:pt x="1169" y="242"/>
                </a:cubicBezTo>
                <a:cubicBezTo>
                  <a:pt x="1169" y="240"/>
                  <a:pt x="1169" y="240"/>
                  <a:pt x="1169" y="240"/>
                </a:cubicBezTo>
                <a:cubicBezTo>
                  <a:pt x="1168" y="239"/>
                  <a:pt x="1168" y="239"/>
                  <a:pt x="1168" y="239"/>
                </a:cubicBezTo>
                <a:cubicBezTo>
                  <a:pt x="1167" y="240"/>
                  <a:pt x="1167" y="240"/>
                  <a:pt x="1167" y="240"/>
                </a:cubicBezTo>
                <a:cubicBezTo>
                  <a:pt x="1168" y="241"/>
                  <a:pt x="1168" y="241"/>
                  <a:pt x="1168" y="241"/>
                </a:cubicBezTo>
                <a:cubicBezTo>
                  <a:pt x="1169" y="243"/>
                  <a:pt x="1169" y="243"/>
                  <a:pt x="1169" y="243"/>
                </a:cubicBezTo>
                <a:cubicBezTo>
                  <a:pt x="1168" y="245"/>
                  <a:pt x="1168" y="245"/>
                  <a:pt x="1168" y="245"/>
                </a:cubicBezTo>
                <a:cubicBezTo>
                  <a:pt x="1169" y="247"/>
                  <a:pt x="1169" y="247"/>
                  <a:pt x="1169" y="247"/>
                </a:cubicBezTo>
                <a:cubicBezTo>
                  <a:pt x="1170" y="247"/>
                  <a:pt x="1170" y="247"/>
                  <a:pt x="1170" y="247"/>
                </a:cubicBezTo>
                <a:cubicBezTo>
                  <a:pt x="1170" y="245"/>
                  <a:pt x="1170" y="245"/>
                  <a:pt x="1170" y="245"/>
                </a:cubicBezTo>
                <a:lnTo>
                  <a:pt x="1170" y="243"/>
                </a:lnTo>
                <a:close/>
                <a:moveTo>
                  <a:pt x="335" y="399"/>
                </a:moveTo>
                <a:cubicBezTo>
                  <a:pt x="333" y="398"/>
                  <a:pt x="333" y="398"/>
                  <a:pt x="333" y="398"/>
                </a:cubicBezTo>
                <a:cubicBezTo>
                  <a:pt x="333" y="398"/>
                  <a:pt x="333" y="398"/>
                  <a:pt x="333" y="398"/>
                </a:cubicBezTo>
                <a:cubicBezTo>
                  <a:pt x="332" y="399"/>
                  <a:pt x="332" y="399"/>
                  <a:pt x="332" y="399"/>
                </a:cubicBezTo>
                <a:cubicBezTo>
                  <a:pt x="331" y="400"/>
                  <a:pt x="331" y="400"/>
                  <a:pt x="331" y="400"/>
                </a:cubicBezTo>
                <a:cubicBezTo>
                  <a:pt x="333" y="400"/>
                  <a:pt x="333" y="400"/>
                  <a:pt x="333" y="400"/>
                </a:cubicBezTo>
                <a:lnTo>
                  <a:pt x="335" y="399"/>
                </a:lnTo>
                <a:close/>
                <a:moveTo>
                  <a:pt x="151" y="217"/>
                </a:moveTo>
                <a:cubicBezTo>
                  <a:pt x="151" y="216"/>
                  <a:pt x="151" y="216"/>
                  <a:pt x="151" y="216"/>
                </a:cubicBezTo>
                <a:cubicBezTo>
                  <a:pt x="152" y="215"/>
                  <a:pt x="152" y="215"/>
                  <a:pt x="152" y="215"/>
                </a:cubicBezTo>
                <a:cubicBezTo>
                  <a:pt x="152" y="213"/>
                  <a:pt x="152" y="213"/>
                  <a:pt x="152" y="213"/>
                </a:cubicBezTo>
                <a:cubicBezTo>
                  <a:pt x="150" y="214"/>
                  <a:pt x="150" y="214"/>
                  <a:pt x="150" y="214"/>
                </a:cubicBezTo>
                <a:cubicBezTo>
                  <a:pt x="150" y="215"/>
                  <a:pt x="150" y="215"/>
                  <a:pt x="150" y="215"/>
                </a:cubicBezTo>
                <a:cubicBezTo>
                  <a:pt x="149" y="215"/>
                  <a:pt x="149" y="215"/>
                  <a:pt x="149" y="215"/>
                </a:cubicBezTo>
                <a:cubicBezTo>
                  <a:pt x="149" y="213"/>
                  <a:pt x="149" y="213"/>
                  <a:pt x="149" y="213"/>
                </a:cubicBezTo>
                <a:cubicBezTo>
                  <a:pt x="148" y="212"/>
                  <a:pt x="148" y="212"/>
                  <a:pt x="148" y="212"/>
                </a:cubicBezTo>
                <a:cubicBezTo>
                  <a:pt x="146" y="213"/>
                  <a:pt x="146" y="213"/>
                  <a:pt x="146" y="213"/>
                </a:cubicBezTo>
                <a:cubicBezTo>
                  <a:pt x="146" y="214"/>
                  <a:pt x="146" y="214"/>
                  <a:pt x="146" y="214"/>
                </a:cubicBezTo>
                <a:cubicBezTo>
                  <a:pt x="146" y="215"/>
                  <a:pt x="146" y="215"/>
                  <a:pt x="146" y="215"/>
                </a:cubicBezTo>
                <a:cubicBezTo>
                  <a:pt x="145" y="217"/>
                  <a:pt x="145" y="217"/>
                  <a:pt x="145" y="217"/>
                </a:cubicBezTo>
                <a:cubicBezTo>
                  <a:pt x="144" y="216"/>
                  <a:pt x="144" y="216"/>
                  <a:pt x="144" y="216"/>
                </a:cubicBezTo>
                <a:cubicBezTo>
                  <a:pt x="143" y="217"/>
                  <a:pt x="143" y="217"/>
                  <a:pt x="143" y="217"/>
                </a:cubicBezTo>
                <a:cubicBezTo>
                  <a:pt x="142" y="217"/>
                  <a:pt x="142" y="217"/>
                  <a:pt x="142" y="217"/>
                </a:cubicBezTo>
                <a:cubicBezTo>
                  <a:pt x="141" y="218"/>
                  <a:pt x="141" y="218"/>
                  <a:pt x="141" y="218"/>
                </a:cubicBezTo>
                <a:cubicBezTo>
                  <a:pt x="141" y="218"/>
                  <a:pt x="141" y="218"/>
                  <a:pt x="141" y="218"/>
                </a:cubicBezTo>
                <a:cubicBezTo>
                  <a:pt x="144" y="221"/>
                  <a:pt x="144" y="221"/>
                  <a:pt x="144" y="221"/>
                </a:cubicBezTo>
                <a:cubicBezTo>
                  <a:pt x="145" y="221"/>
                  <a:pt x="145" y="221"/>
                  <a:pt x="145" y="221"/>
                </a:cubicBezTo>
                <a:cubicBezTo>
                  <a:pt x="147" y="219"/>
                  <a:pt x="147" y="219"/>
                  <a:pt x="147" y="219"/>
                </a:cubicBezTo>
                <a:cubicBezTo>
                  <a:pt x="147" y="220"/>
                  <a:pt x="147" y="220"/>
                  <a:pt x="147" y="220"/>
                </a:cubicBezTo>
                <a:cubicBezTo>
                  <a:pt x="148" y="220"/>
                  <a:pt x="148" y="220"/>
                  <a:pt x="148" y="220"/>
                </a:cubicBezTo>
                <a:cubicBezTo>
                  <a:pt x="150" y="219"/>
                  <a:pt x="150" y="219"/>
                  <a:pt x="150" y="219"/>
                </a:cubicBezTo>
                <a:cubicBezTo>
                  <a:pt x="151" y="219"/>
                  <a:pt x="151" y="219"/>
                  <a:pt x="151" y="219"/>
                </a:cubicBezTo>
                <a:cubicBezTo>
                  <a:pt x="153" y="219"/>
                  <a:pt x="153" y="219"/>
                  <a:pt x="153" y="219"/>
                </a:cubicBezTo>
                <a:cubicBezTo>
                  <a:pt x="152" y="218"/>
                  <a:pt x="152" y="218"/>
                  <a:pt x="152" y="218"/>
                </a:cubicBezTo>
                <a:lnTo>
                  <a:pt x="151" y="217"/>
                </a:lnTo>
                <a:close/>
                <a:moveTo>
                  <a:pt x="212" y="174"/>
                </a:moveTo>
                <a:cubicBezTo>
                  <a:pt x="211" y="176"/>
                  <a:pt x="211" y="176"/>
                  <a:pt x="211" y="176"/>
                </a:cubicBezTo>
                <a:cubicBezTo>
                  <a:pt x="213" y="178"/>
                  <a:pt x="213" y="178"/>
                  <a:pt x="213" y="178"/>
                </a:cubicBezTo>
                <a:cubicBezTo>
                  <a:pt x="214" y="177"/>
                  <a:pt x="214" y="177"/>
                  <a:pt x="214" y="177"/>
                </a:cubicBezTo>
                <a:cubicBezTo>
                  <a:pt x="213" y="176"/>
                  <a:pt x="213" y="176"/>
                  <a:pt x="213" y="176"/>
                </a:cubicBezTo>
                <a:cubicBezTo>
                  <a:pt x="214" y="175"/>
                  <a:pt x="214" y="175"/>
                  <a:pt x="214" y="175"/>
                </a:cubicBezTo>
                <a:lnTo>
                  <a:pt x="212" y="174"/>
                </a:lnTo>
                <a:close/>
                <a:moveTo>
                  <a:pt x="206" y="193"/>
                </a:moveTo>
                <a:cubicBezTo>
                  <a:pt x="206" y="191"/>
                  <a:pt x="206" y="191"/>
                  <a:pt x="206" y="191"/>
                </a:cubicBezTo>
                <a:cubicBezTo>
                  <a:pt x="203" y="194"/>
                  <a:pt x="203" y="194"/>
                  <a:pt x="203" y="194"/>
                </a:cubicBezTo>
                <a:cubicBezTo>
                  <a:pt x="203" y="194"/>
                  <a:pt x="204" y="194"/>
                  <a:pt x="204" y="194"/>
                </a:cubicBezTo>
                <a:lnTo>
                  <a:pt x="206" y="193"/>
                </a:lnTo>
                <a:close/>
                <a:moveTo>
                  <a:pt x="208" y="189"/>
                </a:moveTo>
                <a:cubicBezTo>
                  <a:pt x="209" y="190"/>
                  <a:pt x="209" y="190"/>
                  <a:pt x="209" y="190"/>
                </a:cubicBezTo>
                <a:cubicBezTo>
                  <a:pt x="210" y="190"/>
                  <a:pt x="210" y="190"/>
                  <a:pt x="210" y="190"/>
                </a:cubicBezTo>
                <a:cubicBezTo>
                  <a:pt x="210" y="189"/>
                  <a:pt x="210" y="189"/>
                  <a:pt x="210" y="189"/>
                </a:cubicBezTo>
                <a:cubicBezTo>
                  <a:pt x="212" y="187"/>
                  <a:pt x="212" y="187"/>
                  <a:pt x="212" y="187"/>
                </a:cubicBezTo>
                <a:cubicBezTo>
                  <a:pt x="213" y="186"/>
                  <a:pt x="213" y="186"/>
                  <a:pt x="213" y="186"/>
                </a:cubicBezTo>
                <a:cubicBezTo>
                  <a:pt x="214" y="184"/>
                  <a:pt x="214" y="184"/>
                  <a:pt x="214" y="184"/>
                </a:cubicBezTo>
                <a:cubicBezTo>
                  <a:pt x="214" y="183"/>
                  <a:pt x="214" y="183"/>
                  <a:pt x="214" y="183"/>
                </a:cubicBezTo>
                <a:cubicBezTo>
                  <a:pt x="212" y="183"/>
                  <a:pt x="212" y="183"/>
                  <a:pt x="212" y="183"/>
                </a:cubicBezTo>
                <a:cubicBezTo>
                  <a:pt x="211" y="185"/>
                  <a:pt x="211" y="185"/>
                  <a:pt x="211" y="185"/>
                </a:cubicBezTo>
                <a:cubicBezTo>
                  <a:pt x="211" y="186"/>
                  <a:pt x="211" y="186"/>
                  <a:pt x="211" y="186"/>
                </a:cubicBezTo>
                <a:lnTo>
                  <a:pt x="208" y="189"/>
                </a:lnTo>
                <a:close/>
                <a:moveTo>
                  <a:pt x="211" y="207"/>
                </a:moveTo>
                <a:cubicBezTo>
                  <a:pt x="214" y="207"/>
                  <a:pt x="214" y="207"/>
                  <a:pt x="214" y="207"/>
                </a:cubicBezTo>
                <a:cubicBezTo>
                  <a:pt x="213" y="206"/>
                  <a:pt x="213" y="206"/>
                  <a:pt x="213" y="206"/>
                </a:cubicBezTo>
                <a:lnTo>
                  <a:pt x="211" y="207"/>
                </a:lnTo>
                <a:close/>
                <a:moveTo>
                  <a:pt x="152" y="210"/>
                </a:moveTo>
                <a:cubicBezTo>
                  <a:pt x="152" y="209"/>
                  <a:pt x="152" y="209"/>
                  <a:pt x="152" y="209"/>
                </a:cubicBezTo>
                <a:cubicBezTo>
                  <a:pt x="150" y="208"/>
                  <a:pt x="150" y="208"/>
                  <a:pt x="150" y="208"/>
                </a:cubicBezTo>
                <a:cubicBezTo>
                  <a:pt x="150" y="209"/>
                  <a:pt x="150" y="209"/>
                  <a:pt x="150" y="209"/>
                </a:cubicBezTo>
                <a:cubicBezTo>
                  <a:pt x="149" y="210"/>
                  <a:pt x="149" y="210"/>
                  <a:pt x="149" y="210"/>
                </a:cubicBezTo>
                <a:cubicBezTo>
                  <a:pt x="150" y="211"/>
                  <a:pt x="150" y="211"/>
                  <a:pt x="150" y="211"/>
                </a:cubicBezTo>
                <a:lnTo>
                  <a:pt x="152" y="210"/>
                </a:lnTo>
                <a:close/>
                <a:moveTo>
                  <a:pt x="217" y="180"/>
                </a:moveTo>
                <a:cubicBezTo>
                  <a:pt x="217" y="181"/>
                  <a:pt x="217" y="181"/>
                  <a:pt x="217" y="181"/>
                </a:cubicBezTo>
                <a:cubicBezTo>
                  <a:pt x="219" y="181"/>
                  <a:pt x="219" y="181"/>
                  <a:pt x="219" y="181"/>
                </a:cubicBezTo>
                <a:cubicBezTo>
                  <a:pt x="219" y="180"/>
                  <a:pt x="219" y="180"/>
                  <a:pt x="219" y="180"/>
                </a:cubicBezTo>
                <a:lnTo>
                  <a:pt x="217" y="180"/>
                </a:lnTo>
                <a:close/>
                <a:moveTo>
                  <a:pt x="150" y="191"/>
                </a:moveTo>
                <a:cubicBezTo>
                  <a:pt x="151" y="192"/>
                  <a:pt x="151" y="192"/>
                  <a:pt x="151" y="192"/>
                </a:cubicBezTo>
                <a:cubicBezTo>
                  <a:pt x="153" y="192"/>
                  <a:pt x="153" y="192"/>
                  <a:pt x="153" y="192"/>
                </a:cubicBezTo>
                <a:cubicBezTo>
                  <a:pt x="151" y="191"/>
                  <a:pt x="151" y="191"/>
                  <a:pt x="151" y="191"/>
                </a:cubicBezTo>
                <a:lnTo>
                  <a:pt x="150" y="191"/>
                </a:lnTo>
                <a:close/>
                <a:moveTo>
                  <a:pt x="217" y="188"/>
                </a:moveTo>
                <a:cubicBezTo>
                  <a:pt x="216" y="187"/>
                  <a:pt x="216" y="187"/>
                  <a:pt x="216" y="187"/>
                </a:cubicBezTo>
                <a:cubicBezTo>
                  <a:pt x="214" y="189"/>
                  <a:pt x="214" y="189"/>
                  <a:pt x="214" y="189"/>
                </a:cubicBezTo>
                <a:cubicBezTo>
                  <a:pt x="214" y="190"/>
                  <a:pt x="214" y="190"/>
                  <a:pt x="214" y="190"/>
                </a:cubicBezTo>
                <a:cubicBezTo>
                  <a:pt x="212" y="192"/>
                  <a:pt x="212" y="192"/>
                  <a:pt x="212" y="192"/>
                </a:cubicBezTo>
                <a:cubicBezTo>
                  <a:pt x="210" y="192"/>
                  <a:pt x="210" y="192"/>
                  <a:pt x="210" y="192"/>
                </a:cubicBezTo>
                <a:cubicBezTo>
                  <a:pt x="206" y="196"/>
                  <a:pt x="206" y="196"/>
                  <a:pt x="206" y="196"/>
                </a:cubicBezTo>
                <a:cubicBezTo>
                  <a:pt x="206" y="197"/>
                  <a:pt x="206" y="197"/>
                  <a:pt x="206" y="197"/>
                </a:cubicBezTo>
                <a:cubicBezTo>
                  <a:pt x="205" y="197"/>
                  <a:pt x="205" y="197"/>
                  <a:pt x="205" y="197"/>
                </a:cubicBezTo>
                <a:cubicBezTo>
                  <a:pt x="204" y="197"/>
                  <a:pt x="204" y="197"/>
                  <a:pt x="204" y="197"/>
                </a:cubicBezTo>
                <a:cubicBezTo>
                  <a:pt x="203" y="198"/>
                  <a:pt x="203" y="198"/>
                  <a:pt x="203" y="198"/>
                </a:cubicBezTo>
                <a:cubicBezTo>
                  <a:pt x="206" y="198"/>
                  <a:pt x="206" y="198"/>
                  <a:pt x="206" y="198"/>
                </a:cubicBezTo>
                <a:cubicBezTo>
                  <a:pt x="207" y="198"/>
                  <a:pt x="207" y="198"/>
                  <a:pt x="207" y="198"/>
                </a:cubicBezTo>
                <a:cubicBezTo>
                  <a:pt x="209" y="198"/>
                  <a:pt x="209" y="198"/>
                  <a:pt x="209" y="198"/>
                </a:cubicBezTo>
                <a:cubicBezTo>
                  <a:pt x="209" y="197"/>
                  <a:pt x="209" y="197"/>
                  <a:pt x="209" y="197"/>
                </a:cubicBezTo>
                <a:cubicBezTo>
                  <a:pt x="209" y="196"/>
                  <a:pt x="209" y="196"/>
                  <a:pt x="209" y="196"/>
                </a:cubicBezTo>
                <a:cubicBezTo>
                  <a:pt x="211" y="195"/>
                  <a:pt x="211" y="195"/>
                  <a:pt x="211" y="195"/>
                </a:cubicBezTo>
                <a:cubicBezTo>
                  <a:pt x="214" y="192"/>
                  <a:pt x="214" y="192"/>
                  <a:pt x="214" y="192"/>
                </a:cubicBezTo>
                <a:cubicBezTo>
                  <a:pt x="216" y="191"/>
                  <a:pt x="216" y="191"/>
                  <a:pt x="216" y="191"/>
                </a:cubicBezTo>
                <a:cubicBezTo>
                  <a:pt x="217" y="190"/>
                  <a:pt x="217" y="190"/>
                  <a:pt x="217" y="190"/>
                </a:cubicBezTo>
                <a:cubicBezTo>
                  <a:pt x="216" y="189"/>
                  <a:pt x="216" y="189"/>
                  <a:pt x="216" y="189"/>
                </a:cubicBezTo>
                <a:lnTo>
                  <a:pt x="217" y="188"/>
                </a:lnTo>
                <a:close/>
                <a:moveTo>
                  <a:pt x="296" y="249"/>
                </a:moveTo>
                <a:cubicBezTo>
                  <a:pt x="294" y="250"/>
                  <a:pt x="294" y="250"/>
                  <a:pt x="294" y="250"/>
                </a:cubicBezTo>
                <a:cubicBezTo>
                  <a:pt x="296" y="251"/>
                  <a:pt x="296" y="251"/>
                  <a:pt x="296" y="251"/>
                </a:cubicBezTo>
                <a:cubicBezTo>
                  <a:pt x="297" y="250"/>
                  <a:pt x="297" y="250"/>
                  <a:pt x="297" y="250"/>
                </a:cubicBezTo>
                <a:lnTo>
                  <a:pt x="296" y="249"/>
                </a:lnTo>
                <a:close/>
                <a:moveTo>
                  <a:pt x="222" y="188"/>
                </a:moveTo>
                <a:cubicBezTo>
                  <a:pt x="222" y="186"/>
                  <a:pt x="222" y="186"/>
                  <a:pt x="222" y="186"/>
                </a:cubicBezTo>
                <a:cubicBezTo>
                  <a:pt x="221" y="185"/>
                  <a:pt x="221" y="185"/>
                  <a:pt x="221" y="185"/>
                </a:cubicBezTo>
                <a:cubicBezTo>
                  <a:pt x="220" y="186"/>
                  <a:pt x="220" y="186"/>
                  <a:pt x="220" y="186"/>
                </a:cubicBezTo>
                <a:cubicBezTo>
                  <a:pt x="220" y="189"/>
                  <a:pt x="220" y="189"/>
                  <a:pt x="220" y="189"/>
                </a:cubicBezTo>
                <a:cubicBezTo>
                  <a:pt x="223" y="190"/>
                  <a:pt x="223" y="190"/>
                  <a:pt x="223" y="190"/>
                </a:cubicBezTo>
                <a:cubicBezTo>
                  <a:pt x="224" y="189"/>
                  <a:pt x="224" y="189"/>
                  <a:pt x="224" y="189"/>
                </a:cubicBezTo>
                <a:cubicBezTo>
                  <a:pt x="224" y="188"/>
                  <a:pt x="224" y="188"/>
                  <a:pt x="224" y="188"/>
                </a:cubicBezTo>
                <a:lnTo>
                  <a:pt x="222" y="188"/>
                </a:lnTo>
                <a:close/>
                <a:moveTo>
                  <a:pt x="307" y="251"/>
                </a:moveTo>
                <a:cubicBezTo>
                  <a:pt x="305" y="254"/>
                  <a:pt x="305" y="254"/>
                  <a:pt x="305" y="254"/>
                </a:cubicBezTo>
                <a:cubicBezTo>
                  <a:pt x="305" y="260"/>
                  <a:pt x="305" y="260"/>
                  <a:pt x="305" y="260"/>
                </a:cubicBezTo>
                <a:cubicBezTo>
                  <a:pt x="303" y="263"/>
                  <a:pt x="303" y="263"/>
                  <a:pt x="303" y="263"/>
                </a:cubicBezTo>
                <a:cubicBezTo>
                  <a:pt x="302" y="266"/>
                  <a:pt x="302" y="266"/>
                  <a:pt x="302" y="266"/>
                </a:cubicBezTo>
                <a:cubicBezTo>
                  <a:pt x="304" y="267"/>
                  <a:pt x="304" y="267"/>
                  <a:pt x="304" y="267"/>
                </a:cubicBezTo>
                <a:cubicBezTo>
                  <a:pt x="303" y="269"/>
                  <a:pt x="303" y="269"/>
                  <a:pt x="303" y="269"/>
                </a:cubicBezTo>
                <a:cubicBezTo>
                  <a:pt x="304" y="270"/>
                  <a:pt x="304" y="270"/>
                  <a:pt x="304" y="270"/>
                </a:cubicBezTo>
                <a:cubicBezTo>
                  <a:pt x="302" y="270"/>
                  <a:pt x="302" y="270"/>
                  <a:pt x="302" y="270"/>
                </a:cubicBezTo>
                <a:cubicBezTo>
                  <a:pt x="300" y="271"/>
                  <a:pt x="300" y="271"/>
                  <a:pt x="300" y="271"/>
                </a:cubicBezTo>
                <a:cubicBezTo>
                  <a:pt x="300" y="273"/>
                  <a:pt x="300" y="273"/>
                  <a:pt x="300" y="273"/>
                </a:cubicBezTo>
                <a:cubicBezTo>
                  <a:pt x="299" y="275"/>
                  <a:pt x="299" y="275"/>
                  <a:pt x="299" y="275"/>
                </a:cubicBezTo>
                <a:cubicBezTo>
                  <a:pt x="300" y="277"/>
                  <a:pt x="300" y="277"/>
                  <a:pt x="300" y="277"/>
                </a:cubicBezTo>
                <a:cubicBezTo>
                  <a:pt x="302" y="275"/>
                  <a:pt x="302" y="275"/>
                  <a:pt x="302" y="275"/>
                </a:cubicBezTo>
                <a:cubicBezTo>
                  <a:pt x="305" y="274"/>
                  <a:pt x="305" y="274"/>
                  <a:pt x="305" y="274"/>
                </a:cubicBezTo>
                <a:cubicBezTo>
                  <a:pt x="305" y="271"/>
                  <a:pt x="305" y="271"/>
                  <a:pt x="305" y="271"/>
                </a:cubicBezTo>
                <a:cubicBezTo>
                  <a:pt x="307" y="271"/>
                  <a:pt x="307" y="271"/>
                  <a:pt x="307" y="271"/>
                </a:cubicBezTo>
                <a:cubicBezTo>
                  <a:pt x="308" y="270"/>
                  <a:pt x="308" y="270"/>
                  <a:pt x="308" y="270"/>
                </a:cubicBezTo>
                <a:cubicBezTo>
                  <a:pt x="308" y="269"/>
                  <a:pt x="308" y="269"/>
                  <a:pt x="308" y="269"/>
                </a:cubicBezTo>
                <a:cubicBezTo>
                  <a:pt x="308" y="267"/>
                  <a:pt x="308" y="267"/>
                  <a:pt x="308" y="267"/>
                </a:cubicBezTo>
                <a:cubicBezTo>
                  <a:pt x="309" y="260"/>
                  <a:pt x="309" y="260"/>
                  <a:pt x="309" y="260"/>
                </a:cubicBezTo>
                <a:cubicBezTo>
                  <a:pt x="309" y="259"/>
                  <a:pt x="309" y="259"/>
                  <a:pt x="309" y="259"/>
                </a:cubicBezTo>
                <a:cubicBezTo>
                  <a:pt x="310" y="263"/>
                  <a:pt x="310" y="263"/>
                  <a:pt x="310" y="263"/>
                </a:cubicBezTo>
                <a:cubicBezTo>
                  <a:pt x="310" y="267"/>
                  <a:pt x="310" y="267"/>
                  <a:pt x="310" y="267"/>
                </a:cubicBezTo>
                <a:cubicBezTo>
                  <a:pt x="310" y="268"/>
                  <a:pt x="310" y="268"/>
                  <a:pt x="310" y="268"/>
                </a:cubicBezTo>
                <a:cubicBezTo>
                  <a:pt x="312" y="265"/>
                  <a:pt x="312" y="265"/>
                  <a:pt x="312" y="265"/>
                </a:cubicBezTo>
                <a:cubicBezTo>
                  <a:pt x="311" y="258"/>
                  <a:pt x="311" y="258"/>
                  <a:pt x="311" y="258"/>
                </a:cubicBezTo>
                <a:cubicBezTo>
                  <a:pt x="310" y="256"/>
                  <a:pt x="310" y="256"/>
                  <a:pt x="310" y="256"/>
                </a:cubicBezTo>
                <a:cubicBezTo>
                  <a:pt x="307" y="254"/>
                  <a:pt x="307" y="254"/>
                  <a:pt x="307" y="254"/>
                </a:cubicBezTo>
                <a:cubicBezTo>
                  <a:pt x="307" y="252"/>
                  <a:pt x="307" y="252"/>
                  <a:pt x="307" y="252"/>
                </a:cubicBezTo>
                <a:lnTo>
                  <a:pt x="307" y="251"/>
                </a:lnTo>
                <a:close/>
                <a:moveTo>
                  <a:pt x="290" y="257"/>
                </a:moveTo>
                <a:cubicBezTo>
                  <a:pt x="289" y="259"/>
                  <a:pt x="289" y="259"/>
                  <a:pt x="289" y="259"/>
                </a:cubicBezTo>
                <a:cubicBezTo>
                  <a:pt x="291" y="262"/>
                  <a:pt x="291" y="262"/>
                  <a:pt x="291" y="262"/>
                </a:cubicBezTo>
                <a:cubicBezTo>
                  <a:pt x="290" y="264"/>
                  <a:pt x="290" y="264"/>
                  <a:pt x="290" y="264"/>
                </a:cubicBezTo>
                <a:cubicBezTo>
                  <a:pt x="291" y="265"/>
                  <a:pt x="291" y="265"/>
                  <a:pt x="291" y="265"/>
                </a:cubicBezTo>
                <a:cubicBezTo>
                  <a:pt x="290" y="266"/>
                  <a:pt x="290" y="266"/>
                  <a:pt x="290" y="266"/>
                </a:cubicBezTo>
                <a:cubicBezTo>
                  <a:pt x="292" y="268"/>
                  <a:pt x="292" y="268"/>
                  <a:pt x="292" y="268"/>
                </a:cubicBezTo>
                <a:cubicBezTo>
                  <a:pt x="294" y="269"/>
                  <a:pt x="294" y="269"/>
                  <a:pt x="294" y="269"/>
                </a:cubicBezTo>
                <a:cubicBezTo>
                  <a:pt x="295" y="267"/>
                  <a:pt x="295" y="267"/>
                  <a:pt x="295" y="267"/>
                </a:cubicBezTo>
                <a:cubicBezTo>
                  <a:pt x="295" y="265"/>
                  <a:pt x="295" y="265"/>
                  <a:pt x="295" y="265"/>
                </a:cubicBezTo>
                <a:cubicBezTo>
                  <a:pt x="294" y="262"/>
                  <a:pt x="294" y="262"/>
                  <a:pt x="294" y="262"/>
                </a:cubicBezTo>
                <a:cubicBezTo>
                  <a:pt x="294" y="260"/>
                  <a:pt x="294" y="260"/>
                  <a:pt x="294" y="260"/>
                </a:cubicBezTo>
                <a:cubicBezTo>
                  <a:pt x="297" y="264"/>
                  <a:pt x="297" y="264"/>
                  <a:pt x="297" y="264"/>
                </a:cubicBezTo>
                <a:cubicBezTo>
                  <a:pt x="297" y="266"/>
                  <a:pt x="297" y="266"/>
                  <a:pt x="297" y="266"/>
                </a:cubicBezTo>
                <a:cubicBezTo>
                  <a:pt x="299" y="268"/>
                  <a:pt x="299" y="268"/>
                  <a:pt x="299" y="268"/>
                </a:cubicBezTo>
                <a:cubicBezTo>
                  <a:pt x="300" y="268"/>
                  <a:pt x="300" y="268"/>
                  <a:pt x="300" y="268"/>
                </a:cubicBezTo>
                <a:cubicBezTo>
                  <a:pt x="300" y="265"/>
                  <a:pt x="300" y="265"/>
                  <a:pt x="300" y="265"/>
                </a:cubicBezTo>
                <a:cubicBezTo>
                  <a:pt x="301" y="264"/>
                  <a:pt x="301" y="264"/>
                  <a:pt x="301" y="264"/>
                </a:cubicBezTo>
                <a:cubicBezTo>
                  <a:pt x="300" y="263"/>
                  <a:pt x="300" y="263"/>
                  <a:pt x="300" y="263"/>
                </a:cubicBezTo>
                <a:cubicBezTo>
                  <a:pt x="298" y="263"/>
                  <a:pt x="298" y="263"/>
                  <a:pt x="298" y="263"/>
                </a:cubicBezTo>
                <a:cubicBezTo>
                  <a:pt x="298" y="261"/>
                  <a:pt x="298" y="261"/>
                  <a:pt x="298" y="261"/>
                </a:cubicBezTo>
                <a:cubicBezTo>
                  <a:pt x="295" y="257"/>
                  <a:pt x="295" y="257"/>
                  <a:pt x="295" y="257"/>
                </a:cubicBezTo>
                <a:cubicBezTo>
                  <a:pt x="295" y="256"/>
                  <a:pt x="295" y="256"/>
                  <a:pt x="295" y="256"/>
                </a:cubicBezTo>
                <a:cubicBezTo>
                  <a:pt x="298" y="259"/>
                  <a:pt x="298" y="259"/>
                  <a:pt x="298" y="259"/>
                </a:cubicBezTo>
                <a:cubicBezTo>
                  <a:pt x="299" y="261"/>
                  <a:pt x="299" y="261"/>
                  <a:pt x="299" y="261"/>
                </a:cubicBezTo>
                <a:cubicBezTo>
                  <a:pt x="301" y="261"/>
                  <a:pt x="301" y="261"/>
                  <a:pt x="301" y="261"/>
                </a:cubicBezTo>
                <a:cubicBezTo>
                  <a:pt x="302" y="260"/>
                  <a:pt x="302" y="260"/>
                  <a:pt x="302" y="260"/>
                </a:cubicBezTo>
                <a:cubicBezTo>
                  <a:pt x="301" y="259"/>
                  <a:pt x="301" y="259"/>
                  <a:pt x="301" y="259"/>
                </a:cubicBezTo>
                <a:cubicBezTo>
                  <a:pt x="303" y="258"/>
                  <a:pt x="303" y="258"/>
                  <a:pt x="303" y="258"/>
                </a:cubicBezTo>
                <a:cubicBezTo>
                  <a:pt x="303" y="257"/>
                  <a:pt x="303" y="257"/>
                  <a:pt x="303" y="257"/>
                </a:cubicBezTo>
                <a:cubicBezTo>
                  <a:pt x="301" y="255"/>
                  <a:pt x="301" y="255"/>
                  <a:pt x="301" y="255"/>
                </a:cubicBezTo>
                <a:cubicBezTo>
                  <a:pt x="299" y="256"/>
                  <a:pt x="299" y="256"/>
                  <a:pt x="299" y="256"/>
                </a:cubicBezTo>
                <a:cubicBezTo>
                  <a:pt x="298" y="257"/>
                  <a:pt x="298" y="257"/>
                  <a:pt x="298" y="257"/>
                </a:cubicBezTo>
                <a:cubicBezTo>
                  <a:pt x="298" y="256"/>
                  <a:pt x="298" y="256"/>
                  <a:pt x="298" y="256"/>
                </a:cubicBezTo>
                <a:cubicBezTo>
                  <a:pt x="299" y="254"/>
                  <a:pt x="299" y="254"/>
                  <a:pt x="299" y="254"/>
                </a:cubicBezTo>
                <a:cubicBezTo>
                  <a:pt x="299" y="253"/>
                  <a:pt x="299" y="253"/>
                  <a:pt x="299" y="253"/>
                </a:cubicBezTo>
                <a:cubicBezTo>
                  <a:pt x="297" y="252"/>
                  <a:pt x="297" y="252"/>
                  <a:pt x="297" y="252"/>
                </a:cubicBezTo>
                <a:cubicBezTo>
                  <a:pt x="294" y="252"/>
                  <a:pt x="294" y="252"/>
                  <a:pt x="294" y="252"/>
                </a:cubicBezTo>
                <a:cubicBezTo>
                  <a:pt x="294" y="253"/>
                  <a:pt x="294" y="253"/>
                  <a:pt x="294" y="253"/>
                </a:cubicBezTo>
                <a:cubicBezTo>
                  <a:pt x="293" y="254"/>
                  <a:pt x="293" y="254"/>
                  <a:pt x="293" y="254"/>
                </a:cubicBezTo>
                <a:cubicBezTo>
                  <a:pt x="292" y="252"/>
                  <a:pt x="292" y="252"/>
                  <a:pt x="292" y="252"/>
                </a:cubicBezTo>
                <a:cubicBezTo>
                  <a:pt x="291" y="254"/>
                  <a:pt x="291" y="254"/>
                  <a:pt x="291" y="254"/>
                </a:cubicBezTo>
                <a:cubicBezTo>
                  <a:pt x="291" y="256"/>
                  <a:pt x="291" y="256"/>
                  <a:pt x="291" y="256"/>
                </a:cubicBezTo>
                <a:cubicBezTo>
                  <a:pt x="292" y="257"/>
                  <a:pt x="292" y="257"/>
                  <a:pt x="292" y="257"/>
                </a:cubicBezTo>
                <a:cubicBezTo>
                  <a:pt x="291" y="258"/>
                  <a:pt x="291" y="258"/>
                  <a:pt x="291" y="258"/>
                </a:cubicBezTo>
                <a:lnTo>
                  <a:pt x="290" y="257"/>
                </a:lnTo>
                <a:close/>
                <a:moveTo>
                  <a:pt x="289" y="275"/>
                </a:moveTo>
                <a:cubicBezTo>
                  <a:pt x="291" y="275"/>
                  <a:pt x="291" y="275"/>
                  <a:pt x="291" y="275"/>
                </a:cubicBezTo>
                <a:cubicBezTo>
                  <a:pt x="291" y="272"/>
                  <a:pt x="291" y="272"/>
                  <a:pt x="291" y="272"/>
                </a:cubicBezTo>
                <a:cubicBezTo>
                  <a:pt x="291" y="271"/>
                  <a:pt x="291" y="271"/>
                  <a:pt x="291" y="271"/>
                </a:cubicBezTo>
                <a:cubicBezTo>
                  <a:pt x="291" y="270"/>
                  <a:pt x="291" y="270"/>
                  <a:pt x="291" y="270"/>
                </a:cubicBezTo>
                <a:cubicBezTo>
                  <a:pt x="289" y="271"/>
                  <a:pt x="289" y="271"/>
                  <a:pt x="289" y="271"/>
                </a:cubicBezTo>
                <a:cubicBezTo>
                  <a:pt x="289" y="272"/>
                  <a:pt x="289" y="272"/>
                  <a:pt x="289" y="272"/>
                </a:cubicBezTo>
                <a:cubicBezTo>
                  <a:pt x="290" y="273"/>
                  <a:pt x="290" y="273"/>
                  <a:pt x="290" y="273"/>
                </a:cubicBezTo>
                <a:cubicBezTo>
                  <a:pt x="288" y="274"/>
                  <a:pt x="288" y="274"/>
                  <a:pt x="288" y="274"/>
                </a:cubicBezTo>
                <a:lnTo>
                  <a:pt x="289" y="275"/>
                </a:lnTo>
                <a:close/>
                <a:moveTo>
                  <a:pt x="223" y="177"/>
                </a:moveTo>
                <a:cubicBezTo>
                  <a:pt x="222" y="176"/>
                  <a:pt x="222" y="176"/>
                  <a:pt x="222" y="176"/>
                </a:cubicBezTo>
                <a:cubicBezTo>
                  <a:pt x="221" y="177"/>
                  <a:pt x="221" y="177"/>
                  <a:pt x="221" y="177"/>
                </a:cubicBezTo>
                <a:cubicBezTo>
                  <a:pt x="222" y="178"/>
                  <a:pt x="222" y="178"/>
                  <a:pt x="222" y="178"/>
                </a:cubicBezTo>
                <a:lnTo>
                  <a:pt x="223" y="177"/>
                </a:lnTo>
                <a:close/>
                <a:moveTo>
                  <a:pt x="233" y="202"/>
                </a:moveTo>
                <a:cubicBezTo>
                  <a:pt x="233" y="204"/>
                  <a:pt x="233" y="204"/>
                  <a:pt x="233" y="204"/>
                </a:cubicBezTo>
                <a:cubicBezTo>
                  <a:pt x="235" y="203"/>
                  <a:pt x="235" y="203"/>
                  <a:pt x="235" y="203"/>
                </a:cubicBezTo>
                <a:cubicBezTo>
                  <a:pt x="237" y="201"/>
                  <a:pt x="237" y="201"/>
                  <a:pt x="237" y="201"/>
                </a:cubicBezTo>
                <a:cubicBezTo>
                  <a:pt x="236" y="201"/>
                  <a:pt x="236" y="201"/>
                  <a:pt x="236" y="201"/>
                </a:cubicBezTo>
                <a:lnTo>
                  <a:pt x="233" y="202"/>
                </a:lnTo>
                <a:close/>
                <a:moveTo>
                  <a:pt x="89" y="243"/>
                </a:moveTo>
                <a:cubicBezTo>
                  <a:pt x="91" y="245"/>
                  <a:pt x="91" y="245"/>
                  <a:pt x="91" y="245"/>
                </a:cubicBezTo>
                <a:cubicBezTo>
                  <a:pt x="92" y="244"/>
                  <a:pt x="92" y="244"/>
                  <a:pt x="92" y="244"/>
                </a:cubicBezTo>
                <a:cubicBezTo>
                  <a:pt x="91" y="243"/>
                  <a:pt x="91" y="243"/>
                  <a:pt x="91" y="243"/>
                </a:cubicBezTo>
                <a:lnTo>
                  <a:pt x="89" y="243"/>
                </a:lnTo>
                <a:close/>
                <a:moveTo>
                  <a:pt x="34" y="263"/>
                </a:moveTo>
                <a:cubicBezTo>
                  <a:pt x="35" y="265"/>
                  <a:pt x="35" y="265"/>
                  <a:pt x="35" y="265"/>
                </a:cubicBezTo>
                <a:cubicBezTo>
                  <a:pt x="36" y="264"/>
                  <a:pt x="36" y="264"/>
                  <a:pt x="36" y="264"/>
                </a:cubicBezTo>
                <a:cubicBezTo>
                  <a:pt x="35" y="263"/>
                  <a:pt x="35" y="263"/>
                  <a:pt x="35" y="263"/>
                </a:cubicBezTo>
                <a:lnTo>
                  <a:pt x="34" y="263"/>
                </a:lnTo>
                <a:close/>
                <a:moveTo>
                  <a:pt x="44" y="261"/>
                </a:moveTo>
                <a:cubicBezTo>
                  <a:pt x="43" y="263"/>
                  <a:pt x="43" y="263"/>
                  <a:pt x="43" y="263"/>
                </a:cubicBezTo>
                <a:cubicBezTo>
                  <a:pt x="44" y="265"/>
                  <a:pt x="44" y="265"/>
                  <a:pt x="44" y="265"/>
                </a:cubicBezTo>
                <a:cubicBezTo>
                  <a:pt x="45" y="265"/>
                  <a:pt x="45" y="265"/>
                  <a:pt x="45" y="265"/>
                </a:cubicBezTo>
                <a:cubicBezTo>
                  <a:pt x="46" y="263"/>
                  <a:pt x="46" y="263"/>
                  <a:pt x="46" y="263"/>
                </a:cubicBezTo>
                <a:cubicBezTo>
                  <a:pt x="46" y="262"/>
                  <a:pt x="46" y="262"/>
                  <a:pt x="46" y="262"/>
                </a:cubicBezTo>
                <a:cubicBezTo>
                  <a:pt x="45" y="261"/>
                  <a:pt x="45" y="261"/>
                  <a:pt x="45" y="261"/>
                </a:cubicBezTo>
                <a:lnTo>
                  <a:pt x="44" y="261"/>
                </a:lnTo>
                <a:close/>
                <a:moveTo>
                  <a:pt x="50" y="266"/>
                </a:moveTo>
                <a:cubicBezTo>
                  <a:pt x="48" y="268"/>
                  <a:pt x="48" y="268"/>
                  <a:pt x="48" y="268"/>
                </a:cubicBezTo>
                <a:cubicBezTo>
                  <a:pt x="47" y="271"/>
                  <a:pt x="47" y="271"/>
                  <a:pt x="47" y="271"/>
                </a:cubicBezTo>
                <a:cubicBezTo>
                  <a:pt x="48" y="269"/>
                  <a:pt x="48" y="269"/>
                  <a:pt x="48" y="269"/>
                </a:cubicBezTo>
                <a:cubicBezTo>
                  <a:pt x="51" y="268"/>
                  <a:pt x="51" y="268"/>
                  <a:pt x="51" y="268"/>
                </a:cubicBezTo>
                <a:cubicBezTo>
                  <a:pt x="51" y="267"/>
                  <a:pt x="51" y="267"/>
                  <a:pt x="51" y="267"/>
                </a:cubicBezTo>
                <a:cubicBezTo>
                  <a:pt x="53" y="265"/>
                  <a:pt x="53" y="265"/>
                  <a:pt x="53" y="265"/>
                </a:cubicBezTo>
                <a:cubicBezTo>
                  <a:pt x="50" y="265"/>
                  <a:pt x="50" y="265"/>
                  <a:pt x="50" y="265"/>
                </a:cubicBezTo>
                <a:lnTo>
                  <a:pt x="50" y="266"/>
                </a:lnTo>
                <a:close/>
                <a:moveTo>
                  <a:pt x="19" y="274"/>
                </a:moveTo>
                <a:cubicBezTo>
                  <a:pt x="21" y="276"/>
                  <a:pt x="21" y="276"/>
                  <a:pt x="21" y="276"/>
                </a:cubicBezTo>
                <a:cubicBezTo>
                  <a:pt x="22" y="275"/>
                  <a:pt x="22" y="275"/>
                  <a:pt x="22" y="275"/>
                </a:cubicBezTo>
                <a:cubicBezTo>
                  <a:pt x="20" y="273"/>
                  <a:pt x="20" y="273"/>
                  <a:pt x="20" y="273"/>
                </a:cubicBezTo>
                <a:lnTo>
                  <a:pt x="19" y="274"/>
                </a:lnTo>
                <a:close/>
                <a:moveTo>
                  <a:pt x="20" y="268"/>
                </a:moveTo>
                <a:cubicBezTo>
                  <a:pt x="18" y="266"/>
                  <a:pt x="18" y="266"/>
                  <a:pt x="18" y="266"/>
                </a:cubicBezTo>
                <a:cubicBezTo>
                  <a:pt x="18" y="264"/>
                  <a:pt x="18" y="264"/>
                  <a:pt x="18" y="264"/>
                </a:cubicBezTo>
                <a:cubicBezTo>
                  <a:pt x="17" y="262"/>
                  <a:pt x="17" y="262"/>
                  <a:pt x="17" y="262"/>
                </a:cubicBezTo>
                <a:cubicBezTo>
                  <a:pt x="14" y="262"/>
                  <a:pt x="14" y="262"/>
                  <a:pt x="14" y="262"/>
                </a:cubicBezTo>
                <a:cubicBezTo>
                  <a:pt x="14" y="263"/>
                  <a:pt x="14" y="263"/>
                  <a:pt x="14" y="263"/>
                </a:cubicBezTo>
                <a:cubicBezTo>
                  <a:pt x="12" y="263"/>
                  <a:pt x="12" y="263"/>
                  <a:pt x="12" y="263"/>
                </a:cubicBezTo>
                <a:cubicBezTo>
                  <a:pt x="10" y="263"/>
                  <a:pt x="10" y="263"/>
                  <a:pt x="10" y="263"/>
                </a:cubicBezTo>
                <a:cubicBezTo>
                  <a:pt x="9" y="264"/>
                  <a:pt x="9" y="264"/>
                  <a:pt x="9" y="264"/>
                </a:cubicBezTo>
                <a:cubicBezTo>
                  <a:pt x="8" y="262"/>
                  <a:pt x="8" y="262"/>
                  <a:pt x="8" y="262"/>
                </a:cubicBezTo>
                <a:cubicBezTo>
                  <a:pt x="7" y="262"/>
                  <a:pt x="7" y="262"/>
                  <a:pt x="7" y="262"/>
                </a:cubicBezTo>
                <a:cubicBezTo>
                  <a:pt x="5" y="266"/>
                  <a:pt x="5" y="266"/>
                  <a:pt x="5" y="266"/>
                </a:cubicBezTo>
                <a:cubicBezTo>
                  <a:pt x="4" y="266"/>
                  <a:pt x="4" y="266"/>
                  <a:pt x="4" y="266"/>
                </a:cubicBezTo>
                <a:cubicBezTo>
                  <a:pt x="3" y="267"/>
                  <a:pt x="3" y="267"/>
                  <a:pt x="3" y="267"/>
                </a:cubicBezTo>
                <a:cubicBezTo>
                  <a:pt x="2" y="267"/>
                  <a:pt x="2" y="267"/>
                  <a:pt x="2" y="267"/>
                </a:cubicBezTo>
                <a:cubicBezTo>
                  <a:pt x="1" y="268"/>
                  <a:pt x="1" y="268"/>
                  <a:pt x="1" y="268"/>
                </a:cubicBezTo>
                <a:cubicBezTo>
                  <a:pt x="0" y="270"/>
                  <a:pt x="0" y="270"/>
                  <a:pt x="0" y="270"/>
                </a:cubicBezTo>
                <a:cubicBezTo>
                  <a:pt x="1" y="271"/>
                  <a:pt x="1" y="271"/>
                  <a:pt x="1" y="271"/>
                </a:cubicBezTo>
                <a:cubicBezTo>
                  <a:pt x="3" y="273"/>
                  <a:pt x="3" y="273"/>
                  <a:pt x="3" y="273"/>
                </a:cubicBezTo>
                <a:cubicBezTo>
                  <a:pt x="4" y="272"/>
                  <a:pt x="4" y="272"/>
                  <a:pt x="4" y="272"/>
                </a:cubicBezTo>
                <a:cubicBezTo>
                  <a:pt x="5" y="272"/>
                  <a:pt x="5" y="272"/>
                  <a:pt x="5" y="272"/>
                </a:cubicBezTo>
                <a:cubicBezTo>
                  <a:pt x="7" y="270"/>
                  <a:pt x="7" y="270"/>
                  <a:pt x="7" y="270"/>
                </a:cubicBezTo>
                <a:cubicBezTo>
                  <a:pt x="11" y="270"/>
                  <a:pt x="11" y="270"/>
                  <a:pt x="11" y="270"/>
                </a:cubicBezTo>
                <a:cubicBezTo>
                  <a:pt x="13" y="270"/>
                  <a:pt x="13" y="270"/>
                  <a:pt x="13" y="270"/>
                </a:cubicBezTo>
                <a:cubicBezTo>
                  <a:pt x="16" y="270"/>
                  <a:pt x="16" y="270"/>
                  <a:pt x="16" y="270"/>
                </a:cubicBezTo>
                <a:cubicBezTo>
                  <a:pt x="18" y="269"/>
                  <a:pt x="18" y="269"/>
                  <a:pt x="18" y="269"/>
                </a:cubicBezTo>
                <a:cubicBezTo>
                  <a:pt x="20" y="269"/>
                  <a:pt x="20" y="269"/>
                  <a:pt x="20" y="269"/>
                </a:cubicBezTo>
                <a:lnTo>
                  <a:pt x="20" y="268"/>
                </a:lnTo>
                <a:close/>
                <a:moveTo>
                  <a:pt x="49" y="262"/>
                </a:moveTo>
                <a:cubicBezTo>
                  <a:pt x="48" y="261"/>
                  <a:pt x="48" y="261"/>
                  <a:pt x="48" y="261"/>
                </a:cubicBezTo>
                <a:cubicBezTo>
                  <a:pt x="48" y="263"/>
                  <a:pt x="48" y="263"/>
                  <a:pt x="48" y="263"/>
                </a:cubicBezTo>
                <a:lnTo>
                  <a:pt x="49" y="262"/>
                </a:lnTo>
                <a:close/>
                <a:moveTo>
                  <a:pt x="27" y="267"/>
                </a:moveTo>
                <a:cubicBezTo>
                  <a:pt x="28" y="268"/>
                  <a:pt x="28" y="268"/>
                  <a:pt x="28" y="268"/>
                </a:cubicBezTo>
                <a:cubicBezTo>
                  <a:pt x="29" y="267"/>
                  <a:pt x="29" y="267"/>
                  <a:pt x="29" y="267"/>
                </a:cubicBezTo>
                <a:cubicBezTo>
                  <a:pt x="29" y="265"/>
                  <a:pt x="29" y="265"/>
                  <a:pt x="29" y="265"/>
                </a:cubicBezTo>
                <a:lnTo>
                  <a:pt x="27" y="267"/>
                </a:lnTo>
                <a:close/>
                <a:moveTo>
                  <a:pt x="117" y="248"/>
                </a:moveTo>
                <a:cubicBezTo>
                  <a:pt x="118" y="247"/>
                  <a:pt x="118" y="247"/>
                  <a:pt x="118" y="247"/>
                </a:cubicBezTo>
                <a:cubicBezTo>
                  <a:pt x="116" y="247"/>
                  <a:pt x="116" y="247"/>
                  <a:pt x="116" y="247"/>
                </a:cubicBezTo>
                <a:lnTo>
                  <a:pt x="117" y="248"/>
                </a:lnTo>
                <a:close/>
                <a:moveTo>
                  <a:pt x="96" y="261"/>
                </a:moveTo>
                <a:cubicBezTo>
                  <a:pt x="97" y="261"/>
                  <a:pt x="97" y="261"/>
                  <a:pt x="97" y="261"/>
                </a:cubicBezTo>
                <a:cubicBezTo>
                  <a:pt x="98" y="261"/>
                  <a:pt x="98" y="261"/>
                  <a:pt x="98" y="261"/>
                </a:cubicBezTo>
                <a:cubicBezTo>
                  <a:pt x="98" y="259"/>
                  <a:pt x="98" y="259"/>
                  <a:pt x="98" y="259"/>
                </a:cubicBezTo>
                <a:cubicBezTo>
                  <a:pt x="96" y="260"/>
                  <a:pt x="96" y="260"/>
                  <a:pt x="96" y="260"/>
                </a:cubicBezTo>
                <a:lnTo>
                  <a:pt x="96" y="261"/>
                </a:lnTo>
                <a:close/>
                <a:moveTo>
                  <a:pt x="111" y="250"/>
                </a:moveTo>
                <a:cubicBezTo>
                  <a:pt x="112" y="249"/>
                  <a:pt x="112" y="249"/>
                  <a:pt x="112" y="249"/>
                </a:cubicBezTo>
                <a:cubicBezTo>
                  <a:pt x="116" y="246"/>
                  <a:pt x="116" y="246"/>
                  <a:pt x="116" y="246"/>
                </a:cubicBezTo>
                <a:cubicBezTo>
                  <a:pt x="112" y="247"/>
                  <a:pt x="112" y="247"/>
                  <a:pt x="112" y="247"/>
                </a:cubicBezTo>
                <a:lnTo>
                  <a:pt x="111" y="250"/>
                </a:lnTo>
                <a:close/>
                <a:moveTo>
                  <a:pt x="51" y="260"/>
                </a:moveTo>
                <a:cubicBezTo>
                  <a:pt x="51" y="260"/>
                  <a:pt x="50" y="261"/>
                  <a:pt x="50" y="261"/>
                </a:cubicBezTo>
                <a:cubicBezTo>
                  <a:pt x="51" y="261"/>
                  <a:pt x="51" y="261"/>
                  <a:pt x="51" y="261"/>
                </a:cubicBezTo>
                <a:lnTo>
                  <a:pt x="51" y="260"/>
                </a:lnTo>
                <a:close/>
                <a:moveTo>
                  <a:pt x="145" y="223"/>
                </a:moveTo>
                <a:cubicBezTo>
                  <a:pt x="143" y="223"/>
                  <a:pt x="143" y="223"/>
                  <a:pt x="143" y="223"/>
                </a:cubicBezTo>
                <a:cubicBezTo>
                  <a:pt x="141" y="225"/>
                  <a:pt x="141" y="225"/>
                  <a:pt x="141" y="225"/>
                </a:cubicBezTo>
                <a:cubicBezTo>
                  <a:pt x="140" y="225"/>
                  <a:pt x="140" y="225"/>
                  <a:pt x="140" y="225"/>
                </a:cubicBezTo>
                <a:cubicBezTo>
                  <a:pt x="140" y="224"/>
                  <a:pt x="140" y="224"/>
                  <a:pt x="140" y="224"/>
                </a:cubicBezTo>
                <a:cubicBezTo>
                  <a:pt x="141" y="224"/>
                  <a:pt x="141" y="224"/>
                  <a:pt x="141" y="224"/>
                </a:cubicBezTo>
                <a:cubicBezTo>
                  <a:pt x="141" y="222"/>
                  <a:pt x="141" y="222"/>
                  <a:pt x="141" y="222"/>
                </a:cubicBezTo>
                <a:cubicBezTo>
                  <a:pt x="139" y="221"/>
                  <a:pt x="139" y="221"/>
                  <a:pt x="139" y="221"/>
                </a:cubicBezTo>
                <a:cubicBezTo>
                  <a:pt x="138" y="222"/>
                  <a:pt x="138" y="222"/>
                  <a:pt x="138" y="222"/>
                </a:cubicBezTo>
                <a:cubicBezTo>
                  <a:pt x="139" y="223"/>
                  <a:pt x="139" y="223"/>
                  <a:pt x="139" y="223"/>
                </a:cubicBezTo>
                <a:cubicBezTo>
                  <a:pt x="138" y="225"/>
                  <a:pt x="138" y="225"/>
                  <a:pt x="138" y="225"/>
                </a:cubicBezTo>
                <a:cubicBezTo>
                  <a:pt x="137" y="224"/>
                  <a:pt x="137" y="224"/>
                  <a:pt x="137" y="224"/>
                </a:cubicBezTo>
                <a:cubicBezTo>
                  <a:pt x="137" y="225"/>
                  <a:pt x="137" y="225"/>
                  <a:pt x="137" y="225"/>
                </a:cubicBezTo>
                <a:cubicBezTo>
                  <a:pt x="136" y="226"/>
                  <a:pt x="136" y="226"/>
                  <a:pt x="136" y="226"/>
                </a:cubicBezTo>
                <a:cubicBezTo>
                  <a:pt x="135" y="227"/>
                  <a:pt x="135" y="227"/>
                  <a:pt x="135" y="227"/>
                </a:cubicBezTo>
                <a:cubicBezTo>
                  <a:pt x="135" y="225"/>
                  <a:pt x="135" y="225"/>
                  <a:pt x="135" y="225"/>
                </a:cubicBezTo>
                <a:cubicBezTo>
                  <a:pt x="135" y="224"/>
                  <a:pt x="135" y="224"/>
                  <a:pt x="135" y="224"/>
                </a:cubicBezTo>
                <a:cubicBezTo>
                  <a:pt x="135" y="222"/>
                  <a:pt x="135" y="222"/>
                  <a:pt x="135" y="222"/>
                </a:cubicBezTo>
                <a:cubicBezTo>
                  <a:pt x="134" y="221"/>
                  <a:pt x="134" y="221"/>
                  <a:pt x="134" y="221"/>
                </a:cubicBezTo>
                <a:cubicBezTo>
                  <a:pt x="133" y="221"/>
                  <a:pt x="133" y="221"/>
                  <a:pt x="133" y="221"/>
                </a:cubicBezTo>
                <a:cubicBezTo>
                  <a:pt x="131" y="223"/>
                  <a:pt x="131" y="223"/>
                  <a:pt x="131" y="223"/>
                </a:cubicBezTo>
                <a:cubicBezTo>
                  <a:pt x="131" y="224"/>
                  <a:pt x="131" y="224"/>
                  <a:pt x="131" y="224"/>
                </a:cubicBezTo>
                <a:cubicBezTo>
                  <a:pt x="133" y="225"/>
                  <a:pt x="133" y="225"/>
                  <a:pt x="133" y="225"/>
                </a:cubicBezTo>
                <a:cubicBezTo>
                  <a:pt x="132" y="227"/>
                  <a:pt x="132" y="227"/>
                  <a:pt x="132" y="227"/>
                </a:cubicBezTo>
                <a:cubicBezTo>
                  <a:pt x="131" y="226"/>
                  <a:pt x="131" y="226"/>
                  <a:pt x="131" y="226"/>
                </a:cubicBezTo>
                <a:cubicBezTo>
                  <a:pt x="131" y="226"/>
                  <a:pt x="131" y="226"/>
                  <a:pt x="131" y="226"/>
                </a:cubicBezTo>
                <a:cubicBezTo>
                  <a:pt x="131" y="228"/>
                  <a:pt x="131" y="228"/>
                  <a:pt x="131" y="228"/>
                </a:cubicBezTo>
                <a:cubicBezTo>
                  <a:pt x="130" y="230"/>
                  <a:pt x="130" y="230"/>
                  <a:pt x="130" y="230"/>
                </a:cubicBezTo>
                <a:cubicBezTo>
                  <a:pt x="129" y="230"/>
                  <a:pt x="129" y="230"/>
                  <a:pt x="129" y="230"/>
                </a:cubicBezTo>
                <a:cubicBezTo>
                  <a:pt x="129" y="226"/>
                  <a:pt x="129" y="226"/>
                  <a:pt x="129" y="226"/>
                </a:cubicBezTo>
                <a:cubicBezTo>
                  <a:pt x="128" y="226"/>
                  <a:pt x="128" y="226"/>
                  <a:pt x="128" y="226"/>
                </a:cubicBezTo>
                <a:cubicBezTo>
                  <a:pt x="125" y="226"/>
                  <a:pt x="125" y="226"/>
                  <a:pt x="125" y="226"/>
                </a:cubicBezTo>
                <a:cubicBezTo>
                  <a:pt x="121" y="228"/>
                  <a:pt x="121" y="228"/>
                  <a:pt x="121" y="228"/>
                </a:cubicBezTo>
                <a:cubicBezTo>
                  <a:pt x="118" y="230"/>
                  <a:pt x="118" y="230"/>
                  <a:pt x="118" y="230"/>
                </a:cubicBezTo>
                <a:cubicBezTo>
                  <a:pt x="118" y="231"/>
                  <a:pt x="118" y="231"/>
                  <a:pt x="118" y="231"/>
                </a:cubicBezTo>
                <a:cubicBezTo>
                  <a:pt x="118" y="232"/>
                  <a:pt x="118" y="232"/>
                  <a:pt x="118" y="232"/>
                </a:cubicBezTo>
                <a:cubicBezTo>
                  <a:pt x="119" y="235"/>
                  <a:pt x="119" y="235"/>
                  <a:pt x="119" y="235"/>
                </a:cubicBezTo>
                <a:cubicBezTo>
                  <a:pt x="118" y="237"/>
                  <a:pt x="118" y="237"/>
                  <a:pt x="118" y="237"/>
                </a:cubicBezTo>
                <a:cubicBezTo>
                  <a:pt x="117" y="238"/>
                  <a:pt x="117" y="238"/>
                  <a:pt x="117" y="238"/>
                </a:cubicBezTo>
                <a:cubicBezTo>
                  <a:pt x="117" y="240"/>
                  <a:pt x="117" y="240"/>
                  <a:pt x="117" y="240"/>
                </a:cubicBezTo>
                <a:cubicBezTo>
                  <a:pt x="119" y="241"/>
                  <a:pt x="119" y="241"/>
                  <a:pt x="119" y="241"/>
                </a:cubicBezTo>
                <a:cubicBezTo>
                  <a:pt x="120" y="241"/>
                  <a:pt x="120" y="241"/>
                  <a:pt x="120" y="241"/>
                </a:cubicBezTo>
                <a:cubicBezTo>
                  <a:pt x="120" y="239"/>
                  <a:pt x="120" y="239"/>
                  <a:pt x="120" y="239"/>
                </a:cubicBezTo>
                <a:cubicBezTo>
                  <a:pt x="120" y="239"/>
                  <a:pt x="120" y="239"/>
                  <a:pt x="120" y="239"/>
                </a:cubicBezTo>
                <a:cubicBezTo>
                  <a:pt x="119" y="239"/>
                  <a:pt x="119" y="239"/>
                  <a:pt x="119" y="239"/>
                </a:cubicBezTo>
                <a:cubicBezTo>
                  <a:pt x="120" y="237"/>
                  <a:pt x="120" y="237"/>
                  <a:pt x="120" y="237"/>
                </a:cubicBezTo>
                <a:cubicBezTo>
                  <a:pt x="122" y="238"/>
                  <a:pt x="122" y="238"/>
                  <a:pt x="122" y="238"/>
                </a:cubicBezTo>
                <a:cubicBezTo>
                  <a:pt x="121" y="239"/>
                  <a:pt x="121" y="239"/>
                  <a:pt x="121" y="239"/>
                </a:cubicBezTo>
                <a:cubicBezTo>
                  <a:pt x="122" y="239"/>
                  <a:pt x="122" y="239"/>
                  <a:pt x="122" y="239"/>
                </a:cubicBezTo>
                <a:cubicBezTo>
                  <a:pt x="124" y="238"/>
                  <a:pt x="124" y="238"/>
                  <a:pt x="124" y="238"/>
                </a:cubicBezTo>
                <a:cubicBezTo>
                  <a:pt x="125" y="238"/>
                  <a:pt x="125" y="238"/>
                  <a:pt x="125" y="238"/>
                </a:cubicBezTo>
                <a:cubicBezTo>
                  <a:pt x="123" y="240"/>
                  <a:pt x="123" y="240"/>
                  <a:pt x="123" y="240"/>
                </a:cubicBezTo>
                <a:cubicBezTo>
                  <a:pt x="123" y="241"/>
                  <a:pt x="123" y="241"/>
                  <a:pt x="123" y="241"/>
                </a:cubicBezTo>
                <a:cubicBezTo>
                  <a:pt x="120" y="244"/>
                  <a:pt x="120" y="244"/>
                  <a:pt x="120" y="244"/>
                </a:cubicBezTo>
                <a:cubicBezTo>
                  <a:pt x="119" y="245"/>
                  <a:pt x="119" y="245"/>
                  <a:pt x="119" y="245"/>
                </a:cubicBezTo>
                <a:cubicBezTo>
                  <a:pt x="122" y="245"/>
                  <a:pt x="122" y="245"/>
                  <a:pt x="122" y="245"/>
                </a:cubicBezTo>
                <a:cubicBezTo>
                  <a:pt x="122" y="244"/>
                  <a:pt x="122" y="244"/>
                  <a:pt x="122" y="244"/>
                </a:cubicBezTo>
                <a:cubicBezTo>
                  <a:pt x="124" y="243"/>
                  <a:pt x="124" y="243"/>
                  <a:pt x="124" y="243"/>
                </a:cubicBezTo>
                <a:cubicBezTo>
                  <a:pt x="124" y="242"/>
                  <a:pt x="124" y="242"/>
                  <a:pt x="124" y="242"/>
                </a:cubicBezTo>
                <a:cubicBezTo>
                  <a:pt x="126" y="241"/>
                  <a:pt x="126" y="241"/>
                  <a:pt x="126" y="241"/>
                </a:cubicBezTo>
                <a:cubicBezTo>
                  <a:pt x="125" y="240"/>
                  <a:pt x="125" y="240"/>
                  <a:pt x="125" y="240"/>
                </a:cubicBezTo>
                <a:cubicBezTo>
                  <a:pt x="127" y="239"/>
                  <a:pt x="127" y="239"/>
                  <a:pt x="127" y="239"/>
                </a:cubicBezTo>
                <a:cubicBezTo>
                  <a:pt x="127" y="239"/>
                  <a:pt x="127" y="239"/>
                  <a:pt x="127" y="239"/>
                </a:cubicBezTo>
                <a:cubicBezTo>
                  <a:pt x="128" y="236"/>
                  <a:pt x="128" y="236"/>
                  <a:pt x="128" y="236"/>
                </a:cubicBezTo>
                <a:cubicBezTo>
                  <a:pt x="129" y="237"/>
                  <a:pt x="129" y="237"/>
                  <a:pt x="129" y="237"/>
                </a:cubicBezTo>
                <a:cubicBezTo>
                  <a:pt x="131" y="236"/>
                  <a:pt x="131" y="236"/>
                  <a:pt x="131" y="236"/>
                </a:cubicBezTo>
                <a:cubicBezTo>
                  <a:pt x="133" y="237"/>
                  <a:pt x="133" y="237"/>
                  <a:pt x="133" y="237"/>
                </a:cubicBezTo>
                <a:cubicBezTo>
                  <a:pt x="134" y="236"/>
                  <a:pt x="134" y="236"/>
                  <a:pt x="134" y="236"/>
                </a:cubicBezTo>
                <a:cubicBezTo>
                  <a:pt x="133" y="234"/>
                  <a:pt x="133" y="234"/>
                  <a:pt x="133" y="234"/>
                </a:cubicBezTo>
                <a:cubicBezTo>
                  <a:pt x="131" y="234"/>
                  <a:pt x="131" y="234"/>
                  <a:pt x="131" y="234"/>
                </a:cubicBezTo>
                <a:cubicBezTo>
                  <a:pt x="133" y="233"/>
                  <a:pt x="133" y="233"/>
                  <a:pt x="133" y="233"/>
                </a:cubicBezTo>
                <a:cubicBezTo>
                  <a:pt x="135" y="233"/>
                  <a:pt x="135" y="233"/>
                  <a:pt x="135" y="233"/>
                </a:cubicBezTo>
                <a:cubicBezTo>
                  <a:pt x="137" y="235"/>
                  <a:pt x="137" y="235"/>
                  <a:pt x="137" y="235"/>
                </a:cubicBezTo>
                <a:cubicBezTo>
                  <a:pt x="138" y="235"/>
                  <a:pt x="138" y="235"/>
                  <a:pt x="138" y="235"/>
                </a:cubicBezTo>
                <a:cubicBezTo>
                  <a:pt x="139" y="233"/>
                  <a:pt x="139" y="233"/>
                  <a:pt x="139" y="233"/>
                </a:cubicBezTo>
                <a:cubicBezTo>
                  <a:pt x="138" y="231"/>
                  <a:pt x="138" y="231"/>
                  <a:pt x="138" y="231"/>
                </a:cubicBezTo>
                <a:cubicBezTo>
                  <a:pt x="137" y="231"/>
                  <a:pt x="137" y="231"/>
                  <a:pt x="137" y="231"/>
                </a:cubicBezTo>
                <a:cubicBezTo>
                  <a:pt x="137" y="230"/>
                  <a:pt x="137" y="230"/>
                  <a:pt x="137" y="230"/>
                </a:cubicBezTo>
                <a:cubicBezTo>
                  <a:pt x="139" y="230"/>
                  <a:pt x="139" y="230"/>
                  <a:pt x="139" y="230"/>
                </a:cubicBezTo>
                <a:cubicBezTo>
                  <a:pt x="140" y="230"/>
                  <a:pt x="140" y="230"/>
                  <a:pt x="140" y="230"/>
                </a:cubicBezTo>
                <a:cubicBezTo>
                  <a:pt x="142" y="230"/>
                  <a:pt x="142" y="230"/>
                  <a:pt x="142" y="230"/>
                </a:cubicBezTo>
                <a:cubicBezTo>
                  <a:pt x="142" y="231"/>
                  <a:pt x="142" y="231"/>
                  <a:pt x="142" y="231"/>
                </a:cubicBezTo>
                <a:cubicBezTo>
                  <a:pt x="144" y="231"/>
                  <a:pt x="144" y="231"/>
                  <a:pt x="144" y="231"/>
                </a:cubicBezTo>
                <a:cubicBezTo>
                  <a:pt x="145" y="229"/>
                  <a:pt x="145" y="229"/>
                  <a:pt x="145" y="229"/>
                </a:cubicBezTo>
                <a:cubicBezTo>
                  <a:pt x="144" y="228"/>
                  <a:pt x="144" y="228"/>
                  <a:pt x="144" y="228"/>
                </a:cubicBezTo>
                <a:cubicBezTo>
                  <a:pt x="143" y="227"/>
                  <a:pt x="143" y="227"/>
                  <a:pt x="143" y="227"/>
                </a:cubicBezTo>
                <a:cubicBezTo>
                  <a:pt x="143" y="226"/>
                  <a:pt x="143" y="226"/>
                  <a:pt x="143" y="226"/>
                </a:cubicBezTo>
                <a:cubicBezTo>
                  <a:pt x="145" y="226"/>
                  <a:pt x="145" y="226"/>
                  <a:pt x="145" y="226"/>
                </a:cubicBezTo>
                <a:cubicBezTo>
                  <a:pt x="147" y="225"/>
                  <a:pt x="147" y="225"/>
                  <a:pt x="147" y="225"/>
                </a:cubicBezTo>
                <a:cubicBezTo>
                  <a:pt x="146" y="223"/>
                  <a:pt x="146" y="223"/>
                  <a:pt x="146" y="223"/>
                </a:cubicBezTo>
                <a:lnTo>
                  <a:pt x="145" y="223"/>
                </a:lnTo>
                <a:close/>
                <a:moveTo>
                  <a:pt x="313" y="285"/>
                </a:moveTo>
                <a:cubicBezTo>
                  <a:pt x="311" y="287"/>
                  <a:pt x="311" y="287"/>
                  <a:pt x="311" y="287"/>
                </a:cubicBezTo>
                <a:cubicBezTo>
                  <a:pt x="311" y="289"/>
                  <a:pt x="311" y="289"/>
                  <a:pt x="311" y="289"/>
                </a:cubicBezTo>
                <a:cubicBezTo>
                  <a:pt x="312" y="290"/>
                  <a:pt x="312" y="290"/>
                  <a:pt x="312" y="290"/>
                </a:cubicBezTo>
                <a:cubicBezTo>
                  <a:pt x="314" y="289"/>
                  <a:pt x="314" y="289"/>
                  <a:pt x="314" y="289"/>
                </a:cubicBezTo>
                <a:cubicBezTo>
                  <a:pt x="315" y="287"/>
                  <a:pt x="315" y="287"/>
                  <a:pt x="315" y="287"/>
                </a:cubicBezTo>
                <a:cubicBezTo>
                  <a:pt x="314" y="284"/>
                  <a:pt x="314" y="284"/>
                  <a:pt x="314" y="284"/>
                </a:cubicBezTo>
                <a:lnTo>
                  <a:pt x="313" y="285"/>
                </a:lnTo>
                <a:close/>
                <a:moveTo>
                  <a:pt x="294" y="308"/>
                </a:moveTo>
                <a:cubicBezTo>
                  <a:pt x="294" y="310"/>
                  <a:pt x="294" y="310"/>
                  <a:pt x="294" y="310"/>
                </a:cubicBezTo>
                <a:cubicBezTo>
                  <a:pt x="296" y="308"/>
                  <a:pt x="296" y="308"/>
                  <a:pt x="296" y="308"/>
                </a:cubicBezTo>
                <a:lnTo>
                  <a:pt x="294" y="308"/>
                </a:lnTo>
                <a:close/>
                <a:moveTo>
                  <a:pt x="56" y="266"/>
                </a:moveTo>
                <a:cubicBezTo>
                  <a:pt x="55" y="268"/>
                  <a:pt x="55" y="268"/>
                  <a:pt x="55" y="268"/>
                </a:cubicBezTo>
                <a:cubicBezTo>
                  <a:pt x="55" y="268"/>
                  <a:pt x="56" y="268"/>
                  <a:pt x="56" y="268"/>
                </a:cubicBezTo>
                <a:lnTo>
                  <a:pt x="56" y="266"/>
                </a:lnTo>
                <a:close/>
                <a:moveTo>
                  <a:pt x="56" y="270"/>
                </a:moveTo>
                <a:cubicBezTo>
                  <a:pt x="56" y="271"/>
                  <a:pt x="56" y="271"/>
                  <a:pt x="56" y="271"/>
                </a:cubicBezTo>
                <a:cubicBezTo>
                  <a:pt x="57" y="270"/>
                  <a:pt x="57" y="270"/>
                  <a:pt x="57" y="270"/>
                </a:cubicBezTo>
                <a:cubicBezTo>
                  <a:pt x="57" y="269"/>
                  <a:pt x="57" y="269"/>
                  <a:pt x="57" y="269"/>
                </a:cubicBezTo>
                <a:lnTo>
                  <a:pt x="56" y="270"/>
                </a:lnTo>
                <a:close/>
                <a:moveTo>
                  <a:pt x="323" y="362"/>
                </a:moveTo>
                <a:cubicBezTo>
                  <a:pt x="321" y="364"/>
                  <a:pt x="321" y="364"/>
                  <a:pt x="321" y="364"/>
                </a:cubicBezTo>
                <a:cubicBezTo>
                  <a:pt x="323" y="365"/>
                  <a:pt x="323" y="365"/>
                  <a:pt x="323" y="365"/>
                </a:cubicBezTo>
                <a:cubicBezTo>
                  <a:pt x="324" y="364"/>
                  <a:pt x="324" y="364"/>
                  <a:pt x="324" y="364"/>
                </a:cubicBezTo>
                <a:lnTo>
                  <a:pt x="323" y="362"/>
                </a:lnTo>
                <a:close/>
                <a:moveTo>
                  <a:pt x="318" y="358"/>
                </a:moveTo>
                <a:cubicBezTo>
                  <a:pt x="318" y="361"/>
                  <a:pt x="318" y="361"/>
                  <a:pt x="318" y="361"/>
                </a:cubicBezTo>
                <a:cubicBezTo>
                  <a:pt x="319" y="362"/>
                  <a:pt x="319" y="362"/>
                  <a:pt x="319" y="362"/>
                </a:cubicBezTo>
                <a:cubicBezTo>
                  <a:pt x="319" y="364"/>
                  <a:pt x="319" y="364"/>
                  <a:pt x="319" y="364"/>
                </a:cubicBezTo>
                <a:cubicBezTo>
                  <a:pt x="320" y="362"/>
                  <a:pt x="320" y="362"/>
                  <a:pt x="320" y="362"/>
                </a:cubicBezTo>
                <a:cubicBezTo>
                  <a:pt x="319" y="360"/>
                  <a:pt x="319" y="360"/>
                  <a:pt x="319" y="360"/>
                </a:cubicBezTo>
                <a:lnTo>
                  <a:pt x="318" y="358"/>
                </a:lnTo>
                <a:close/>
                <a:moveTo>
                  <a:pt x="316" y="297"/>
                </a:moveTo>
                <a:cubicBezTo>
                  <a:pt x="317" y="296"/>
                  <a:pt x="317" y="296"/>
                  <a:pt x="317" y="296"/>
                </a:cubicBezTo>
                <a:cubicBezTo>
                  <a:pt x="317" y="294"/>
                  <a:pt x="317" y="294"/>
                  <a:pt x="317" y="294"/>
                </a:cubicBezTo>
                <a:cubicBezTo>
                  <a:pt x="316" y="293"/>
                  <a:pt x="316" y="293"/>
                  <a:pt x="316" y="293"/>
                </a:cubicBezTo>
                <a:cubicBezTo>
                  <a:pt x="315" y="295"/>
                  <a:pt x="315" y="295"/>
                  <a:pt x="315" y="295"/>
                </a:cubicBezTo>
                <a:cubicBezTo>
                  <a:pt x="315" y="296"/>
                  <a:pt x="315" y="296"/>
                  <a:pt x="315" y="296"/>
                </a:cubicBezTo>
                <a:lnTo>
                  <a:pt x="316" y="297"/>
                </a:lnTo>
                <a:close/>
                <a:moveTo>
                  <a:pt x="316" y="340"/>
                </a:moveTo>
                <a:cubicBezTo>
                  <a:pt x="315" y="340"/>
                  <a:pt x="315" y="340"/>
                  <a:pt x="315" y="340"/>
                </a:cubicBezTo>
                <a:cubicBezTo>
                  <a:pt x="315" y="340"/>
                  <a:pt x="315" y="340"/>
                  <a:pt x="315" y="340"/>
                </a:cubicBezTo>
                <a:cubicBezTo>
                  <a:pt x="315" y="343"/>
                  <a:pt x="315" y="343"/>
                  <a:pt x="315" y="343"/>
                </a:cubicBezTo>
                <a:cubicBezTo>
                  <a:pt x="317" y="345"/>
                  <a:pt x="317" y="345"/>
                  <a:pt x="317" y="345"/>
                </a:cubicBezTo>
                <a:cubicBezTo>
                  <a:pt x="317" y="348"/>
                  <a:pt x="317" y="348"/>
                  <a:pt x="317" y="348"/>
                </a:cubicBezTo>
                <a:cubicBezTo>
                  <a:pt x="319" y="350"/>
                  <a:pt x="319" y="350"/>
                  <a:pt x="319" y="350"/>
                </a:cubicBezTo>
                <a:cubicBezTo>
                  <a:pt x="319" y="347"/>
                  <a:pt x="319" y="347"/>
                  <a:pt x="319" y="347"/>
                </a:cubicBezTo>
                <a:cubicBezTo>
                  <a:pt x="317" y="343"/>
                  <a:pt x="317" y="343"/>
                  <a:pt x="317" y="343"/>
                </a:cubicBezTo>
                <a:lnTo>
                  <a:pt x="316" y="340"/>
                </a:lnTo>
                <a:close/>
                <a:moveTo>
                  <a:pt x="322" y="381"/>
                </a:moveTo>
                <a:cubicBezTo>
                  <a:pt x="322" y="383"/>
                  <a:pt x="322" y="383"/>
                  <a:pt x="322" y="383"/>
                </a:cubicBezTo>
                <a:cubicBezTo>
                  <a:pt x="323" y="384"/>
                  <a:pt x="323" y="384"/>
                  <a:pt x="323" y="384"/>
                </a:cubicBezTo>
                <a:cubicBezTo>
                  <a:pt x="323" y="381"/>
                  <a:pt x="323" y="381"/>
                  <a:pt x="323" y="381"/>
                </a:cubicBezTo>
                <a:cubicBezTo>
                  <a:pt x="323" y="380"/>
                  <a:pt x="323" y="380"/>
                  <a:pt x="323" y="380"/>
                </a:cubicBezTo>
                <a:lnTo>
                  <a:pt x="322" y="381"/>
                </a:lnTo>
                <a:close/>
                <a:moveTo>
                  <a:pt x="323" y="372"/>
                </a:moveTo>
                <a:cubicBezTo>
                  <a:pt x="323" y="373"/>
                  <a:pt x="323" y="373"/>
                  <a:pt x="323" y="373"/>
                </a:cubicBezTo>
                <a:cubicBezTo>
                  <a:pt x="324" y="373"/>
                  <a:pt x="324" y="373"/>
                  <a:pt x="324" y="373"/>
                </a:cubicBezTo>
                <a:cubicBezTo>
                  <a:pt x="325" y="372"/>
                  <a:pt x="325" y="372"/>
                  <a:pt x="325" y="372"/>
                </a:cubicBezTo>
                <a:cubicBezTo>
                  <a:pt x="324" y="371"/>
                  <a:pt x="324" y="371"/>
                  <a:pt x="324" y="371"/>
                </a:cubicBezTo>
                <a:lnTo>
                  <a:pt x="323" y="372"/>
                </a:lnTo>
                <a:close/>
                <a:moveTo>
                  <a:pt x="326" y="375"/>
                </a:moveTo>
                <a:cubicBezTo>
                  <a:pt x="325" y="374"/>
                  <a:pt x="325" y="374"/>
                  <a:pt x="325" y="374"/>
                </a:cubicBezTo>
                <a:cubicBezTo>
                  <a:pt x="323" y="375"/>
                  <a:pt x="323" y="375"/>
                  <a:pt x="323" y="375"/>
                </a:cubicBezTo>
                <a:cubicBezTo>
                  <a:pt x="322" y="377"/>
                  <a:pt x="322" y="377"/>
                  <a:pt x="322" y="377"/>
                </a:cubicBezTo>
                <a:cubicBezTo>
                  <a:pt x="323" y="377"/>
                  <a:pt x="323" y="377"/>
                  <a:pt x="323" y="377"/>
                </a:cubicBezTo>
                <a:cubicBezTo>
                  <a:pt x="323" y="377"/>
                  <a:pt x="325" y="377"/>
                  <a:pt x="325" y="377"/>
                </a:cubicBezTo>
                <a:lnTo>
                  <a:pt x="326" y="375"/>
                </a:lnTo>
                <a:close/>
                <a:moveTo>
                  <a:pt x="294" y="297"/>
                </a:moveTo>
                <a:cubicBezTo>
                  <a:pt x="293" y="297"/>
                  <a:pt x="293" y="297"/>
                  <a:pt x="293" y="297"/>
                </a:cubicBezTo>
                <a:cubicBezTo>
                  <a:pt x="293" y="298"/>
                  <a:pt x="293" y="298"/>
                  <a:pt x="293" y="298"/>
                </a:cubicBezTo>
                <a:lnTo>
                  <a:pt x="294" y="297"/>
                </a:lnTo>
                <a:close/>
                <a:moveTo>
                  <a:pt x="309" y="279"/>
                </a:moveTo>
                <a:cubicBezTo>
                  <a:pt x="307" y="277"/>
                  <a:pt x="307" y="277"/>
                  <a:pt x="307" y="277"/>
                </a:cubicBezTo>
                <a:cubicBezTo>
                  <a:pt x="305" y="277"/>
                  <a:pt x="305" y="277"/>
                  <a:pt x="305" y="277"/>
                </a:cubicBezTo>
                <a:cubicBezTo>
                  <a:pt x="304" y="278"/>
                  <a:pt x="304" y="278"/>
                  <a:pt x="304" y="278"/>
                </a:cubicBezTo>
                <a:cubicBezTo>
                  <a:pt x="305" y="279"/>
                  <a:pt x="305" y="279"/>
                  <a:pt x="305" y="279"/>
                </a:cubicBezTo>
                <a:cubicBezTo>
                  <a:pt x="305" y="281"/>
                  <a:pt x="305" y="281"/>
                  <a:pt x="305" y="281"/>
                </a:cubicBezTo>
                <a:cubicBezTo>
                  <a:pt x="307" y="282"/>
                  <a:pt x="307" y="282"/>
                  <a:pt x="307" y="282"/>
                </a:cubicBezTo>
                <a:cubicBezTo>
                  <a:pt x="306" y="283"/>
                  <a:pt x="306" y="283"/>
                  <a:pt x="306" y="283"/>
                </a:cubicBezTo>
                <a:cubicBezTo>
                  <a:pt x="304" y="288"/>
                  <a:pt x="304" y="288"/>
                  <a:pt x="304" y="288"/>
                </a:cubicBezTo>
                <a:cubicBezTo>
                  <a:pt x="304" y="290"/>
                  <a:pt x="304" y="290"/>
                  <a:pt x="304" y="290"/>
                </a:cubicBezTo>
                <a:cubicBezTo>
                  <a:pt x="306" y="290"/>
                  <a:pt x="306" y="290"/>
                  <a:pt x="306" y="290"/>
                </a:cubicBezTo>
                <a:cubicBezTo>
                  <a:pt x="307" y="289"/>
                  <a:pt x="307" y="289"/>
                  <a:pt x="307" y="289"/>
                </a:cubicBezTo>
                <a:cubicBezTo>
                  <a:pt x="308" y="290"/>
                  <a:pt x="308" y="290"/>
                  <a:pt x="308" y="290"/>
                </a:cubicBezTo>
                <a:cubicBezTo>
                  <a:pt x="309" y="289"/>
                  <a:pt x="309" y="289"/>
                  <a:pt x="309" y="289"/>
                </a:cubicBezTo>
                <a:cubicBezTo>
                  <a:pt x="308" y="287"/>
                  <a:pt x="308" y="287"/>
                  <a:pt x="308" y="287"/>
                </a:cubicBezTo>
                <a:cubicBezTo>
                  <a:pt x="309" y="286"/>
                  <a:pt x="309" y="286"/>
                  <a:pt x="309" y="286"/>
                </a:cubicBezTo>
                <a:cubicBezTo>
                  <a:pt x="309" y="284"/>
                  <a:pt x="309" y="284"/>
                  <a:pt x="309" y="284"/>
                </a:cubicBezTo>
                <a:cubicBezTo>
                  <a:pt x="310" y="284"/>
                  <a:pt x="310" y="284"/>
                  <a:pt x="310" y="284"/>
                </a:cubicBezTo>
                <a:cubicBezTo>
                  <a:pt x="310" y="286"/>
                  <a:pt x="310" y="286"/>
                  <a:pt x="310" y="286"/>
                </a:cubicBezTo>
                <a:cubicBezTo>
                  <a:pt x="311" y="286"/>
                  <a:pt x="311" y="286"/>
                  <a:pt x="311" y="286"/>
                </a:cubicBezTo>
                <a:cubicBezTo>
                  <a:pt x="313" y="283"/>
                  <a:pt x="313" y="283"/>
                  <a:pt x="313" y="283"/>
                </a:cubicBezTo>
                <a:cubicBezTo>
                  <a:pt x="313" y="281"/>
                  <a:pt x="313" y="281"/>
                  <a:pt x="313" y="281"/>
                </a:cubicBezTo>
                <a:cubicBezTo>
                  <a:pt x="311" y="279"/>
                  <a:pt x="311" y="279"/>
                  <a:pt x="311" y="279"/>
                </a:cubicBezTo>
                <a:lnTo>
                  <a:pt x="309" y="279"/>
                </a:lnTo>
                <a:close/>
                <a:moveTo>
                  <a:pt x="292" y="291"/>
                </a:moveTo>
                <a:cubicBezTo>
                  <a:pt x="293" y="291"/>
                  <a:pt x="293" y="291"/>
                  <a:pt x="293" y="291"/>
                </a:cubicBezTo>
                <a:cubicBezTo>
                  <a:pt x="294" y="289"/>
                  <a:pt x="294" y="289"/>
                  <a:pt x="294" y="289"/>
                </a:cubicBezTo>
                <a:cubicBezTo>
                  <a:pt x="294" y="287"/>
                  <a:pt x="294" y="287"/>
                  <a:pt x="294" y="287"/>
                </a:cubicBezTo>
                <a:cubicBezTo>
                  <a:pt x="295" y="284"/>
                  <a:pt x="295" y="284"/>
                  <a:pt x="295" y="284"/>
                </a:cubicBezTo>
                <a:cubicBezTo>
                  <a:pt x="296" y="283"/>
                  <a:pt x="296" y="283"/>
                  <a:pt x="296" y="283"/>
                </a:cubicBezTo>
                <a:cubicBezTo>
                  <a:pt x="296" y="279"/>
                  <a:pt x="296" y="279"/>
                  <a:pt x="296" y="279"/>
                </a:cubicBezTo>
                <a:cubicBezTo>
                  <a:pt x="297" y="278"/>
                  <a:pt x="297" y="278"/>
                  <a:pt x="297" y="278"/>
                </a:cubicBezTo>
                <a:cubicBezTo>
                  <a:pt x="298" y="275"/>
                  <a:pt x="298" y="275"/>
                  <a:pt x="298" y="275"/>
                </a:cubicBezTo>
                <a:cubicBezTo>
                  <a:pt x="298" y="272"/>
                  <a:pt x="298" y="272"/>
                  <a:pt x="298" y="272"/>
                </a:cubicBezTo>
                <a:cubicBezTo>
                  <a:pt x="297" y="269"/>
                  <a:pt x="297" y="269"/>
                  <a:pt x="297" y="269"/>
                </a:cubicBezTo>
                <a:cubicBezTo>
                  <a:pt x="296" y="268"/>
                  <a:pt x="296" y="268"/>
                  <a:pt x="296" y="268"/>
                </a:cubicBezTo>
                <a:cubicBezTo>
                  <a:pt x="295" y="269"/>
                  <a:pt x="295" y="269"/>
                  <a:pt x="295" y="269"/>
                </a:cubicBezTo>
                <a:cubicBezTo>
                  <a:pt x="293" y="270"/>
                  <a:pt x="293" y="270"/>
                  <a:pt x="293" y="270"/>
                </a:cubicBezTo>
                <a:cubicBezTo>
                  <a:pt x="293" y="271"/>
                  <a:pt x="293" y="271"/>
                  <a:pt x="293" y="271"/>
                </a:cubicBezTo>
                <a:cubicBezTo>
                  <a:pt x="295" y="273"/>
                  <a:pt x="295" y="273"/>
                  <a:pt x="295" y="273"/>
                </a:cubicBezTo>
                <a:cubicBezTo>
                  <a:pt x="294" y="274"/>
                  <a:pt x="294" y="274"/>
                  <a:pt x="294" y="274"/>
                </a:cubicBezTo>
                <a:cubicBezTo>
                  <a:pt x="293" y="276"/>
                  <a:pt x="293" y="276"/>
                  <a:pt x="293" y="276"/>
                </a:cubicBezTo>
                <a:cubicBezTo>
                  <a:pt x="293" y="277"/>
                  <a:pt x="293" y="277"/>
                  <a:pt x="293" y="277"/>
                </a:cubicBezTo>
                <a:cubicBezTo>
                  <a:pt x="291" y="278"/>
                  <a:pt x="291" y="278"/>
                  <a:pt x="291" y="278"/>
                </a:cubicBezTo>
                <a:cubicBezTo>
                  <a:pt x="291" y="279"/>
                  <a:pt x="291" y="279"/>
                  <a:pt x="291" y="279"/>
                </a:cubicBezTo>
                <a:cubicBezTo>
                  <a:pt x="293" y="279"/>
                  <a:pt x="293" y="279"/>
                  <a:pt x="293" y="279"/>
                </a:cubicBezTo>
                <a:cubicBezTo>
                  <a:pt x="292" y="280"/>
                  <a:pt x="292" y="280"/>
                  <a:pt x="292" y="280"/>
                </a:cubicBezTo>
                <a:cubicBezTo>
                  <a:pt x="292" y="281"/>
                  <a:pt x="292" y="281"/>
                  <a:pt x="292" y="281"/>
                </a:cubicBezTo>
                <a:cubicBezTo>
                  <a:pt x="292" y="282"/>
                  <a:pt x="292" y="282"/>
                  <a:pt x="292" y="282"/>
                </a:cubicBezTo>
                <a:cubicBezTo>
                  <a:pt x="293" y="282"/>
                  <a:pt x="293" y="282"/>
                  <a:pt x="293" y="282"/>
                </a:cubicBezTo>
                <a:cubicBezTo>
                  <a:pt x="294" y="281"/>
                  <a:pt x="294" y="281"/>
                  <a:pt x="294" y="281"/>
                </a:cubicBezTo>
                <a:cubicBezTo>
                  <a:pt x="294" y="282"/>
                  <a:pt x="294" y="282"/>
                  <a:pt x="294" y="282"/>
                </a:cubicBezTo>
                <a:cubicBezTo>
                  <a:pt x="293" y="283"/>
                  <a:pt x="293" y="283"/>
                  <a:pt x="293" y="283"/>
                </a:cubicBezTo>
                <a:cubicBezTo>
                  <a:pt x="292" y="283"/>
                  <a:pt x="292" y="283"/>
                  <a:pt x="292" y="283"/>
                </a:cubicBezTo>
                <a:cubicBezTo>
                  <a:pt x="291" y="285"/>
                  <a:pt x="291" y="285"/>
                  <a:pt x="291" y="285"/>
                </a:cubicBezTo>
                <a:cubicBezTo>
                  <a:pt x="291" y="287"/>
                  <a:pt x="291" y="287"/>
                  <a:pt x="291" y="287"/>
                </a:cubicBezTo>
                <a:cubicBezTo>
                  <a:pt x="292" y="288"/>
                  <a:pt x="292" y="288"/>
                  <a:pt x="292" y="288"/>
                </a:cubicBezTo>
                <a:cubicBezTo>
                  <a:pt x="292" y="290"/>
                  <a:pt x="292" y="290"/>
                  <a:pt x="292" y="290"/>
                </a:cubicBezTo>
                <a:lnTo>
                  <a:pt x="292" y="291"/>
                </a:lnTo>
                <a:close/>
                <a:moveTo>
                  <a:pt x="310" y="344"/>
                </a:moveTo>
                <a:cubicBezTo>
                  <a:pt x="311" y="346"/>
                  <a:pt x="311" y="346"/>
                  <a:pt x="311" y="346"/>
                </a:cubicBezTo>
                <a:cubicBezTo>
                  <a:pt x="314" y="349"/>
                  <a:pt x="314" y="349"/>
                  <a:pt x="314" y="349"/>
                </a:cubicBezTo>
                <a:cubicBezTo>
                  <a:pt x="314" y="351"/>
                  <a:pt x="314" y="351"/>
                  <a:pt x="314" y="351"/>
                </a:cubicBezTo>
                <a:cubicBezTo>
                  <a:pt x="316" y="352"/>
                  <a:pt x="316" y="352"/>
                  <a:pt x="316" y="352"/>
                </a:cubicBezTo>
                <a:cubicBezTo>
                  <a:pt x="317" y="350"/>
                  <a:pt x="317" y="350"/>
                  <a:pt x="317" y="350"/>
                </a:cubicBezTo>
                <a:cubicBezTo>
                  <a:pt x="315" y="347"/>
                  <a:pt x="315" y="347"/>
                  <a:pt x="315" y="347"/>
                </a:cubicBezTo>
                <a:cubicBezTo>
                  <a:pt x="311" y="342"/>
                  <a:pt x="311" y="342"/>
                  <a:pt x="311" y="342"/>
                </a:cubicBezTo>
                <a:cubicBezTo>
                  <a:pt x="311" y="342"/>
                  <a:pt x="310" y="344"/>
                  <a:pt x="310" y="344"/>
                </a:cubicBezTo>
                <a:close/>
                <a:moveTo>
                  <a:pt x="349" y="420"/>
                </a:moveTo>
                <a:cubicBezTo>
                  <a:pt x="347" y="417"/>
                  <a:pt x="347" y="417"/>
                  <a:pt x="347" y="417"/>
                </a:cubicBezTo>
                <a:cubicBezTo>
                  <a:pt x="345" y="416"/>
                  <a:pt x="345" y="416"/>
                  <a:pt x="345" y="416"/>
                </a:cubicBezTo>
                <a:cubicBezTo>
                  <a:pt x="345" y="418"/>
                  <a:pt x="345" y="418"/>
                  <a:pt x="345" y="418"/>
                </a:cubicBezTo>
                <a:cubicBezTo>
                  <a:pt x="348" y="421"/>
                  <a:pt x="348" y="421"/>
                  <a:pt x="348" y="421"/>
                </a:cubicBezTo>
                <a:lnTo>
                  <a:pt x="349" y="420"/>
                </a:lnTo>
                <a:close/>
                <a:moveTo>
                  <a:pt x="313" y="296"/>
                </a:moveTo>
                <a:cubicBezTo>
                  <a:pt x="314" y="295"/>
                  <a:pt x="314" y="295"/>
                  <a:pt x="314" y="295"/>
                </a:cubicBezTo>
                <a:cubicBezTo>
                  <a:pt x="314" y="294"/>
                  <a:pt x="314" y="294"/>
                  <a:pt x="314" y="294"/>
                </a:cubicBezTo>
                <a:cubicBezTo>
                  <a:pt x="311" y="296"/>
                  <a:pt x="311" y="296"/>
                  <a:pt x="311" y="296"/>
                </a:cubicBezTo>
                <a:cubicBezTo>
                  <a:pt x="310" y="297"/>
                  <a:pt x="310" y="297"/>
                  <a:pt x="310" y="297"/>
                </a:cubicBezTo>
                <a:cubicBezTo>
                  <a:pt x="312" y="298"/>
                  <a:pt x="312" y="298"/>
                  <a:pt x="312" y="298"/>
                </a:cubicBezTo>
                <a:lnTo>
                  <a:pt x="313" y="296"/>
                </a:lnTo>
                <a:close/>
                <a:moveTo>
                  <a:pt x="313" y="292"/>
                </a:moveTo>
                <a:cubicBezTo>
                  <a:pt x="313" y="291"/>
                  <a:pt x="313" y="291"/>
                  <a:pt x="313" y="291"/>
                </a:cubicBezTo>
                <a:cubicBezTo>
                  <a:pt x="310" y="291"/>
                  <a:pt x="310" y="291"/>
                  <a:pt x="310" y="291"/>
                </a:cubicBezTo>
                <a:cubicBezTo>
                  <a:pt x="308" y="292"/>
                  <a:pt x="308" y="292"/>
                  <a:pt x="308" y="292"/>
                </a:cubicBezTo>
                <a:cubicBezTo>
                  <a:pt x="309" y="294"/>
                  <a:pt x="309" y="294"/>
                  <a:pt x="309" y="294"/>
                </a:cubicBezTo>
                <a:cubicBezTo>
                  <a:pt x="311" y="295"/>
                  <a:pt x="311" y="295"/>
                  <a:pt x="311" y="295"/>
                </a:cubicBezTo>
                <a:lnTo>
                  <a:pt x="313" y="292"/>
                </a:lnTo>
                <a:close/>
                <a:moveTo>
                  <a:pt x="314" y="299"/>
                </a:moveTo>
                <a:cubicBezTo>
                  <a:pt x="314" y="297"/>
                  <a:pt x="314" y="297"/>
                  <a:pt x="314" y="297"/>
                </a:cubicBezTo>
                <a:cubicBezTo>
                  <a:pt x="313" y="297"/>
                  <a:pt x="313" y="297"/>
                  <a:pt x="313" y="297"/>
                </a:cubicBezTo>
                <a:cubicBezTo>
                  <a:pt x="312" y="300"/>
                  <a:pt x="312" y="300"/>
                  <a:pt x="312" y="300"/>
                </a:cubicBezTo>
                <a:cubicBezTo>
                  <a:pt x="313" y="300"/>
                  <a:pt x="313" y="300"/>
                  <a:pt x="313" y="300"/>
                </a:cubicBezTo>
                <a:lnTo>
                  <a:pt x="314" y="299"/>
                </a:lnTo>
                <a:close/>
                <a:moveTo>
                  <a:pt x="318" y="355"/>
                </a:moveTo>
                <a:cubicBezTo>
                  <a:pt x="319" y="354"/>
                  <a:pt x="319" y="354"/>
                  <a:pt x="319" y="354"/>
                </a:cubicBezTo>
                <a:cubicBezTo>
                  <a:pt x="318" y="352"/>
                  <a:pt x="318" y="352"/>
                  <a:pt x="318" y="352"/>
                </a:cubicBezTo>
                <a:lnTo>
                  <a:pt x="318" y="355"/>
                </a:lnTo>
                <a:close/>
                <a:moveTo>
                  <a:pt x="311" y="311"/>
                </a:moveTo>
                <a:cubicBezTo>
                  <a:pt x="312" y="312"/>
                  <a:pt x="312" y="312"/>
                  <a:pt x="312" y="312"/>
                </a:cubicBezTo>
                <a:cubicBezTo>
                  <a:pt x="312" y="313"/>
                  <a:pt x="312" y="313"/>
                  <a:pt x="312" y="313"/>
                </a:cubicBezTo>
                <a:cubicBezTo>
                  <a:pt x="314" y="312"/>
                  <a:pt x="314" y="312"/>
                  <a:pt x="314" y="312"/>
                </a:cubicBezTo>
                <a:cubicBezTo>
                  <a:pt x="312" y="310"/>
                  <a:pt x="312" y="310"/>
                  <a:pt x="312" y="310"/>
                </a:cubicBezTo>
                <a:lnTo>
                  <a:pt x="311" y="311"/>
                </a:lnTo>
                <a:close/>
                <a:moveTo>
                  <a:pt x="314" y="337"/>
                </a:moveTo>
                <a:cubicBezTo>
                  <a:pt x="314" y="339"/>
                  <a:pt x="314" y="339"/>
                  <a:pt x="314" y="339"/>
                </a:cubicBezTo>
                <a:cubicBezTo>
                  <a:pt x="316" y="339"/>
                  <a:pt x="316" y="339"/>
                  <a:pt x="316" y="339"/>
                </a:cubicBezTo>
                <a:cubicBezTo>
                  <a:pt x="317" y="336"/>
                  <a:pt x="317" y="336"/>
                  <a:pt x="317" y="336"/>
                </a:cubicBezTo>
                <a:cubicBezTo>
                  <a:pt x="315" y="335"/>
                  <a:pt x="315" y="335"/>
                  <a:pt x="315" y="335"/>
                </a:cubicBezTo>
                <a:cubicBezTo>
                  <a:pt x="312" y="336"/>
                  <a:pt x="312" y="336"/>
                  <a:pt x="312" y="336"/>
                </a:cubicBezTo>
                <a:cubicBezTo>
                  <a:pt x="311" y="337"/>
                  <a:pt x="311" y="337"/>
                  <a:pt x="311" y="337"/>
                </a:cubicBezTo>
                <a:lnTo>
                  <a:pt x="314" y="337"/>
                </a:lnTo>
                <a:close/>
                <a:moveTo>
                  <a:pt x="321" y="356"/>
                </a:moveTo>
                <a:cubicBezTo>
                  <a:pt x="321" y="358"/>
                  <a:pt x="321" y="358"/>
                  <a:pt x="321" y="358"/>
                </a:cubicBezTo>
                <a:cubicBezTo>
                  <a:pt x="321" y="359"/>
                  <a:pt x="321" y="359"/>
                  <a:pt x="321" y="359"/>
                </a:cubicBezTo>
                <a:cubicBezTo>
                  <a:pt x="322" y="359"/>
                  <a:pt x="322" y="359"/>
                  <a:pt x="322" y="359"/>
                </a:cubicBezTo>
                <a:cubicBezTo>
                  <a:pt x="324" y="357"/>
                  <a:pt x="324" y="357"/>
                  <a:pt x="324" y="357"/>
                </a:cubicBezTo>
                <a:cubicBezTo>
                  <a:pt x="323" y="360"/>
                  <a:pt x="323" y="360"/>
                  <a:pt x="323" y="360"/>
                </a:cubicBezTo>
                <a:cubicBezTo>
                  <a:pt x="323" y="362"/>
                  <a:pt x="323" y="362"/>
                  <a:pt x="323" y="362"/>
                </a:cubicBezTo>
                <a:cubicBezTo>
                  <a:pt x="325" y="359"/>
                  <a:pt x="325" y="359"/>
                  <a:pt x="325" y="359"/>
                </a:cubicBezTo>
                <a:cubicBezTo>
                  <a:pt x="326" y="355"/>
                  <a:pt x="326" y="355"/>
                  <a:pt x="326" y="355"/>
                </a:cubicBezTo>
                <a:cubicBezTo>
                  <a:pt x="324" y="353"/>
                  <a:pt x="324" y="353"/>
                  <a:pt x="324" y="353"/>
                </a:cubicBezTo>
                <a:cubicBezTo>
                  <a:pt x="322" y="354"/>
                  <a:pt x="322" y="354"/>
                  <a:pt x="322" y="354"/>
                </a:cubicBezTo>
                <a:cubicBezTo>
                  <a:pt x="319" y="356"/>
                  <a:pt x="319" y="356"/>
                  <a:pt x="319" y="356"/>
                </a:cubicBezTo>
                <a:lnTo>
                  <a:pt x="321" y="356"/>
                </a:lnTo>
                <a:close/>
                <a:moveTo>
                  <a:pt x="313" y="316"/>
                </a:moveTo>
                <a:cubicBezTo>
                  <a:pt x="312" y="317"/>
                  <a:pt x="312" y="317"/>
                  <a:pt x="312" y="317"/>
                </a:cubicBezTo>
                <a:cubicBezTo>
                  <a:pt x="314" y="318"/>
                  <a:pt x="314" y="318"/>
                  <a:pt x="314" y="318"/>
                </a:cubicBezTo>
                <a:cubicBezTo>
                  <a:pt x="315" y="316"/>
                  <a:pt x="315" y="316"/>
                  <a:pt x="315" y="316"/>
                </a:cubicBezTo>
                <a:cubicBezTo>
                  <a:pt x="314" y="313"/>
                  <a:pt x="314" y="313"/>
                  <a:pt x="314" y="313"/>
                </a:cubicBezTo>
                <a:cubicBezTo>
                  <a:pt x="313" y="314"/>
                  <a:pt x="313" y="314"/>
                  <a:pt x="313" y="314"/>
                </a:cubicBezTo>
                <a:lnTo>
                  <a:pt x="313" y="316"/>
                </a:lnTo>
                <a:close/>
                <a:moveTo>
                  <a:pt x="315" y="310"/>
                </a:moveTo>
                <a:cubicBezTo>
                  <a:pt x="319" y="309"/>
                  <a:pt x="319" y="309"/>
                  <a:pt x="319" y="309"/>
                </a:cubicBezTo>
                <a:cubicBezTo>
                  <a:pt x="319" y="310"/>
                  <a:pt x="319" y="310"/>
                  <a:pt x="319" y="310"/>
                </a:cubicBezTo>
                <a:cubicBezTo>
                  <a:pt x="317" y="311"/>
                  <a:pt x="317" y="311"/>
                  <a:pt x="317" y="311"/>
                </a:cubicBezTo>
                <a:cubicBezTo>
                  <a:pt x="315" y="313"/>
                  <a:pt x="315" y="313"/>
                  <a:pt x="315" y="313"/>
                </a:cubicBezTo>
                <a:cubicBezTo>
                  <a:pt x="316" y="314"/>
                  <a:pt x="316" y="314"/>
                  <a:pt x="316" y="314"/>
                </a:cubicBezTo>
                <a:cubicBezTo>
                  <a:pt x="319" y="312"/>
                  <a:pt x="319" y="312"/>
                  <a:pt x="319" y="312"/>
                </a:cubicBezTo>
                <a:cubicBezTo>
                  <a:pt x="322" y="308"/>
                  <a:pt x="322" y="308"/>
                  <a:pt x="322" y="308"/>
                </a:cubicBezTo>
                <a:cubicBezTo>
                  <a:pt x="321" y="306"/>
                  <a:pt x="321" y="306"/>
                  <a:pt x="321" y="306"/>
                </a:cubicBezTo>
                <a:cubicBezTo>
                  <a:pt x="322" y="304"/>
                  <a:pt x="322" y="304"/>
                  <a:pt x="322" y="304"/>
                </a:cubicBezTo>
                <a:cubicBezTo>
                  <a:pt x="321" y="302"/>
                  <a:pt x="321" y="302"/>
                  <a:pt x="321" y="302"/>
                </a:cubicBezTo>
                <a:cubicBezTo>
                  <a:pt x="319" y="302"/>
                  <a:pt x="319" y="302"/>
                  <a:pt x="319" y="302"/>
                </a:cubicBezTo>
                <a:cubicBezTo>
                  <a:pt x="319" y="303"/>
                  <a:pt x="319" y="303"/>
                  <a:pt x="319" y="303"/>
                </a:cubicBezTo>
                <a:cubicBezTo>
                  <a:pt x="317" y="304"/>
                  <a:pt x="317" y="304"/>
                  <a:pt x="317" y="304"/>
                </a:cubicBezTo>
                <a:cubicBezTo>
                  <a:pt x="316" y="307"/>
                  <a:pt x="316" y="307"/>
                  <a:pt x="316" y="307"/>
                </a:cubicBezTo>
                <a:cubicBezTo>
                  <a:pt x="316" y="308"/>
                  <a:pt x="316" y="308"/>
                  <a:pt x="316" y="308"/>
                </a:cubicBezTo>
                <a:cubicBezTo>
                  <a:pt x="314" y="309"/>
                  <a:pt x="314" y="309"/>
                  <a:pt x="314" y="309"/>
                </a:cubicBezTo>
                <a:lnTo>
                  <a:pt x="315" y="310"/>
                </a:lnTo>
                <a:close/>
                <a:moveTo>
                  <a:pt x="312" y="320"/>
                </a:moveTo>
                <a:cubicBezTo>
                  <a:pt x="314" y="321"/>
                  <a:pt x="314" y="321"/>
                  <a:pt x="314" y="321"/>
                </a:cubicBezTo>
                <a:cubicBezTo>
                  <a:pt x="315" y="319"/>
                  <a:pt x="315" y="319"/>
                  <a:pt x="315" y="319"/>
                </a:cubicBezTo>
                <a:cubicBezTo>
                  <a:pt x="314" y="318"/>
                  <a:pt x="314" y="318"/>
                  <a:pt x="314" y="318"/>
                </a:cubicBezTo>
                <a:lnTo>
                  <a:pt x="312" y="320"/>
                </a:lnTo>
                <a:close/>
                <a:moveTo>
                  <a:pt x="316" y="327"/>
                </a:moveTo>
                <a:cubicBezTo>
                  <a:pt x="316" y="325"/>
                  <a:pt x="316" y="325"/>
                  <a:pt x="316" y="325"/>
                </a:cubicBezTo>
                <a:cubicBezTo>
                  <a:pt x="314" y="326"/>
                  <a:pt x="314" y="326"/>
                  <a:pt x="314" y="326"/>
                </a:cubicBezTo>
                <a:cubicBezTo>
                  <a:pt x="314" y="328"/>
                  <a:pt x="314" y="328"/>
                  <a:pt x="314" y="328"/>
                </a:cubicBezTo>
                <a:lnTo>
                  <a:pt x="316" y="327"/>
                </a:lnTo>
                <a:close/>
                <a:moveTo>
                  <a:pt x="321" y="351"/>
                </a:moveTo>
                <a:cubicBezTo>
                  <a:pt x="319" y="351"/>
                  <a:pt x="319" y="351"/>
                  <a:pt x="319" y="351"/>
                </a:cubicBezTo>
                <a:cubicBezTo>
                  <a:pt x="321" y="353"/>
                  <a:pt x="321" y="353"/>
                  <a:pt x="321" y="353"/>
                </a:cubicBezTo>
                <a:cubicBezTo>
                  <a:pt x="321" y="352"/>
                  <a:pt x="321" y="352"/>
                  <a:pt x="321" y="352"/>
                </a:cubicBezTo>
                <a:lnTo>
                  <a:pt x="321" y="351"/>
                </a:lnTo>
                <a:close/>
                <a:moveTo>
                  <a:pt x="333" y="403"/>
                </a:moveTo>
                <a:cubicBezTo>
                  <a:pt x="333" y="401"/>
                  <a:pt x="333" y="401"/>
                  <a:pt x="333" y="401"/>
                </a:cubicBezTo>
                <a:cubicBezTo>
                  <a:pt x="330" y="402"/>
                  <a:pt x="330" y="402"/>
                  <a:pt x="330" y="402"/>
                </a:cubicBezTo>
                <a:lnTo>
                  <a:pt x="333" y="403"/>
                </a:lnTo>
                <a:close/>
                <a:moveTo>
                  <a:pt x="330" y="397"/>
                </a:moveTo>
                <a:cubicBezTo>
                  <a:pt x="332" y="397"/>
                  <a:pt x="332" y="397"/>
                  <a:pt x="332" y="397"/>
                </a:cubicBezTo>
                <a:cubicBezTo>
                  <a:pt x="331" y="395"/>
                  <a:pt x="331" y="395"/>
                  <a:pt x="331" y="395"/>
                </a:cubicBezTo>
                <a:lnTo>
                  <a:pt x="330" y="397"/>
                </a:lnTo>
                <a:close/>
                <a:moveTo>
                  <a:pt x="328" y="401"/>
                </a:moveTo>
                <a:cubicBezTo>
                  <a:pt x="324" y="400"/>
                  <a:pt x="324" y="400"/>
                  <a:pt x="324" y="400"/>
                </a:cubicBezTo>
                <a:cubicBezTo>
                  <a:pt x="323" y="398"/>
                  <a:pt x="323" y="398"/>
                  <a:pt x="323" y="398"/>
                </a:cubicBezTo>
                <a:cubicBezTo>
                  <a:pt x="322" y="396"/>
                  <a:pt x="322" y="396"/>
                  <a:pt x="322" y="396"/>
                </a:cubicBezTo>
                <a:cubicBezTo>
                  <a:pt x="320" y="396"/>
                  <a:pt x="320" y="396"/>
                  <a:pt x="320" y="396"/>
                </a:cubicBezTo>
                <a:cubicBezTo>
                  <a:pt x="319" y="394"/>
                  <a:pt x="319" y="394"/>
                  <a:pt x="319" y="394"/>
                </a:cubicBezTo>
                <a:cubicBezTo>
                  <a:pt x="317" y="394"/>
                  <a:pt x="317" y="394"/>
                  <a:pt x="317" y="394"/>
                </a:cubicBezTo>
                <a:cubicBezTo>
                  <a:pt x="316" y="394"/>
                  <a:pt x="316" y="394"/>
                  <a:pt x="316" y="394"/>
                </a:cubicBezTo>
                <a:cubicBezTo>
                  <a:pt x="313" y="394"/>
                  <a:pt x="313" y="394"/>
                  <a:pt x="313" y="394"/>
                </a:cubicBezTo>
                <a:cubicBezTo>
                  <a:pt x="314" y="397"/>
                  <a:pt x="314" y="397"/>
                  <a:pt x="314" y="397"/>
                </a:cubicBezTo>
                <a:cubicBezTo>
                  <a:pt x="315" y="397"/>
                  <a:pt x="315" y="397"/>
                  <a:pt x="315" y="397"/>
                </a:cubicBezTo>
                <a:cubicBezTo>
                  <a:pt x="316" y="400"/>
                  <a:pt x="316" y="400"/>
                  <a:pt x="316" y="400"/>
                </a:cubicBezTo>
                <a:cubicBezTo>
                  <a:pt x="321" y="400"/>
                  <a:pt x="321" y="400"/>
                  <a:pt x="321" y="400"/>
                </a:cubicBezTo>
                <a:cubicBezTo>
                  <a:pt x="319" y="401"/>
                  <a:pt x="319" y="401"/>
                  <a:pt x="319" y="401"/>
                </a:cubicBezTo>
                <a:cubicBezTo>
                  <a:pt x="316" y="401"/>
                  <a:pt x="316" y="401"/>
                  <a:pt x="316" y="401"/>
                </a:cubicBezTo>
                <a:cubicBezTo>
                  <a:pt x="315" y="403"/>
                  <a:pt x="315" y="403"/>
                  <a:pt x="315" y="403"/>
                </a:cubicBezTo>
                <a:cubicBezTo>
                  <a:pt x="316" y="404"/>
                  <a:pt x="316" y="404"/>
                  <a:pt x="316" y="404"/>
                </a:cubicBezTo>
                <a:cubicBezTo>
                  <a:pt x="315" y="407"/>
                  <a:pt x="315" y="407"/>
                  <a:pt x="315" y="407"/>
                </a:cubicBezTo>
                <a:cubicBezTo>
                  <a:pt x="316" y="407"/>
                  <a:pt x="316" y="407"/>
                  <a:pt x="316" y="407"/>
                </a:cubicBezTo>
                <a:cubicBezTo>
                  <a:pt x="318" y="406"/>
                  <a:pt x="318" y="406"/>
                  <a:pt x="318" y="406"/>
                </a:cubicBezTo>
                <a:cubicBezTo>
                  <a:pt x="318" y="408"/>
                  <a:pt x="318" y="408"/>
                  <a:pt x="318" y="408"/>
                </a:cubicBezTo>
                <a:cubicBezTo>
                  <a:pt x="320" y="408"/>
                  <a:pt x="320" y="408"/>
                  <a:pt x="320" y="408"/>
                </a:cubicBezTo>
                <a:cubicBezTo>
                  <a:pt x="320" y="410"/>
                  <a:pt x="320" y="410"/>
                  <a:pt x="320" y="410"/>
                </a:cubicBezTo>
                <a:cubicBezTo>
                  <a:pt x="322" y="411"/>
                  <a:pt x="322" y="411"/>
                  <a:pt x="322" y="411"/>
                </a:cubicBezTo>
                <a:cubicBezTo>
                  <a:pt x="325" y="410"/>
                  <a:pt x="325" y="410"/>
                  <a:pt x="325" y="410"/>
                </a:cubicBezTo>
                <a:cubicBezTo>
                  <a:pt x="322" y="413"/>
                  <a:pt x="322" y="413"/>
                  <a:pt x="322" y="413"/>
                </a:cubicBezTo>
                <a:cubicBezTo>
                  <a:pt x="323" y="416"/>
                  <a:pt x="323" y="416"/>
                  <a:pt x="323" y="416"/>
                </a:cubicBezTo>
                <a:cubicBezTo>
                  <a:pt x="325" y="415"/>
                  <a:pt x="325" y="415"/>
                  <a:pt x="325" y="415"/>
                </a:cubicBezTo>
                <a:cubicBezTo>
                  <a:pt x="325" y="414"/>
                  <a:pt x="325" y="414"/>
                  <a:pt x="325" y="414"/>
                </a:cubicBezTo>
                <a:cubicBezTo>
                  <a:pt x="327" y="413"/>
                  <a:pt x="327" y="413"/>
                  <a:pt x="327" y="413"/>
                </a:cubicBezTo>
                <a:cubicBezTo>
                  <a:pt x="327" y="415"/>
                  <a:pt x="327" y="415"/>
                  <a:pt x="327" y="415"/>
                </a:cubicBezTo>
                <a:cubicBezTo>
                  <a:pt x="325" y="417"/>
                  <a:pt x="325" y="417"/>
                  <a:pt x="325" y="417"/>
                </a:cubicBezTo>
                <a:cubicBezTo>
                  <a:pt x="325" y="418"/>
                  <a:pt x="325" y="418"/>
                  <a:pt x="325" y="418"/>
                </a:cubicBezTo>
                <a:cubicBezTo>
                  <a:pt x="326" y="418"/>
                  <a:pt x="326" y="418"/>
                  <a:pt x="326" y="418"/>
                </a:cubicBezTo>
                <a:cubicBezTo>
                  <a:pt x="327" y="421"/>
                  <a:pt x="327" y="421"/>
                  <a:pt x="327" y="421"/>
                </a:cubicBezTo>
                <a:cubicBezTo>
                  <a:pt x="330" y="420"/>
                  <a:pt x="330" y="420"/>
                  <a:pt x="330" y="420"/>
                </a:cubicBezTo>
                <a:cubicBezTo>
                  <a:pt x="330" y="422"/>
                  <a:pt x="330" y="422"/>
                  <a:pt x="330" y="422"/>
                </a:cubicBezTo>
                <a:cubicBezTo>
                  <a:pt x="331" y="422"/>
                  <a:pt x="331" y="422"/>
                  <a:pt x="331" y="422"/>
                </a:cubicBezTo>
                <a:cubicBezTo>
                  <a:pt x="332" y="424"/>
                  <a:pt x="332" y="424"/>
                  <a:pt x="332" y="424"/>
                </a:cubicBezTo>
                <a:cubicBezTo>
                  <a:pt x="331" y="426"/>
                  <a:pt x="331" y="426"/>
                  <a:pt x="331" y="426"/>
                </a:cubicBezTo>
                <a:cubicBezTo>
                  <a:pt x="334" y="428"/>
                  <a:pt x="334" y="428"/>
                  <a:pt x="334" y="428"/>
                </a:cubicBezTo>
                <a:cubicBezTo>
                  <a:pt x="335" y="426"/>
                  <a:pt x="335" y="426"/>
                  <a:pt x="335" y="426"/>
                </a:cubicBezTo>
                <a:cubicBezTo>
                  <a:pt x="336" y="428"/>
                  <a:pt x="336" y="428"/>
                  <a:pt x="336" y="428"/>
                </a:cubicBezTo>
                <a:cubicBezTo>
                  <a:pt x="338" y="428"/>
                  <a:pt x="338" y="428"/>
                  <a:pt x="338" y="428"/>
                </a:cubicBezTo>
                <a:cubicBezTo>
                  <a:pt x="335" y="430"/>
                  <a:pt x="335" y="430"/>
                  <a:pt x="335" y="430"/>
                </a:cubicBezTo>
                <a:cubicBezTo>
                  <a:pt x="339" y="434"/>
                  <a:pt x="339" y="434"/>
                  <a:pt x="339" y="434"/>
                </a:cubicBezTo>
                <a:cubicBezTo>
                  <a:pt x="340" y="435"/>
                  <a:pt x="340" y="435"/>
                  <a:pt x="340" y="435"/>
                </a:cubicBezTo>
                <a:cubicBezTo>
                  <a:pt x="341" y="436"/>
                  <a:pt x="341" y="436"/>
                  <a:pt x="341" y="436"/>
                </a:cubicBezTo>
                <a:cubicBezTo>
                  <a:pt x="347" y="440"/>
                  <a:pt x="347" y="440"/>
                  <a:pt x="347" y="440"/>
                </a:cubicBezTo>
                <a:cubicBezTo>
                  <a:pt x="348" y="439"/>
                  <a:pt x="348" y="439"/>
                  <a:pt x="348" y="439"/>
                </a:cubicBezTo>
                <a:cubicBezTo>
                  <a:pt x="350" y="439"/>
                  <a:pt x="350" y="439"/>
                  <a:pt x="350" y="439"/>
                </a:cubicBezTo>
                <a:cubicBezTo>
                  <a:pt x="349" y="434"/>
                  <a:pt x="349" y="434"/>
                  <a:pt x="349" y="434"/>
                </a:cubicBezTo>
                <a:cubicBezTo>
                  <a:pt x="349" y="431"/>
                  <a:pt x="349" y="431"/>
                  <a:pt x="349" y="431"/>
                </a:cubicBezTo>
                <a:cubicBezTo>
                  <a:pt x="348" y="430"/>
                  <a:pt x="348" y="430"/>
                  <a:pt x="348" y="430"/>
                </a:cubicBezTo>
                <a:cubicBezTo>
                  <a:pt x="349" y="426"/>
                  <a:pt x="349" y="426"/>
                  <a:pt x="349" y="426"/>
                </a:cubicBezTo>
                <a:cubicBezTo>
                  <a:pt x="347" y="424"/>
                  <a:pt x="347" y="424"/>
                  <a:pt x="347" y="424"/>
                </a:cubicBezTo>
                <a:cubicBezTo>
                  <a:pt x="343" y="420"/>
                  <a:pt x="343" y="420"/>
                  <a:pt x="343" y="420"/>
                </a:cubicBezTo>
                <a:cubicBezTo>
                  <a:pt x="342" y="415"/>
                  <a:pt x="342" y="415"/>
                  <a:pt x="342" y="415"/>
                </a:cubicBezTo>
                <a:cubicBezTo>
                  <a:pt x="340" y="411"/>
                  <a:pt x="340" y="411"/>
                  <a:pt x="340" y="411"/>
                </a:cubicBezTo>
                <a:cubicBezTo>
                  <a:pt x="340" y="407"/>
                  <a:pt x="340" y="407"/>
                  <a:pt x="340" y="407"/>
                </a:cubicBezTo>
                <a:cubicBezTo>
                  <a:pt x="339" y="406"/>
                  <a:pt x="339" y="406"/>
                  <a:pt x="339" y="406"/>
                </a:cubicBezTo>
                <a:cubicBezTo>
                  <a:pt x="336" y="406"/>
                  <a:pt x="336" y="406"/>
                  <a:pt x="336" y="406"/>
                </a:cubicBezTo>
                <a:cubicBezTo>
                  <a:pt x="333" y="404"/>
                  <a:pt x="333" y="404"/>
                  <a:pt x="333" y="404"/>
                </a:cubicBezTo>
                <a:cubicBezTo>
                  <a:pt x="331" y="404"/>
                  <a:pt x="331" y="404"/>
                  <a:pt x="331" y="404"/>
                </a:cubicBezTo>
                <a:cubicBezTo>
                  <a:pt x="329" y="403"/>
                  <a:pt x="329" y="403"/>
                  <a:pt x="329" y="403"/>
                </a:cubicBezTo>
                <a:lnTo>
                  <a:pt x="328" y="401"/>
                </a:lnTo>
                <a:close/>
                <a:moveTo>
                  <a:pt x="326" y="346"/>
                </a:moveTo>
                <a:cubicBezTo>
                  <a:pt x="327" y="345"/>
                  <a:pt x="327" y="345"/>
                  <a:pt x="327" y="345"/>
                </a:cubicBezTo>
                <a:cubicBezTo>
                  <a:pt x="326" y="345"/>
                  <a:pt x="326" y="345"/>
                  <a:pt x="326" y="345"/>
                </a:cubicBezTo>
                <a:cubicBezTo>
                  <a:pt x="324" y="346"/>
                  <a:pt x="324" y="346"/>
                  <a:pt x="324" y="346"/>
                </a:cubicBezTo>
                <a:cubicBezTo>
                  <a:pt x="323" y="348"/>
                  <a:pt x="323" y="348"/>
                  <a:pt x="323" y="348"/>
                </a:cubicBezTo>
                <a:cubicBezTo>
                  <a:pt x="324" y="347"/>
                  <a:pt x="324" y="347"/>
                  <a:pt x="324" y="347"/>
                </a:cubicBezTo>
                <a:lnTo>
                  <a:pt x="326" y="346"/>
                </a:lnTo>
                <a:close/>
                <a:moveTo>
                  <a:pt x="2319" y="950"/>
                </a:moveTo>
                <a:cubicBezTo>
                  <a:pt x="2318" y="949"/>
                  <a:pt x="2318" y="949"/>
                  <a:pt x="2318" y="949"/>
                </a:cubicBezTo>
                <a:cubicBezTo>
                  <a:pt x="2319" y="949"/>
                  <a:pt x="2319" y="949"/>
                  <a:pt x="2319" y="949"/>
                </a:cubicBezTo>
                <a:cubicBezTo>
                  <a:pt x="2319" y="948"/>
                  <a:pt x="2319" y="948"/>
                  <a:pt x="2319" y="948"/>
                </a:cubicBezTo>
                <a:cubicBezTo>
                  <a:pt x="2318" y="949"/>
                  <a:pt x="2318" y="949"/>
                  <a:pt x="2318" y="949"/>
                </a:cubicBezTo>
                <a:cubicBezTo>
                  <a:pt x="2318" y="950"/>
                  <a:pt x="2318" y="950"/>
                  <a:pt x="2318" y="950"/>
                </a:cubicBezTo>
                <a:cubicBezTo>
                  <a:pt x="2318" y="953"/>
                  <a:pt x="2318" y="953"/>
                  <a:pt x="2318" y="953"/>
                </a:cubicBezTo>
                <a:lnTo>
                  <a:pt x="2319" y="950"/>
                </a:lnTo>
                <a:close/>
                <a:moveTo>
                  <a:pt x="341" y="408"/>
                </a:moveTo>
                <a:cubicBezTo>
                  <a:pt x="341" y="411"/>
                  <a:pt x="341" y="411"/>
                  <a:pt x="341" y="411"/>
                </a:cubicBezTo>
                <a:cubicBezTo>
                  <a:pt x="342" y="408"/>
                  <a:pt x="342" y="408"/>
                  <a:pt x="342" y="408"/>
                </a:cubicBezTo>
                <a:lnTo>
                  <a:pt x="341" y="408"/>
                </a:lnTo>
                <a:close/>
                <a:moveTo>
                  <a:pt x="325" y="364"/>
                </a:moveTo>
                <a:cubicBezTo>
                  <a:pt x="326" y="364"/>
                  <a:pt x="326" y="364"/>
                  <a:pt x="326" y="364"/>
                </a:cubicBezTo>
                <a:cubicBezTo>
                  <a:pt x="326" y="363"/>
                  <a:pt x="326" y="363"/>
                  <a:pt x="326" y="363"/>
                </a:cubicBezTo>
                <a:cubicBezTo>
                  <a:pt x="327" y="362"/>
                  <a:pt x="327" y="362"/>
                  <a:pt x="327" y="362"/>
                </a:cubicBezTo>
                <a:cubicBezTo>
                  <a:pt x="326" y="360"/>
                  <a:pt x="326" y="360"/>
                  <a:pt x="326" y="360"/>
                </a:cubicBezTo>
                <a:cubicBezTo>
                  <a:pt x="325" y="362"/>
                  <a:pt x="325" y="362"/>
                  <a:pt x="325" y="362"/>
                </a:cubicBezTo>
                <a:lnTo>
                  <a:pt x="325" y="364"/>
                </a:lnTo>
                <a:close/>
                <a:moveTo>
                  <a:pt x="2798" y="643"/>
                </a:moveTo>
                <a:cubicBezTo>
                  <a:pt x="2796" y="644"/>
                  <a:pt x="2796" y="644"/>
                  <a:pt x="2796" y="644"/>
                </a:cubicBezTo>
                <a:cubicBezTo>
                  <a:pt x="2795" y="645"/>
                  <a:pt x="2795" y="645"/>
                  <a:pt x="2795" y="645"/>
                </a:cubicBezTo>
                <a:cubicBezTo>
                  <a:pt x="2794" y="646"/>
                  <a:pt x="2794" y="646"/>
                  <a:pt x="2794" y="646"/>
                </a:cubicBezTo>
                <a:cubicBezTo>
                  <a:pt x="2792" y="648"/>
                  <a:pt x="2792" y="648"/>
                  <a:pt x="2792" y="648"/>
                </a:cubicBezTo>
                <a:cubicBezTo>
                  <a:pt x="2791" y="650"/>
                  <a:pt x="2791" y="650"/>
                  <a:pt x="2791" y="650"/>
                </a:cubicBezTo>
                <a:cubicBezTo>
                  <a:pt x="2790" y="650"/>
                  <a:pt x="2790" y="650"/>
                  <a:pt x="2790" y="650"/>
                </a:cubicBezTo>
                <a:cubicBezTo>
                  <a:pt x="2788" y="651"/>
                  <a:pt x="2788" y="651"/>
                  <a:pt x="2788" y="651"/>
                </a:cubicBezTo>
                <a:cubicBezTo>
                  <a:pt x="2789" y="651"/>
                  <a:pt x="2789" y="651"/>
                  <a:pt x="2789" y="651"/>
                </a:cubicBezTo>
                <a:cubicBezTo>
                  <a:pt x="2790" y="651"/>
                  <a:pt x="2790" y="651"/>
                  <a:pt x="2790" y="651"/>
                </a:cubicBezTo>
                <a:cubicBezTo>
                  <a:pt x="2790" y="653"/>
                  <a:pt x="2790" y="653"/>
                  <a:pt x="2790" y="653"/>
                </a:cubicBezTo>
                <a:cubicBezTo>
                  <a:pt x="2791" y="655"/>
                  <a:pt x="2791" y="655"/>
                  <a:pt x="2791" y="655"/>
                </a:cubicBezTo>
                <a:cubicBezTo>
                  <a:pt x="2791" y="656"/>
                  <a:pt x="2791" y="656"/>
                  <a:pt x="2791" y="656"/>
                </a:cubicBezTo>
                <a:cubicBezTo>
                  <a:pt x="2790" y="654"/>
                  <a:pt x="2790" y="654"/>
                  <a:pt x="2790" y="654"/>
                </a:cubicBezTo>
                <a:cubicBezTo>
                  <a:pt x="2789" y="653"/>
                  <a:pt x="2789" y="653"/>
                  <a:pt x="2789" y="653"/>
                </a:cubicBezTo>
                <a:cubicBezTo>
                  <a:pt x="2789" y="655"/>
                  <a:pt x="2789" y="655"/>
                  <a:pt x="2789" y="655"/>
                </a:cubicBezTo>
                <a:cubicBezTo>
                  <a:pt x="2790" y="657"/>
                  <a:pt x="2790" y="657"/>
                  <a:pt x="2790" y="657"/>
                </a:cubicBezTo>
                <a:cubicBezTo>
                  <a:pt x="2791" y="657"/>
                  <a:pt x="2791" y="657"/>
                  <a:pt x="2791" y="657"/>
                </a:cubicBezTo>
                <a:cubicBezTo>
                  <a:pt x="2791" y="658"/>
                  <a:pt x="2791" y="658"/>
                  <a:pt x="2791" y="658"/>
                </a:cubicBezTo>
                <a:cubicBezTo>
                  <a:pt x="2790" y="660"/>
                  <a:pt x="2790" y="660"/>
                  <a:pt x="2790" y="660"/>
                </a:cubicBezTo>
                <a:cubicBezTo>
                  <a:pt x="2791" y="659"/>
                  <a:pt x="2791" y="659"/>
                  <a:pt x="2791" y="659"/>
                </a:cubicBezTo>
                <a:cubicBezTo>
                  <a:pt x="2792" y="658"/>
                  <a:pt x="2792" y="658"/>
                  <a:pt x="2792" y="658"/>
                </a:cubicBezTo>
                <a:cubicBezTo>
                  <a:pt x="2794" y="657"/>
                  <a:pt x="2794" y="657"/>
                  <a:pt x="2794" y="657"/>
                </a:cubicBezTo>
                <a:cubicBezTo>
                  <a:pt x="2795" y="658"/>
                  <a:pt x="2795" y="658"/>
                  <a:pt x="2795" y="658"/>
                </a:cubicBezTo>
                <a:cubicBezTo>
                  <a:pt x="2794" y="658"/>
                  <a:pt x="2794" y="658"/>
                  <a:pt x="2794" y="658"/>
                </a:cubicBezTo>
                <a:cubicBezTo>
                  <a:pt x="2795" y="659"/>
                  <a:pt x="2795" y="659"/>
                  <a:pt x="2795" y="659"/>
                </a:cubicBezTo>
                <a:cubicBezTo>
                  <a:pt x="2796" y="658"/>
                  <a:pt x="2796" y="658"/>
                  <a:pt x="2796" y="658"/>
                </a:cubicBezTo>
                <a:cubicBezTo>
                  <a:pt x="2796" y="657"/>
                  <a:pt x="2796" y="657"/>
                  <a:pt x="2796" y="657"/>
                </a:cubicBezTo>
                <a:cubicBezTo>
                  <a:pt x="2795" y="656"/>
                  <a:pt x="2795" y="656"/>
                  <a:pt x="2795" y="656"/>
                </a:cubicBezTo>
                <a:cubicBezTo>
                  <a:pt x="2793" y="656"/>
                  <a:pt x="2793" y="656"/>
                  <a:pt x="2793" y="656"/>
                </a:cubicBezTo>
                <a:cubicBezTo>
                  <a:pt x="2793" y="655"/>
                  <a:pt x="2793" y="655"/>
                  <a:pt x="2793" y="655"/>
                </a:cubicBezTo>
                <a:cubicBezTo>
                  <a:pt x="2794" y="654"/>
                  <a:pt x="2794" y="654"/>
                  <a:pt x="2794" y="654"/>
                </a:cubicBezTo>
                <a:cubicBezTo>
                  <a:pt x="2793" y="653"/>
                  <a:pt x="2793" y="653"/>
                  <a:pt x="2793" y="653"/>
                </a:cubicBezTo>
                <a:cubicBezTo>
                  <a:pt x="2794" y="652"/>
                  <a:pt x="2794" y="652"/>
                  <a:pt x="2794" y="652"/>
                </a:cubicBezTo>
                <a:cubicBezTo>
                  <a:pt x="2796" y="652"/>
                  <a:pt x="2796" y="652"/>
                  <a:pt x="2796" y="652"/>
                </a:cubicBezTo>
                <a:cubicBezTo>
                  <a:pt x="2797" y="655"/>
                  <a:pt x="2797" y="655"/>
                  <a:pt x="2797" y="655"/>
                </a:cubicBezTo>
                <a:cubicBezTo>
                  <a:pt x="2798" y="658"/>
                  <a:pt x="2798" y="658"/>
                  <a:pt x="2798" y="658"/>
                </a:cubicBezTo>
                <a:cubicBezTo>
                  <a:pt x="2799" y="659"/>
                  <a:pt x="2799" y="659"/>
                  <a:pt x="2799" y="659"/>
                </a:cubicBezTo>
                <a:cubicBezTo>
                  <a:pt x="2799" y="662"/>
                  <a:pt x="2799" y="662"/>
                  <a:pt x="2799" y="662"/>
                </a:cubicBezTo>
                <a:cubicBezTo>
                  <a:pt x="2797" y="665"/>
                  <a:pt x="2797" y="665"/>
                  <a:pt x="2797" y="665"/>
                </a:cubicBezTo>
                <a:cubicBezTo>
                  <a:pt x="2795" y="666"/>
                  <a:pt x="2795" y="666"/>
                  <a:pt x="2795" y="666"/>
                </a:cubicBezTo>
                <a:cubicBezTo>
                  <a:pt x="2796" y="667"/>
                  <a:pt x="2796" y="667"/>
                  <a:pt x="2796" y="667"/>
                </a:cubicBezTo>
                <a:cubicBezTo>
                  <a:pt x="2797" y="669"/>
                  <a:pt x="2797" y="669"/>
                  <a:pt x="2797" y="669"/>
                </a:cubicBezTo>
                <a:cubicBezTo>
                  <a:pt x="2798" y="673"/>
                  <a:pt x="2798" y="673"/>
                  <a:pt x="2798" y="673"/>
                </a:cubicBezTo>
                <a:cubicBezTo>
                  <a:pt x="2800" y="675"/>
                  <a:pt x="2800" y="675"/>
                  <a:pt x="2800" y="675"/>
                </a:cubicBezTo>
                <a:cubicBezTo>
                  <a:pt x="2800" y="677"/>
                  <a:pt x="2800" y="677"/>
                  <a:pt x="2800" y="677"/>
                </a:cubicBezTo>
                <a:cubicBezTo>
                  <a:pt x="2799" y="678"/>
                  <a:pt x="2799" y="678"/>
                  <a:pt x="2799" y="678"/>
                </a:cubicBezTo>
                <a:cubicBezTo>
                  <a:pt x="2800" y="679"/>
                  <a:pt x="2800" y="679"/>
                  <a:pt x="2800" y="679"/>
                </a:cubicBezTo>
                <a:cubicBezTo>
                  <a:pt x="2802" y="679"/>
                  <a:pt x="2802" y="679"/>
                  <a:pt x="2802" y="679"/>
                </a:cubicBezTo>
                <a:cubicBezTo>
                  <a:pt x="2803" y="680"/>
                  <a:pt x="2803" y="680"/>
                  <a:pt x="2803" y="680"/>
                </a:cubicBezTo>
                <a:cubicBezTo>
                  <a:pt x="2804" y="679"/>
                  <a:pt x="2804" y="679"/>
                  <a:pt x="2804" y="679"/>
                </a:cubicBezTo>
                <a:cubicBezTo>
                  <a:pt x="2804" y="678"/>
                  <a:pt x="2804" y="678"/>
                  <a:pt x="2804" y="678"/>
                </a:cubicBezTo>
                <a:cubicBezTo>
                  <a:pt x="2802" y="676"/>
                  <a:pt x="2802" y="676"/>
                  <a:pt x="2802" y="676"/>
                </a:cubicBezTo>
                <a:cubicBezTo>
                  <a:pt x="2802" y="672"/>
                  <a:pt x="2802" y="672"/>
                  <a:pt x="2802" y="672"/>
                </a:cubicBezTo>
                <a:cubicBezTo>
                  <a:pt x="2803" y="671"/>
                  <a:pt x="2803" y="671"/>
                  <a:pt x="2803" y="671"/>
                </a:cubicBezTo>
                <a:cubicBezTo>
                  <a:pt x="2804" y="672"/>
                  <a:pt x="2804" y="672"/>
                  <a:pt x="2804" y="672"/>
                </a:cubicBezTo>
                <a:cubicBezTo>
                  <a:pt x="2804" y="673"/>
                  <a:pt x="2804" y="673"/>
                  <a:pt x="2804" y="673"/>
                </a:cubicBezTo>
                <a:cubicBezTo>
                  <a:pt x="2804" y="674"/>
                  <a:pt x="2804" y="674"/>
                  <a:pt x="2804" y="674"/>
                </a:cubicBezTo>
                <a:cubicBezTo>
                  <a:pt x="2805" y="676"/>
                  <a:pt x="2805" y="676"/>
                  <a:pt x="2805" y="676"/>
                </a:cubicBezTo>
                <a:cubicBezTo>
                  <a:pt x="2806" y="678"/>
                  <a:pt x="2806" y="678"/>
                  <a:pt x="2806" y="678"/>
                </a:cubicBezTo>
                <a:cubicBezTo>
                  <a:pt x="2805" y="680"/>
                  <a:pt x="2805" y="680"/>
                  <a:pt x="2805" y="680"/>
                </a:cubicBezTo>
                <a:cubicBezTo>
                  <a:pt x="2806" y="681"/>
                  <a:pt x="2806" y="681"/>
                  <a:pt x="2806" y="681"/>
                </a:cubicBezTo>
                <a:cubicBezTo>
                  <a:pt x="2807" y="680"/>
                  <a:pt x="2807" y="680"/>
                  <a:pt x="2807" y="680"/>
                </a:cubicBezTo>
                <a:cubicBezTo>
                  <a:pt x="2809" y="677"/>
                  <a:pt x="2809" y="677"/>
                  <a:pt x="2809" y="677"/>
                </a:cubicBezTo>
                <a:cubicBezTo>
                  <a:pt x="2808" y="676"/>
                  <a:pt x="2808" y="676"/>
                  <a:pt x="2808" y="676"/>
                </a:cubicBezTo>
                <a:cubicBezTo>
                  <a:pt x="2807" y="675"/>
                  <a:pt x="2807" y="675"/>
                  <a:pt x="2807" y="675"/>
                </a:cubicBezTo>
                <a:cubicBezTo>
                  <a:pt x="2808" y="674"/>
                  <a:pt x="2808" y="674"/>
                  <a:pt x="2808" y="674"/>
                </a:cubicBezTo>
                <a:cubicBezTo>
                  <a:pt x="2810" y="675"/>
                  <a:pt x="2810" y="675"/>
                  <a:pt x="2810" y="675"/>
                </a:cubicBezTo>
                <a:cubicBezTo>
                  <a:pt x="2811" y="675"/>
                  <a:pt x="2811" y="675"/>
                  <a:pt x="2811" y="675"/>
                </a:cubicBezTo>
                <a:cubicBezTo>
                  <a:pt x="2811" y="673"/>
                  <a:pt x="2811" y="673"/>
                  <a:pt x="2811" y="673"/>
                </a:cubicBezTo>
                <a:cubicBezTo>
                  <a:pt x="2811" y="670"/>
                  <a:pt x="2811" y="670"/>
                  <a:pt x="2811" y="670"/>
                </a:cubicBezTo>
                <a:cubicBezTo>
                  <a:pt x="2811" y="668"/>
                  <a:pt x="2811" y="668"/>
                  <a:pt x="2811" y="668"/>
                </a:cubicBezTo>
                <a:cubicBezTo>
                  <a:pt x="2811" y="663"/>
                  <a:pt x="2811" y="663"/>
                  <a:pt x="2811" y="663"/>
                </a:cubicBezTo>
                <a:cubicBezTo>
                  <a:pt x="2811" y="660"/>
                  <a:pt x="2811" y="660"/>
                  <a:pt x="2811" y="660"/>
                </a:cubicBezTo>
                <a:cubicBezTo>
                  <a:pt x="2812" y="658"/>
                  <a:pt x="2812" y="658"/>
                  <a:pt x="2812" y="658"/>
                </a:cubicBezTo>
                <a:cubicBezTo>
                  <a:pt x="2814" y="656"/>
                  <a:pt x="2814" y="656"/>
                  <a:pt x="2814" y="656"/>
                </a:cubicBezTo>
                <a:cubicBezTo>
                  <a:pt x="2813" y="654"/>
                  <a:pt x="2813" y="654"/>
                  <a:pt x="2813" y="654"/>
                </a:cubicBezTo>
                <a:cubicBezTo>
                  <a:pt x="2812" y="654"/>
                  <a:pt x="2812" y="654"/>
                  <a:pt x="2812" y="654"/>
                </a:cubicBezTo>
                <a:cubicBezTo>
                  <a:pt x="2812" y="652"/>
                  <a:pt x="2812" y="652"/>
                  <a:pt x="2812" y="652"/>
                </a:cubicBezTo>
                <a:cubicBezTo>
                  <a:pt x="2811" y="652"/>
                  <a:pt x="2811" y="652"/>
                  <a:pt x="2811" y="652"/>
                </a:cubicBezTo>
                <a:cubicBezTo>
                  <a:pt x="2811" y="651"/>
                  <a:pt x="2811" y="651"/>
                  <a:pt x="2811" y="651"/>
                </a:cubicBezTo>
                <a:cubicBezTo>
                  <a:pt x="2808" y="651"/>
                  <a:pt x="2808" y="651"/>
                  <a:pt x="2808" y="651"/>
                </a:cubicBezTo>
                <a:cubicBezTo>
                  <a:pt x="2807" y="650"/>
                  <a:pt x="2807" y="650"/>
                  <a:pt x="2807" y="650"/>
                </a:cubicBezTo>
                <a:cubicBezTo>
                  <a:pt x="2809" y="649"/>
                  <a:pt x="2809" y="649"/>
                  <a:pt x="2809" y="649"/>
                </a:cubicBezTo>
                <a:cubicBezTo>
                  <a:pt x="2810" y="648"/>
                  <a:pt x="2810" y="648"/>
                  <a:pt x="2810" y="648"/>
                </a:cubicBezTo>
                <a:cubicBezTo>
                  <a:pt x="2809" y="645"/>
                  <a:pt x="2809" y="645"/>
                  <a:pt x="2809" y="645"/>
                </a:cubicBezTo>
                <a:cubicBezTo>
                  <a:pt x="2808" y="644"/>
                  <a:pt x="2808" y="644"/>
                  <a:pt x="2808" y="644"/>
                </a:cubicBezTo>
                <a:cubicBezTo>
                  <a:pt x="2806" y="644"/>
                  <a:pt x="2806" y="644"/>
                  <a:pt x="2806" y="644"/>
                </a:cubicBezTo>
                <a:cubicBezTo>
                  <a:pt x="2806" y="645"/>
                  <a:pt x="2806" y="645"/>
                  <a:pt x="2806" y="645"/>
                </a:cubicBezTo>
                <a:cubicBezTo>
                  <a:pt x="2805" y="646"/>
                  <a:pt x="2805" y="646"/>
                  <a:pt x="2805" y="646"/>
                </a:cubicBezTo>
                <a:cubicBezTo>
                  <a:pt x="2803" y="646"/>
                  <a:pt x="2803" y="646"/>
                  <a:pt x="2803" y="646"/>
                </a:cubicBezTo>
                <a:cubicBezTo>
                  <a:pt x="2801" y="643"/>
                  <a:pt x="2801" y="643"/>
                  <a:pt x="2801" y="643"/>
                </a:cubicBezTo>
                <a:cubicBezTo>
                  <a:pt x="2802" y="642"/>
                  <a:pt x="2802" y="642"/>
                  <a:pt x="2802" y="642"/>
                </a:cubicBezTo>
                <a:cubicBezTo>
                  <a:pt x="2805" y="640"/>
                  <a:pt x="2805" y="640"/>
                  <a:pt x="2805" y="640"/>
                </a:cubicBezTo>
                <a:cubicBezTo>
                  <a:pt x="2807" y="640"/>
                  <a:pt x="2807" y="640"/>
                  <a:pt x="2807" y="640"/>
                </a:cubicBezTo>
                <a:cubicBezTo>
                  <a:pt x="2810" y="641"/>
                  <a:pt x="2810" y="641"/>
                  <a:pt x="2810" y="641"/>
                </a:cubicBezTo>
                <a:cubicBezTo>
                  <a:pt x="2812" y="642"/>
                  <a:pt x="2812" y="642"/>
                  <a:pt x="2812" y="642"/>
                </a:cubicBezTo>
                <a:cubicBezTo>
                  <a:pt x="2812" y="641"/>
                  <a:pt x="2812" y="641"/>
                  <a:pt x="2812" y="641"/>
                </a:cubicBezTo>
                <a:cubicBezTo>
                  <a:pt x="2812" y="639"/>
                  <a:pt x="2812" y="639"/>
                  <a:pt x="2812" y="639"/>
                </a:cubicBezTo>
                <a:cubicBezTo>
                  <a:pt x="2812" y="637"/>
                  <a:pt x="2812" y="637"/>
                  <a:pt x="2812" y="637"/>
                </a:cubicBezTo>
                <a:cubicBezTo>
                  <a:pt x="2812" y="636"/>
                  <a:pt x="2812" y="636"/>
                  <a:pt x="2812" y="636"/>
                </a:cubicBezTo>
                <a:cubicBezTo>
                  <a:pt x="2813" y="635"/>
                  <a:pt x="2813" y="635"/>
                  <a:pt x="2813" y="635"/>
                </a:cubicBezTo>
                <a:cubicBezTo>
                  <a:pt x="2814" y="635"/>
                  <a:pt x="2814" y="635"/>
                  <a:pt x="2814" y="635"/>
                </a:cubicBezTo>
                <a:cubicBezTo>
                  <a:pt x="2815" y="636"/>
                  <a:pt x="2815" y="636"/>
                  <a:pt x="2815" y="636"/>
                </a:cubicBezTo>
                <a:cubicBezTo>
                  <a:pt x="2816" y="636"/>
                  <a:pt x="2816" y="636"/>
                  <a:pt x="2816" y="636"/>
                </a:cubicBezTo>
                <a:cubicBezTo>
                  <a:pt x="2818" y="635"/>
                  <a:pt x="2818" y="635"/>
                  <a:pt x="2818" y="635"/>
                </a:cubicBezTo>
                <a:cubicBezTo>
                  <a:pt x="2821" y="635"/>
                  <a:pt x="2821" y="635"/>
                  <a:pt x="2821" y="635"/>
                </a:cubicBezTo>
                <a:cubicBezTo>
                  <a:pt x="2824" y="634"/>
                  <a:pt x="2824" y="634"/>
                  <a:pt x="2824" y="634"/>
                </a:cubicBezTo>
                <a:cubicBezTo>
                  <a:pt x="2826" y="633"/>
                  <a:pt x="2826" y="633"/>
                  <a:pt x="2826" y="633"/>
                </a:cubicBezTo>
                <a:cubicBezTo>
                  <a:pt x="2827" y="634"/>
                  <a:pt x="2827" y="634"/>
                  <a:pt x="2827" y="634"/>
                </a:cubicBezTo>
                <a:cubicBezTo>
                  <a:pt x="2828" y="633"/>
                  <a:pt x="2828" y="633"/>
                  <a:pt x="2828" y="633"/>
                </a:cubicBezTo>
                <a:cubicBezTo>
                  <a:pt x="2828" y="633"/>
                  <a:pt x="2828" y="633"/>
                  <a:pt x="2828" y="633"/>
                </a:cubicBezTo>
                <a:cubicBezTo>
                  <a:pt x="2830" y="631"/>
                  <a:pt x="2830" y="631"/>
                  <a:pt x="2830" y="631"/>
                </a:cubicBezTo>
                <a:cubicBezTo>
                  <a:pt x="2831" y="630"/>
                  <a:pt x="2831" y="630"/>
                  <a:pt x="2831" y="630"/>
                </a:cubicBezTo>
                <a:cubicBezTo>
                  <a:pt x="2833" y="628"/>
                  <a:pt x="2833" y="628"/>
                  <a:pt x="2833" y="628"/>
                </a:cubicBezTo>
                <a:cubicBezTo>
                  <a:pt x="2836" y="628"/>
                  <a:pt x="2836" y="628"/>
                  <a:pt x="2836" y="628"/>
                </a:cubicBezTo>
                <a:cubicBezTo>
                  <a:pt x="2839" y="628"/>
                  <a:pt x="2839" y="628"/>
                  <a:pt x="2839" y="628"/>
                </a:cubicBezTo>
                <a:cubicBezTo>
                  <a:pt x="2840" y="628"/>
                  <a:pt x="2840" y="628"/>
                  <a:pt x="2840" y="628"/>
                </a:cubicBezTo>
                <a:cubicBezTo>
                  <a:pt x="2841" y="628"/>
                  <a:pt x="2841" y="628"/>
                  <a:pt x="2841" y="628"/>
                </a:cubicBezTo>
                <a:cubicBezTo>
                  <a:pt x="2841" y="630"/>
                  <a:pt x="2841" y="630"/>
                  <a:pt x="2841" y="630"/>
                </a:cubicBezTo>
                <a:cubicBezTo>
                  <a:pt x="2840" y="632"/>
                  <a:pt x="2840" y="632"/>
                  <a:pt x="2840" y="632"/>
                </a:cubicBezTo>
                <a:cubicBezTo>
                  <a:pt x="2839" y="634"/>
                  <a:pt x="2839" y="634"/>
                  <a:pt x="2839" y="634"/>
                </a:cubicBezTo>
                <a:cubicBezTo>
                  <a:pt x="2840" y="635"/>
                  <a:pt x="2840" y="635"/>
                  <a:pt x="2840" y="635"/>
                </a:cubicBezTo>
                <a:cubicBezTo>
                  <a:pt x="2840" y="636"/>
                  <a:pt x="2840" y="636"/>
                  <a:pt x="2840" y="636"/>
                </a:cubicBezTo>
                <a:cubicBezTo>
                  <a:pt x="2841" y="638"/>
                  <a:pt x="2841" y="638"/>
                  <a:pt x="2841" y="638"/>
                </a:cubicBezTo>
                <a:cubicBezTo>
                  <a:pt x="2840" y="639"/>
                  <a:pt x="2840" y="639"/>
                  <a:pt x="2840" y="639"/>
                </a:cubicBezTo>
                <a:cubicBezTo>
                  <a:pt x="2841" y="641"/>
                  <a:pt x="2841" y="641"/>
                  <a:pt x="2841" y="641"/>
                </a:cubicBezTo>
                <a:cubicBezTo>
                  <a:pt x="2843" y="642"/>
                  <a:pt x="2843" y="642"/>
                  <a:pt x="2843" y="642"/>
                </a:cubicBezTo>
                <a:cubicBezTo>
                  <a:pt x="2846" y="645"/>
                  <a:pt x="2846" y="645"/>
                  <a:pt x="2846" y="645"/>
                </a:cubicBezTo>
                <a:cubicBezTo>
                  <a:pt x="2848" y="645"/>
                  <a:pt x="2848" y="645"/>
                  <a:pt x="2848" y="645"/>
                </a:cubicBezTo>
                <a:cubicBezTo>
                  <a:pt x="2849" y="644"/>
                  <a:pt x="2849" y="644"/>
                  <a:pt x="2849" y="644"/>
                </a:cubicBezTo>
                <a:cubicBezTo>
                  <a:pt x="2851" y="642"/>
                  <a:pt x="2851" y="642"/>
                  <a:pt x="2851" y="642"/>
                </a:cubicBezTo>
                <a:cubicBezTo>
                  <a:pt x="2851" y="640"/>
                  <a:pt x="2851" y="640"/>
                  <a:pt x="2851" y="640"/>
                </a:cubicBezTo>
                <a:cubicBezTo>
                  <a:pt x="2852" y="639"/>
                  <a:pt x="2852" y="639"/>
                  <a:pt x="2852" y="639"/>
                </a:cubicBezTo>
                <a:cubicBezTo>
                  <a:pt x="2852" y="638"/>
                  <a:pt x="2852" y="638"/>
                  <a:pt x="2852" y="638"/>
                </a:cubicBezTo>
                <a:cubicBezTo>
                  <a:pt x="2852" y="637"/>
                  <a:pt x="2852" y="637"/>
                  <a:pt x="2852" y="637"/>
                </a:cubicBezTo>
                <a:cubicBezTo>
                  <a:pt x="2853" y="634"/>
                  <a:pt x="2853" y="634"/>
                  <a:pt x="2853" y="634"/>
                </a:cubicBezTo>
                <a:cubicBezTo>
                  <a:pt x="2855" y="634"/>
                  <a:pt x="2855" y="634"/>
                  <a:pt x="2855" y="634"/>
                </a:cubicBezTo>
                <a:cubicBezTo>
                  <a:pt x="2857" y="634"/>
                  <a:pt x="2857" y="634"/>
                  <a:pt x="2857" y="634"/>
                </a:cubicBezTo>
                <a:cubicBezTo>
                  <a:pt x="2857" y="633"/>
                  <a:pt x="2857" y="633"/>
                  <a:pt x="2857" y="633"/>
                </a:cubicBezTo>
                <a:cubicBezTo>
                  <a:pt x="2857" y="632"/>
                  <a:pt x="2857" y="632"/>
                  <a:pt x="2857" y="632"/>
                </a:cubicBezTo>
                <a:cubicBezTo>
                  <a:pt x="2856" y="630"/>
                  <a:pt x="2856" y="630"/>
                  <a:pt x="2856" y="630"/>
                </a:cubicBezTo>
                <a:cubicBezTo>
                  <a:pt x="2853" y="628"/>
                  <a:pt x="2853" y="628"/>
                  <a:pt x="2853" y="628"/>
                </a:cubicBezTo>
                <a:cubicBezTo>
                  <a:pt x="2852" y="627"/>
                  <a:pt x="2852" y="627"/>
                  <a:pt x="2852" y="627"/>
                </a:cubicBezTo>
                <a:cubicBezTo>
                  <a:pt x="2853" y="625"/>
                  <a:pt x="2853" y="625"/>
                  <a:pt x="2853" y="625"/>
                </a:cubicBezTo>
                <a:cubicBezTo>
                  <a:pt x="2854" y="624"/>
                  <a:pt x="2854" y="624"/>
                  <a:pt x="2854" y="624"/>
                </a:cubicBezTo>
                <a:cubicBezTo>
                  <a:pt x="2855" y="623"/>
                  <a:pt x="2855" y="623"/>
                  <a:pt x="2855" y="623"/>
                </a:cubicBezTo>
                <a:cubicBezTo>
                  <a:pt x="2854" y="624"/>
                  <a:pt x="2854" y="624"/>
                  <a:pt x="2854" y="624"/>
                </a:cubicBezTo>
                <a:cubicBezTo>
                  <a:pt x="2855" y="626"/>
                  <a:pt x="2855" y="626"/>
                  <a:pt x="2855" y="626"/>
                </a:cubicBezTo>
                <a:cubicBezTo>
                  <a:pt x="2855" y="627"/>
                  <a:pt x="2855" y="627"/>
                  <a:pt x="2855" y="627"/>
                </a:cubicBezTo>
                <a:cubicBezTo>
                  <a:pt x="2856" y="626"/>
                  <a:pt x="2856" y="626"/>
                  <a:pt x="2856" y="626"/>
                </a:cubicBezTo>
                <a:cubicBezTo>
                  <a:pt x="2857" y="626"/>
                  <a:pt x="2857" y="626"/>
                  <a:pt x="2857" y="626"/>
                </a:cubicBezTo>
                <a:cubicBezTo>
                  <a:pt x="2858" y="626"/>
                  <a:pt x="2858" y="626"/>
                  <a:pt x="2858" y="626"/>
                </a:cubicBezTo>
                <a:cubicBezTo>
                  <a:pt x="2859" y="627"/>
                  <a:pt x="2859" y="627"/>
                  <a:pt x="2859" y="627"/>
                </a:cubicBezTo>
                <a:cubicBezTo>
                  <a:pt x="2860" y="627"/>
                  <a:pt x="2860" y="627"/>
                  <a:pt x="2860" y="627"/>
                </a:cubicBezTo>
                <a:cubicBezTo>
                  <a:pt x="2861" y="627"/>
                  <a:pt x="2861" y="627"/>
                  <a:pt x="2861" y="627"/>
                </a:cubicBezTo>
                <a:cubicBezTo>
                  <a:pt x="2860" y="628"/>
                  <a:pt x="2860" y="628"/>
                  <a:pt x="2860" y="628"/>
                </a:cubicBezTo>
                <a:cubicBezTo>
                  <a:pt x="2859" y="628"/>
                  <a:pt x="2859" y="628"/>
                  <a:pt x="2859" y="628"/>
                </a:cubicBezTo>
                <a:cubicBezTo>
                  <a:pt x="2858" y="629"/>
                  <a:pt x="2858" y="629"/>
                  <a:pt x="2858" y="629"/>
                </a:cubicBezTo>
                <a:cubicBezTo>
                  <a:pt x="2859" y="629"/>
                  <a:pt x="2859" y="629"/>
                  <a:pt x="2859" y="629"/>
                </a:cubicBezTo>
                <a:cubicBezTo>
                  <a:pt x="2861" y="628"/>
                  <a:pt x="2861" y="628"/>
                  <a:pt x="2861" y="628"/>
                </a:cubicBezTo>
                <a:cubicBezTo>
                  <a:pt x="2863" y="627"/>
                  <a:pt x="2863" y="627"/>
                  <a:pt x="2863" y="627"/>
                </a:cubicBezTo>
                <a:cubicBezTo>
                  <a:pt x="2868" y="628"/>
                  <a:pt x="2868" y="628"/>
                  <a:pt x="2868" y="628"/>
                </a:cubicBezTo>
                <a:cubicBezTo>
                  <a:pt x="2871" y="627"/>
                  <a:pt x="2871" y="627"/>
                  <a:pt x="2871" y="627"/>
                </a:cubicBezTo>
                <a:cubicBezTo>
                  <a:pt x="2870" y="627"/>
                  <a:pt x="2870" y="627"/>
                  <a:pt x="2870" y="627"/>
                </a:cubicBezTo>
                <a:cubicBezTo>
                  <a:pt x="2870" y="625"/>
                  <a:pt x="2870" y="625"/>
                  <a:pt x="2870" y="625"/>
                </a:cubicBezTo>
                <a:cubicBezTo>
                  <a:pt x="2870" y="622"/>
                  <a:pt x="2870" y="622"/>
                  <a:pt x="2870" y="622"/>
                </a:cubicBezTo>
                <a:cubicBezTo>
                  <a:pt x="2872" y="621"/>
                  <a:pt x="2872" y="621"/>
                  <a:pt x="2872" y="621"/>
                </a:cubicBezTo>
                <a:cubicBezTo>
                  <a:pt x="2874" y="621"/>
                  <a:pt x="2874" y="621"/>
                  <a:pt x="2874" y="621"/>
                </a:cubicBezTo>
                <a:cubicBezTo>
                  <a:pt x="2874" y="623"/>
                  <a:pt x="2874" y="623"/>
                  <a:pt x="2874" y="623"/>
                </a:cubicBezTo>
                <a:cubicBezTo>
                  <a:pt x="2874" y="625"/>
                  <a:pt x="2874" y="625"/>
                  <a:pt x="2874" y="625"/>
                </a:cubicBezTo>
                <a:cubicBezTo>
                  <a:pt x="2875" y="627"/>
                  <a:pt x="2875" y="627"/>
                  <a:pt x="2875" y="627"/>
                </a:cubicBezTo>
                <a:cubicBezTo>
                  <a:pt x="2876" y="627"/>
                  <a:pt x="2876" y="627"/>
                  <a:pt x="2876" y="627"/>
                </a:cubicBezTo>
                <a:cubicBezTo>
                  <a:pt x="2878" y="625"/>
                  <a:pt x="2878" y="625"/>
                  <a:pt x="2878" y="625"/>
                </a:cubicBezTo>
                <a:cubicBezTo>
                  <a:pt x="2876" y="621"/>
                  <a:pt x="2876" y="621"/>
                  <a:pt x="2876" y="621"/>
                </a:cubicBezTo>
                <a:cubicBezTo>
                  <a:pt x="2877" y="619"/>
                  <a:pt x="2877" y="619"/>
                  <a:pt x="2877" y="619"/>
                </a:cubicBezTo>
                <a:cubicBezTo>
                  <a:pt x="2880" y="617"/>
                  <a:pt x="2880" y="617"/>
                  <a:pt x="2880" y="617"/>
                </a:cubicBezTo>
                <a:cubicBezTo>
                  <a:pt x="2881" y="617"/>
                  <a:pt x="2881" y="617"/>
                  <a:pt x="2881" y="617"/>
                </a:cubicBezTo>
                <a:cubicBezTo>
                  <a:pt x="2881" y="616"/>
                  <a:pt x="2881" y="616"/>
                  <a:pt x="2881" y="616"/>
                </a:cubicBezTo>
                <a:cubicBezTo>
                  <a:pt x="2880" y="615"/>
                  <a:pt x="2880" y="615"/>
                  <a:pt x="2880" y="615"/>
                </a:cubicBezTo>
                <a:cubicBezTo>
                  <a:pt x="2881" y="612"/>
                  <a:pt x="2881" y="612"/>
                  <a:pt x="2881" y="612"/>
                </a:cubicBezTo>
                <a:cubicBezTo>
                  <a:pt x="2882" y="612"/>
                  <a:pt x="2882" y="612"/>
                  <a:pt x="2882" y="612"/>
                </a:cubicBezTo>
                <a:cubicBezTo>
                  <a:pt x="2884" y="612"/>
                  <a:pt x="2884" y="612"/>
                  <a:pt x="2884" y="612"/>
                </a:cubicBezTo>
                <a:cubicBezTo>
                  <a:pt x="2884" y="613"/>
                  <a:pt x="2884" y="613"/>
                  <a:pt x="2884" y="613"/>
                </a:cubicBezTo>
                <a:cubicBezTo>
                  <a:pt x="2884" y="614"/>
                  <a:pt x="2884" y="614"/>
                  <a:pt x="2884" y="614"/>
                </a:cubicBezTo>
                <a:cubicBezTo>
                  <a:pt x="2883" y="617"/>
                  <a:pt x="2883" y="617"/>
                  <a:pt x="2883" y="617"/>
                </a:cubicBezTo>
                <a:cubicBezTo>
                  <a:pt x="2884" y="623"/>
                  <a:pt x="2884" y="623"/>
                  <a:pt x="2884" y="623"/>
                </a:cubicBezTo>
                <a:cubicBezTo>
                  <a:pt x="2885" y="623"/>
                  <a:pt x="2885" y="623"/>
                  <a:pt x="2885" y="623"/>
                </a:cubicBezTo>
                <a:cubicBezTo>
                  <a:pt x="2886" y="622"/>
                  <a:pt x="2886" y="622"/>
                  <a:pt x="2886" y="622"/>
                </a:cubicBezTo>
                <a:cubicBezTo>
                  <a:pt x="2887" y="621"/>
                  <a:pt x="2887" y="621"/>
                  <a:pt x="2887" y="621"/>
                </a:cubicBezTo>
                <a:cubicBezTo>
                  <a:pt x="2888" y="620"/>
                  <a:pt x="2888" y="620"/>
                  <a:pt x="2888" y="620"/>
                </a:cubicBezTo>
                <a:cubicBezTo>
                  <a:pt x="2890" y="618"/>
                  <a:pt x="2890" y="618"/>
                  <a:pt x="2890" y="618"/>
                </a:cubicBezTo>
                <a:cubicBezTo>
                  <a:pt x="2891" y="616"/>
                  <a:pt x="2891" y="616"/>
                  <a:pt x="2891" y="616"/>
                </a:cubicBezTo>
                <a:cubicBezTo>
                  <a:pt x="2891" y="614"/>
                  <a:pt x="2891" y="614"/>
                  <a:pt x="2891" y="614"/>
                </a:cubicBezTo>
                <a:cubicBezTo>
                  <a:pt x="2893" y="612"/>
                  <a:pt x="2893" y="612"/>
                  <a:pt x="2893" y="612"/>
                </a:cubicBezTo>
                <a:cubicBezTo>
                  <a:pt x="2892" y="611"/>
                  <a:pt x="2892" y="611"/>
                  <a:pt x="2892" y="611"/>
                </a:cubicBezTo>
                <a:cubicBezTo>
                  <a:pt x="2891" y="610"/>
                  <a:pt x="2891" y="610"/>
                  <a:pt x="2891" y="610"/>
                </a:cubicBezTo>
                <a:cubicBezTo>
                  <a:pt x="2889" y="607"/>
                  <a:pt x="2889" y="607"/>
                  <a:pt x="2889" y="607"/>
                </a:cubicBezTo>
                <a:cubicBezTo>
                  <a:pt x="2888" y="604"/>
                  <a:pt x="2888" y="604"/>
                  <a:pt x="2888" y="604"/>
                </a:cubicBezTo>
                <a:cubicBezTo>
                  <a:pt x="2888" y="599"/>
                  <a:pt x="2888" y="599"/>
                  <a:pt x="2888" y="599"/>
                </a:cubicBezTo>
                <a:cubicBezTo>
                  <a:pt x="2888" y="594"/>
                  <a:pt x="2888" y="594"/>
                  <a:pt x="2888" y="594"/>
                </a:cubicBezTo>
                <a:cubicBezTo>
                  <a:pt x="2888" y="590"/>
                  <a:pt x="2888" y="590"/>
                  <a:pt x="2888" y="590"/>
                </a:cubicBezTo>
                <a:cubicBezTo>
                  <a:pt x="2887" y="583"/>
                  <a:pt x="2887" y="583"/>
                  <a:pt x="2887" y="583"/>
                </a:cubicBezTo>
                <a:cubicBezTo>
                  <a:pt x="2884" y="579"/>
                  <a:pt x="2884" y="579"/>
                  <a:pt x="2884" y="579"/>
                </a:cubicBezTo>
                <a:cubicBezTo>
                  <a:pt x="2884" y="577"/>
                  <a:pt x="2884" y="577"/>
                  <a:pt x="2884" y="577"/>
                </a:cubicBezTo>
                <a:cubicBezTo>
                  <a:pt x="2885" y="573"/>
                  <a:pt x="2885" y="573"/>
                  <a:pt x="2885" y="573"/>
                </a:cubicBezTo>
                <a:cubicBezTo>
                  <a:pt x="2888" y="572"/>
                  <a:pt x="2888" y="572"/>
                  <a:pt x="2888" y="572"/>
                </a:cubicBezTo>
                <a:cubicBezTo>
                  <a:pt x="2889" y="572"/>
                  <a:pt x="2889" y="572"/>
                  <a:pt x="2889" y="572"/>
                </a:cubicBezTo>
                <a:cubicBezTo>
                  <a:pt x="2890" y="573"/>
                  <a:pt x="2890" y="573"/>
                  <a:pt x="2890" y="573"/>
                </a:cubicBezTo>
                <a:cubicBezTo>
                  <a:pt x="2891" y="573"/>
                  <a:pt x="2891" y="573"/>
                  <a:pt x="2891" y="573"/>
                </a:cubicBezTo>
                <a:cubicBezTo>
                  <a:pt x="2890" y="570"/>
                  <a:pt x="2890" y="570"/>
                  <a:pt x="2890" y="570"/>
                </a:cubicBezTo>
                <a:cubicBezTo>
                  <a:pt x="2890" y="569"/>
                  <a:pt x="2890" y="569"/>
                  <a:pt x="2890" y="569"/>
                </a:cubicBezTo>
                <a:cubicBezTo>
                  <a:pt x="2889" y="568"/>
                  <a:pt x="2889" y="568"/>
                  <a:pt x="2889" y="568"/>
                </a:cubicBezTo>
                <a:cubicBezTo>
                  <a:pt x="2889" y="566"/>
                  <a:pt x="2889" y="566"/>
                  <a:pt x="2889" y="566"/>
                </a:cubicBezTo>
                <a:cubicBezTo>
                  <a:pt x="2889" y="565"/>
                  <a:pt x="2889" y="565"/>
                  <a:pt x="2889" y="565"/>
                </a:cubicBezTo>
                <a:cubicBezTo>
                  <a:pt x="2889" y="563"/>
                  <a:pt x="2889" y="563"/>
                  <a:pt x="2889" y="563"/>
                </a:cubicBezTo>
                <a:cubicBezTo>
                  <a:pt x="2889" y="562"/>
                  <a:pt x="2889" y="562"/>
                  <a:pt x="2889" y="562"/>
                </a:cubicBezTo>
                <a:cubicBezTo>
                  <a:pt x="2889" y="561"/>
                  <a:pt x="2889" y="561"/>
                  <a:pt x="2889" y="561"/>
                </a:cubicBezTo>
                <a:cubicBezTo>
                  <a:pt x="2890" y="560"/>
                  <a:pt x="2890" y="560"/>
                  <a:pt x="2890" y="560"/>
                </a:cubicBezTo>
                <a:cubicBezTo>
                  <a:pt x="2889" y="559"/>
                  <a:pt x="2889" y="559"/>
                  <a:pt x="2889" y="559"/>
                </a:cubicBezTo>
                <a:cubicBezTo>
                  <a:pt x="2889" y="557"/>
                  <a:pt x="2889" y="557"/>
                  <a:pt x="2889" y="557"/>
                </a:cubicBezTo>
                <a:cubicBezTo>
                  <a:pt x="2889" y="555"/>
                  <a:pt x="2889" y="555"/>
                  <a:pt x="2889" y="555"/>
                </a:cubicBezTo>
                <a:cubicBezTo>
                  <a:pt x="2889" y="554"/>
                  <a:pt x="2889" y="554"/>
                  <a:pt x="2889" y="554"/>
                </a:cubicBezTo>
                <a:cubicBezTo>
                  <a:pt x="2888" y="550"/>
                  <a:pt x="2888" y="550"/>
                  <a:pt x="2888" y="550"/>
                </a:cubicBezTo>
                <a:cubicBezTo>
                  <a:pt x="2886" y="547"/>
                  <a:pt x="2886" y="547"/>
                  <a:pt x="2886" y="547"/>
                </a:cubicBezTo>
                <a:cubicBezTo>
                  <a:pt x="2885" y="547"/>
                  <a:pt x="2885" y="547"/>
                  <a:pt x="2885" y="547"/>
                </a:cubicBezTo>
                <a:cubicBezTo>
                  <a:pt x="2884" y="546"/>
                  <a:pt x="2884" y="546"/>
                  <a:pt x="2884" y="546"/>
                </a:cubicBezTo>
                <a:cubicBezTo>
                  <a:pt x="2884" y="542"/>
                  <a:pt x="2884" y="542"/>
                  <a:pt x="2884" y="542"/>
                </a:cubicBezTo>
                <a:cubicBezTo>
                  <a:pt x="2882" y="540"/>
                  <a:pt x="2882" y="540"/>
                  <a:pt x="2882" y="540"/>
                </a:cubicBezTo>
                <a:cubicBezTo>
                  <a:pt x="2878" y="535"/>
                  <a:pt x="2878" y="535"/>
                  <a:pt x="2878" y="535"/>
                </a:cubicBezTo>
                <a:cubicBezTo>
                  <a:pt x="2877" y="533"/>
                  <a:pt x="2877" y="533"/>
                  <a:pt x="2877" y="533"/>
                </a:cubicBezTo>
                <a:cubicBezTo>
                  <a:pt x="2876" y="530"/>
                  <a:pt x="2876" y="530"/>
                  <a:pt x="2876" y="530"/>
                </a:cubicBezTo>
                <a:cubicBezTo>
                  <a:pt x="2876" y="527"/>
                  <a:pt x="2876" y="527"/>
                  <a:pt x="2876" y="527"/>
                </a:cubicBezTo>
                <a:cubicBezTo>
                  <a:pt x="2876" y="526"/>
                  <a:pt x="2876" y="526"/>
                  <a:pt x="2876" y="526"/>
                </a:cubicBezTo>
                <a:cubicBezTo>
                  <a:pt x="2875" y="527"/>
                  <a:pt x="2875" y="527"/>
                  <a:pt x="2875" y="527"/>
                </a:cubicBezTo>
                <a:cubicBezTo>
                  <a:pt x="2874" y="527"/>
                  <a:pt x="2874" y="527"/>
                  <a:pt x="2874" y="527"/>
                </a:cubicBezTo>
                <a:cubicBezTo>
                  <a:pt x="2873" y="526"/>
                  <a:pt x="2873" y="526"/>
                  <a:pt x="2873" y="526"/>
                </a:cubicBezTo>
                <a:cubicBezTo>
                  <a:pt x="2871" y="526"/>
                  <a:pt x="2871" y="526"/>
                  <a:pt x="2871" y="526"/>
                </a:cubicBezTo>
                <a:cubicBezTo>
                  <a:pt x="2870" y="525"/>
                  <a:pt x="2870" y="525"/>
                  <a:pt x="2870" y="525"/>
                </a:cubicBezTo>
                <a:cubicBezTo>
                  <a:pt x="2871" y="526"/>
                  <a:pt x="2871" y="526"/>
                  <a:pt x="2871" y="526"/>
                </a:cubicBezTo>
                <a:cubicBezTo>
                  <a:pt x="2870" y="529"/>
                  <a:pt x="2870" y="529"/>
                  <a:pt x="2870" y="529"/>
                </a:cubicBezTo>
                <a:cubicBezTo>
                  <a:pt x="2870" y="530"/>
                  <a:pt x="2870" y="530"/>
                  <a:pt x="2870" y="530"/>
                </a:cubicBezTo>
                <a:cubicBezTo>
                  <a:pt x="2871" y="531"/>
                  <a:pt x="2871" y="531"/>
                  <a:pt x="2871" y="531"/>
                </a:cubicBezTo>
                <a:cubicBezTo>
                  <a:pt x="2872" y="531"/>
                  <a:pt x="2872" y="531"/>
                  <a:pt x="2872" y="531"/>
                </a:cubicBezTo>
                <a:cubicBezTo>
                  <a:pt x="2874" y="529"/>
                  <a:pt x="2874" y="529"/>
                  <a:pt x="2874" y="529"/>
                </a:cubicBezTo>
                <a:cubicBezTo>
                  <a:pt x="2875" y="531"/>
                  <a:pt x="2875" y="531"/>
                  <a:pt x="2875" y="531"/>
                </a:cubicBezTo>
                <a:cubicBezTo>
                  <a:pt x="2874" y="533"/>
                  <a:pt x="2874" y="533"/>
                  <a:pt x="2874" y="533"/>
                </a:cubicBezTo>
                <a:cubicBezTo>
                  <a:pt x="2873" y="534"/>
                  <a:pt x="2873" y="534"/>
                  <a:pt x="2873" y="534"/>
                </a:cubicBezTo>
                <a:cubicBezTo>
                  <a:pt x="2872" y="533"/>
                  <a:pt x="2872" y="533"/>
                  <a:pt x="2872" y="533"/>
                </a:cubicBezTo>
                <a:cubicBezTo>
                  <a:pt x="2871" y="533"/>
                  <a:pt x="2871" y="533"/>
                  <a:pt x="2871" y="533"/>
                </a:cubicBezTo>
                <a:cubicBezTo>
                  <a:pt x="2872" y="535"/>
                  <a:pt x="2872" y="535"/>
                  <a:pt x="2872" y="535"/>
                </a:cubicBezTo>
                <a:cubicBezTo>
                  <a:pt x="2871" y="536"/>
                  <a:pt x="2871" y="536"/>
                  <a:pt x="2871" y="536"/>
                </a:cubicBezTo>
                <a:cubicBezTo>
                  <a:pt x="2869" y="536"/>
                  <a:pt x="2869" y="536"/>
                  <a:pt x="2869" y="536"/>
                </a:cubicBezTo>
                <a:cubicBezTo>
                  <a:pt x="2869" y="534"/>
                  <a:pt x="2869" y="534"/>
                  <a:pt x="2869" y="534"/>
                </a:cubicBezTo>
                <a:cubicBezTo>
                  <a:pt x="2869" y="532"/>
                  <a:pt x="2869" y="532"/>
                  <a:pt x="2869" y="532"/>
                </a:cubicBezTo>
                <a:cubicBezTo>
                  <a:pt x="2868" y="531"/>
                  <a:pt x="2868" y="531"/>
                  <a:pt x="2868" y="531"/>
                </a:cubicBezTo>
                <a:cubicBezTo>
                  <a:pt x="2867" y="531"/>
                  <a:pt x="2867" y="531"/>
                  <a:pt x="2867" y="531"/>
                </a:cubicBezTo>
                <a:cubicBezTo>
                  <a:pt x="2866" y="531"/>
                  <a:pt x="2866" y="531"/>
                  <a:pt x="2866" y="531"/>
                </a:cubicBezTo>
                <a:cubicBezTo>
                  <a:pt x="2865" y="532"/>
                  <a:pt x="2865" y="532"/>
                  <a:pt x="2865" y="532"/>
                </a:cubicBezTo>
                <a:cubicBezTo>
                  <a:pt x="2866" y="535"/>
                  <a:pt x="2866" y="535"/>
                  <a:pt x="2866" y="535"/>
                </a:cubicBezTo>
                <a:cubicBezTo>
                  <a:pt x="2866" y="537"/>
                  <a:pt x="2866" y="537"/>
                  <a:pt x="2866" y="537"/>
                </a:cubicBezTo>
                <a:cubicBezTo>
                  <a:pt x="2865" y="538"/>
                  <a:pt x="2865" y="538"/>
                  <a:pt x="2865" y="538"/>
                </a:cubicBezTo>
                <a:cubicBezTo>
                  <a:pt x="2864" y="539"/>
                  <a:pt x="2864" y="539"/>
                  <a:pt x="2864" y="539"/>
                </a:cubicBezTo>
                <a:cubicBezTo>
                  <a:pt x="2864" y="541"/>
                  <a:pt x="2864" y="541"/>
                  <a:pt x="2864" y="541"/>
                </a:cubicBezTo>
                <a:cubicBezTo>
                  <a:pt x="2866" y="543"/>
                  <a:pt x="2866" y="543"/>
                  <a:pt x="2866" y="543"/>
                </a:cubicBezTo>
                <a:cubicBezTo>
                  <a:pt x="2867" y="545"/>
                  <a:pt x="2867" y="545"/>
                  <a:pt x="2867" y="545"/>
                </a:cubicBezTo>
                <a:cubicBezTo>
                  <a:pt x="2866" y="547"/>
                  <a:pt x="2866" y="547"/>
                  <a:pt x="2866" y="547"/>
                </a:cubicBezTo>
                <a:cubicBezTo>
                  <a:pt x="2865" y="548"/>
                  <a:pt x="2865" y="548"/>
                  <a:pt x="2865" y="548"/>
                </a:cubicBezTo>
                <a:cubicBezTo>
                  <a:pt x="2863" y="548"/>
                  <a:pt x="2863" y="548"/>
                  <a:pt x="2863" y="548"/>
                </a:cubicBezTo>
                <a:cubicBezTo>
                  <a:pt x="2863" y="549"/>
                  <a:pt x="2863" y="549"/>
                  <a:pt x="2863" y="549"/>
                </a:cubicBezTo>
                <a:cubicBezTo>
                  <a:pt x="2864" y="551"/>
                  <a:pt x="2864" y="551"/>
                  <a:pt x="2864" y="551"/>
                </a:cubicBezTo>
                <a:cubicBezTo>
                  <a:pt x="2866" y="551"/>
                  <a:pt x="2866" y="551"/>
                  <a:pt x="2866" y="551"/>
                </a:cubicBezTo>
                <a:cubicBezTo>
                  <a:pt x="2867" y="549"/>
                  <a:pt x="2867" y="549"/>
                  <a:pt x="2867" y="549"/>
                </a:cubicBezTo>
                <a:cubicBezTo>
                  <a:pt x="2869" y="554"/>
                  <a:pt x="2869" y="554"/>
                  <a:pt x="2869" y="554"/>
                </a:cubicBezTo>
                <a:cubicBezTo>
                  <a:pt x="2870" y="558"/>
                  <a:pt x="2870" y="558"/>
                  <a:pt x="2870" y="558"/>
                </a:cubicBezTo>
                <a:cubicBezTo>
                  <a:pt x="2870" y="561"/>
                  <a:pt x="2870" y="561"/>
                  <a:pt x="2870" y="561"/>
                </a:cubicBezTo>
                <a:cubicBezTo>
                  <a:pt x="2870" y="566"/>
                  <a:pt x="2870" y="566"/>
                  <a:pt x="2870" y="566"/>
                </a:cubicBezTo>
                <a:cubicBezTo>
                  <a:pt x="2868" y="573"/>
                  <a:pt x="2868" y="573"/>
                  <a:pt x="2868" y="573"/>
                </a:cubicBezTo>
                <a:cubicBezTo>
                  <a:pt x="2869" y="576"/>
                  <a:pt x="2869" y="576"/>
                  <a:pt x="2869" y="576"/>
                </a:cubicBezTo>
                <a:cubicBezTo>
                  <a:pt x="2868" y="579"/>
                  <a:pt x="2868" y="579"/>
                  <a:pt x="2868" y="579"/>
                </a:cubicBezTo>
                <a:cubicBezTo>
                  <a:pt x="2865" y="580"/>
                  <a:pt x="2865" y="580"/>
                  <a:pt x="2865" y="580"/>
                </a:cubicBezTo>
                <a:cubicBezTo>
                  <a:pt x="2864" y="583"/>
                  <a:pt x="2864" y="583"/>
                  <a:pt x="2864" y="583"/>
                </a:cubicBezTo>
                <a:cubicBezTo>
                  <a:pt x="2864" y="586"/>
                  <a:pt x="2864" y="586"/>
                  <a:pt x="2864" y="586"/>
                </a:cubicBezTo>
                <a:cubicBezTo>
                  <a:pt x="2863" y="588"/>
                  <a:pt x="2863" y="588"/>
                  <a:pt x="2863" y="588"/>
                </a:cubicBezTo>
                <a:cubicBezTo>
                  <a:pt x="2863" y="590"/>
                  <a:pt x="2863" y="590"/>
                  <a:pt x="2863" y="590"/>
                </a:cubicBezTo>
                <a:cubicBezTo>
                  <a:pt x="2860" y="593"/>
                  <a:pt x="2860" y="593"/>
                  <a:pt x="2860" y="593"/>
                </a:cubicBezTo>
                <a:cubicBezTo>
                  <a:pt x="2855" y="596"/>
                  <a:pt x="2855" y="596"/>
                  <a:pt x="2855" y="596"/>
                </a:cubicBezTo>
                <a:cubicBezTo>
                  <a:pt x="2854" y="596"/>
                  <a:pt x="2854" y="596"/>
                  <a:pt x="2854" y="596"/>
                </a:cubicBezTo>
                <a:cubicBezTo>
                  <a:pt x="2853" y="598"/>
                  <a:pt x="2853" y="598"/>
                  <a:pt x="2853" y="598"/>
                </a:cubicBezTo>
                <a:cubicBezTo>
                  <a:pt x="2850" y="597"/>
                  <a:pt x="2850" y="597"/>
                  <a:pt x="2850" y="597"/>
                </a:cubicBezTo>
                <a:cubicBezTo>
                  <a:pt x="2848" y="594"/>
                  <a:pt x="2848" y="594"/>
                  <a:pt x="2848" y="594"/>
                </a:cubicBezTo>
                <a:cubicBezTo>
                  <a:pt x="2848" y="593"/>
                  <a:pt x="2848" y="593"/>
                  <a:pt x="2848" y="593"/>
                </a:cubicBezTo>
                <a:cubicBezTo>
                  <a:pt x="2849" y="592"/>
                  <a:pt x="2849" y="592"/>
                  <a:pt x="2849" y="592"/>
                </a:cubicBezTo>
                <a:cubicBezTo>
                  <a:pt x="2850" y="590"/>
                  <a:pt x="2850" y="590"/>
                  <a:pt x="2850" y="590"/>
                </a:cubicBezTo>
                <a:cubicBezTo>
                  <a:pt x="2850" y="589"/>
                  <a:pt x="2850" y="589"/>
                  <a:pt x="2850" y="589"/>
                </a:cubicBezTo>
                <a:cubicBezTo>
                  <a:pt x="2851" y="588"/>
                  <a:pt x="2851" y="588"/>
                  <a:pt x="2851" y="588"/>
                </a:cubicBezTo>
                <a:cubicBezTo>
                  <a:pt x="2851" y="587"/>
                  <a:pt x="2851" y="587"/>
                  <a:pt x="2851" y="587"/>
                </a:cubicBezTo>
                <a:cubicBezTo>
                  <a:pt x="2849" y="588"/>
                  <a:pt x="2849" y="588"/>
                  <a:pt x="2849" y="588"/>
                </a:cubicBezTo>
                <a:cubicBezTo>
                  <a:pt x="2847" y="590"/>
                  <a:pt x="2847" y="590"/>
                  <a:pt x="2847" y="590"/>
                </a:cubicBezTo>
                <a:cubicBezTo>
                  <a:pt x="2845" y="590"/>
                  <a:pt x="2845" y="590"/>
                  <a:pt x="2845" y="590"/>
                </a:cubicBezTo>
                <a:cubicBezTo>
                  <a:pt x="2844" y="592"/>
                  <a:pt x="2844" y="592"/>
                  <a:pt x="2844" y="592"/>
                </a:cubicBezTo>
                <a:cubicBezTo>
                  <a:pt x="2846" y="595"/>
                  <a:pt x="2846" y="595"/>
                  <a:pt x="2846" y="595"/>
                </a:cubicBezTo>
                <a:cubicBezTo>
                  <a:pt x="2846" y="600"/>
                  <a:pt x="2846" y="600"/>
                  <a:pt x="2846" y="600"/>
                </a:cubicBezTo>
                <a:cubicBezTo>
                  <a:pt x="2846" y="602"/>
                  <a:pt x="2846" y="602"/>
                  <a:pt x="2846" y="602"/>
                </a:cubicBezTo>
                <a:cubicBezTo>
                  <a:pt x="2843" y="604"/>
                  <a:pt x="2843" y="604"/>
                  <a:pt x="2843" y="604"/>
                </a:cubicBezTo>
                <a:cubicBezTo>
                  <a:pt x="2843" y="606"/>
                  <a:pt x="2843" y="606"/>
                  <a:pt x="2843" y="606"/>
                </a:cubicBezTo>
                <a:cubicBezTo>
                  <a:pt x="2843" y="606"/>
                  <a:pt x="2843" y="606"/>
                  <a:pt x="2843" y="606"/>
                </a:cubicBezTo>
                <a:cubicBezTo>
                  <a:pt x="2842" y="610"/>
                  <a:pt x="2842" y="610"/>
                  <a:pt x="2842" y="610"/>
                </a:cubicBezTo>
                <a:cubicBezTo>
                  <a:pt x="2843" y="611"/>
                  <a:pt x="2843" y="611"/>
                  <a:pt x="2843" y="611"/>
                </a:cubicBezTo>
                <a:cubicBezTo>
                  <a:pt x="2843" y="612"/>
                  <a:pt x="2843" y="612"/>
                  <a:pt x="2843" y="612"/>
                </a:cubicBezTo>
                <a:cubicBezTo>
                  <a:pt x="2843" y="613"/>
                  <a:pt x="2843" y="613"/>
                  <a:pt x="2843" y="613"/>
                </a:cubicBezTo>
                <a:cubicBezTo>
                  <a:pt x="2843" y="614"/>
                  <a:pt x="2843" y="614"/>
                  <a:pt x="2843" y="614"/>
                </a:cubicBezTo>
                <a:cubicBezTo>
                  <a:pt x="2842" y="615"/>
                  <a:pt x="2842" y="615"/>
                  <a:pt x="2842" y="615"/>
                </a:cubicBezTo>
                <a:cubicBezTo>
                  <a:pt x="2842" y="615"/>
                  <a:pt x="2842" y="615"/>
                  <a:pt x="2842" y="615"/>
                </a:cubicBezTo>
                <a:cubicBezTo>
                  <a:pt x="2842" y="616"/>
                  <a:pt x="2842" y="616"/>
                  <a:pt x="2842" y="616"/>
                </a:cubicBezTo>
                <a:cubicBezTo>
                  <a:pt x="2841" y="617"/>
                  <a:pt x="2841" y="617"/>
                  <a:pt x="2841" y="617"/>
                </a:cubicBezTo>
                <a:cubicBezTo>
                  <a:pt x="2840" y="616"/>
                  <a:pt x="2840" y="616"/>
                  <a:pt x="2840" y="616"/>
                </a:cubicBezTo>
                <a:cubicBezTo>
                  <a:pt x="2838" y="617"/>
                  <a:pt x="2838" y="617"/>
                  <a:pt x="2838" y="617"/>
                </a:cubicBezTo>
                <a:cubicBezTo>
                  <a:pt x="2837" y="616"/>
                  <a:pt x="2837" y="616"/>
                  <a:pt x="2837" y="616"/>
                </a:cubicBezTo>
                <a:cubicBezTo>
                  <a:pt x="2837" y="614"/>
                  <a:pt x="2837" y="614"/>
                  <a:pt x="2837" y="614"/>
                </a:cubicBezTo>
                <a:cubicBezTo>
                  <a:pt x="2836" y="614"/>
                  <a:pt x="2836" y="614"/>
                  <a:pt x="2836" y="614"/>
                </a:cubicBezTo>
                <a:cubicBezTo>
                  <a:pt x="2835" y="615"/>
                  <a:pt x="2835" y="615"/>
                  <a:pt x="2835" y="615"/>
                </a:cubicBezTo>
                <a:cubicBezTo>
                  <a:pt x="2834" y="615"/>
                  <a:pt x="2834" y="615"/>
                  <a:pt x="2834" y="615"/>
                </a:cubicBezTo>
                <a:cubicBezTo>
                  <a:pt x="2833" y="615"/>
                  <a:pt x="2833" y="615"/>
                  <a:pt x="2833" y="615"/>
                </a:cubicBezTo>
                <a:cubicBezTo>
                  <a:pt x="2829" y="616"/>
                  <a:pt x="2829" y="616"/>
                  <a:pt x="2829" y="616"/>
                </a:cubicBezTo>
                <a:cubicBezTo>
                  <a:pt x="2826" y="617"/>
                  <a:pt x="2826" y="617"/>
                  <a:pt x="2826" y="617"/>
                </a:cubicBezTo>
                <a:cubicBezTo>
                  <a:pt x="2824" y="618"/>
                  <a:pt x="2824" y="618"/>
                  <a:pt x="2824" y="618"/>
                </a:cubicBezTo>
                <a:cubicBezTo>
                  <a:pt x="2822" y="618"/>
                  <a:pt x="2822" y="618"/>
                  <a:pt x="2822" y="618"/>
                </a:cubicBezTo>
                <a:cubicBezTo>
                  <a:pt x="2819" y="619"/>
                  <a:pt x="2819" y="619"/>
                  <a:pt x="2819" y="619"/>
                </a:cubicBezTo>
                <a:cubicBezTo>
                  <a:pt x="2818" y="618"/>
                  <a:pt x="2818" y="618"/>
                  <a:pt x="2818" y="618"/>
                </a:cubicBezTo>
                <a:cubicBezTo>
                  <a:pt x="2816" y="618"/>
                  <a:pt x="2816" y="618"/>
                  <a:pt x="2816" y="618"/>
                </a:cubicBezTo>
                <a:cubicBezTo>
                  <a:pt x="2812" y="621"/>
                  <a:pt x="2812" y="621"/>
                  <a:pt x="2812" y="621"/>
                </a:cubicBezTo>
                <a:cubicBezTo>
                  <a:pt x="2812" y="624"/>
                  <a:pt x="2812" y="624"/>
                  <a:pt x="2812" y="624"/>
                </a:cubicBezTo>
                <a:cubicBezTo>
                  <a:pt x="2810" y="624"/>
                  <a:pt x="2810" y="624"/>
                  <a:pt x="2810" y="624"/>
                </a:cubicBezTo>
                <a:cubicBezTo>
                  <a:pt x="2810" y="626"/>
                  <a:pt x="2810" y="626"/>
                  <a:pt x="2810" y="626"/>
                </a:cubicBezTo>
                <a:cubicBezTo>
                  <a:pt x="2807" y="629"/>
                  <a:pt x="2807" y="629"/>
                  <a:pt x="2807" y="629"/>
                </a:cubicBezTo>
                <a:cubicBezTo>
                  <a:pt x="2805" y="630"/>
                  <a:pt x="2805" y="630"/>
                  <a:pt x="2805" y="630"/>
                </a:cubicBezTo>
                <a:cubicBezTo>
                  <a:pt x="2804" y="632"/>
                  <a:pt x="2804" y="632"/>
                  <a:pt x="2804" y="632"/>
                </a:cubicBezTo>
                <a:cubicBezTo>
                  <a:pt x="2803" y="633"/>
                  <a:pt x="2803" y="633"/>
                  <a:pt x="2803" y="633"/>
                </a:cubicBezTo>
                <a:cubicBezTo>
                  <a:pt x="2802" y="635"/>
                  <a:pt x="2802" y="635"/>
                  <a:pt x="2802" y="635"/>
                </a:cubicBezTo>
                <a:cubicBezTo>
                  <a:pt x="2799" y="635"/>
                  <a:pt x="2799" y="635"/>
                  <a:pt x="2799" y="635"/>
                </a:cubicBezTo>
                <a:cubicBezTo>
                  <a:pt x="2798" y="637"/>
                  <a:pt x="2798" y="637"/>
                  <a:pt x="2798" y="637"/>
                </a:cubicBezTo>
                <a:cubicBezTo>
                  <a:pt x="2799" y="640"/>
                  <a:pt x="2799" y="640"/>
                  <a:pt x="2799" y="640"/>
                </a:cubicBezTo>
                <a:cubicBezTo>
                  <a:pt x="2800" y="640"/>
                  <a:pt x="2800" y="640"/>
                  <a:pt x="2800" y="640"/>
                </a:cubicBezTo>
                <a:cubicBezTo>
                  <a:pt x="2800" y="641"/>
                  <a:pt x="2800" y="641"/>
                  <a:pt x="2800" y="641"/>
                </a:cubicBezTo>
                <a:cubicBezTo>
                  <a:pt x="2800" y="642"/>
                  <a:pt x="2800" y="642"/>
                  <a:pt x="2800" y="642"/>
                </a:cubicBezTo>
                <a:lnTo>
                  <a:pt x="2798" y="643"/>
                </a:lnTo>
                <a:close/>
                <a:moveTo>
                  <a:pt x="2953" y="420"/>
                </a:moveTo>
                <a:cubicBezTo>
                  <a:pt x="2952" y="419"/>
                  <a:pt x="2952" y="419"/>
                  <a:pt x="2952" y="419"/>
                </a:cubicBezTo>
                <a:cubicBezTo>
                  <a:pt x="2952" y="420"/>
                  <a:pt x="2952" y="420"/>
                  <a:pt x="2952" y="420"/>
                </a:cubicBezTo>
                <a:cubicBezTo>
                  <a:pt x="2952" y="420"/>
                  <a:pt x="2952" y="420"/>
                  <a:pt x="2952" y="420"/>
                </a:cubicBezTo>
                <a:cubicBezTo>
                  <a:pt x="2953" y="421"/>
                  <a:pt x="2953" y="421"/>
                  <a:pt x="2953" y="421"/>
                </a:cubicBezTo>
                <a:lnTo>
                  <a:pt x="2953" y="420"/>
                </a:lnTo>
                <a:close/>
                <a:moveTo>
                  <a:pt x="2960" y="363"/>
                </a:moveTo>
                <a:cubicBezTo>
                  <a:pt x="2959" y="365"/>
                  <a:pt x="2959" y="365"/>
                  <a:pt x="2959" y="365"/>
                </a:cubicBezTo>
                <a:cubicBezTo>
                  <a:pt x="2958" y="365"/>
                  <a:pt x="2958" y="365"/>
                  <a:pt x="2958" y="365"/>
                </a:cubicBezTo>
                <a:cubicBezTo>
                  <a:pt x="2958" y="366"/>
                  <a:pt x="2958" y="366"/>
                  <a:pt x="2958" y="366"/>
                </a:cubicBezTo>
                <a:cubicBezTo>
                  <a:pt x="2959" y="367"/>
                  <a:pt x="2959" y="367"/>
                  <a:pt x="2959" y="367"/>
                </a:cubicBezTo>
                <a:cubicBezTo>
                  <a:pt x="2959" y="369"/>
                  <a:pt x="2959" y="369"/>
                  <a:pt x="2959" y="369"/>
                </a:cubicBezTo>
                <a:cubicBezTo>
                  <a:pt x="2958" y="370"/>
                  <a:pt x="2958" y="370"/>
                  <a:pt x="2958" y="370"/>
                </a:cubicBezTo>
                <a:cubicBezTo>
                  <a:pt x="2959" y="370"/>
                  <a:pt x="2959" y="370"/>
                  <a:pt x="2959" y="370"/>
                </a:cubicBezTo>
                <a:cubicBezTo>
                  <a:pt x="2961" y="370"/>
                  <a:pt x="2961" y="370"/>
                  <a:pt x="2961" y="370"/>
                </a:cubicBezTo>
                <a:cubicBezTo>
                  <a:pt x="2961" y="371"/>
                  <a:pt x="2961" y="371"/>
                  <a:pt x="2961" y="371"/>
                </a:cubicBezTo>
                <a:cubicBezTo>
                  <a:pt x="2962" y="371"/>
                  <a:pt x="2962" y="371"/>
                  <a:pt x="2962" y="371"/>
                </a:cubicBezTo>
                <a:cubicBezTo>
                  <a:pt x="2962" y="369"/>
                  <a:pt x="2962" y="369"/>
                  <a:pt x="2962" y="369"/>
                </a:cubicBezTo>
                <a:cubicBezTo>
                  <a:pt x="2962" y="367"/>
                  <a:pt x="2962" y="367"/>
                  <a:pt x="2962" y="367"/>
                </a:cubicBezTo>
                <a:cubicBezTo>
                  <a:pt x="2964" y="366"/>
                  <a:pt x="2964" y="366"/>
                  <a:pt x="2964" y="366"/>
                </a:cubicBezTo>
                <a:cubicBezTo>
                  <a:pt x="2965" y="365"/>
                  <a:pt x="2965" y="365"/>
                  <a:pt x="2965" y="365"/>
                </a:cubicBezTo>
                <a:cubicBezTo>
                  <a:pt x="2965" y="363"/>
                  <a:pt x="2965" y="363"/>
                  <a:pt x="2965" y="363"/>
                </a:cubicBezTo>
                <a:cubicBezTo>
                  <a:pt x="2965" y="361"/>
                  <a:pt x="2965" y="361"/>
                  <a:pt x="2965" y="361"/>
                </a:cubicBezTo>
                <a:cubicBezTo>
                  <a:pt x="2966" y="360"/>
                  <a:pt x="2966" y="360"/>
                  <a:pt x="2966" y="360"/>
                </a:cubicBezTo>
                <a:cubicBezTo>
                  <a:pt x="2966" y="358"/>
                  <a:pt x="2966" y="358"/>
                  <a:pt x="2966" y="358"/>
                </a:cubicBezTo>
                <a:cubicBezTo>
                  <a:pt x="2963" y="355"/>
                  <a:pt x="2963" y="355"/>
                  <a:pt x="2963" y="355"/>
                </a:cubicBezTo>
                <a:cubicBezTo>
                  <a:pt x="2962" y="357"/>
                  <a:pt x="2962" y="357"/>
                  <a:pt x="2962" y="357"/>
                </a:cubicBezTo>
                <a:cubicBezTo>
                  <a:pt x="2962" y="360"/>
                  <a:pt x="2962" y="360"/>
                  <a:pt x="2962" y="360"/>
                </a:cubicBezTo>
                <a:cubicBezTo>
                  <a:pt x="2962" y="362"/>
                  <a:pt x="2962" y="362"/>
                  <a:pt x="2962" y="362"/>
                </a:cubicBezTo>
                <a:lnTo>
                  <a:pt x="2960" y="363"/>
                </a:lnTo>
                <a:close/>
                <a:moveTo>
                  <a:pt x="2951" y="427"/>
                </a:moveTo>
                <a:cubicBezTo>
                  <a:pt x="2951" y="424"/>
                  <a:pt x="2951" y="424"/>
                  <a:pt x="2951" y="424"/>
                </a:cubicBezTo>
                <a:cubicBezTo>
                  <a:pt x="2951" y="424"/>
                  <a:pt x="2951" y="424"/>
                  <a:pt x="2951" y="424"/>
                </a:cubicBezTo>
                <a:cubicBezTo>
                  <a:pt x="2950" y="425"/>
                  <a:pt x="2950" y="425"/>
                  <a:pt x="2950" y="425"/>
                </a:cubicBezTo>
                <a:cubicBezTo>
                  <a:pt x="2950" y="428"/>
                  <a:pt x="2950" y="428"/>
                  <a:pt x="2950" y="428"/>
                </a:cubicBezTo>
                <a:cubicBezTo>
                  <a:pt x="2950" y="428"/>
                  <a:pt x="2950" y="428"/>
                  <a:pt x="2950" y="428"/>
                </a:cubicBezTo>
                <a:lnTo>
                  <a:pt x="2951" y="427"/>
                </a:lnTo>
                <a:close/>
                <a:moveTo>
                  <a:pt x="2967" y="357"/>
                </a:moveTo>
                <a:cubicBezTo>
                  <a:pt x="2968" y="356"/>
                  <a:pt x="2968" y="356"/>
                  <a:pt x="2968" y="356"/>
                </a:cubicBezTo>
                <a:cubicBezTo>
                  <a:pt x="2967" y="354"/>
                  <a:pt x="2967" y="354"/>
                  <a:pt x="2967" y="354"/>
                </a:cubicBezTo>
                <a:cubicBezTo>
                  <a:pt x="2966" y="353"/>
                  <a:pt x="2966" y="353"/>
                  <a:pt x="2966" y="353"/>
                </a:cubicBezTo>
                <a:cubicBezTo>
                  <a:pt x="2965" y="354"/>
                  <a:pt x="2965" y="354"/>
                  <a:pt x="2965" y="354"/>
                </a:cubicBezTo>
                <a:cubicBezTo>
                  <a:pt x="2965" y="355"/>
                  <a:pt x="2965" y="355"/>
                  <a:pt x="2965" y="355"/>
                </a:cubicBezTo>
                <a:cubicBezTo>
                  <a:pt x="2966" y="357"/>
                  <a:pt x="2966" y="357"/>
                  <a:pt x="2966" y="357"/>
                </a:cubicBezTo>
                <a:lnTo>
                  <a:pt x="2967" y="357"/>
                </a:lnTo>
                <a:close/>
                <a:moveTo>
                  <a:pt x="3025" y="1132"/>
                </a:moveTo>
                <a:cubicBezTo>
                  <a:pt x="3024" y="1131"/>
                  <a:pt x="3024" y="1131"/>
                  <a:pt x="3024" y="1131"/>
                </a:cubicBezTo>
                <a:cubicBezTo>
                  <a:pt x="3023" y="1131"/>
                  <a:pt x="3023" y="1131"/>
                  <a:pt x="3023" y="1131"/>
                </a:cubicBezTo>
                <a:cubicBezTo>
                  <a:pt x="3022" y="1131"/>
                  <a:pt x="3022" y="1131"/>
                  <a:pt x="3022" y="1131"/>
                </a:cubicBezTo>
                <a:cubicBezTo>
                  <a:pt x="3021" y="1131"/>
                  <a:pt x="3021" y="1131"/>
                  <a:pt x="3021" y="1131"/>
                </a:cubicBezTo>
                <a:cubicBezTo>
                  <a:pt x="3020" y="1131"/>
                  <a:pt x="3020" y="1131"/>
                  <a:pt x="3020" y="1131"/>
                </a:cubicBezTo>
                <a:cubicBezTo>
                  <a:pt x="3018" y="1129"/>
                  <a:pt x="3018" y="1129"/>
                  <a:pt x="3018" y="1129"/>
                </a:cubicBezTo>
                <a:cubicBezTo>
                  <a:pt x="3018" y="1126"/>
                  <a:pt x="3018" y="1126"/>
                  <a:pt x="3018" y="1126"/>
                </a:cubicBezTo>
                <a:cubicBezTo>
                  <a:pt x="3016" y="1125"/>
                  <a:pt x="3016" y="1125"/>
                  <a:pt x="3016" y="1125"/>
                </a:cubicBezTo>
                <a:cubicBezTo>
                  <a:pt x="3014" y="1121"/>
                  <a:pt x="3014" y="1121"/>
                  <a:pt x="3014" y="1121"/>
                </a:cubicBezTo>
                <a:cubicBezTo>
                  <a:pt x="3013" y="1120"/>
                  <a:pt x="3013" y="1120"/>
                  <a:pt x="3013" y="1120"/>
                </a:cubicBezTo>
                <a:cubicBezTo>
                  <a:pt x="3013" y="1119"/>
                  <a:pt x="3013" y="1119"/>
                  <a:pt x="3013" y="1119"/>
                </a:cubicBezTo>
                <a:cubicBezTo>
                  <a:pt x="3010" y="1119"/>
                  <a:pt x="3010" y="1119"/>
                  <a:pt x="3010" y="1119"/>
                </a:cubicBezTo>
                <a:cubicBezTo>
                  <a:pt x="3009" y="1118"/>
                  <a:pt x="3009" y="1118"/>
                  <a:pt x="3009" y="1118"/>
                </a:cubicBezTo>
                <a:cubicBezTo>
                  <a:pt x="3008" y="1116"/>
                  <a:pt x="3008" y="1116"/>
                  <a:pt x="3008" y="1116"/>
                </a:cubicBezTo>
                <a:cubicBezTo>
                  <a:pt x="3006" y="1114"/>
                  <a:pt x="3006" y="1114"/>
                  <a:pt x="3006" y="1114"/>
                </a:cubicBezTo>
                <a:cubicBezTo>
                  <a:pt x="3005" y="1111"/>
                  <a:pt x="3005" y="1111"/>
                  <a:pt x="3005" y="1111"/>
                </a:cubicBezTo>
                <a:cubicBezTo>
                  <a:pt x="3004" y="1110"/>
                  <a:pt x="3004" y="1110"/>
                  <a:pt x="3004" y="1110"/>
                </a:cubicBezTo>
                <a:cubicBezTo>
                  <a:pt x="3003" y="1108"/>
                  <a:pt x="3003" y="1108"/>
                  <a:pt x="3003" y="1108"/>
                </a:cubicBezTo>
                <a:cubicBezTo>
                  <a:pt x="3003" y="1107"/>
                  <a:pt x="3003" y="1107"/>
                  <a:pt x="3003" y="1107"/>
                </a:cubicBezTo>
                <a:cubicBezTo>
                  <a:pt x="3007" y="1108"/>
                  <a:pt x="3007" y="1108"/>
                  <a:pt x="3007" y="1108"/>
                </a:cubicBezTo>
                <a:cubicBezTo>
                  <a:pt x="3011" y="1106"/>
                  <a:pt x="3011" y="1106"/>
                  <a:pt x="3011" y="1106"/>
                </a:cubicBezTo>
                <a:cubicBezTo>
                  <a:pt x="3012" y="1104"/>
                  <a:pt x="3012" y="1104"/>
                  <a:pt x="3012" y="1104"/>
                </a:cubicBezTo>
                <a:cubicBezTo>
                  <a:pt x="3011" y="1102"/>
                  <a:pt x="3011" y="1102"/>
                  <a:pt x="3011" y="1102"/>
                </a:cubicBezTo>
                <a:cubicBezTo>
                  <a:pt x="3008" y="1099"/>
                  <a:pt x="3008" y="1099"/>
                  <a:pt x="3008" y="1099"/>
                </a:cubicBezTo>
                <a:cubicBezTo>
                  <a:pt x="3006" y="1098"/>
                  <a:pt x="3006" y="1098"/>
                  <a:pt x="3006" y="1098"/>
                </a:cubicBezTo>
                <a:cubicBezTo>
                  <a:pt x="3005" y="1099"/>
                  <a:pt x="3005" y="1099"/>
                  <a:pt x="3005" y="1099"/>
                </a:cubicBezTo>
                <a:cubicBezTo>
                  <a:pt x="3003" y="1098"/>
                  <a:pt x="3003" y="1098"/>
                  <a:pt x="3003" y="1098"/>
                </a:cubicBezTo>
                <a:cubicBezTo>
                  <a:pt x="3000" y="1096"/>
                  <a:pt x="3000" y="1096"/>
                  <a:pt x="3000" y="1096"/>
                </a:cubicBezTo>
                <a:cubicBezTo>
                  <a:pt x="2998" y="1094"/>
                  <a:pt x="2998" y="1094"/>
                  <a:pt x="2998" y="1094"/>
                </a:cubicBezTo>
                <a:cubicBezTo>
                  <a:pt x="2996" y="1095"/>
                  <a:pt x="2996" y="1095"/>
                  <a:pt x="2996" y="1095"/>
                </a:cubicBezTo>
                <a:cubicBezTo>
                  <a:pt x="2991" y="1093"/>
                  <a:pt x="2991" y="1093"/>
                  <a:pt x="2991" y="1093"/>
                </a:cubicBezTo>
                <a:cubicBezTo>
                  <a:pt x="2990" y="1092"/>
                  <a:pt x="2990" y="1092"/>
                  <a:pt x="2990" y="1092"/>
                </a:cubicBezTo>
                <a:cubicBezTo>
                  <a:pt x="2992" y="1089"/>
                  <a:pt x="2992" y="1089"/>
                  <a:pt x="2992" y="1089"/>
                </a:cubicBezTo>
                <a:cubicBezTo>
                  <a:pt x="2992" y="1087"/>
                  <a:pt x="2992" y="1087"/>
                  <a:pt x="2992" y="1087"/>
                </a:cubicBezTo>
                <a:cubicBezTo>
                  <a:pt x="2991" y="1086"/>
                  <a:pt x="2991" y="1086"/>
                  <a:pt x="2991" y="1086"/>
                </a:cubicBezTo>
                <a:cubicBezTo>
                  <a:pt x="2987" y="1082"/>
                  <a:pt x="2987" y="1082"/>
                  <a:pt x="2987" y="1082"/>
                </a:cubicBezTo>
                <a:cubicBezTo>
                  <a:pt x="2986" y="1082"/>
                  <a:pt x="2986" y="1082"/>
                  <a:pt x="2986" y="1082"/>
                </a:cubicBezTo>
                <a:cubicBezTo>
                  <a:pt x="2985" y="1083"/>
                  <a:pt x="2985" y="1083"/>
                  <a:pt x="2985" y="1083"/>
                </a:cubicBezTo>
                <a:cubicBezTo>
                  <a:pt x="2984" y="1081"/>
                  <a:pt x="2984" y="1081"/>
                  <a:pt x="2984" y="1081"/>
                </a:cubicBezTo>
                <a:cubicBezTo>
                  <a:pt x="2982" y="1080"/>
                  <a:pt x="2982" y="1080"/>
                  <a:pt x="2982" y="1080"/>
                </a:cubicBezTo>
                <a:cubicBezTo>
                  <a:pt x="2982" y="1078"/>
                  <a:pt x="2982" y="1078"/>
                  <a:pt x="2982" y="1078"/>
                </a:cubicBezTo>
                <a:cubicBezTo>
                  <a:pt x="2980" y="1078"/>
                  <a:pt x="2980" y="1078"/>
                  <a:pt x="2980" y="1078"/>
                </a:cubicBezTo>
                <a:cubicBezTo>
                  <a:pt x="2978" y="1076"/>
                  <a:pt x="2978" y="1076"/>
                  <a:pt x="2978" y="1076"/>
                </a:cubicBezTo>
                <a:cubicBezTo>
                  <a:pt x="2978" y="1077"/>
                  <a:pt x="2978" y="1077"/>
                  <a:pt x="2978" y="1077"/>
                </a:cubicBezTo>
                <a:cubicBezTo>
                  <a:pt x="2976" y="1076"/>
                  <a:pt x="2976" y="1076"/>
                  <a:pt x="2976" y="1076"/>
                </a:cubicBezTo>
                <a:cubicBezTo>
                  <a:pt x="2974" y="1075"/>
                  <a:pt x="2974" y="1075"/>
                  <a:pt x="2974" y="1075"/>
                </a:cubicBezTo>
                <a:cubicBezTo>
                  <a:pt x="2971" y="1074"/>
                  <a:pt x="2971" y="1074"/>
                  <a:pt x="2971" y="1074"/>
                </a:cubicBezTo>
                <a:cubicBezTo>
                  <a:pt x="2969" y="1073"/>
                  <a:pt x="2969" y="1073"/>
                  <a:pt x="2969" y="1073"/>
                </a:cubicBezTo>
                <a:cubicBezTo>
                  <a:pt x="2965" y="1071"/>
                  <a:pt x="2965" y="1071"/>
                  <a:pt x="2965" y="1071"/>
                </a:cubicBezTo>
                <a:cubicBezTo>
                  <a:pt x="2960" y="1070"/>
                  <a:pt x="2960" y="1070"/>
                  <a:pt x="2960" y="1070"/>
                </a:cubicBezTo>
                <a:cubicBezTo>
                  <a:pt x="2958" y="1070"/>
                  <a:pt x="2958" y="1070"/>
                  <a:pt x="2958" y="1070"/>
                </a:cubicBezTo>
                <a:cubicBezTo>
                  <a:pt x="2957" y="1068"/>
                  <a:pt x="2957" y="1068"/>
                  <a:pt x="2957" y="1068"/>
                </a:cubicBezTo>
                <a:cubicBezTo>
                  <a:pt x="2956" y="1068"/>
                  <a:pt x="2956" y="1068"/>
                  <a:pt x="2956" y="1068"/>
                </a:cubicBezTo>
                <a:cubicBezTo>
                  <a:pt x="2955" y="1069"/>
                  <a:pt x="2955" y="1069"/>
                  <a:pt x="2955" y="1069"/>
                </a:cubicBezTo>
                <a:cubicBezTo>
                  <a:pt x="2951" y="1067"/>
                  <a:pt x="2951" y="1067"/>
                  <a:pt x="2951" y="1067"/>
                </a:cubicBezTo>
                <a:cubicBezTo>
                  <a:pt x="2950" y="1066"/>
                  <a:pt x="2950" y="1066"/>
                  <a:pt x="2950" y="1066"/>
                </a:cubicBezTo>
                <a:cubicBezTo>
                  <a:pt x="2948" y="1065"/>
                  <a:pt x="2948" y="1065"/>
                  <a:pt x="2948" y="1065"/>
                </a:cubicBezTo>
                <a:cubicBezTo>
                  <a:pt x="2945" y="1064"/>
                  <a:pt x="2945" y="1064"/>
                  <a:pt x="2945" y="1064"/>
                </a:cubicBezTo>
                <a:cubicBezTo>
                  <a:pt x="2943" y="1064"/>
                  <a:pt x="2943" y="1064"/>
                  <a:pt x="2943" y="1064"/>
                </a:cubicBezTo>
                <a:cubicBezTo>
                  <a:pt x="2943" y="1064"/>
                  <a:pt x="2943" y="1064"/>
                  <a:pt x="2943" y="1064"/>
                </a:cubicBezTo>
                <a:cubicBezTo>
                  <a:pt x="2941" y="1064"/>
                  <a:pt x="2941" y="1064"/>
                  <a:pt x="2941" y="1064"/>
                </a:cubicBezTo>
                <a:cubicBezTo>
                  <a:pt x="2940" y="1064"/>
                  <a:pt x="2940" y="1064"/>
                  <a:pt x="2940" y="1064"/>
                </a:cubicBezTo>
                <a:cubicBezTo>
                  <a:pt x="2940" y="1063"/>
                  <a:pt x="2940" y="1063"/>
                  <a:pt x="2940" y="1063"/>
                </a:cubicBezTo>
                <a:cubicBezTo>
                  <a:pt x="2940" y="1062"/>
                  <a:pt x="2940" y="1062"/>
                  <a:pt x="2940" y="1062"/>
                </a:cubicBezTo>
                <a:cubicBezTo>
                  <a:pt x="2939" y="1061"/>
                  <a:pt x="2939" y="1061"/>
                  <a:pt x="2939" y="1061"/>
                </a:cubicBezTo>
                <a:cubicBezTo>
                  <a:pt x="2937" y="1061"/>
                  <a:pt x="2937" y="1061"/>
                  <a:pt x="2937" y="1061"/>
                </a:cubicBezTo>
                <a:cubicBezTo>
                  <a:pt x="2934" y="1060"/>
                  <a:pt x="2934" y="1060"/>
                  <a:pt x="2934" y="1060"/>
                </a:cubicBezTo>
                <a:cubicBezTo>
                  <a:pt x="2933" y="1060"/>
                  <a:pt x="2933" y="1060"/>
                  <a:pt x="2933" y="1060"/>
                </a:cubicBezTo>
                <a:cubicBezTo>
                  <a:pt x="2932" y="1060"/>
                  <a:pt x="2932" y="1060"/>
                  <a:pt x="2932" y="1060"/>
                </a:cubicBezTo>
                <a:cubicBezTo>
                  <a:pt x="2926" y="1058"/>
                  <a:pt x="2926" y="1058"/>
                  <a:pt x="2926" y="1058"/>
                </a:cubicBezTo>
                <a:cubicBezTo>
                  <a:pt x="2923" y="1057"/>
                  <a:pt x="2923" y="1057"/>
                  <a:pt x="2923" y="1057"/>
                </a:cubicBezTo>
                <a:cubicBezTo>
                  <a:pt x="2921" y="1057"/>
                  <a:pt x="2921" y="1057"/>
                  <a:pt x="2921" y="1057"/>
                </a:cubicBezTo>
                <a:cubicBezTo>
                  <a:pt x="2919" y="1055"/>
                  <a:pt x="2919" y="1055"/>
                  <a:pt x="2919" y="1055"/>
                </a:cubicBezTo>
                <a:cubicBezTo>
                  <a:pt x="2916" y="1054"/>
                  <a:pt x="2916" y="1054"/>
                  <a:pt x="2916" y="1054"/>
                </a:cubicBezTo>
                <a:cubicBezTo>
                  <a:pt x="2913" y="1053"/>
                  <a:pt x="2913" y="1053"/>
                  <a:pt x="2913" y="1053"/>
                </a:cubicBezTo>
                <a:cubicBezTo>
                  <a:pt x="2911" y="1051"/>
                  <a:pt x="2911" y="1051"/>
                  <a:pt x="2911" y="1051"/>
                </a:cubicBezTo>
                <a:cubicBezTo>
                  <a:pt x="2909" y="1051"/>
                  <a:pt x="2909" y="1051"/>
                  <a:pt x="2909" y="1051"/>
                </a:cubicBezTo>
                <a:cubicBezTo>
                  <a:pt x="2904" y="1054"/>
                  <a:pt x="2904" y="1054"/>
                  <a:pt x="2904" y="1054"/>
                </a:cubicBezTo>
                <a:cubicBezTo>
                  <a:pt x="2903" y="1055"/>
                  <a:pt x="2903" y="1055"/>
                  <a:pt x="2903" y="1055"/>
                </a:cubicBezTo>
                <a:cubicBezTo>
                  <a:pt x="2904" y="1057"/>
                  <a:pt x="2904" y="1057"/>
                  <a:pt x="2904" y="1057"/>
                </a:cubicBezTo>
                <a:cubicBezTo>
                  <a:pt x="2904" y="1058"/>
                  <a:pt x="2904" y="1058"/>
                  <a:pt x="2904" y="1058"/>
                </a:cubicBezTo>
                <a:cubicBezTo>
                  <a:pt x="2901" y="1059"/>
                  <a:pt x="2901" y="1059"/>
                  <a:pt x="2901" y="1059"/>
                </a:cubicBezTo>
                <a:cubicBezTo>
                  <a:pt x="2899" y="1059"/>
                  <a:pt x="2899" y="1059"/>
                  <a:pt x="2899" y="1059"/>
                </a:cubicBezTo>
                <a:cubicBezTo>
                  <a:pt x="2898" y="1060"/>
                  <a:pt x="2898" y="1060"/>
                  <a:pt x="2898" y="1060"/>
                </a:cubicBezTo>
                <a:cubicBezTo>
                  <a:pt x="2897" y="1059"/>
                  <a:pt x="2897" y="1059"/>
                  <a:pt x="2897" y="1059"/>
                </a:cubicBezTo>
                <a:cubicBezTo>
                  <a:pt x="2896" y="1060"/>
                  <a:pt x="2896" y="1060"/>
                  <a:pt x="2896" y="1060"/>
                </a:cubicBezTo>
                <a:cubicBezTo>
                  <a:pt x="2896" y="1062"/>
                  <a:pt x="2896" y="1062"/>
                  <a:pt x="2896" y="1062"/>
                </a:cubicBezTo>
                <a:cubicBezTo>
                  <a:pt x="2894" y="1063"/>
                  <a:pt x="2894" y="1063"/>
                  <a:pt x="2894" y="1063"/>
                </a:cubicBezTo>
                <a:cubicBezTo>
                  <a:pt x="2892" y="1063"/>
                  <a:pt x="2892" y="1063"/>
                  <a:pt x="2892" y="1063"/>
                </a:cubicBezTo>
                <a:cubicBezTo>
                  <a:pt x="2891" y="1065"/>
                  <a:pt x="2891" y="1065"/>
                  <a:pt x="2891" y="1065"/>
                </a:cubicBezTo>
                <a:cubicBezTo>
                  <a:pt x="2891" y="1068"/>
                  <a:pt x="2891" y="1068"/>
                  <a:pt x="2891" y="1068"/>
                </a:cubicBezTo>
                <a:cubicBezTo>
                  <a:pt x="2889" y="1068"/>
                  <a:pt x="2889" y="1068"/>
                  <a:pt x="2889" y="1068"/>
                </a:cubicBezTo>
                <a:cubicBezTo>
                  <a:pt x="2888" y="1069"/>
                  <a:pt x="2888" y="1069"/>
                  <a:pt x="2888" y="1069"/>
                </a:cubicBezTo>
                <a:cubicBezTo>
                  <a:pt x="2888" y="1071"/>
                  <a:pt x="2888" y="1071"/>
                  <a:pt x="2888" y="1071"/>
                </a:cubicBezTo>
                <a:cubicBezTo>
                  <a:pt x="2886" y="1072"/>
                  <a:pt x="2886" y="1072"/>
                  <a:pt x="2886" y="1072"/>
                </a:cubicBezTo>
                <a:cubicBezTo>
                  <a:pt x="2884" y="1072"/>
                  <a:pt x="2884" y="1072"/>
                  <a:pt x="2884" y="1072"/>
                </a:cubicBezTo>
                <a:cubicBezTo>
                  <a:pt x="2883" y="1071"/>
                  <a:pt x="2883" y="1071"/>
                  <a:pt x="2883" y="1071"/>
                </a:cubicBezTo>
                <a:cubicBezTo>
                  <a:pt x="2881" y="1069"/>
                  <a:pt x="2881" y="1069"/>
                  <a:pt x="2881" y="1069"/>
                </a:cubicBezTo>
                <a:cubicBezTo>
                  <a:pt x="2880" y="1067"/>
                  <a:pt x="2880" y="1067"/>
                  <a:pt x="2880" y="1067"/>
                </a:cubicBezTo>
                <a:cubicBezTo>
                  <a:pt x="2879" y="1068"/>
                  <a:pt x="2879" y="1068"/>
                  <a:pt x="2879" y="1068"/>
                </a:cubicBezTo>
                <a:cubicBezTo>
                  <a:pt x="2879" y="1066"/>
                  <a:pt x="2879" y="1066"/>
                  <a:pt x="2879" y="1066"/>
                </a:cubicBezTo>
                <a:cubicBezTo>
                  <a:pt x="2879" y="1064"/>
                  <a:pt x="2879" y="1064"/>
                  <a:pt x="2879" y="1064"/>
                </a:cubicBezTo>
                <a:cubicBezTo>
                  <a:pt x="2878" y="1063"/>
                  <a:pt x="2878" y="1063"/>
                  <a:pt x="2878" y="1063"/>
                </a:cubicBezTo>
                <a:cubicBezTo>
                  <a:pt x="2877" y="1064"/>
                  <a:pt x="2877" y="1064"/>
                  <a:pt x="2877" y="1064"/>
                </a:cubicBezTo>
                <a:cubicBezTo>
                  <a:pt x="2877" y="1066"/>
                  <a:pt x="2877" y="1066"/>
                  <a:pt x="2877" y="1066"/>
                </a:cubicBezTo>
                <a:cubicBezTo>
                  <a:pt x="2876" y="1066"/>
                  <a:pt x="2876" y="1066"/>
                  <a:pt x="2876" y="1066"/>
                </a:cubicBezTo>
                <a:cubicBezTo>
                  <a:pt x="2875" y="1065"/>
                  <a:pt x="2875" y="1065"/>
                  <a:pt x="2875" y="1065"/>
                </a:cubicBezTo>
                <a:cubicBezTo>
                  <a:pt x="2874" y="1063"/>
                  <a:pt x="2874" y="1063"/>
                  <a:pt x="2874" y="1063"/>
                </a:cubicBezTo>
                <a:cubicBezTo>
                  <a:pt x="2874" y="1058"/>
                  <a:pt x="2874" y="1058"/>
                  <a:pt x="2874" y="1058"/>
                </a:cubicBezTo>
                <a:cubicBezTo>
                  <a:pt x="2873" y="1055"/>
                  <a:pt x="2873" y="1055"/>
                  <a:pt x="2873" y="1055"/>
                </a:cubicBezTo>
                <a:cubicBezTo>
                  <a:pt x="2874" y="1053"/>
                  <a:pt x="2874" y="1053"/>
                  <a:pt x="2874" y="1053"/>
                </a:cubicBezTo>
                <a:cubicBezTo>
                  <a:pt x="2875" y="1052"/>
                  <a:pt x="2875" y="1052"/>
                  <a:pt x="2875" y="1052"/>
                </a:cubicBezTo>
                <a:cubicBezTo>
                  <a:pt x="2875" y="1050"/>
                  <a:pt x="2875" y="1050"/>
                  <a:pt x="2875" y="1050"/>
                </a:cubicBezTo>
                <a:cubicBezTo>
                  <a:pt x="2873" y="1048"/>
                  <a:pt x="2873" y="1048"/>
                  <a:pt x="2873" y="1048"/>
                </a:cubicBezTo>
                <a:cubicBezTo>
                  <a:pt x="2873" y="1046"/>
                  <a:pt x="2873" y="1046"/>
                  <a:pt x="2873" y="1046"/>
                </a:cubicBezTo>
                <a:cubicBezTo>
                  <a:pt x="2873" y="1045"/>
                  <a:pt x="2873" y="1045"/>
                  <a:pt x="2873" y="1045"/>
                </a:cubicBezTo>
                <a:cubicBezTo>
                  <a:pt x="2873" y="1044"/>
                  <a:pt x="2873" y="1044"/>
                  <a:pt x="2873" y="1044"/>
                </a:cubicBezTo>
                <a:cubicBezTo>
                  <a:pt x="2869" y="1043"/>
                  <a:pt x="2869" y="1043"/>
                  <a:pt x="2869" y="1043"/>
                </a:cubicBezTo>
                <a:cubicBezTo>
                  <a:pt x="2866" y="1044"/>
                  <a:pt x="2866" y="1044"/>
                  <a:pt x="2866" y="1044"/>
                </a:cubicBezTo>
                <a:cubicBezTo>
                  <a:pt x="2863" y="1041"/>
                  <a:pt x="2863" y="1041"/>
                  <a:pt x="2863" y="1041"/>
                </a:cubicBezTo>
                <a:cubicBezTo>
                  <a:pt x="2858" y="1039"/>
                  <a:pt x="2858" y="1039"/>
                  <a:pt x="2858" y="1039"/>
                </a:cubicBezTo>
                <a:cubicBezTo>
                  <a:pt x="2854" y="1040"/>
                  <a:pt x="2854" y="1040"/>
                  <a:pt x="2854" y="1040"/>
                </a:cubicBezTo>
                <a:cubicBezTo>
                  <a:pt x="2854" y="1041"/>
                  <a:pt x="2854" y="1041"/>
                  <a:pt x="2854" y="1041"/>
                </a:cubicBezTo>
                <a:cubicBezTo>
                  <a:pt x="2851" y="1043"/>
                  <a:pt x="2851" y="1043"/>
                  <a:pt x="2851" y="1043"/>
                </a:cubicBezTo>
                <a:cubicBezTo>
                  <a:pt x="2849" y="1043"/>
                  <a:pt x="2849" y="1043"/>
                  <a:pt x="2849" y="1043"/>
                </a:cubicBezTo>
                <a:cubicBezTo>
                  <a:pt x="2848" y="1045"/>
                  <a:pt x="2848" y="1045"/>
                  <a:pt x="2848" y="1045"/>
                </a:cubicBezTo>
                <a:cubicBezTo>
                  <a:pt x="2845" y="1045"/>
                  <a:pt x="2845" y="1045"/>
                  <a:pt x="2845" y="1045"/>
                </a:cubicBezTo>
                <a:cubicBezTo>
                  <a:pt x="2844" y="1046"/>
                  <a:pt x="2844" y="1046"/>
                  <a:pt x="2844" y="1046"/>
                </a:cubicBezTo>
                <a:cubicBezTo>
                  <a:pt x="2844" y="1047"/>
                  <a:pt x="2844" y="1047"/>
                  <a:pt x="2844" y="1047"/>
                </a:cubicBezTo>
                <a:cubicBezTo>
                  <a:pt x="2844" y="1049"/>
                  <a:pt x="2844" y="1049"/>
                  <a:pt x="2844" y="1049"/>
                </a:cubicBezTo>
                <a:cubicBezTo>
                  <a:pt x="2842" y="1050"/>
                  <a:pt x="2842" y="1050"/>
                  <a:pt x="2842" y="1050"/>
                </a:cubicBezTo>
                <a:cubicBezTo>
                  <a:pt x="2841" y="1052"/>
                  <a:pt x="2841" y="1052"/>
                  <a:pt x="2841" y="1052"/>
                </a:cubicBezTo>
                <a:cubicBezTo>
                  <a:pt x="2844" y="1052"/>
                  <a:pt x="2844" y="1052"/>
                  <a:pt x="2844" y="1052"/>
                </a:cubicBezTo>
                <a:cubicBezTo>
                  <a:pt x="2845" y="1051"/>
                  <a:pt x="2845" y="1051"/>
                  <a:pt x="2845" y="1051"/>
                </a:cubicBezTo>
                <a:cubicBezTo>
                  <a:pt x="2846" y="1050"/>
                  <a:pt x="2846" y="1050"/>
                  <a:pt x="2846" y="1050"/>
                </a:cubicBezTo>
                <a:cubicBezTo>
                  <a:pt x="2847" y="1051"/>
                  <a:pt x="2847" y="1051"/>
                  <a:pt x="2847" y="1051"/>
                </a:cubicBezTo>
                <a:cubicBezTo>
                  <a:pt x="2850" y="1053"/>
                  <a:pt x="2850" y="1053"/>
                  <a:pt x="2850" y="1053"/>
                </a:cubicBezTo>
                <a:cubicBezTo>
                  <a:pt x="2851" y="1055"/>
                  <a:pt x="2851" y="1055"/>
                  <a:pt x="2851" y="1055"/>
                </a:cubicBezTo>
                <a:cubicBezTo>
                  <a:pt x="2851" y="1056"/>
                  <a:pt x="2851" y="1056"/>
                  <a:pt x="2851" y="1056"/>
                </a:cubicBezTo>
                <a:cubicBezTo>
                  <a:pt x="2851" y="1058"/>
                  <a:pt x="2851" y="1058"/>
                  <a:pt x="2851" y="1058"/>
                </a:cubicBezTo>
                <a:cubicBezTo>
                  <a:pt x="2853" y="1060"/>
                  <a:pt x="2853" y="1060"/>
                  <a:pt x="2853" y="1060"/>
                </a:cubicBezTo>
                <a:cubicBezTo>
                  <a:pt x="2855" y="1060"/>
                  <a:pt x="2855" y="1060"/>
                  <a:pt x="2855" y="1060"/>
                </a:cubicBezTo>
                <a:cubicBezTo>
                  <a:pt x="2857" y="1059"/>
                  <a:pt x="2857" y="1059"/>
                  <a:pt x="2857" y="1059"/>
                </a:cubicBezTo>
                <a:cubicBezTo>
                  <a:pt x="2858" y="1060"/>
                  <a:pt x="2858" y="1060"/>
                  <a:pt x="2858" y="1060"/>
                </a:cubicBezTo>
                <a:cubicBezTo>
                  <a:pt x="2859" y="1060"/>
                  <a:pt x="2859" y="1060"/>
                  <a:pt x="2859" y="1060"/>
                </a:cubicBezTo>
                <a:cubicBezTo>
                  <a:pt x="2861" y="1060"/>
                  <a:pt x="2861" y="1060"/>
                  <a:pt x="2861" y="1060"/>
                </a:cubicBezTo>
                <a:cubicBezTo>
                  <a:pt x="2864" y="1059"/>
                  <a:pt x="2864" y="1059"/>
                  <a:pt x="2864" y="1059"/>
                </a:cubicBezTo>
                <a:cubicBezTo>
                  <a:pt x="2865" y="1060"/>
                  <a:pt x="2865" y="1060"/>
                  <a:pt x="2865" y="1060"/>
                </a:cubicBezTo>
                <a:cubicBezTo>
                  <a:pt x="2866" y="1059"/>
                  <a:pt x="2866" y="1059"/>
                  <a:pt x="2866" y="1059"/>
                </a:cubicBezTo>
                <a:cubicBezTo>
                  <a:pt x="2865" y="1058"/>
                  <a:pt x="2865" y="1058"/>
                  <a:pt x="2865" y="1058"/>
                </a:cubicBezTo>
                <a:cubicBezTo>
                  <a:pt x="2870" y="1059"/>
                  <a:pt x="2870" y="1059"/>
                  <a:pt x="2870" y="1059"/>
                </a:cubicBezTo>
                <a:cubicBezTo>
                  <a:pt x="2871" y="1060"/>
                  <a:pt x="2871" y="1060"/>
                  <a:pt x="2871" y="1060"/>
                </a:cubicBezTo>
                <a:cubicBezTo>
                  <a:pt x="2871" y="1062"/>
                  <a:pt x="2871" y="1062"/>
                  <a:pt x="2871" y="1062"/>
                </a:cubicBezTo>
                <a:cubicBezTo>
                  <a:pt x="2870" y="1062"/>
                  <a:pt x="2870" y="1062"/>
                  <a:pt x="2870" y="1062"/>
                </a:cubicBezTo>
                <a:cubicBezTo>
                  <a:pt x="2869" y="1064"/>
                  <a:pt x="2869" y="1064"/>
                  <a:pt x="2869" y="1064"/>
                </a:cubicBezTo>
                <a:cubicBezTo>
                  <a:pt x="2868" y="1066"/>
                  <a:pt x="2868" y="1066"/>
                  <a:pt x="2868" y="1066"/>
                </a:cubicBezTo>
                <a:cubicBezTo>
                  <a:pt x="2866" y="1064"/>
                  <a:pt x="2866" y="1064"/>
                  <a:pt x="2866" y="1064"/>
                </a:cubicBezTo>
                <a:cubicBezTo>
                  <a:pt x="2863" y="1062"/>
                  <a:pt x="2863" y="1062"/>
                  <a:pt x="2863" y="1062"/>
                </a:cubicBezTo>
                <a:cubicBezTo>
                  <a:pt x="2862" y="1063"/>
                  <a:pt x="2862" y="1063"/>
                  <a:pt x="2862" y="1063"/>
                </a:cubicBezTo>
                <a:cubicBezTo>
                  <a:pt x="2861" y="1065"/>
                  <a:pt x="2861" y="1065"/>
                  <a:pt x="2861" y="1065"/>
                </a:cubicBezTo>
                <a:cubicBezTo>
                  <a:pt x="2859" y="1066"/>
                  <a:pt x="2859" y="1066"/>
                  <a:pt x="2859" y="1066"/>
                </a:cubicBezTo>
                <a:cubicBezTo>
                  <a:pt x="2858" y="1066"/>
                  <a:pt x="2858" y="1066"/>
                  <a:pt x="2858" y="1066"/>
                </a:cubicBezTo>
                <a:cubicBezTo>
                  <a:pt x="2855" y="1065"/>
                  <a:pt x="2855" y="1065"/>
                  <a:pt x="2855" y="1065"/>
                </a:cubicBezTo>
                <a:cubicBezTo>
                  <a:pt x="2855" y="1064"/>
                  <a:pt x="2855" y="1064"/>
                  <a:pt x="2855" y="1064"/>
                </a:cubicBezTo>
                <a:cubicBezTo>
                  <a:pt x="2852" y="1065"/>
                  <a:pt x="2852" y="1065"/>
                  <a:pt x="2852" y="1065"/>
                </a:cubicBezTo>
                <a:cubicBezTo>
                  <a:pt x="2851" y="1066"/>
                  <a:pt x="2851" y="1066"/>
                  <a:pt x="2851" y="1066"/>
                </a:cubicBezTo>
                <a:cubicBezTo>
                  <a:pt x="2852" y="1067"/>
                  <a:pt x="2852" y="1067"/>
                  <a:pt x="2852" y="1067"/>
                </a:cubicBezTo>
                <a:cubicBezTo>
                  <a:pt x="2854" y="1068"/>
                  <a:pt x="2854" y="1068"/>
                  <a:pt x="2854" y="1068"/>
                </a:cubicBezTo>
                <a:cubicBezTo>
                  <a:pt x="2856" y="1069"/>
                  <a:pt x="2856" y="1069"/>
                  <a:pt x="2856" y="1069"/>
                </a:cubicBezTo>
                <a:cubicBezTo>
                  <a:pt x="2857" y="1071"/>
                  <a:pt x="2857" y="1071"/>
                  <a:pt x="2857" y="1071"/>
                </a:cubicBezTo>
                <a:cubicBezTo>
                  <a:pt x="2858" y="1072"/>
                  <a:pt x="2858" y="1072"/>
                  <a:pt x="2858" y="1072"/>
                </a:cubicBezTo>
                <a:cubicBezTo>
                  <a:pt x="2859" y="1071"/>
                  <a:pt x="2859" y="1071"/>
                  <a:pt x="2859" y="1071"/>
                </a:cubicBezTo>
                <a:cubicBezTo>
                  <a:pt x="2859" y="1073"/>
                  <a:pt x="2859" y="1073"/>
                  <a:pt x="2859" y="1073"/>
                </a:cubicBezTo>
                <a:cubicBezTo>
                  <a:pt x="2859" y="1074"/>
                  <a:pt x="2859" y="1074"/>
                  <a:pt x="2859" y="1074"/>
                </a:cubicBezTo>
                <a:cubicBezTo>
                  <a:pt x="2858" y="1074"/>
                  <a:pt x="2858" y="1074"/>
                  <a:pt x="2858" y="1074"/>
                </a:cubicBezTo>
                <a:cubicBezTo>
                  <a:pt x="2858" y="1076"/>
                  <a:pt x="2858" y="1076"/>
                  <a:pt x="2858" y="1076"/>
                </a:cubicBezTo>
                <a:cubicBezTo>
                  <a:pt x="2860" y="1079"/>
                  <a:pt x="2860" y="1079"/>
                  <a:pt x="2860" y="1079"/>
                </a:cubicBezTo>
                <a:cubicBezTo>
                  <a:pt x="2861" y="1080"/>
                  <a:pt x="2861" y="1080"/>
                  <a:pt x="2861" y="1080"/>
                </a:cubicBezTo>
                <a:cubicBezTo>
                  <a:pt x="2863" y="1079"/>
                  <a:pt x="2863" y="1079"/>
                  <a:pt x="2863" y="1079"/>
                </a:cubicBezTo>
                <a:cubicBezTo>
                  <a:pt x="2865" y="1077"/>
                  <a:pt x="2865" y="1077"/>
                  <a:pt x="2865" y="1077"/>
                </a:cubicBezTo>
                <a:cubicBezTo>
                  <a:pt x="2865" y="1075"/>
                  <a:pt x="2865" y="1075"/>
                  <a:pt x="2865" y="1075"/>
                </a:cubicBezTo>
                <a:cubicBezTo>
                  <a:pt x="2867" y="1072"/>
                  <a:pt x="2867" y="1072"/>
                  <a:pt x="2867" y="1072"/>
                </a:cubicBezTo>
                <a:cubicBezTo>
                  <a:pt x="2868" y="1072"/>
                  <a:pt x="2868" y="1072"/>
                  <a:pt x="2868" y="1072"/>
                </a:cubicBezTo>
                <a:cubicBezTo>
                  <a:pt x="2868" y="1070"/>
                  <a:pt x="2868" y="1070"/>
                  <a:pt x="2868" y="1070"/>
                </a:cubicBezTo>
                <a:cubicBezTo>
                  <a:pt x="2869" y="1068"/>
                  <a:pt x="2869" y="1068"/>
                  <a:pt x="2869" y="1068"/>
                </a:cubicBezTo>
                <a:cubicBezTo>
                  <a:pt x="2870" y="1066"/>
                  <a:pt x="2870" y="1066"/>
                  <a:pt x="2870" y="1066"/>
                </a:cubicBezTo>
                <a:cubicBezTo>
                  <a:pt x="2870" y="1069"/>
                  <a:pt x="2870" y="1069"/>
                  <a:pt x="2870" y="1069"/>
                </a:cubicBezTo>
                <a:cubicBezTo>
                  <a:pt x="2869" y="1070"/>
                  <a:pt x="2869" y="1070"/>
                  <a:pt x="2869" y="1070"/>
                </a:cubicBezTo>
                <a:cubicBezTo>
                  <a:pt x="2869" y="1072"/>
                  <a:pt x="2869" y="1072"/>
                  <a:pt x="2869" y="1072"/>
                </a:cubicBezTo>
                <a:cubicBezTo>
                  <a:pt x="2870" y="1075"/>
                  <a:pt x="2870" y="1075"/>
                  <a:pt x="2870" y="1075"/>
                </a:cubicBezTo>
                <a:cubicBezTo>
                  <a:pt x="2871" y="1076"/>
                  <a:pt x="2871" y="1076"/>
                  <a:pt x="2871" y="1076"/>
                </a:cubicBezTo>
                <a:cubicBezTo>
                  <a:pt x="2872" y="1075"/>
                  <a:pt x="2872" y="1075"/>
                  <a:pt x="2872" y="1075"/>
                </a:cubicBezTo>
                <a:cubicBezTo>
                  <a:pt x="2872" y="1075"/>
                  <a:pt x="2872" y="1075"/>
                  <a:pt x="2872" y="1075"/>
                </a:cubicBezTo>
                <a:cubicBezTo>
                  <a:pt x="2873" y="1075"/>
                  <a:pt x="2873" y="1075"/>
                  <a:pt x="2873" y="1075"/>
                </a:cubicBezTo>
                <a:cubicBezTo>
                  <a:pt x="2874" y="1077"/>
                  <a:pt x="2874" y="1077"/>
                  <a:pt x="2874" y="1077"/>
                </a:cubicBezTo>
                <a:cubicBezTo>
                  <a:pt x="2875" y="1076"/>
                  <a:pt x="2875" y="1076"/>
                  <a:pt x="2875" y="1076"/>
                </a:cubicBezTo>
                <a:cubicBezTo>
                  <a:pt x="2875" y="1077"/>
                  <a:pt x="2875" y="1077"/>
                  <a:pt x="2875" y="1077"/>
                </a:cubicBezTo>
                <a:cubicBezTo>
                  <a:pt x="2876" y="1077"/>
                  <a:pt x="2876" y="1077"/>
                  <a:pt x="2876" y="1077"/>
                </a:cubicBezTo>
                <a:cubicBezTo>
                  <a:pt x="2877" y="1078"/>
                  <a:pt x="2877" y="1078"/>
                  <a:pt x="2877" y="1078"/>
                </a:cubicBezTo>
                <a:cubicBezTo>
                  <a:pt x="2879" y="1077"/>
                  <a:pt x="2879" y="1077"/>
                  <a:pt x="2879" y="1077"/>
                </a:cubicBezTo>
                <a:cubicBezTo>
                  <a:pt x="2880" y="1077"/>
                  <a:pt x="2880" y="1077"/>
                  <a:pt x="2880" y="1077"/>
                </a:cubicBezTo>
                <a:cubicBezTo>
                  <a:pt x="2880" y="1078"/>
                  <a:pt x="2880" y="1078"/>
                  <a:pt x="2880" y="1078"/>
                </a:cubicBezTo>
                <a:cubicBezTo>
                  <a:pt x="2880" y="1078"/>
                  <a:pt x="2880" y="1078"/>
                  <a:pt x="2880" y="1078"/>
                </a:cubicBezTo>
                <a:cubicBezTo>
                  <a:pt x="2878" y="1078"/>
                  <a:pt x="2878" y="1078"/>
                  <a:pt x="2878" y="1078"/>
                </a:cubicBezTo>
                <a:cubicBezTo>
                  <a:pt x="2878" y="1079"/>
                  <a:pt x="2878" y="1079"/>
                  <a:pt x="2878" y="1079"/>
                </a:cubicBezTo>
                <a:cubicBezTo>
                  <a:pt x="2880" y="1080"/>
                  <a:pt x="2880" y="1080"/>
                  <a:pt x="2880" y="1080"/>
                </a:cubicBezTo>
                <a:cubicBezTo>
                  <a:pt x="2880" y="1081"/>
                  <a:pt x="2880" y="1081"/>
                  <a:pt x="2880" y="1081"/>
                </a:cubicBezTo>
                <a:cubicBezTo>
                  <a:pt x="2881" y="1082"/>
                  <a:pt x="2881" y="1082"/>
                  <a:pt x="2881" y="1082"/>
                </a:cubicBezTo>
                <a:cubicBezTo>
                  <a:pt x="2883" y="1083"/>
                  <a:pt x="2883" y="1083"/>
                  <a:pt x="2883" y="1083"/>
                </a:cubicBezTo>
                <a:cubicBezTo>
                  <a:pt x="2886" y="1083"/>
                  <a:pt x="2886" y="1083"/>
                  <a:pt x="2886" y="1083"/>
                </a:cubicBezTo>
                <a:cubicBezTo>
                  <a:pt x="2893" y="1085"/>
                  <a:pt x="2893" y="1085"/>
                  <a:pt x="2893" y="1085"/>
                </a:cubicBezTo>
                <a:cubicBezTo>
                  <a:pt x="2899" y="1087"/>
                  <a:pt x="2899" y="1087"/>
                  <a:pt x="2899" y="1087"/>
                </a:cubicBezTo>
                <a:cubicBezTo>
                  <a:pt x="2900" y="1086"/>
                  <a:pt x="2900" y="1086"/>
                  <a:pt x="2900" y="1086"/>
                </a:cubicBezTo>
                <a:cubicBezTo>
                  <a:pt x="2903" y="1087"/>
                  <a:pt x="2903" y="1087"/>
                  <a:pt x="2903" y="1087"/>
                </a:cubicBezTo>
                <a:cubicBezTo>
                  <a:pt x="2904" y="1089"/>
                  <a:pt x="2904" y="1089"/>
                  <a:pt x="2904" y="1089"/>
                </a:cubicBezTo>
                <a:cubicBezTo>
                  <a:pt x="2907" y="1090"/>
                  <a:pt x="2907" y="1090"/>
                  <a:pt x="2907" y="1090"/>
                </a:cubicBezTo>
                <a:cubicBezTo>
                  <a:pt x="2908" y="1090"/>
                  <a:pt x="2908" y="1090"/>
                  <a:pt x="2908" y="1090"/>
                </a:cubicBezTo>
                <a:cubicBezTo>
                  <a:pt x="2910" y="1089"/>
                  <a:pt x="2910" y="1089"/>
                  <a:pt x="2910" y="1089"/>
                </a:cubicBezTo>
                <a:cubicBezTo>
                  <a:pt x="2908" y="1091"/>
                  <a:pt x="2908" y="1091"/>
                  <a:pt x="2908" y="1091"/>
                </a:cubicBezTo>
                <a:cubicBezTo>
                  <a:pt x="2909" y="1092"/>
                  <a:pt x="2909" y="1092"/>
                  <a:pt x="2909" y="1092"/>
                </a:cubicBezTo>
                <a:cubicBezTo>
                  <a:pt x="2910" y="1091"/>
                  <a:pt x="2910" y="1091"/>
                  <a:pt x="2910" y="1091"/>
                </a:cubicBezTo>
                <a:cubicBezTo>
                  <a:pt x="2911" y="1092"/>
                  <a:pt x="2911" y="1092"/>
                  <a:pt x="2911" y="1092"/>
                </a:cubicBezTo>
                <a:cubicBezTo>
                  <a:pt x="2913" y="1092"/>
                  <a:pt x="2913" y="1092"/>
                  <a:pt x="2913" y="1092"/>
                </a:cubicBezTo>
                <a:cubicBezTo>
                  <a:pt x="2912" y="1093"/>
                  <a:pt x="2912" y="1093"/>
                  <a:pt x="2912" y="1093"/>
                </a:cubicBezTo>
                <a:cubicBezTo>
                  <a:pt x="2912" y="1094"/>
                  <a:pt x="2912" y="1094"/>
                  <a:pt x="2912" y="1094"/>
                </a:cubicBezTo>
                <a:cubicBezTo>
                  <a:pt x="2912" y="1095"/>
                  <a:pt x="2912" y="1095"/>
                  <a:pt x="2912" y="1095"/>
                </a:cubicBezTo>
                <a:cubicBezTo>
                  <a:pt x="2913" y="1095"/>
                  <a:pt x="2913" y="1095"/>
                  <a:pt x="2913" y="1095"/>
                </a:cubicBezTo>
                <a:cubicBezTo>
                  <a:pt x="2915" y="1095"/>
                  <a:pt x="2915" y="1095"/>
                  <a:pt x="2915" y="1095"/>
                </a:cubicBezTo>
                <a:cubicBezTo>
                  <a:pt x="2913" y="1097"/>
                  <a:pt x="2913" y="1097"/>
                  <a:pt x="2913" y="1097"/>
                </a:cubicBezTo>
                <a:cubicBezTo>
                  <a:pt x="2913" y="1098"/>
                  <a:pt x="2913" y="1098"/>
                  <a:pt x="2913" y="1098"/>
                </a:cubicBezTo>
                <a:cubicBezTo>
                  <a:pt x="2915" y="1100"/>
                  <a:pt x="2915" y="1100"/>
                  <a:pt x="2915" y="1100"/>
                </a:cubicBezTo>
                <a:cubicBezTo>
                  <a:pt x="2915" y="1102"/>
                  <a:pt x="2915" y="1102"/>
                  <a:pt x="2915" y="1102"/>
                </a:cubicBezTo>
                <a:cubicBezTo>
                  <a:pt x="2915" y="1104"/>
                  <a:pt x="2915" y="1104"/>
                  <a:pt x="2915" y="1104"/>
                </a:cubicBezTo>
                <a:cubicBezTo>
                  <a:pt x="2917" y="1105"/>
                  <a:pt x="2917" y="1105"/>
                  <a:pt x="2917" y="1105"/>
                </a:cubicBezTo>
                <a:cubicBezTo>
                  <a:pt x="2920" y="1107"/>
                  <a:pt x="2920" y="1107"/>
                  <a:pt x="2920" y="1107"/>
                </a:cubicBezTo>
                <a:cubicBezTo>
                  <a:pt x="2920" y="1108"/>
                  <a:pt x="2920" y="1108"/>
                  <a:pt x="2920" y="1108"/>
                </a:cubicBezTo>
                <a:cubicBezTo>
                  <a:pt x="2919" y="1108"/>
                  <a:pt x="2919" y="1108"/>
                  <a:pt x="2919" y="1108"/>
                </a:cubicBezTo>
                <a:cubicBezTo>
                  <a:pt x="2918" y="1108"/>
                  <a:pt x="2918" y="1108"/>
                  <a:pt x="2918" y="1108"/>
                </a:cubicBezTo>
                <a:cubicBezTo>
                  <a:pt x="2917" y="1109"/>
                  <a:pt x="2917" y="1109"/>
                  <a:pt x="2917" y="1109"/>
                </a:cubicBezTo>
                <a:cubicBezTo>
                  <a:pt x="2919" y="1110"/>
                  <a:pt x="2919" y="1110"/>
                  <a:pt x="2919" y="1110"/>
                </a:cubicBezTo>
                <a:cubicBezTo>
                  <a:pt x="2921" y="1111"/>
                  <a:pt x="2921" y="1111"/>
                  <a:pt x="2921" y="1111"/>
                </a:cubicBezTo>
                <a:cubicBezTo>
                  <a:pt x="2923" y="1111"/>
                  <a:pt x="2923" y="1111"/>
                  <a:pt x="2923" y="1111"/>
                </a:cubicBezTo>
                <a:cubicBezTo>
                  <a:pt x="2925" y="1111"/>
                  <a:pt x="2925" y="1111"/>
                  <a:pt x="2925" y="1111"/>
                </a:cubicBezTo>
                <a:cubicBezTo>
                  <a:pt x="2923" y="1111"/>
                  <a:pt x="2923" y="1111"/>
                  <a:pt x="2923" y="1111"/>
                </a:cubicBezTo>
                <a:cubicBezTo>
                  <a:pt x="2921" y="1112"/>
                  <a:pt x="2921" y="1112"/>
                  <a:pt x="2921" y="1112"/>
                </a:cubicBezTo>
                <a:cubicBezTo>
                  <a:pt x="2920" y="1112"/>
                  <a:pt x="2920" y="1112"/>
                  <a:pt x="2920" y="1112"/>
                </a:cubicBezTo>
                <a:cubicBezTo>
                  <a:pt x="2919" y="1112"/>
                  <a:pt x="2919" y="1112"/>
                  <a:pt x="2919" y="1112"/>
                </a:cubicBezTo>
                <a:cubicBezTo>
                  <a:pt x="2920" y="1114"/>
                  <a:pt x="2920" y="1114"/>
                  <a:pt x="2920" y="1114"/>
                </a:cubicBezTo>
                <a:cubicBezTo>
                  <a:pt x="2922" y="1114"/>
                  <a:pt x="2922" y="1114"/>
                  <a:pt x="2922" y="1114"/>
                </a:cubicBezTo>
                <a:cubicBezTo>
                  <a:pt x="2921" y="1117"/>
                  <a:pt x="2921" y="1117"/>
                  <a:pt x="2921" y="1117"/>
                </a:cubicBezTo>
                <a:cubicBezTo>
                  <a:pt x="2921" y="1117"/>
                  <a:pt x="2921" y="1117"/>
                  <a:pt x="2921" y="1117"/>
                </a:cubicBezTo>
                <a:cubicBezTo>
                  <a:pt x="2921" y="1119"/>
                  <a:pt x="2921" y="1119"/>
                  <a:pt x="2921" y="1119"/>
                </a:cubicBezTo>
                <a:cubicBezTo>
                  <a:pt x="2920" y="1120"/>
                  <a:pt x="2920" y="1120"/>
                  <a:pt x="2920" y="1120"/>
                </a:cubicBezTo>
                <a:cubicBezTo>
                  <a:pt x="2919" y="1121"/>
                  <a:pt x="2919" y="1121"/>
                  <a:pt x="2919" y="1121"/>
                </a:cubicBezTo>
                <a:cubicBezTo>
                  <a:pt x="2921" y="1122"/>
                  <a:pt x="2921" y="1122"/>
                  <a:pt x="2921" y="1122"/>
                </a:cubicBezTo>
                <a:cubicBezTo>
                  <a:pt x="2923" y="1121"/>
                  <a:pt x="2923" y="1121"/>
                  <a:pt x="2923" y="1121"/>
                </a:cubicBezTo>
                <a:cubicBezTo>
                  <a:pt x="2924" y="1122"/>
                  <a:pt x="2924" y="1122"/>
                  <a:pt x="2924" y="1122"/>
                </a:cubicBezTo>
                <a:cubicBezTo>
                  <a:pt x="2925" y="1122"/>
                  <a:pt x="2925" y="1122"/>
                  <a:pt x="2925" y="1122"/>
                </a:cubicBezTo>
                <a:cubicBezTo>
                  <a:pt x="2927" y="1121"/>
                  <a:pt x="2927" y="1121"/>
                  <a:pt x="2927" y="1121"/>
                </a:cubicBezTo>
                <a:cubicBezTo>
                  <a:pt x="2930" y="1121"/>
                  <a:pt x="2930" y="1121"/>
                  <a:pt x="2930" y="1121"/>
                </a:cubicBezTo>
                <a:cubicBezTo>
                  <a:pt x="2931" y="1120"/>
                  <a:pt x="2931" y="1120"/>
                  <a:pt x="2931" y="1120"/>
                </a:cubicBezTo>
                <a:cubicBezTo>
                  <a:pt x="2932" y="1118"/>
                  <a:pt x="2932" y="1118"/>
                  <a:pt x="2932" y="1118"/>
                </a:cubicBezTo>
                <a:cubicBezTo>
                  <a:pt x="2932" y="1120"/>
                  <a:pt x="2932" y="1120"/>
                  <a:pt x="2932" y="1120"/>
                </a:cubicBezTo>
                <a:cubicBezTo>
                  <a:pt x="2931" y="1122"/>
                  <a:pt x="2931" y="1122"/>
                  <a:pt x="2931" y="1122"/>
                </a:cubicBezTo>
                <a:cubicBezTo>
                  <a:pt x="2931" y="1123"/>
                  <a:pt x="2931" y="1123"/>
                  <a:pt x="2931" y="1123"/>
                </a:cubicBezTo>
                <a:cubicBezTo>
                  <a:pt x="2932" y="1124"/>
                  <a:pt x="2932" y="1124"/>
                  <a:pt x="2932" y="1124"/>
                </a:cubicBezTo>
                <a:cubicBezTo>
                  <a:pt x="2934" y="1126"/>
                  <a:pt x="2934" y="1126"/>
                  <a:pt x="2934" y="1126"/>
                </a:cubicBezTo>
                <a:cubicBezTo>
                  <a:pt x="2934" y="1126"/>
                  <a:pt x="2934" y="1126"/>
                  <a:pt x="2934" y="1126"/>
                </a:cubicBezTo>
                <a:cubicBezTo>
                  <a:pt x="2935" y="1128"/>
                  <a:pt x="2935" y="1128"/>
                  <a:pt x="2935" y="1128"/>
                </a:cubicBezTo>
                <a:cubicBezTo>
                  <a:pt x="2938" y="1131"/>
                  <a:pt x="2938" y="1131"/>
                  <a:pt x="2938" y="1131"/>
                </a:cubicBezTo>
                <a:cubicBezTo>
                  <a:pt x="2940" y="1132"/>
                  <a:pt x="2940" y="1132"/>
                  <a:pt x="2940" y="1132"/>
                </a:cubicBezTo>
                <a:cubicBezTo>
                  <a:pt x="2941" y="1132"/>
                  <a:pt x="2941" y="1132"/>
                  <a:pt x="2941" y="1132"/>
                </a:cubicBezTo>
                <a:cubicBezTo>
                  <a:pt x="2944" y="1132"/>
                  <a:pt x="2944" y="1132"/>
                  <a:pt x="2944" y="1132"/>
                </a:cubicBezTo>
                <a:cubicBezTo>
                  <a:pt x="2945" y="1132"/>
                  <a:pt x="2945" y="1132"/>
                  <a:pt x="2945" y="1132"/>
                </a:cubicBezTo>
                <a:cubicBezTo>
                  <a:pt x="2947" y="1132"/>
                  <a:pt x="2947" y="1132"/>
                  <a:pt x="2947" y="1132"/>
                </a:cubicBezTo>
                <a:cubicBezTo>
                  <a:pt x="2953" y="1132"/>
                  <a:pt x="2953" y="1132"/>
                  <a:pt x="2953" y="1132"/>
                </a:cubicBezTo>
                <a:cubicBezTo>
                  <a:pt x="2954" y="1132"/>
                  <a:pt x="2954" y="1132"/>
                  <a:pt x="2954" y="1132"/>
                </a:cubicBezTo>
                <a:cubicBezTo>
                  <a:pt x="2954" y="1133"/>
                  <a:pt x="2954" y="1133"/>
                  <a:pt x="2954" y="1133"/>
                </a:cubicBezTo>
                <a:cubicBezTo>
                  <a:pt x="2956" y="1134"/>
                  <a:pt x="2956" y="1134"/>
                  <a:pt x="2956" y="1134"/>
                </a:cubicBezTo>
                <a:cubicBezTo>
                  <a:pt x="2957" y="1135"/>
                  <a:pt x="2957" y="1135"/>
                  <a:pt x="2957" y="1135"/>
                </a:cubicBezTo>
                <a:cubicBezTo>
                  <a:pt x="2959" y="1133"/>
                  <a:pt x="2959" y="1133"/>
                  <a:pt x="2959" y="1133"/>
                </a:cubicBezTo>
                <a:cubicBezTo>
                  <a:pt x="2963" y="1132"/>
                  <a:pt x="2963" y="1132"/>
                  <a:pt x="2963" y="1132"/>
                </a:cubicBezTo>
                <a:cubicBezTo>
                  <a:pt x="2963" y="1131"/>
                  <a:pt x="2963" y="1131"/>
                  <a:pt x="2963" y="1131"/>
                </a:cubicBezTo>
                <a:cubicBezTo>
                  <a:pt x="2964" y="1132"/>
                  <a:pt x="2964" y="1132"/>
                  <a:pt x="2964" y="1132"/>
                </a:cubicBezTo>
                <a:cubicBezTo>
                  <a:pt x="2965" y="1131"/>
                  <a:pt x="2965" y="1131"/>
                  <a:pt x="2965" y="1131"/>
                </a:cubicBezTo>
                <a:cubicBezTo>
                  <a:pt x="2965" y="1128"/>
                  <a:pt x="2965" y="1128"/>
                  <a:pt x="2965" y="1128"/>
                </a:cubicBezTo>
                <a:cubicBezTo>
                  <a:pt x="2962" y="1126"/>
                  <a:pt x="2962" y="1126"/>
                  <a:pt x="2962" y="1126"/>
                </a:cubicBezTo>
                <a:cubicBezTo>
                  <a:pt x="2959" y="1125"/>
                  <a:pt x="2959" y="1125"/>
                  <a:pt x="2959" y="1125"/>
                </a:cubicBezTo>
                <a:cubicBezTo>
                  <a:pt x="2957" y="1125"/>
                  <a:pt x="2957" y="1125"/>
                  <a:pt x="2957" y="1125"/>
                </a:cubicBezTo>
                <a:cubicBezTo>
                  <a:pt x="2956" y="1124"/>
                  <a:pt x="2956" y="1124"/>
                  <a:pt x="2956" y="1124"/>
                </a:cubicBezTo>
                <a:cubicBezTo>
                  <a:pt x="2954" y="1123"/>
                  <a:pt x="2954" y="1123"/>
                  <a:pt x="2954" y="1123"/>
                </a:cubicBezTo>
                <a:cubicBezTo>
                  <a:pt x="2954" y="1123"/>
                  <a:pt x="2954" y="1123"/>
                  <a:pt x="2954" y="1123"/>
                </a:cubicBezTo>
                <a:cubicBezTo>
                  <a:pt x="2953" y="1122"/>
                  <a:pt x="2953" y="1122"/>
                  <a:pt x="2953" y="1122"/>
                </a:cubicBezTo>
                <a:cubicBezTo>
                  <a:pt x="2952" y="1120"/>
                  <a:pt x="2952" y="1120"/>
                  <a:pt x="2952" y="1120"/>
                </a:cubicBezTo>
                <a:cubicBezTo>
                  <a:pt x="2951" y="1118"/>
                  <a:pt x="2951" y="1118"/>
                  <a:pt x="2951" y="1118"/>
                </a:cubicBezTo>
                <a:cubicBezTo>
                  <a:pt x="2949" y="1117"/>
                  <a:pt x="2949" y="1117"/>
                  <a:pt x="2949" y="1117"/>
                </a:cubicBezTo>
                <a:cubicBezTo>
                  <a:pt x="2948" y="1115"/>
                  <a:pt x="2948" y="1115"/>
                  <a:pt x="2948" y="1115"/>
                </a:cubicBezTo>
                <a:cubicBezTo>
                  <a:pt x="2947" y="1114"/>
                  <a:pt x="2947" y="1114"/>
                  <a:pt x="2947" y="1114"/>
                </a:cubicBezTo>
                <a:cubicBezTo>
                  <a:pt x="2948" y="1115"/>
                  <a:pt x="2948" y="1115"/>
                  <a:pt x="2948" y="1115"/>
                </a:cubicBezTo>
                <a:cubicBezTo>
                  <a:pt x="2949" y="1117"/>
                  <a:pt x="2949" y="1117"/>
                  <a:pt x="2949" y="1117"/>
                </a:cubicBezTo>
                <a:cubicBezTo>
                  <a:pt x="2950" y="1117"/>
                  <a:pt x="2950" y="1117"/>
                  <a:pt x="2950" y="1117"/>
                </a:cubicBezTo>
                <a:cubicBezTo>
                  <a:pt x="2952" y="1118"/>
                  <a:pt x="2952" y="1118"/>
                  <a:pt x="2952" y="1118"/>
                </a:cubicBezTo>
                <a:cubicBezTo>
                  <a:pt x="2953" y="1120"/>
                  <a:pt x="2953" y="1120"/>
                  <a:pt x="2953" y="1120"/>
                </a:cubicBezTo>
                <a:cubicBezTo>
                  <a:pt x="2953" y="1122"/>
                  <a:pt x="2953" y="1122"/>
                  <a:pt x="2953" y="1122"/>
                </a:cubicBezTo>
                <a:cubicBezTo>
                  <a:pt x="2954" y="1122"/>
                  <a:pt x="2954" y="1122"/>
                  <a:pt x="2954" y="1122"/>
                </a:cubicBezTo>
                <a:cubicBezTo>
                  <a:pt x="2956" y="1123"/>
                  <a:pt x="2956" y="1123"/>
                  <a:pt x="2956" y="1123"/>
                </a:cubicBezTo>
                <a:cubicBezTo>
                  <a:pt x="2958" y="1124"/>
                  <a:pt x="2958" y="1124"/>
                  <a:pt x="2958" y="1124"/>
                </a:cubicBezTo>
                <a:cubicBezTo>
                  <a:pt x="2959" y="1124"/>
                  <a:pt x="2959" y="1124"/>
                  <a:pt x="2959" y="1124"/>
                </a:cubicBezTo>
                <a:cubicBezTo>
                  <a:pt x="2961" y="1124"/>
                  <a:pt x="2961" y="1124"/>
                  <a:pt x="2961" y="1124"/>
                </a:cubicBezTo>
                <a:cubicBezTo>
                  <a:pt x="2964" y="1123"/>
                  <a:pt x="2964" y="1123"/>
                  <a:pt x="2964" y="1123"/>
                </a:cubicBezTo>
                <a:cubicBezTo>
                  <a:pt x="2966" y="1123"/>
                  <a:pt x="2966" y="1123"/>
                  <a:pt x="2966" y="1123"/>
                </a:cubicBezTo>
                <a:cubicBezTo>
                  <a:pt x="2968" y="1123"/>
                  <a:pt x="2968" y="1123"/>
                  <a:pt x="2968" y="1123"/>
                </a:cubicBezTo>
                <a:cubicBezTo>
                  <a:pt x="2967" y="1122"/>
                  <a:pt x="2967" y="1122"/>
                  <a:pt x="2967" y="1122"/>
                </a:cubicBezTo>
                <a:cubicBezTo>
                  <a:pt x="2966" y="1121"/>
                  <a:pt x="2966" y="1121"/>
                  <a:pt x="2966" y="1121"/>
                </a:cubicBezTo>
                <a:cubicBezTo>
                  <a:pt x="2965" y="1120"/>
                  <a:pt x="2965" y="1120"/>
                  <a:pt x="2965" y="1120"/>
                </a:cubicBezTo>
                <a:cubicBezTo>
                  <a:pt x="2964" y="1120"/>
                  <a:pt x="2964" y="1120"/>
                  <a:pt x="2964" y="1120"/>
                </a:cubicBezTo>
                <a:cubicBezTo>
                  <a:pt x="2963" y="1119"/>
                  <a:pt x="2963" y="1119"/>
                  <a:pt x="2963" y="1119"/>
                </a:cubicBezTo>
                <a:cubicBezTo>
                  <a:pt x="2964" y="1120"/>
                  <a:pt x="2964" y="1120"/>
                  <a:pt x="2964" y="1120"/>
                </a:cubicBezTo>
                <a:cubicBezTo>
                  <a:pt x="2966" y="1119"/>
                  <a:pt x="2966" y="1119"/>
                  <a:pt x="2966" y="1119"/>
                </a:cubicBezTo>
                <a:cubicBezTo>
                  <a:pt x="2968" y="1121"/>
                  <a:pt x="2968" y="1121"/>
                  <a:pt x="2968" y="1121"/>
                </a:cubicBezTo>
                <a:cubicBezTo>
                  <a:pt x="2969" y="1121"/>
                  <a:pt x="2969" y="1121"/>
                  <a:pt x="2969" y="1121"/>
                </a:cubicBezTo>
                <a:cubicBezTo>
                  <a:pt x="2969" y="1120"/>
                  <a:pt x="2969" y="1120"/>
                  <a:pt x="2969" y="1120"/>
                </a:cubicBezTo>
                <a:cubicBezTo>
                  <a:pt x="2969" y="1119"/>
                  <a:pt x="2969" y="1119"/>
                  <a:pt x="2969" y="1119"/>
                </a:cubicBezTo>
                <a:cubicBezTo>
                  <a:pt x="2970" y="1118"/>
                  <a:pt x="2970" y="1118"/>
                  <a:pt x="2970" y="1118"/>
                </a:cubicBezTo>
                <a:cubicBezTo>
                  <a:pt x="2970" y="1117"/>
                  <a:pt x="2970" y="1117"/>
                  <a:pt x="2970" y="1117"/>
                </a:cubicBezTo>
                <a:cubicBezTo>
                  <a:pt x="2969" y="1115"/>
                  <a:pt x="2969" y="1115"/>
                  <a:pt x="2969" y="1115"/>
                </a:cubicBezTo>
                <a:cubicBezTo>
                  <a:pt x="2968" y="1114"/>
                  <a:pt x="2968" y="1114"/>
                  <a:pt x="2968" y="1114"/>
                </a:cubicBezTo>
                <a:cubicBezTo>
                  <a:pt x="2968" y="1113"/>
                  <a:pt x="2968" y="1113"/>
                  <a:pt x="2968" y="1113"/>
                </a:cubicBezTo>
                <a:cubicBezTo>
                  <a:pt x="2970" y="1114"/>
                  <a:pt x="2970" y="1114"/>
                  <a:pt x="2970" y="1114"/>
                </a:cubicBezTo>
                <a:cubicBezTo>
                  <a:pt x="2970" y="1115"/>
                  <a:pt x="2970" y="1115"/>
                  <a:pt x="2970" y="1115"/>
                </a:cubicBezTo>
                <a:cubicBezTo>
                  <a:pt x="2972" y="1117"/>
                  <a:pt x="2972" y="1117"/>
                  <a:pt x="2972" y="1117"/>
                </a:cubicBezTo>
                <a:cubicBezTo>
                  <a:pt x="2974" y="1117"/>
                  <a:pt x="2974" y="1117"/>
                  <a:pt x="2974" y="1117"/>
                </a:cubicBezTo>
                <a:cubicBezTo>
                  <a:pt x="2974" y="1116"/>
                  <a:pt x="2974" y="1116"/>
                  <a:pt x="2974" y="1116"/>
                </a:cubicBezTo>
                <a:cubicBezTo>
                  <a:pt x="2974" y="1115"/>
                  <a:pt x="2974" y="1115"/>
                  <a:pt x="2974" y="1115"/>
                </a:cubicBezTo>
                <a:cubicBezTo>
                  <a:pt x="2974" y="1115"/>
                  <a:pt x="2974" y="1115"/>
                  <a:pt x="2974" y="1115"/>
                </a:cubicBezTo>
                <a:cubicBezTo>
                  <a:pt x="2975" y="1117"/>
                  <a:pt x="2975" y="1117"/>
                  <a:pt x="2975" y="1117"/>
                </a:cubicBezTo>
                <a:cubicBezTo>
                  <a:pt x="2975" y="1117"/>
                  <a:pt x="2975" y="1117"/>
                  <a:pt x="2975" y="1117"/>
                </a:cubicBezTo>
                <a:cubicBezTo>
                  <a:pt x="2976" y="1116"/>
                  <a:pt x="2976" y="1116"/>
                  <a:pt x="2976" y="1116"/>
                </a:cubicBezTo>
                <a:cubicBezTo>
                  <a:pt x="2975" y="1115"/>
                  <a:pt x="2975" y="1115"/>
                  <a:pt x="2975" y="1115"/>
                </a:cubicBezTo>
                <a:cubicBezTo>
                  <a:pt x="2976" y="1112"/>
                  <a:pt x="2976" y="1112"/>
                  <a:pt x="2976" y="1112"/>
                </a:cubicBezTo>
                <a:cubicBezTo>
                  <a:pt x="2976" y="1114"/>
                  <a:pt x="2976" y="1114"/>
                  <a:pt x="2976" y="1114"/>
                </a:cubicBezTo>
                <a:cubicBezTo>
                  <a:pt x="2979" y="1114"/>
                  <a:pt x="2979" y="1114"/>
                  <a:pt x="2979" y="1114"/>
                </a:cubicBezTo>
                <a:cubicBezTo>
                  <a:pt x="2979" y="1116"/>
                  <a:pt x="2979" y="1116"/>
                  <a:pt x="2979" y="1116"/>
                </a:cubicBezTo>
                <a:cubicBezTo>
                  <a:pt x="2981" y="1116"/>
                  <a:pt x="2981" y="1116"/>
                  <a:pt x="2981" y="1116"/>
                </a:cubicBezTo>
                <a:cubicBezTo>
                  <a:pt x="2982" y="1116"/>
                  <a:pt x="2982" y="1116"/>
                  <a:pt x="2982" y="1116"/>
                </a:cubicBezTo>
                <a:cubicBezTo>
                  <a:pt x="2983" y="1117"/>
                  <a:pt x="2983" y="1117"/>
                  <a:pt x="2983" y="1117"/>
                </a:cubicBezTo>
                <a:cubicBezTo>
                  <a:pt x="2984" y="1115"/>
                  <a:pt x="2984" y="1115"/>
                  <a:pt x="2984" y="1115"/>
                </a:cubicBezTo>
                <a:cubicBezTo>
                  <a:pt x="2983" y="1117"/>
                  <a:pt x="2983" y="1117"/>
                  <a:pt x="2983" y="1117"/>
                </a:cubicBezTo>
                <a:cubicBezTo>
                  <a:pt x="2984" y="1118"/>
                  <a:pt x="2984" y="1118"/>
                  <a:pt x="2984" y="1118"/>
                </a:cubicBezTo>
                <a:cubicBezTo>
                  <a:pt x="2985" y="1118"/>
                  <a:pt x="2985" y="1118"/>
                  <a:pt x="2985" y="1118"/>
                </a:cubicBezTo>
                <a:cubicBezTo>
                  <a:pt x="2986" y="1120"/>
                  <a:pt x="2986" y="1120"/>
                  <a:pt x="2986" y="1120"/>
                </a:cubicBezTo>
                <a:cubicBezTo>
                  <a:pt x="2991" y="1121"/>
                  <a:pt x="2991" y="1121"/>
                  <a:pt x="2991" y="1121"/>
                </a:cubicBezTo>
                <a:cubicBezTo>
                  <a:pt x="2993" y="1122"/>
                  <a:pt x="2993" y="1122"/>
                  <a:pt x="2993" y="1122"/>
                </a:cubicBezTo>
                <a:cubicBezTo>
                  <a:pt x="2995" y="1124"/>
                  <a:pt x="2995" y="1124"/>
                  <a:pt x="2995" y="1124"/>
                </a:cubicBezTo>
                <a:cubicBezTo>
                  <a:pt x="2995" y="1126"/>
                  <a:pt x="2995" y="1126"/>
                  <a:pt x="2995" y="1126"/>
                </a:cubicBezTo>
                <a:cubicBezTo>
                  <a:pt x="2998" y="1130"/>
                  <a:pt x="2998" y="1130"/>
                  <a:pt x="2998" y="1130"/>
                </a:cubicBezTo>
                <a:cubicBezTo>
                  <a:pt x="2999" y="1131"/>
                  <a:pt x="2999" y="1131"/>
                  <a:pt x="2999" y="1131"/>
                </a:cubicBezTo>
                <a:cubicBezTo>
                  <a:pt x="3000" y="1132"/>
                  <a:pt x="3000" y="1132"/>
                  <a:pt x="3000" y="1132"/>
                </a:cubicBezTo>
                <a:cubicBezTo>
                  <a:pt x="3001" y="1133"/>
                  <a:pt x="3001" y="1133"/>
                  <a:pt x="3001" y="1133"/>
                </a:cubicBezTo>
                <a:cubicBezTo>
                  <a:pt x="3002" y="1135"/>
                  <a:pt x="3002" y="1135"/>
                  <a:pt x="3002" y="1135"/>
                </a:cubicBezTo>
                <a:cubicBezTo>
                  <a:pt x="3007" y="1139"/>
                  <a:pt x="3007" y="1139"/>
                  <a:pt x="3007" y="1139"/>
                </a:cubicBezTo>
                <a:cubicBezTo>
                  <a:pt x="3007" y="1141"/>
                  <a:pt x="3007" y="1141"/>
                  <a:pt x="3007" y="1141"/>
                </a:cubicBezTo>
                <a:cubicBezTo>
                  <a:pt x="3008" y="1142"/>
                  <a:pt x="3008" y="1142"/>
                  <a:pt x="3008" y="1142"/>
                </a:cubicBezTo>
                <a:cubicBezTo>
                  <a:pt x="3011" y="1143"/>
                  <a:pt x="3011" y="1143"/>
                  <a:pt x="3011" y="1143"/>
                </a:cubicBezTo>
                <a:cubicBezTo>
                  <a:pt x="3012" y="1143"/>
                  <a:pt x="3012" y="1143"/>
                  <a:pt x="3012" y="1143"/>
                </a:cubicBezTo>
                <a:cubicBezTo>
                  <a:pt x="3013" y="1143"/>
                  <a:pt x="3013" y="1143"/>
                  <a:pt x="3013" y="1143"/>
                </a:cubicBezTo>
                <a:cubicBezTo>
                  <a:pt x="3015" y="1143"/>
                  <a:pt x="3015" y="1143"/>
                  <a:pt x="3015" y="1143"/>
                </a:cubicBezTo>
                <a:cubicBezTo>
                  <a:pt x="3018" y="1143"/>
                  <a:pt x="3018" y="1143"/>
                  <a:pt x="3018" y="1143"/>
                </a:cubicBezTo>
                <a:cubicBezTo>
                  <a:pt x="3020" y="1144"/>
                  <a:pt x="3020" y="1144"/>
                  <a:pt x="3020" y="1144"/>
                </a:cubicBezTo>
                <a:cubicBezTo>
                  <a:pt x="3022" y="1144"/>
                  <a:pt x="3022" y="1144"/>
                  <a:pt x="3022" y="1144"/>
                </a:cubicBezTo>
                <a:cubicBezTo>
                  <a:pt x="3025" y="1144"/>
                  <a:pt x="3025" y="1144"/>
                  <a:pt x="3025" y="1144"/>
                </a:cubicBezTo>
                <a:cubicBezTo>
                  <a:pt x="3027" y="1145"/>
                  <a:pt x="3027" y="1145"/>
                  <a:pt x="3027" y="1145"/>
                </a:cubicBezTo>
                <a:cubicBezTo>
                  <a:pt x="3029" y="1145"/>
                  <a:pt x="3029" y="1145"/>
                  <a:pt x="3029" y="1145"/>
                </a:cubicBezTo>
                <a:cubicBezTo>
                  <a:pt x="3030" y="1146"/>
                  <a:pt x="3030" y="1146"/>
                  <a:pt x="3030" y="1146"/>
                </a:cubicBezTo>
                <a:cubicBezTo>
                  <a:pt x="3032" y="1146"/>
                  <a:pt x="3032" y="1146"/>
                  <a:pt x="3032" y="1146"/>
                </a:cubicBezTo>
                <a:cubicBezTo>
                  <a:pt x="3032" y="1146"/>
                  <a:pt x="3032" y="1146"/>
                  <a:pt x="3032" y="1146"/>
                </a:cubicBezTo>
                <a:cubicBezTo>
                  <a:pt x="3031" y="1147"/>
                  <a:pt x="3031" y="1147"/>
                  <a:pt x="3031" y="1147"/>
                </a:cubicBezTo>
                <a:cubicBezTo>
                  <a:pt x="3033" y="1148"/>
                  <a:pt x="3033" y="1148"/>
                  <a:pt x="3033" y="1148"/>
                </a:cubicBezTo>
                <a:cubicBezTo>
                  <a:pt x="3035" y="1149"/>
                  <a:pt x="3035" y="1149"/>
                  <a:pt x="3035" y="1149"/>
                </a:cubicBezTo>
                <a:cubicBezTo>
                  <a:pt x="3038" y="1149"/>
                  <a:pt x="3038" y="1149"/>
                  <a:pt x="3038" y="1149"/>
                </a:cubicBezTo>
                <a:cubicBezTo>
                  <a:pt x="3038" y="1147"/>
                  <a:pt x="3038" y="1147"/>
                  <a:pt x="3038" y="1147"/>
                </a:cubicBezTo>
                <a:cubicBezTo>
                  <a:pt x="3036" y="1146"/>
                  <a:pt x="3036" y="1146"/>
                  <a:pt x="3036" y="1146"/>
                </a:cubicBezTo>
                <a:cubicBezTo>
                  <a:pt x="3035" y="1146"/>
                  <a:pt x="3035" y="1146"/>
                  <a:pt x="3035" y="1146"/>
                </a:cubicBezTo>
                <a:cubicBezTo>
                  <a:pt x="3035" y="1145"/>
                  <a:pt x="3035" y="1145"/>
                  <a:pt x="3035" y="1145"/>
                </a:cubicBezTo>
                <a:cubicBezTo>
                  <a:pt x="3037" y="1144"/>
                  <a:pt x="3037" y="1144"/>
                  <a:pt x="3037" y="1144"/>
                </a:cubicBezTo>
                <a:cubicBezTo>
                  <a:pt x="3039" y="1145"/>
                  <a:pt x="3039" y="1145"/>
                  <a:pt x="3039" y="1145"/>
                </a:cubicBezTo>
                <a:cubicBezTo>
                  <a:pt x="3040" y="1144"/>
                  <a:pt x="3040" y="1144"/>
                  <a:pt x="3040" y="1144"/>
                </a:cubicBezTo>
                <a:cubicBezTo>
                  <a:pt x="3036" y="1143"/>
                  <a:pt x="3036" y="1143"/>
                  <a:pt x="3036" y="1143"/>
                </a:cubicBezTo>
                <a:cubicBezTo>
                  <a:pt x="3032" y="1142"/>
                  <a:pt x="3032" y="1142"/>
                  <a:pt x="3032" y="1142"/>
                </a:cubicBezTo>
                <a:cubicBezTo>
                  <a:pt x="3029" y="1141"/>
                  <a:pt x="3029" y="1141"/>
                  <a:pt x="3029" y="1141"/>
                </a:cubicBezTo>
                <a:cubicBezTo>
                  <a:pt x="3028" y="1140"/>
                  <a:pt x="3028" y="1140"/>
                  <a:pt x="3028" y="1140"/>
                </a:cubicBezTo>
                <a:cubicBezTo>
                  <a:pt x="3031" y="1139"/>
                  <a:pt x="3031" y="1139"/>
                  <a:pt x="3031" y="1139"/>
                </a:cubicBezTo>
                <a:cubicBezTo>
                  <a:pt x="3032" y="1139"/>
                  <a:pt x="3032" y="1139"/>
                  <a:pt x="3032" y="1139"/>
                </a:cubicBezTo>
                <a:cubicBezTo>
                  <a:pt x="3033" y="1138"/>
                  <a:pt x="3033" y="1138"/>
                  <a:pt x="3033" y="1138"/>
                </a:cubicBezTo>
                <a:cubicBezTo>
                  <a:pt x="3032" y="1137"/>
                  <a:pt x="3032" y="1137"/>
                  <a:pt x="3032" y="1137"/>
                </a:cubicBezTo>
                <a:cubicBezTo>
                  <a:pt x="3028" y="1137"/>
                  <a:pt x="3028" y="1137"/>
                  <a:pt x="3028" y="1137"/>
                </a:cubicBezTo>
                <a:cubicBezTo>
                  <a:pt x="3025" y="1137"/>
                  <a:pt x="3025" y="1137"/>
                  <a:pt x="3025" y="1137"/>
                </a:cubicBezTo>
                <a:cubicBezTo>
                  <a:pt x="3024" y="1136"/>
                  <a:pt x="3024" y="1136"/>
                  <a:pt x="3024" y="1136"/>
                </a:cubicBezTo>
                <a:cubicBezTo>
                  <a:pt x="3024" y="1134"/>
                  <a:pt x="3024" y="1134"/>
                  <a:pt x="3024" y="1134"/>
                </a:cubicBezTo>
                <a:cubicBezTo>
                  <a:pt x="3025" y="1133"/>
                  <a:pt x="3025" y="1133"/>
                  <a:pt x="3025" y="1133"/>
                </a:cubicBezTo>
                <a:lnTo>
                  <a:pt x="3025" y="1132"/>
                </a:lnTo>
                <a:close/>
                <a:moveTo>
                  <a:pt x="2936" y="449"/>
                </a:moveTo>
                <a:cubicBezTo>
                  <a:pt x="2937" y="447"/>
                  <a:pt x="2937" y="447"/>
                  <a:pt x="2937" y="447"/>
                </a:cubicBezTo>
                <a:cubicBezTo>
                  <a:pt x="2939" y="446"/>
                  <a:pt x="2939" y="446"/>
                  <a:pt x="2939" y="446"/>
                </a:cubicBezTo>
                <a:cubicBezTo>
                  <a:pt x="2939" y="444"/>
                  <a:pt x="2939" y="444"/>
                  <a:pt x="2939" y="444"/>
                </a:cubicBezTo>
                <a:cubicBezTo>
                  <a:pt x="2939" y="442"/>
                  <a:pt x="2939" y="442"/>
                  <a:pt x="2939" y="442"/>
                </a:cubicBezTo>
                <a:cubicBezTo>
                  <a:pt x="2941" y="439"/>
                  <a:pt x="2941" y="439"/>
                  <a:pt x="2941" y="439"/>
                </a:cubicBezTo>
                <a:cubicBezTo>
                  <a:pt x="2940" y="440"/>
                  <a:pt x="2940" y="440"/>
                  <a:pt x="2940" y="440"/>
                </a:cubicBezTo>
                <a:cubicBezTo>
                  <a:pt x="2938" y="440"/>
                  <a:pt x="2938" y="440"/>
                  <a:pt x="2938" y="440"/>
                </a:cubicBezTo>
                <a:cubicBezTo>
                  <a:pt x="2937" y="442"/>
                  <a:pt x="2937" y="442"/>
                  <a:pt x="2937" y="442"/>
                </a:cubicBezTo>
                <a:cubicBezTo>
                  <a:pt x="2937" y="443"/>
                  <a:pt x="2937" y="443"/>
                  <a:pt x="2937" y="443"/>
                </a:cubicBezTo>
                <a:cubicBezTo>
                  <a:pt x="2936" y="445"/>
                  <a:pt x="2936" y="445"/>
                  <a:pt x="2936" y="445"/>
                </a:cubicBezTo>
                <a:cubicBezTo>
                  <a:pt x="2935" y="445"/>
                  <a:pt x="2935" y="445"/>
                  <a:pt x="2935" y="445"/>
                </a:cubicBezTo>
                <a:cubicBezTo>
                  <a:pt x="2935" y="447"/>
                  <a:pt x="2935" y="447"/>
                  <a:pt x="2935" y="447"/>
                </a:cubicBezTo>
                <a:cubicBezTo>
                  <a:pt x="2933" y="448"/>
                  <a:pt x="2933" y="448"/>
                  <a:pt x="2933" y="448"/>
                </a:cubicBezTo>
                <a:cubicBezTo>
                  <a:pt x="2933" y="451"/>
                  <a:pt x="2933" y="451"/>
                  <a:pt x="2933" y="451"/>
                </a:cubicBezTo>
                <a:cubicBezTo>
                  <a:pt x="2934" y="452"/>
                  <a:pt x="2934" y="452"/>
                  <a:pt x="2934" y="452"/>
                </a:cubicBezTo>
                <a:lnTo>
                  <a:pt x="2936" y="449"/>
                </a:lnTo>
                <a:close/>
                <a:moveTo>
                  <a:pt x="2914" y="484"/>
                </a:moveTo>
                <a:cubicBezTo>
                  <a:pt x="2915" y="484"/>
                  <a:pt x="2915" y="484"/>
                  <a:pt x="2915" y="484"/>
                </a:cubicBezTo>
                <a:cubicBezTo>
                  <a:pt x="2917" y="483"/>
                  <a:pt x="2917" y="483"/>
                  <a:pt x="2917" y="483"/>
                </a:cubicBezTo>
                <a:cubicBezTo>
                  <a:pt x="2917" y="482"/>
                  <a:pt x="2917" y="482"/>
                  <a:pt x="2917" y="482"/>
                </a:cubicBezTo>
                <a:cubicBezTo>
                  <a:pt x="2916" y="482"/>
                  <a:pt x="2916" y="482"/>
                  <a:pt x="2916" y="482"/>
                </a:cubicBezTo>
                <a:lnTo>
                  <a:pt x="2914" y="484"/>
                </a:lnTo>
                <a:close/>
                <a:moveTo>
                  <a:pt x="2961" y="387"/>
                </a:moveTo>
                <a:cubicBezTo>
                  <a:pt x="2960" y="386"/>
                  <a:pt x="2960" y="386"/>
                  <a:pt x="2960" y="386"/>
                </a:cubicBezTo>
                <a:cubicBezTo>
                  <a:pt x="2959" y="385"/>
                  <a:pt x="2959" y="385"/>
                  <a:pt x="2959" y="385"/>
                </a:cubicBezTo>
                <a:cubicBezTo>
                  <a:pt x="2958" y="386"/>
                  <a:pt x="2958" y="386"/>
                  <a:pt x="2958" y="386"/>
                </a:cubicBezTo>
                <a:cubicBezTo>
                  <a:pt x="2959" y="386"/>
                  <a:pt x="2959" y="386"/>
                  <a:pt x="2959" y="386"/>
                </a:cubicBezTo>
                <a:cubicBezTo>
                  <a:pt x="2960" y="387"/>
                  <a:pt x="2960" y="387"/>
                  <a:pt x="2960" y="387"/>
                </a:cubicBezTo>
                <a:lnTo>
                  <a:pt x="2961" y="387"/>
                </a:lnTo>
                <a:close/>
                <a:moveTo>
                  <a:pt x="2960" y="382"/>
                </a:moveTo>
                <a:cubicBezTo>
                  <a:pt x="2959" y="380"/>
                  <a:pt x="2959" y="380"/>
                  <a:pt x="2959" y="380"/>
                </a:cubicBezTo>
                <a:cubicBezTo>
                  <a:pt x="2959" y="379"/>
                  <a:pt x="2959" y="379"/>
                  <a:pt x="2959" y="379"/>
                </a:cubicBezTo>
                <a:cubicBezTo>
                  <a:pt x="2959" y="378"/>
                  <a:pt x="2959" y="378"/>
                  <a:pt x="2959" y="378"/>
                </a:cubicBezTo>
                <a:cubicBezTo>
                  <a:pt x="2959" y="380"/>
                  <a:pt x="2959" y="380"/>
                  <a:pt x="2959" y="380"/>
                </a:cubicBezTo>
                <a:cubicBezTo>
                  <a:pt x="2958" y="382"/>
                  <a:pt x="2958" y="382"/>
                  <a:pt x="2958" y="382"/>
                </a:cubicBezTo>
                <a:cubicBezTo>
                  <a:pt x="2959" y="384"/>
                  <a:pt x="2959" y="384"/>
                  <a:pt x="2959" y="384"/>
                </a:cubicBezTo>
                <a:cubicBezTo>
                  <a:pt x="2959" y="383"/>
                  <a:pt x="2960" y="382"/>
                  <a:pt x="2960" y="382"/>
                </a:cubicBezTo>
                <a:close/>
                <a:moveTo>
                  <a:pt x="2954" y="415"/>
                </a:moveTo>
                <a:cubicBezTo>
                  <a:pt x="2955" y="413"/>
                  <a:pt x="2955" y="413"/>
                  <a:pt x="2955" y="413"/>
                </a:cubicBezTo>
                <a:cubicBezTo>
                  <a:pt x="2954" y="412"/>
                  <a:pt x="2954" y="412"/>
                  <a:pt x="2954" y="412"/>
                </a:cubicBezTo>
                <a:cubicBezTo>
                  <a:pt x="2954" y="413"/>
                  <a:pt x="2954" y="413"/>
                  <a:pt x="2954" y="413"/>
                </a:cubicBezTo>
                <a:lnTo>
                  <a:pt x="2954" y="415"/>
                </a:lnTo>
                <a:close/>
                <a:moveTo>
                  <a:pt x="2995" y="1084"/>
                </a:moveTo>
                <a:cubicBezTo>
                  <a:pt x="2993" y="1084"/>
                  <a:pt x="2993" y="1084"/>
                  <a:pt x="2993" y="1084"/>
                </a:cubicBezTo>
                <a:cubicBezTo>
                  <a:pt x="2993" y="1086"/>
                  <a:pt x="2993" y="1086"/>
                  <a:pt x="2993" y="1086"/>
                </a:cubicBezTo>
                <a:cubicBezTo>
                  <a:pt x="2995" y="1085"/>
                  <a:pt x="2995" y="1085"/>
                  <a:pt x="2995" y="1085"/>
                </a:cubicBezTo>
                <a:lnTo>
                  <a:pt x="2995" y="1084"/>
                </a:lnTo>
                <a:close/>
                <a:moveTo>
                  <a:pt x="2958" y="393"/>
                </a:moveTo>
                <a:cubicBezTo>
                  <a:pt x="2958" y="395"/>
                  <a:pt x="2958" y="395"/>
                  <a:pt x="2958" y="395"/>
                </a:cubicBezTo>
                <a:cubicBezTo>
                  <a:pt x="2958" y="395"/>
                  <a:pt x="2958" y="395"/>
                  <a:pt x="2958" y="395"/>
                </a:cubicBezTo>
                <a:cubicBezTo>
                  <a:pt x="2959" y="394"/>
                  <a:pt x="2959" y="394"/>
                  <a:pt x="2959" y="394"/>
                </a:cubicBezTo>
                <a:cubicBezTo>
                  <a:pt x="2959" y="392"/>
                  <a:pt x="2959" y="392"/>
                  <a:pt x="2959" y="392"/>
                </a:cubicBezTo>
                <a:cubicBezTo>
                  <a:pt x="2958" y="391"/>
                  <a:pt x="2958" y="391"/>
                  <a:pt x="2958" y="391"/>
                </a:cubicBezTo>
                <a:lnTo>
                  <a:pt x="2958" y="393"/>
                </a:lnTo>
                <a:close/>
                <a:moveTo>
                  <a:pt x="2954" y="407"/>
                </a:moveTo>
                <a:cubicBezTo>
                  <a:pt x="2955" y="407"/>
                  <a:pt x="2955" y="407"/>
                  <a:pt x="2955" y="407"/>
                </a:cubicBezTo>
                <a:cubicBezTo>
                  <a:pt x="2956" y="407"/>
                  <a:pt x="2956" y="407"/>
                  <a:pt x="2956" y="407"/>
                </a:cubicBezTo>
                <a:cubicBezTo>
                  <a:pt x="2955" y="406"/>
                  <a:pt x="2955" y="406"/>
                  <a:pt x="2955" y="406"/>
                </a:cubicBezTo>
                <a:lnTo>
                  <a:pt x="2954" y="407"/>
                </a:lnTo>
                <a:close/>
                <a:moveTo>
                  <a:pt x="2913" y="471"/>
                </a:moveTo>
                <a:cubicBezTo>
                  <a:pt x="2914" y="473"/>
                  <a:pt x="2914" y="473"/>
                  <a:pt x="2914" y="473"/>
                </a:cubicBezTo>
                <a:cubicBezTo>
                  <a:pt x="2915" y="473"/>
                  <a:pt x="2915" y="473"/>
                  <a:pt x="2915" y="473"/>
                </a:cubicBezTo>
                <a:cubicBezTo>
                  <a:pt x="2915" y="471"/>
                  <a:pt x="2915" y="471"/>
                  <a:pt x="2915" y="471"/>
                </a:cubicBezTo>
                <a:cubicBezTo>
                  <a:pt x="2917" y="470"/>
                  <a:pt x="2917" y="470"/>
                  <a:pt x="2917" y="470"/>
                </a:cubicBezTo>
                <a:cubicBezTo>
                  <a:pt x="2916" y="467"/>
                  <a:pt x="2916" y="467"/>
                  <a:pt x="2916" y="467"/>
                </a:cubicBezTo>
                <a:cubicBezTo>
                  <a:pt x="2917" y="466"/>
                  <a:pt x="2917" y="466"/>
                  <a:pt x="2917" y="466"/>
                </a:cubicBezTo>
                <a:cubicBezTo>
                  <a:pt x="2918" y="465"/>
                  <a:pt x="2918" y="465"/>
                  <a:pt x="2918" y="465"/>
                </a:cubicBezTo>
                <a:cubicBezTo>
                  <a:pt x="2918" y="464"/>
                  <a:pt x="2918" y="464"/>
                  <a:pt x="2918" y="464"/>
                </a:cubicBezTo>
                <a:cubicBezTo>
                  <a:pt x="2920" y="465"/>
                  <a:pt x="2920" y="465"/>
                  <a:pt x="2920" y="465"/>
                </a:cubicBezTo>
                <a:cubicBezTo>
                  <a:pt x="2921" y="463"/>
                  <a:pt x="2921" y="463"/>
                  <a:pt x="2921" y="463"/>
                </a:cubicBezTo>
                <a:cubicBezTo>
                  <a:pt x="2922" y="460"/>
                  <a:pt x="2922" y="460"/>
                  <a:pt x="2922" y="460"/>
                </a:cubicBezTo>
                <a:cubicBezTo>
                  <a:pt x="2924" y="458"/>
                  <a:pt x="2924" y="458"/>
                  <a:pt x="2924" y="458"/>
                </a:cubicBezTo>
                <a:cubicBezTo>
                  <a:pt x="2927" y="458"/>
                  <a:pt x="2927" y="458"/>
                  <a:pt x="2927" y="458"/>
                </a:cubicBezTo>
                <a:cubicBezTo>
                  <a:pt x="2928" y="457"/>
                  <a:pt x="2928" y="457"/>
                  <a:pt x="2928" y="457"/>
                </a:cubicBezTo>
                <a:cubicBezTo>
                  <a:pt x="2928" y="455"/>
                  <a:pt x="2928" y="455"/>
                  <a:pt x="2928" y="455"/>
                </a:cubicBezTo>
                <a:cubicBezTo>
                  <a:pt x="2927" y="453"/>
                  <a:pt x="2927" y="453"/>
                  <a:pt x="2927" y="453"/>
                </a:cubicBezTo>
                <a:cubicBezTo>
                  <a:pt x="2926" y="453"/>
                  <a:pt x="2926" y="453"/>
                  <a:pt x="2926" y="453"/>
                </a:cubicBezTo>
                <a:cubicBezTo>
                  <a:pt x="2924" y="456"/>
                  <a:pt x="2924" y="456"/>
                  <a:pt x="2924" y="456"/>
                </a:cubicBezTo>
                <a:cubicBezTo>
                  <a:pt x="2924" y="457"/>
                  <a:pt x="2924" y="457"/>
                  <a:pt x="2924" y="457"/>
                </a:cubicBezTo>
                <a:cubicBezTo>
                  <a:pt x="2922" y="457"/>
                  <a:pt x="2922" y="457"/>
                  <a:pt x="2922" y="457"/>
                </a:cubicBezTo>
                <a:cubicBezTo>
                  <a:pt x="2921" y="458"/>
                  <a:pt x="2921" y="458"/>
                  <a:pt x="2921" y="458"/>
                </a:cubicBezTo>
                <a:cubicBezTo>
                  <a:pt x="2920" y="458"/>
                  <a:pt x="2920" y="458"/>
                  <a:pt x="2920" y="458"/>
                </a:cubicBezTo>
                <a:cubicBezTo>
                  <a:pt x="2919" y="456"/>
                  <a:pt x="2919" y="456"/>
                  <a:pt x="2919" y="456"/>
                </a:cubicBezTo>
                <a:cubicBezTo>
                  <a:pt x="2919" y="457"/>
                  <a:pt x="2919" y="457"/>
                  <a:pt x="2919" y="457"/>
                </a:cubicBezTo>
                <a:cubicBezTo>
                  <a:pt x="2918" y="458"/>
                  <a:pt x="2918" y="458"/>
                  <a:pt x="2918" y="458"/>
                </a:cubicBezTo>
                <a:cubicBezTo>
                  <a:pt x="2919" y="459"/>
                  <a:pt x="2919" y="459"/>
                  <a:pt x="2919" y="459"/>
                </a:cubicBezTo>
                <a:cubicBezTo>
                  <a:pt x="2918" y="461"/>
                  <a:pt x="2918" y="461"/>
                  <a:pt x="2918" y="461"/>
                </a:cubicBezTo>
                <a:cubicBezTo>
                  <a:pt x="2917" y="463"/>
                  <a:pt x="2917" y="463"/>
                  <a:pt x="2917" y="463"/>
                </a:cubicBezTo>
                <a:cubicBezTo>
                  <a:pt x="2916" y="463"/>
                  <a:pt x="2916" y="463"/>
                  <a:pt x="2916" y="463"/>
                </a:cubicBezTo>
                <a:cubicBezTo>
                  <a:pt x="2916" y="464"/>
                  <a:pt x="2916" y="464"/>
                  <a:pt x="2916" y="464"/>
                </a:cubicBezTo>
                <a:cubicBezTo>
                  <a:pt x="2915" y="466"/>
                  <a:pt x="2915" y="466"/>
                  <a:pt x="2915" y="466"/>
                </a:cubicBezTo>
                <a:cubicBezTo>
                  <a:pt x="2914" y="467"/>
                  <a:pt x="2914" y="467"/>
                  <a:pt x="2914" y="467"/>
                </a:cubicBezTo>
                <a:cubicBezTo>
                  <a:pt x="2914" y="468"/>
                  <a:pt x="2914" y="468"/>
                  <a:pt x="2914" y="468"/>
                </a:cubicBezTo>
                <a:cubicBezTo>
                  <a:pt x="2914" y="469"/>
                  <a:pt x="2914" y="469"/>
                  <a:pt x="2914" y="469"/>
                </a:cubicBezTo>
                <a:cubicBezTo>
                  <a:pt x="2914" y="470"/>
                  <a:pt x="2914" y="470"/>
                  <a:pt x="2914" y="470"/>
                </a:cubicBezTo>
                <a:lnTo>
                  <a:pt x="2913" y="471"/>
                </a:lnTo>
                <a:close/>
                <a:moveTo>
                  <a:pt x="2956" y="390"/>
                </a:moveTo>
                <a:cubicBezTo>
                  <a:pt x="2957" y="390"/>
                  <a:pt x="2957" y="390"/>
                  <a:pt x="2957" y="390"/>
                </a:cubicBezTo>
                <a:cubicBezTo>
                  <a:pt x="2956" y="389"/>
                  <a:pt x="2956" y="389"/>
                  <a:pt x="2956" y="389"/>
                </a:cubicBezTo>
                <a:cubicBezTo>
                  <a:pt x="2956" y="389"/>
                  <a:pt x="2956" y="389"/>
                  <a:pt x="2956" y="389"/>
                </a:cubicBezTo>
                <a:cubicBezTo>
                  <a:pt x="2955" y="390"/>
                  <a:pt x="2955" y="390"/>
                  <a:pt x="2955" y="390"/>
                </a:cubicBezTo>
                <a:lnTo>
                  <a:pt x="2956" y="390"/>
                </a:lnTo>
                <a:close/>
                <a:moveTo>
                  <a:pt x="2956" y="354"/>
                </a:moveTo>
                <a:cubicBezTo>
                  <a:pt x="2955" y="356"/>
                  <a:pt x="2955" y="356"/>
                  <a:pt x="2955" y="356"/>
                </a:cubicBezTo>
                <a:cubicBezTo>
                  <a:pt x="2956" y="357"/>
                  <a:pt x="2956" y="357"/>
                  <a:pt x="2956" y="357"/>
                </a:cubicBezTo>
                <a:cubicBezTo>
                  <a:pt x="2958" y="356"/>
                  <a:pt x="2958" y="356"/>
                  <a:pt x="2958" y="356"/>
                </a:cubicBezTo>
                <a:cubicBezTo>
                  <a:pt x="2959" y="355"/>
                  <a:pt x="2959" y="355"/>
                  <a:pt x="2959" y="355"/>
                </a:cubicBezTo>
                <a:cubicBezTo>
                  <a:pt x="2957" y="353"/>
                  <a:pt x="2957" y="353"/>
                  <a:pt x="2957" y="353"/>
                </a:cubicBezTo>
                <a:lnTo>
                  <a:pt x="2956" y="354"/>
                </a:lnTo>
                <a:close/>
                <a:moveTo>
                  <a:pt x="2954" y="417"/>
                </a:moveTo>
                <a:cubicBezTo>
                  <a:pt x="2955" y="416"/>
                  <a:pt x="2955" y="416"/>
                  <a:pt x="2955" y="416"/>
                </a:cubicBezTo>
                <a:cubicBezTo>
                  <a:pt x="2954" y="416"/>
                  <a:pt x="2954" y="416"/>
                  <a:pt x="2954" y="416"/>
                </a:cubicBezTo>
                <a:lnTo>
                  <a:pt x="2954" y="417"/>
                </a:lnTo>
                <a:close/>
                <a:moveTo>
                  <a:pt x="2901" y="479"/>
                </a:moveTo>
                <a:cubicBezTo>
                  <a:pt x="2901" y="478"/>
                  <a:pt x="2901" y="478"/>
                  <a:pt x="2901" y="478"/>
                </a:cubicBezTo>
                <a:cubicBezTo>
                  <a:pt x="2900" y="477"/>
                  <a:pt x="2900" y="477"/>
                  <a:pt x="2900" y="477"/>
                </a:cubicBezTo>
                <a:cubicBezTo>
                  <a:pt x="2900" y="477"/>
                  <a:pt x="2900" y="477"/>
                  <a:pt x="2900" y="477"/>
                </a:cubicBezTo>
                <a:cubicBezTo>
                  <a:pt x="2899" y="479"/>
                  <a:pt x="2899" y="479"/>
                  <a:pt x="2899" y="479"/>
                </a:cubicBezTo>
                <a:cubicBezTo>
                  <a:pt x="2898" y="481"/>
                  <a:pt x="2898" y="481"/>
                  <a:pt x="2898" y="481"/>
                </a:cubicBezTo>
                <a:cubicBezTo>
                  <a:pt x="2895" y="484"/>
                  <a:pt x="2895" y="484"/>
                  <a:pt x="2895" y="484"/>
                </a:cubicBezTo>
                <a:cubicBezTo>
                  <a:pt x="2892" y="484"/>
                  <a:pt x="2892" y="484"/>
                  <a:pt x="2892" y="484"/>
                </a:cubicBezTo>
                <a:cubicBezTo>
                  <a:pt x="2891" y="484"/>
                  <a:pt x="2891" y="484"/>
                  <a:pt x="2891" y="484"/>
                </a:cubicBezTo>
                <a:cubicBezTo>
                  <a:pt x="2890" y="484"/>
                  <a:pt x="2890" y="484"/>
                  <a:pt x="2890" y="484"/>
                </a:cubicBezTo>
                <a:cubicBezTo>
                  <a:pt x="2888" y="482"/>
                  <a:pt x="2888" y="482"/>
                  <a:pt x="2888" y="482"/>
                </a:cubicBezTo>
                <a:cubicBezTo>
                  <a:pt x="2885" y="482"/>
                  <a:pt x="2885" y="482"/>
                  <a:pt x="2885" y="482"/>
                </a:cubicBezTo>
                <a:cubicBezTo>
                  <a:pt x="2882" y="480"/>
                  <a:pt x="2882" y="480"/>
                  <a:pt x="2882" y="480"/>
                </a:cubicBezTo>
                <a:cubicBezTo>
                  <a:pt x="2881" y="478"/>
                  <a:pt x="2881" y="478"/>
                  <a:pt x="2881" y="478"/>
                </a:cubicBezTo>
                <a:cubicBezTo>
                  <a:pt x="2879" y="478"/>
                  <a:pt x="2879" y="478"/>
                  <a:pt x="2879" y="478"/>
                </a:cubicBezTo>
                <a:cubicBezTo>
                  <a:pt x="2878" y="476"/>
                  <a:pt x="2878" y="476"/>
                  <a:pt x="2878" y="476"/>
                </a:cubicBezTo>
                <a:cubicBezTo>
                  <a:pt x="2875" y="475"/>
                  <a:pt x="2875" y="475"/>
                  <a:pt x="2875" y="475"/>
                </a:cubicBezTo>
                <a:cubicBezTo>
                  <a:pt x="2871" y="470"/>
                  <a:pt x="2871" y="470"/>
                  <a:pt x="2871" y="470"/>
                </a:cubicBezTo>
                <a:cubicBezTo>
                  <a:pt x="2869" y="467"/>
                  <a:pt x="2869" y="467"/>
                  <a:pt x="2869" y="467"/>
                </a:cubicBezTo>
                <a:cubicBezTo>
                  <a:pt x="2866" y="467"/>
                  <a:pt x="2866" y="467"/>
                  <a:pt x="2866" y="467"/>
                </a:cubicBezTo>
                <a:cubicBezTo>
                  <a:pt x="2863" y="464"/>
                  <a:pt x="2863" y="464"/>
                  <a:pt x="2863" y="464"/>
                </a:cubicBezTo>
                <a:cubicBezTo>
                  <a:pt x="2862" y="463"/>
                  <a:pt x="2862" y="463"/>
                  <a:pt x="2862" y="463"/>
                </a:cubicBezTo>
                <a:cubicBezTo>
                  <a:pt x="2860" y="463"/>
                  <a:pt x="2860" y="463"/>
                  <a:pt x="2860" y="463"/>
                </a:cubicBezTo>
                <a:cubicBezTo>
                  <a:pt x="2860" y="463"/>
                  <a:pt x="2860" y="463"/>
                  <a:pt x="2860" y="463"/>
                </a:cubicBezTo>
                <a:cubicBezTo>
                  <a:pt x="2859" y="465"/>
                  <a:pt x="2859" y="465"/>
                  <a:pt x="2859" y="465"/>
                </a:cubicBezTo>
                <a:cubicBezTo>
                  <a:pt x="2858" y="465"/>
                  <a:pt x="2858" y="465"/>
                  <a:pt x="2858" y="465"/>
                </a:cubicBezTo>
                <a:cubicBezTo>
                  <a:pt x="2858" y="465"/>
                  <a:pt x="2858" y="465"/>
                  <a:pt x="2858" y="465"/>
                </a:cubicBezTo>
                <a:cubicBezTo>
                  <a:pt x="2859" y="467"/>
                  <a:pt x="2859" y="467"/>
                  <a:pt x="2859" y="467"/>
                </a:cubicBezTo>
                <a:cubicBezTo>
                  <a:pt x="2859" y="469"/>
                  <a:pt x="2859" y="469"/>
                  <a:pt x="2859" y="469"/>
                </a:cubicBezTo>
                <a:cubicBezTo>
                  <a:pt x="2863" y="474"/>
                  <a:pt x="2863" y="474"/>
                  <a:pt x="2863" y="474"/>
                </a:cubicBezTo>
                <a:cubicBezTo>
                  <a:pt x="2864" y="477"/>
                  <a:pt x="2864" y="477"/>
                  <a:pt x="2864" y="477"/>
                </a:cubicBezTo>
                <a:cubicBezTo>
                  <a:pt x="2864" y="481"/>
                  <a:pt x="2864" y="481"/>
                  <a:pt x="2864" y="481"/>
                </a:cubicBezTo>
                <a:cubicBezTo>
                  <a:pt x="2864" y="482"/>
                  <a:pt x="2864" y="482"/>
                  <a:pt x="2864" y="482"/>
                </a:cubicBezTo>
                <a:cubicBezTo>
                  <a:pt x="2865" y="485"/>
                  <a:pt x="2865" y="485"/>
                  <a:pt x="2865" y="485"/>
                </a:cubicBezTo>
                <a:cubicBezTo>
                  <a:pt x="2865" y="487"/>
                  <a:pt x="2865" y="487"/>
                  <a:pt x="2865" y="487"/>
                </a:cubicBezTo>
                <a:cubicBezTo>
                  <a:pt x="2865" y="488"/>
                  <a:pt x="2865" y="488"/>
                  <a:pt x="2865" y="488"/>
                </a:cubicBezTo>
                <a:cubicBezTo>
                  <a:pt x="2864" y="488"/>
                  <a:pt x="2864" y="488"/>
                  <a:pt x="2864" y="488"/>
                </a:cubicBezTo>
                <a:cubicBezTo>
                  <a:pt x="2863" y="490"/>
                  <a:pt x="2863" y="490"/>
                  <a:pt x="2863" y="490"/>
                </a:cubicBezTo>
                <a:cubicBezTo>
                  <a:pt x="2863" y="492"/>
                  <a:pt x="2863" y="492"/>
                  <a:pt x="2863" y="492"/>
                </a:cubicBezTo>
                <a:cubicBezTo>
                  <a:pt x="2864" y="493"/>
                  <a:pt x="2864" y="493"/>
                  <a:pt x="2864" y="493"/>
                </a:cubicBezTo>
                <a:cubicBezTo>
                  <a:pt x="2865" y="494"/>
                  <a:pt x="2865" y="494"/>
                  <a:pt x="2865" y="494"/>
                </a:cubicBezTo>
                <a:cubicBezTo>
                  <a:pt x="2866" y="495"/>
                  <a:pt x="2866" y="495"/>
                  <a:pt x="2866" y="495"/>
                </a:cubicBezTo>
                <a:cubicBezTo>
                  <a:pt x="2866" y="496"/>
                  <a:pt x="2866" y="496"/>
                  <a:pt x="2866" y="496"/>
                </a:cubicBezTo>
                <a:cubicBezTo>
                  <a:pt x="2866" y="497"/>
                  <a:pt x="2866" y="497"/>
                  <a:pt x="2866" y="497"/>
                </a:cubicBezTo>
                <a:cubicBezTo>
                  <a:pt x="2866" y="498"/>
                  <a:pt x="2866" y="498"/>
                  <a:pt x="2866" y="498"/>
                </a:cubicBezTo>
                <a:cubicBezTo>
                  <a:pt x="2864" y="499"/>
                  <a:pt x="2864" y="499"/>
                  <a:pt x="2864" y="499"/>
                </a:cubicBezTo>
                <a:cubicBezTo>
                  <a:pt x="2861" y="499"/>
                  <a:pt x="2861" y="499"/>
                  <a:pt x="2861" y="499"/>
                </a:cubicBezTo>
                <a:cubicBezTo>
                  <a:pt x="2858" y="497"/>
                  <a:pt x="2858" y="497"/>
                  <a:pt x="2858" y="497"/>
                </a:cubicBezTo>
                <a:cubicBezTo>
                  <a:pt x="2856" y="497"/>
                  <a:pt x="2856" y="497"/>
                  <a:pt x="2856" y="497"/>
                </a:cubicBezTo>
                <a:cubicBezTo>
                  <a:pt x="2856" y="499"/>
                  <a:pt x="2856" y="499"/>
                  <a:pt x="2856" y="499"/>
                </a:cubicBezTo>
                <a:cubicBezTo>
                  <a:pt x="2856" y="500"/>
                  <a:pt x="2856" y="500"/>
                  <a:pt x="2856" y="500"/>
                </a:cubicBezTo>
                <a:cubicBezTo>
                  <a:pt x="2857" y="500"/>
                  <a:pt x="2857" y="500"/>
                  <a:pt x="2857" y="500"/>
                </a:cubicBezTo>
                <a:cubicBezTo>
                  <a:pt x="2859" y="501"/>
                  <a:pt x="2859" y="501"/>
                  <a:pt x="2859" y="501"/>
                </a:cubicBezTo>
                <a:cubicBezTo>
                  <a:pt x="2859" y="502"/>
                  <a:pt x="2859" y="502"/>
                  <a:pt x="2859" y="502"/>
                </a:cubicBezTo>
                <a:cubicBezTo>
                  <a:pt x="2859" y="503"/>
                  <a:pt x="2859" y="503"/>
                  <a:pt x="2859" y="503"/>
                </a:cubicBezTo>
                <a:cubicBezTo>
                  <a:pt x="2858" y="505"/>
                  <a:pt x="2858" y="505"/>
                  <a:pt x="2858" y="505"/>
                </a:cubicBezTo>
                <a:cubicBezTo>
                  <a:pt x="2856" y="505"/>
                  <a:pt x="2856" y="505"/>
                  <a:pt x="2856" y="505"/>
                </a:cubicBezTo>
                <a:cubicBezTo>
                  <a:pt x="2856" y="506"/>
                  <a:pt x="2856" y="506"/>
                  <a:pt x="2856" y="506"/>
                </a:cubicBezTo>
                <a:cubicBezTo>
                  <a:pt x="2855" y="507"/>
                  <a:pt x="2855" y="507"/>
                  <a:pt x="2855" y="507"/>
                </a:cubicBezTo>
                <a:cubicBezTo>
                  <a:pt x="2854" y="509"/>
                  <a:pt x="2854" y="509"/>
                  <a:pt x="2854" y="509"/>
                </a:cubicBezTo>
                <a:cubicBezTo>
                  <a:pt x="2855" y="511"/>
                  <a:pt x="2855" y="511"/>
                  <a:pt x="2855" y="511"/>
                </a:cubicBezTo>
                <a:cubicBezTo>
                  <a:pt x="2854" y="513"/>
                  <a:pt x="2854" y="513"/>
                  <a:pt x="2854" y="513"/>
                </a:cubicBezTo>
                <a:cubicBezTo>
                  <a:pt x="2855" y="515"/>
                  <a:pt x="2855" y="515"/>
                  <a:pt x="2855" y="515"/>
                </a:cubicBezTo>
                <a:cubicBezTo>
                  <a:pt x="2856" y="515"/>
                  <a:pt x="2856" y="515"/>
                  <a:pt x="2856" y="515"/>
                </a:cubicBezTo>
                <a:cubicBezTo>
                  <a:pt x="2858" y="516"/>
                  <a:pt x="2858" y="516"/>
                  <a:pt x="2858" y="516"/>
                </a:cubicBezTo>
                <a:cubicBezTo>
                  <a:pt x="2859" y="517"/>
                  <a:pt x="2859" y="517"/>
                  <a:pt x="2859" y="517"/>
                </a:cubicBezTo>
                <a:cubicBezTo>
                  <a:pt x="2860" y="521"/>
                  <a:pt x="2860" y="521"/>
                  <a:pt x="2860" y="521"/>
                </a:cubicBezTo>
                <a:cubicBezTo>
                  <a:pt x="2861" y="525"/>
                  <a:pt x="2861" y="525"/>
                  <a:pt x="2861" y="525"/>
                </a:cubicBezTo>
                <a:cubicBezTo>
                  <a:pt x="2860" y="525"/>
                  <a:pt x="2860" y="525"/>
                  <a:pt x="2860" y="525"/>
                </a:cubicBezTo>
                <a:cubicBezTo>
                  <a:pt x="2861" y="527"/>
                  <a:pt x="2861" y="527"/>
                  <a:pt x="2861" y="527"/>
                </a:cubicBezTo>
                <a:cubicBezTo>
                  <a:pt x="2863" y="528"/>
                  <a:pt x="2863" y="528"/>
                  <a:pt x="2863" y="528"/>
                </a:cubicBezTo>
                <a:cubicBezTo>
                  <a:pt x="2865" y="525"/>
                  <a:pt x="2865" y="525"/>
                  <a:pt x="2865" y="525"/>
                </a:cubicBezTo>
                <a:cubicBezTo>
                  <a:pt x="2866" y="523"/>
                  <a:pt x="2866" y="523"/>
                  <a:pt x="2866" y="523"/>
                </a:cubicBezTo>
                <a:cubicBezTo>
                  <a:pt x="2866" y="522"/>
                  <a:pt x="2866" y="522"/>
                  <a:pt x="2866" y="522"/>
                </a:cubicBezTo>
                <a:cubicBezTo>
                  <a:pt x="2867" y="521"/>
                  <a:pt x="2867" y="521"/>
                  <a:pt x="2867" y="521"/>
                </a:cubicBezTo>
                <a:cubicBezTo>
                  <a:pt x="2869" y="521"/>
                  <a:pt x="2869" y="521"/>
                  <a:pt x="2869" y="521"/>
                </a:cubicBezTo>
                <a:cubicBezTo>
                  <a:pt x="2871" y="522"/>
                  <a:pt x="2871" y="522"/>
                  <a:pt x="2871" y="522"/>
                </a:cubicBezTo>
                <a:cubicBezTo>
                  <a:pt x="2871" y="521"/>
                  <a:pt x="2871" y="521"/>
                  <a:pt x="2871" y="521"/>
                </a:cubicBezTo>
                <a:cubicBezTo>
                  <a:pt x="2873" y="519"/>
                  <a:pt x="2873" y="519"/>
                  <a:pt x="2873" y="519"/>
                </a:cubicBezTo>
                <a:cubicBezTo>
                  <a:pt x="2872" y="518"/>
                  <a:pt x="2872" y="518"/>
                  <a:pt x="2872" y="518"/>
                </a:cubicBezTo>
                <a:cubicBezTo>
                  <a:pt x="2870" y="518"/>
                  <a:pt x="2870" y="518"/>
                  <a:pt x="2870" y="518"/>
                </a:cubicBezTo>
                <a:cubicBezTo>
                  <a:pt x="2868" y="517"/>
                  <a:pt x="2868" y="517"/>
                  <a:pt x="2868" y="517"/>
                </a:cubicBezTo>
                <a:cubicBezTo>
                  <a:pt x="2865" y="514"/>
                  <a:pt x="2865" y="514"/>
                  <a:pt x="2865" y="514"/>
                </a:cubicBezTo>
                <a:cubicBezTo>
                  <a:pt x="2863" y="515"/>
                  <a:pt x="2863" y="515"/>
                  <a:pt x="2863" y="515"/>
                </a:cubicBezTo>
                <a:cubicBezTo>
                  <a:pt x="2861" y="514"/>
                  <a:pt x="2861" y="514"/>
                  <a:pt x="2861" y="514"/>
                </a:cubicBezTo>
                <a:cubicBezTo>
                  <a:pt x="2860" y="512"/>
                  <a:pt x="2860" y="512"/>
                  <a:pt x="2860" y="512"/>
                </a:cubicBezTo>
                <a:cubicBezTo>
                  <a:pt x="2860" y="510"/>
                  <a:pt x="2860" y="510"/>
                  <a:pt x="2860" y="510"/>
                </a:cubicBezTo>
                <a:cubicBezTo>
                  <a:pt x="2861" y="509"/>
                  <a:pt x="2861" y="509"/>
                  <a:pt x="2861" y="509"/>
                </a:cubicBezTo>
                <a:cubicBezTo>
                  <a:pt x="2863" y="509"/>
                  <a:pt x="2863" y="509"/>
                  <a:pt x="2863" y="509"/>
                </a:cubicBezTo>
                <a:cubicBezTo>
                  <a:pt x="2865" y="510"/>
                  <a:pt x="2865" y="510"/>
                  <a:pt x="2865" y="510"/>
                </a:cubicBezTo>
                <a:cubicBezTo>
                  <a:pt x="2866" y="511"/>
                  <a:pt x="2866" y="511"/>
                  <a:pt x="2866" y="511"/>
                </a:cubicBezTo>
                <a:cubicBezTo>
                  <a:pt x="2869" y="508"/>
                  <a:pt x="2869" y="508"/>
                  <a:pt x="2869" y="508"/>
                </a:cubicBezTo>
                <a:cubicBezTo>
                  <a:pt x="2871" y="506"/>
                  <a:pt x="2871" y="506"/>
                  <a:pt x="2871" y="506"/>
                </a:cubicBezTo>
                <a:cubicBezTo>
                  <a:pt x="2873" y="506"/>
                  <a:pt x="2873" y="506"/>
                  <a:pt x="2873" y="506"/>
                </a:cubicBezTo>
                <a:cubicBezTo>
                  <a:pt x="2874" y="507"/>
                  <a:pt x="2874" y="507"/>
                  <a:pt x="2874" y="507"/>
                </a:cubicBezTo>
                <a:cubicBezTo>
                  <a:pt x="2875" y="507"/>
                  <a:pt x="2875" y="507"/>
                  <a:pt x="2875" y="507"/>
                </a:cubicBezTo>
                <a:cubicBezTo>
                  <a:pt x="2877" y="507"/>
                  <a:pt x="2877" y="507"/>
                  <a:pt x="2877" y="507"/>
                </a:cubicBezTo>
                <a:cubicBezTo>
                  <a:pt x="2879" y="509"/>
                  <a:pt x="2879" y="509"/>
                  <a:pt x="2879" y="509"/>
                </a:cubicBezTo>
                <a:cubicBezTo>
                  <a:pt x="2882" y="511"/>
                  <a:pt x="2882" y="511"/>
                  <a:pt x="2882" y="511"/>
                </a:cubicBezTo>
                <a:cubicBezTo>
                  <a:pt x="2885" y="513"/>
                  <a:pt x="2885" y="513"/>
                  <a:pt x="2885" y="513"/>
                </a:cubicBezTo>
                <a:cubicBezTo>
                  <a:pt x="2888" y="514"/>
                  <a:pt x="2888" y="514"/>
                  <a:pt x="2888" y="514"/>
                </a:cubicBezTo>
                <a:cubicBezTo>
                  <a:pt x="2889" y="515"/>
                  <a:pt x="2889" y="515"/>
                  <a:pt x="2889" y="515"/>
                </a:cubicBezTo>
                <a:cubicBezTo>
                  <a:pt x="2891" y="516"/>
                  <a:pt x="2891" y="516"/>
                  <a:pt x="2891" y="516"/>
                </a:cubicBezTo>
                <a:cubicBezTo>
                  <a:pt x="2890" y="514"/>
                  <a:pt x="2890" y="514"/>
                  <a:pt x="2890" y="514"/>
                </a:cubicBezTo>
                <a:cubicBezTo>
                  <a:pt x="2891" y="513"/>
                  <a:pt x="2891" y="513"/>
                  <a:pt x="2891" y="513"/>
                </a:cubicBezTo>
                <a:cubicBezTo>
                  <a:pt x="2890" y="510"/>
                  <a:pt x="2890" y="510"/>
                  <a:pt x="2890" y="510"/>
                </a:cubicBezTo>
                <a:cubicBezTo>
                  <a:pt x="2891" y="507"/>
                  <a:pt x="2891" y="507"/>
                  <a:pt x="2891" y="507"/>
                </a:cubicBezTo>
                <a:cubicBezTo>
                  <a:pt x="2892" y="503"/>
                  <a:pt x="2892" y="503"/>
                  <a:pt x="2892" y="503"/>
                </a:cubicBezTo>
                <a:cubicBezTo>
                  <a:pt x="2894" y="499"/>
                  <a:pt x="2894" y="499"/>
                  <a:pt x="2894" y="499"/>
                </a:cubicBezTo>
                <a:cubicBezTo>
                  <a:pt x="2896" y="499"/>
                  <a:pt x="2896" y="499"/>
                  <a:pt x="2896" y="499"/>
                </a:cubicBezTo>
                <a:cubicBezTo>
                  <a:pt x="2898" y="499"/>
                  <a:pt x="2898" y="499"/>
                  <a:pt x="2898" y="499"/>
                </a:cubicBezTo>
                <a:cubicBezTo>
                  <a:pt x="2901" y="499"/>
                  <a:pt x="2901" y="499"/>
                  <a:pt x="2901" y="499"/>
                </a:cubicBezTo>
                <a:cubicBezTo>
                  <a:pt x="2900" y="498"/>
                  <a:pt x="2900" y="498"/>
                  <a:pt x="2900" y="498"/>
                </a:cubicBezTo>
                <a:cubicBezTo>
                  <a:pt x="2902" y="497"/>
                  <a:pt x="2902" y="497"/>
                  <a:pt x="2902" y="497"/>
                </a:cubicBezTo>
                <a:cubicBezTo>
                  <a:pt x="2902" y="498"/>
                  <a:pt x="2902" y="498"/>
                  <a:pt x="2902" y="498"/>
                </a:cubicBezTo>
                <a:cubicBezTo>
                  <a:pt x="2904" y="498"/>
                  <a:pt x="2904" y="498"/>
                  <a:pt x="2904" y="498"/>
                </a:cubicBezTo>
                <a:cubicBezTo>
                  <a:pt x="2905" y="497"/>
                  <a:pt x="2905" y="497"/>
                  <a:pt x="2905" y="497"/>
                </a:cubicBezTo>
                <a:cubicBezTo>
                  <a:pt x="2905" y="495"/>
                  <a:pt x="2905" y="495"/>
                  <a:pt x="2905" y="495"/>
                </a:cubicBezTo>
                <a:cubicBezTo>
                  <a:pt x="2907" y="494"/>
                  <a:pt x="2907" y="494"/>
                  <a:pt x="2907" y="494"/>
                </a:cubicBezTo>
                <a:cubicBezTo>
                  <a:pt x="2908" y="493"/>
                  <a:pt x="2908" y="493"/>
                  <a:pt x="2908" y="493"/>
                </a:cubicBezTo>
                <a:cubicBezTo>
                  <a:pt x="2908" y="491"/>
                  <a:pt x="2908" y="491"/>
                  <a:pt x="2908" y="491"/>
                </a:cubicBezTo>
                <a:cubicBezTo>
                  <a:pt x="2909" y="491"/>
                  <a:pt x="2909" y="491"/>
                  <a:pt x="2909" y="491"/>
                </a:cubicBezTo>
                <a:cubicBezTo>
                  <a:pt x="2910" y="489"/>
                  <a:pt x="2910" y="489"/>
                  <a:pt x="2910" y="489"/>
                </a:cubicBezTo>
                <a:cubicBezTo>
                  <a:pt x="2908" y="489"/>
                  <a:pt x="2908" y="489"/>
                  <a:pt x="2908" y="489"/>
                </a:cubicBezTo>
                <a:cubicBezTo>
                  <a:pt x="2907" y="491"/>
                  <a:pt x="2907" y="491"/>
                  <a:pt x="2907" y="491"/>
                </a:cubicBezTo>
                <a:cubicBezTo>
                  <a:pt x="2906" y="492"/>
                  <a:pt x="2906" y="492"/>
                  <a:pt x="2906" y="492"/>
                </a:cubicBezTo>
                <a:cubicBezTo>
                  <a:pt x="2905" y="492"/>
                  <a:pt x="2905" y="492"/>
                  <a:pt x="2905" y="492"/>
                </a:cubicBezTo>
                <a:cubicBezTo>
                  <a:pt x="2905" y="491"/>
                  <a:pt x="2905" y="491"/>
                  <a:pt x="2905" y="491"/>
                </a:cubicBezTo>
                <a:cubicBezTo>
                  <a:pt x="2905" y="490"/>
                  <a:pt x="2905" y="490"/>
                  <a:pt x="2905" y="490"/>
                </a:cubicBezTo>
                <a:cubicBezTo>
                  <a:pt x="2903" y="488"/>
                  <a:pt x="2903" y="488"/>
                  <a:pt x="2903" y="488"/>
                </a:cubicBezTo>
                <a:cubicBezTo>
                  <a:pt x="2900" y="486"/>
                  <a:pt x="2900" y="486"/>
                  <a:pt x="2900" y="486"/>
                </a:cubicBezTo>
                <a:cubicBezTo>
                  <a:pt x="2900" y="485"/>
                  <a:pt x="2900" y="485"/>
                  <a:pt x="2900" y="485"/>
                </a:cubicBezTo>
                <a:cubicBezTo>
                  <a:pt x="2900" y="482"/>
                  <a:pt x="2900" y="482"/>
                  <a:pt x="2900" y="482"/>
                </a:cubicBezTo>
                <a:lnTo>
                  <a:pt x="2901" y="479"/>
                </a:lnTo>
                <a:close/>
                <a:moveTo>
                  <a:pt x="2766" y="631"/>
                </a:moveTo>
                <a:cubicBezTo>
                  <a:pt x="2765" y="631"/>
                  <a:pt x="2765" y="631"/>
                  <a:pt x="2765" y="631"/>
                </a:cubicBezTo>
                <a:cubicBezTo>
                  <a:pt x="2766" y="632"/>
                  <a:pt x="2766" y="632"/>
                  <a:pt x="2766" y="632"/>
                </a:cubicBezTo>
                <a:cubicBezTo>
                  <a:pt x="2767" y="632"/>
                  <a:pt x="2767" y="632"/>
                  <a:pt x="2767" y="632"/>
                </a:cubicBezTo>
                <a:lnTo>
                  <a:pt x="2766" y="631"/>
                </a:lnTo>
                <a:close/>
                <a:moveTo>
                  <a:pt x="2766" y="891"/>
                </a:moveTo>
                <a:cubicBezTo>
                  <a:pt x="2769" y="890"/>
                  <a:pt x="2769" y="890"/>
                  <a:pt x="2769" y="890"/>
                </a:cubicBezTo>
                <a:cubicBezTo>
                  <a:pt x="2770" y="888"/>
                  <a:pt x="2770" y="888"/>
                  <a:pt x="2770" y="888"/>
                </a:cubicBezTo>
                <a:cubicBezTo>
                  <a:pt x="2769" y="886"/>
                  <a:pt x="2769" y="886"/>
                  <a:pt x="2769" y="886"/>
                </a:cubicBezTo>
                <a:cubicBezTo>
                  <a:pt x="2767" y="884"/>
                  <a:pt x="2767" y="884"/>
                  <a:pt x="2767" y="884"/>
                </a:cubicBezTo>
                <a:cubicBezTo>
                  <a:pt x="2766" y="885"/>
                  <a:pt x="2766" y="885"/>
                  <a:pt x="2766" y="885"/>
                </a:cubicBezTo>
                <a:cubicBezTo>
                  <a:pt x="2767" y="888"/>
                  <a:pt x="2767" y="888"/>
                  <a:pt x="2767" y="888"/>
                </a:cubicBezTo>
                <a:cubicBezTo>
                  <a:pt x="2766" y="889"/>
                  <a:pt x="2766" y="889"/>
                  <a:pt x="2766" y="889"/>
                </a:cubicBezTo>
                <a:cubicBezTo>
                  <a:pt x="2765" y="890"/>
                  <a:pt x="2765" y="890"/>
                  <a:pt x="2765" y="890"/>
                </a:cubicBezTo>
                <a:lnTo>
                  <a:pt x="2766" y="891"/>
                </a:lnTo>
                <a:close/>
                <a:moveTo>
                  <a:pt x="2759" y="652"/>
                </a:moveTo>
                <a:cubicBezTo>
                  <a:pt x="2761" y="650"/>
                  <a:pt x="2761" y="650"/>
                  <a:pt x="2761" y="650"/>
                </a:cubicBezTo>
                <a:cubicBezTo>
                  <a:pt x="2760" y="648"/>
                  <a:pt x="2760" y="648"/>
                  <a:pt x="2760" y="648"/>
                </a:cubicBezTo>
                <a:cubicBezTo>
                  <a:pt x="2758" y="648"/>
                  <a:pt x="2758" y="648"/>
                  <a:pt x="2758" y="648"/>
                </a:cubicBezTo>
                <a:cubicBezTo>
                  <a:pt x="2754" y="649"/>
                  <a:pt x="2754" y="649"/>
                  <a:pt x="2754" y="649"/>
                </a:cubicBezTo>
                <a:cubicBezTo>
                  <a:pt x="2753" y="651"/>
                  <a:pt x="2753" y="651"/>
                  <a:pt x="2753" y="651"/>
                </a:cubicBezTo>
                <a:cubicBezTo>
                  <a:pt x="2754" y="652"/>
                  <a:pt x="2754" y="652"/>
                  <a:pt x="2754" y="652"/>
                </a:cubicBezTo>
                <a:cubicBezTo>
                  <a:pt x="2756" y="653"/>
                  <a:pt x="2756" y="653"/>
                  <a:pt x="2756" y="653"/>
                </a:cubicBezTo>
                <a:lnTo>
                  <a:pt x="2759" y="652"/>
                </a:lnTo>
                <a:close/>
                <a:moveTo>
                  <a:pt x="2739" y="830"/>
                </a:moveTo>
                <a:cubicBezTo>
                  <a:pt x="2737" y="831"/>
                  <a:pt x="2737" y="831"/>
                  <a:pt x="2737" y="831"/>
                </a:cubicBezTo>
                <a:cubicBezTo>
                  <a:pt x="2739" y="832"/>
                  <a:pt x="2739" y="832"/>
                  <a:pt x="2739" y="832"/>
                </a:cubicBezTo>
                <a:cubicBezTo>
                  <a:pt x="2739" y="831"/>
                  <a:pt x="2739" y="831"/>
                  <a:pt x="2739" y="831"/>
                </a:cubicBezTo>
                <a:cubicBezTo>
                  <a:pt x="2739" y="831"/>
                  <a:pt x="2739" y="830"/>
                  <a:pt x="2739" y="830"/>
                </a:cubicBezTo>
                <a:close/>
                <a:moveTo>
                  <a:pt x="2340" y="959"/>
                </a:moveTo>
                <a:cubicBezTo>
                  <a:pt x="2339" y="958"/>
                  <a:pt x="2339" y="958"/>
                  <a:pt x="2339" y="958"/>
                </a:cubicBezTo>
                <a:cubicBezTo>
                  <a:pt x="2340" y="956"/>
                  <a:pt x="2340" y="956"/>
                  <a:pt x="2340" y="956"/>
                </a:cubicBezTo>
                <a:cubicBezTo>
                  <a:pt x="2338" y="955"/>
                  <a:pt x="2338" y="955"/>
                  <a:pt x="2338" y="955"/>
                </a:cubicBezTo>
                <a:cubicBezTo>
                  <a:pt x="2336" y="950"/>
                  <a:pt x="2336" y="950"/>
                  <a:pt x="2336" y="950"/>
                </a:cubicBezTo>
                <a:cubicBezTo>
                  <a:pt x="2335" y="947"/>
                  <a:pt x="2335" y="947"/>
                  <a:pt x="2335" y="947"/>
                </a:cubicBezTo>
                <a:cubicBezTo>
                  <a:pt x="2333" y="947"/>
                  <a:pt x="2333" y="947"/>
                  <a:pt x="2333" y="947"/>
                </a:cubicBezTo>
                <a:cubicBezTo>
                  <a:pt x="2333" y="947"/>
                  <a:pt x="2333" y="947"/>
                  <a:pt x="2333" y="947"/>
                </a:cubicBezTo>
                <a:cubicBezTo>
                  <a:pt x="2332" y="947"/>
                  <a:pt x="2332" y="947"/>
                  <a:pt x="2332" y="947"/>
                </a:cubicBezTo>
                <a:cubicBezTo>
                  <a:pt x="2334" y="946"/>
                  <a:pt x="2334" y="946"/>
                  <a:pt x="2334" y="946"/>
                </a:cubicBezTo>
                <a:cubicBezTo>
                  <a:pt x="2333" y="945"/>
                  <a:pt x="2333" y="945"/>
                  <a:pt x="2333" y="945"/>
                </a:cubicBezTo>
                <a:cubicBezTo>
                  <a:pt x="2333" y="945"/>
                  <a:pt x="2333" y="945"/>
                  <a:pt x="2333" y="945"/>
                </a:cubicBezTo>
                <a:cubicBezTo>
                  <a:pt x="2331" y="942"/>
                  <a:pt x="2331" y="942"/>
                  <a:pt x="2331" y="942"/>
                </a:cubicBezTo>
                <a:cubicBezTo>
                  <a:pt x="2330" y="942"/>
                  <a:pt x="2330" y="942"/>
                  <a:pt x="2330" y="942"/>
                </a:cubicBezTo>
                <a:cubicBezTo>
                  <a:pt x="2330" y="940"/>
                  <a:pt x="2330" y="940"/>
                  <a:pt x="2330" y="940"/>
                </a:cubicBezTo>
                <a:cubicBezTo>
                  <a:pt x="2329" y="940"/>
                  <a:pt x="2329" y="940"/>
                  <a:pt x="2329" y="940"/>
                </a:cubicBezTo>
                <a:cubicBezTo>
                  <a:pt x="2329" y="938"/>
                  <a:pt x="2329" y="938"/>
                  <a:pt x="2329" y="938"/>
                </a:cubicBezTo>
                <a:cubicBezTo>
                  <a:pt x="2326" y="937"/>
                  <a:pt x="2326" y="937"/>
                  <a:pt x="2326" y="937"/>
                </a:cubicBezTo>
                <a:cubicBezTo>
                  <a:pt x="2326" y="938"/>
                  <a:pt x="2326" y="938"/>
                  <a:pt x="2326" y="938"/>
                </a:cubicBezTo>
                <a:cubicBezTo>
                  <a:pt x="2324" y="938"/>
                  <a:pt x="2324" y="938"/>
                  <a:pt x="2324" y="938"/>
                </a:cubicBezTo>
                <a:cubicBezTo>
                  <a:pt x="2324" y="937"/>
                  <a:pt x="2324" y="937"/>
                  <a:pt x="2324" y="937"/>
                </a:cubicBezTo>
                <a:cubicBezTo>
                  <a:pt x="2322" y="936"/>
                  <a:pt x="2322" y="936"/>
                  <a:pt x="2322" y="936"/>
                </a:cubicBezTo>
                <a:cubicBezTo>
                  <a:pt x="2322" y="937"/>
                  <a:pt x="2322" y="937"/>
                  <a:pt x="2322" y="937"/>
                </a:cubicBezTo>
                <a:cubicBezTo>
                  <a:pt x="2323" y="937"/>
                  <a:pt x="2323" y="937"/>
                  <a:pt x="2323" y="937"/>
                </a:cubicBezTo>
                <a:cubicBezTo>
                  <a:pt x="2322" y="938"/>
                  <a:pt x="2322" y="938"/>
                  <a:pt x="2322" y="938"/>
                </a:cubicBezTo>
                <a:cubicBezTo>
                  <a:pt x="2322" y="938"/>
                  <a:pt x="2322" y="938"/>
                  <a:pt x="2322" y="938"/>
                </a:cubicBezTo>
                <a:cubicBezTo>
                  <a:pt x="2322" y="939"/>
                  <a:pt x="2322" y="939"/>
                  <a:pt x="2322" y="939"/>
                </a:cubicBezTo>
                <a:cubicBezTo>
                  <a:pt x="2322" y="940"/>
                  <a:pt x="2322" y="940"/>
                  <a:pt x="2322" y="940"/>
                </a:cubicBezTo>
                <a:cubicBezTo>
                  <a:pt x="2321" y="942"/>
                  <a:pt x="2321" y="942"/>
                  <a:pt x="2321" y="942"/>
                </a:cubicBezTo>
                <a:cubicBezTo>
                  <a:pt x="2320" y="942"/>
                  <a:pt x="2320" y="942"/>
                  <a:pt x="2320" y="942"/>
                </a:cubicBezTo>
                <a:cubicBezTo>
                  <a:pt x="2319" y="941"/>
                  <a:pt x="2319" y="941"/>
                  <a:pt x="2319" y="941"/>
                </a:cubicBezTo>
                <a:cubicBezTo>
                  <a:pt x="2318" y="940"/>
                  <a:pt x="2318" y="940"/>
                  <a:pt x="2318" y="940"/>
                </a:cubicBezTo>
                <a:cubicBezTo>
                  <a:pt x="2318" y="941"/>
                  <a:pt x="2318" y="941"/>
                  <a:pt x="2318" y="941"/>
                </a:cubicBezTo>
                <a:cubicBezTo>
                  <a:pt x="2319" y="941"/>
                  <a:pt x="2319" y="941"/>
                  <a:pt x="2319" y="941"/>
                </a:cubicBezTo>
                <a:cubicBezTo>
                  <a:pt x="2320" y="942"/>
                  <a:pt x="2320" y="942"/>
                  <a:pt x="2320" y="942"/>
                </a:cubicBezTo>
                <a:cubicBezTo>
                  <a:pt x="2319" y="943"/>
                  <a:pt x="2319" y="943"/>
                  <a:pt x="2319" y="943"/>
                </a:cubicBezTo>
                <a:cubicBezTo>
                  <a:pt x="2320" y="945"/>
                  <a:pt x="2320" y="945"/>
                  <a:pt x="2320" y="945"/>
                </a:cubicBezTo>
                <a:cubicBezTo>
                  <a:pt x="2320" y="948"/>
                  <a:pt x="2320" y="948"/>
                  <a:pt x="2320" y="948"/>
                </a:cubicBezTo>
                <a:cubicBezTo>
                  <a:pt x="2319" y="949"/>
                  <a:pt x="2319" y="949"/>
                  <a:pt x="2319" y="949"/>
                </a:cubicBezTo>
                <a:cubicBezTo>
                  <a:pt x="2319" y="953"/>
                  <a:pt x="2319" y="953"/>
                  <a:pt x="2319" y="953"/>
                </a:cubicBezTo>
                <a:cubicBezTo>
                  <a:pt x="2319" y="954"/>
                  <a:pt x="2319" y="954"/>
                  <a:pt x="2319" y="954"/>
                </a:cubicBezTo>
                <a:cubicBezTo>
                  <a:pt x="2318" y="955"/>
                  <a:pt x="2318" y="955"/>
                  <a:pt x="2318" y="955"/>
                </a:cubicBezTo>
                <a:cubicBezTo>
                  <a:pt x="2319" y="959"/>
                  <a:pt x="2319" y="959"/>
                  <a:pt x="2319" y="959"/>
                </a:cubicBezTo>
                <a:cubicBezTo>
                  <a:pt x="2319" y="960"/>
                  <a:pt x="2319" y="960"/>
                  <a:pt x="2319" y="960"/>
                </a:cubicBezTo>
                <a:cubicBezTo>
                  <a:pt x="2320" y="965"/>
                  <a:pt x="2320" y="965"/>
                  <a:pt x="2320" y="965"/>
                </a:cubicBezTo>
                <a:cubicBezTo>
                  <a:pt x="2322" y="970"/>
                  <a:pt x="2322" y="970"/>
                  <a:pt x="2322" y="970"/>
                </a:cubicBezTo>
                <a:cubicBezTo>
                  <a:pt x="2323" y="973"/>
                  <a:pt x="2323" y="973"/>
                  <a:pt x="2323" y="973"/>
                </a:cubicBezTo>
                <a:cubicBezTo>
                  <a:pt x="2326" y="974"/>
                  <a:pt x="2326" y="974"/>
                  <a:pt x="2326" y="974"/>
                </a:cubicBezTo>
                <a:cubicBezTo>
                  <a:pt x="2328" y="974"/>
                  <a:pt x="2328" y="974"/>
                  <a:pt x="2328" y="974"/>
                </a:cubicBezTo>
                <a:cubicBezTo>
                  <a:pt x="2331" y="973"/>
                  <a:pt x="2331" y="973"/>
                  <a:pt x="2331" y="973"/>
                </a:cubicBezTo>
                <a:cubicBezTo>
                  <a:pt x="2334" y="972"/>
                  <a:pt x="2334" y="972"/>
                  <a:pt x="2334" y="972"/>
                </a:cubicBezTo>
                <a:cubicBezTo>
                  <a:pt x="2338" y="969"/>
                  <a:pt x="2338" y="969"/>
                  <a:pt x="2338" y="969"/>
                </a:cubicBezTo>
                <a:cubicBezTo>
                  <a:pt x="2339" y="966"/>
                  <a:pt x="2339" y="966"/>
                  <a:pt x="2339" y="966"/>
                </a:cubicBezTo>
                <a:cubicBezTo>
                  <a:pt x="2340" y="964"/>
                  <a:pt x="2340" y="964"/>
                  <a:pt x="2340" y="964"/>
                </a:cubicBezTo>
                <a:cubicBezTo>
                  <a:pt x="2340" y="962"/>
                  <a:pt x="2340" y="962"/>
                  <a:pt x="2340" y="962"/>
                </a:cubicBezTo>
                <a:cubicBezTo>
                  <a:pt x="2340" y="962"/>
                  <a:pt x="2340" y="962"/>
                  <a:pt x="2340" y="962"/>
                </a:cubicBezTo>
                <a:lnTo>
                  <a:pt x="2340" y="959"/>
                </a:lnTo>
                <a:close/>
                <a:moveTo>
                  <a:pt x="2744" y="873"/>
                </a:moveTo>
                <a:cubicBezTo>
                  <a:pt x="2741" y="874"/>
                  <a:pt x="2741" y="874"/>
                  <a:pt x="2741" y="874"/>
                </a:cubicBezTo>
                <a:cubicBezTo>
                  <a:pt x="2742" y="877"/>
                  <a:pt x="2742" y="877"/>
                  <a:pt x="2742" y="877"/>
                </a:cubicBezTo>
                <a:cubicBezTo>
                  <a:pt x="2742" y="878"/>
                  <a:pt x="2742" y="878"/>
                  <a:pt x="2742" y="878"/>
                </a:cubicBezTo>
                <a:cubicBezTo>
                  <a:pt x="2743" y="879"/>
                  <a:pt x="2743" y="879"/>
                  <a:pt x="2743" y="879"/>
                </a:cubicBezTo>
                <a:cubicBezTo>
                  <a:pt x="2744" y="878"/>
                  <a:pt x="2744" y="878"/>
                  <a:pt x="2744" y="878"/>
                </a:cubicBezTo>
                <a:cubicBezTo>
                  <a:pt x="2744" y="875"/>
                  <a:pt x="2744" y="875"/>
                  <a:pt x="2744" y="875"/>
                </a:cubicBezTo>
                <a:cubicBezTo>
                  <a:pt x="2745" y="874"/>
                  <a:pt x="2745" y="874"/>
                  <a:pt x="2745" y="874"/>
                </a:cubicBezTo>
                <a:lnTo>
                  <a:pt x="2744" y="873"/>
                </a:lnTo>
                <a:close/>
                <a:moveTo>
                  <a:pt x="2752" y="638"/>
                </a:moveTo>
                <a:cubicBezTo>
                  <a:pt x="2753" y="638"/>
                  <a:pt x="2753" y="638"/>
                  <a:pt x="2753" y="638"/>
                </a:cubicBezTo>
                <a:cubicBezTo>
                  <a:pt x="2752" y="637"/>
                  <a:pt x="2752" y="637"/>
                  <a:pt x="2752" y="637"/>
                </a:cubicBezTo>
                <a:cubicBezTo>
                  <a:pt x="2752" y="636"/>
                  <a:pt x="2752" y="636"/>
                  <a:pt x="2752" y="636"/>
                </a:cubicBezTo>
                <a:cubicBezTo>
                  <a:pt x="2751" y="637"/>
                  <a:pt x="2751" y="637"/>
                  <a:pt x="2751" y="637"/>
                </a:cubicBezTo>
                <a:cubicBezTo>
                  <a:pt x="2751" y="637"/>
                  <a:pt x="2751" y="637"/>
                  <a:pt x="2751" y="637"/>
                </a:cubicBezTo>
                <a:cubicBezTo>
                  <a:pt x="2750" y="637"/>
                  <a:pt x="2750" y="637"/>
                  <a:pt x="2750" y="637"/>
                </a:cubicBezTo>
                <a:cubicBezTo>
                  <a:pt x="2751" y="639"/>
                  <a:pt x="2751" y="639"/>
                  <a:pt x="2751" y="639"/>
                </a:cubicBezTo>
                <a:lnTo>
                  <a:pt x="2752" y="638"/>
                </a:lnTo>
                <a:close/>
                <a:moveTo>
                  <a:pt x="2817" y="610"/>
                </a:moveTo>
                <a:cubicBezTo>
                  <a:pt x="2817" y="608"/>
                  <a:pt x="2817" y="608"/>
                  <a:pt x="2817" y="608"/>
                </a:cubicBezTo>
                <a:cubicBezTo>
                  <a:pt x="2816" y="608"/>
                  <a:pt x="2816" y="608"/>
                  <a:pt x="2816" y="608"/>
                </a:cubicBezTo>
                <a:cubicBezTo>
                  <a:pt x="2815" y="609"/>
                  <a:pt x="2815" y="609"/>
                  <a:pt x="2815" y="609"/>
                </a:cubicBezTo>
                <a:cubicBezTo>
                  <a:pt x="2816" y="610"/>
                  <a:pt x="2816" y="610"/>
                  <a:pt x="2816" y="610"/>
                </a:cubicBezTo>
                <a:cubicBezTo>
                  <a:pt x="2816" y="610"/>
                  <a:pt x="2816" y="610"/>
                  <a:pt x="2816" y="610"/>
                </a:cubicBezTo>
                <a:lnTo>
                  <a:pt x="2817" y="610"/>
                </a:lnTo>
                <a:close/>
                <a:moveTo>
                  <a:pt x="2826" y="363"/>
                </a:moveTo>
                <a:cubicBezTo>
                  <a:pt x="2828" y="364"/>
                  <a:pt x="2828" y="364"/>
                  <a:pt x="2828" y="364"/>
                </a:cubicBezTo>
                <a:cubicBezTo>
                  <a:pt x="2830" y="367"/>
                  <a:pt x="2830" y="367"/>
                  <a:pt x="2830" y="367"/>
                </a:cubicBezTo>
                <a:cubicBezTo>
                  <a:pt x="2831" y="371"/>
                  <a:pt x="2831" y="371"/>
                  <a:pt x="2831" y="371"/>
                </a:cubicBezTo>
                <a:cubicBezTo>
                  <a:pt x="2831" y="373"/>
                  <a:pt x="2831" y="373"/>
                  <a:pt x="2831" y="373"/>
                </a:cubicBezTo>
                <a:cubicBezTo>
                  <a:pt x="2832" y="376"/>
                  <a:pt x="2832" y="376"/>
                  <a:pt x="2832" y="376"/>
                </a:cubicBezTo>
                <a:cubicBezTo>
                  <a:pt x="2832" y="378"/>
                  <a:pt x="2832" y="378"/>
                  <a:pt x="2832" y="378"/>
                </a:cubicBezTo>
                <a:cubicBezTo>
                  <a:pt x="2834" y="379"/>
                  <a:pt x="2834" y="379"/>
                  <a:pt x="2834" y="379"/>
                </a:cubicBezTo>
                <a:cubicBezTo>
                  <a:pt x="2836" y="381"/>
                  <a:pt x="2836" y="381"/>
                  <a:pt x="2836" y="381"/>
                </a:cubicBezTo>
                <a:cubicBezTo>
                  <a:pt x="2835" y="382"/>
                  <a:pt x="2835" y="382"/>
                  <a:pt x="2835" y="382"/>
                </a:cubicBezTo>
                <a:cubicBezTo>
                  <a:pt x="2835" y="384"/>
                  <a:pt x="2835" y="384"/>
                  <a:pt x="2835" y="384"/>
                </a:cubicBezTo>
                <a:cubicBezTo>
                  <a:pt x="2838" y="387"/>
                  <a:pt x="2838" y="387"/>
                  <a:pt x="2838" y="387"/>
                </a:cubicBezTo>
                <a:cubicBezTo>
                  <a:pt x="2838" y="389"/>
                  <a:pt x="2838" y="389"/>
                  <a:pt x="2838" y="389"/>
                </a:cubicBezTo>
                <a:cubicBezTo>
                  <a:pt x="2839" y="392"/>
                  <a:pt x="2839" y="392"/>
                  <a:pt x="2839" y="392"/>
                </a:cubicBezTo>
                <a:cubicBezTo>
                  <a:pt x="2840" y="396"/>
                  <a:pt x="2840" y="396"/>
                  <a:pt x="2840" y="396"/>
                </a:cubicBezTo>
                <a:cubicBezTo>
                  <a:pt x="2840" y="397"/>
                  <a:pt x="2840" y="397"/>
                  <a:pt x="2840" y="397"/>
                </a:cubicBezTo>
                <a:cubicBezTo>
                  <a:pt x="2840" y="399"/>
                  <a:pt x="2840" y="399"/>
                  <a:pt x="2840" y="399"/>
                </a:cubicBezTo>
                <a:cubicBezTo>
                  <a:pt x="2840" y="403"/>
                  <a:pt x="2840" y="403"/>
                  <a:pt x="2840" y="403"/>
                </a:cubicBezTo>
                <a:cubicBezTo>
                  <a:pt x="2842" y="406"/>
                  <a:pt x="2842" y="406"/>
                  <a:pt x="2842" y="406"/>
                </a:cubicBezTo>
                <a:cubicBezTo>
                  <a:pt x="2842" y="408"/>
                  <a:pt x="2842" y="408"/>
                  <a:pt x="2842" y="408"/>
                </a:cubicBezTo>
                <a:cubicBezTo>
                  <a:pt x="2842" y="411"/>
                  <a:pt x="2842" y="411"/>
                  <a:pt x="2842" y="411"/>
                </a:cubicBezTo>
                <a:cubicBezTo>
                  <a:pt x="2844" y="412"/>
                  <a:pt x="2844" y="412"/>
                  <a:pt x="2844" y="412"/>
                </a:cubicBezTo>
                <a:cubicBezTo>
                  <a:pt x="2848" y="417"/>
                  <a:pt x="2848" y="417"/>
                  <a:pt x="2848" y="417"/>
                </a:cubicBezTo>
                <a:cubicBezTo>
                  <a:pt x="2848" y="419"/>
                  <a:pt x="2848" y="419"/>
                  <a:pt x="2848" y="419"/>
                </a:cubicBezTo>
                <a:cubicBezTo>
                  <a:pt x="2849" y="422"/>
                  <a:pt x="2849" y="422"/>
                  <a:pt x="2849" y="422"/>
                </a:cubicBezTo>
                <a:cubicBezTo>
                  <a:pt x="2849" y="426"/>
                  <a:pt x="2849" y="426"/>
                  <a:pt x="2849" y="426"/>
                </a:cubicBezTo>
                <a:cubicBezTo>
                  <a:pt x="2849" y="429"/>
                  <a:pt x="2849" y="429"/>
                  <a:pt x="2849" y="429"/>
                </a:cubicBezTo>
                <a:cubicBezTo>
                  <a:pt x="2851" y="433"/>
                  <a:pt x="2851" y="433"/>
                  <a:pt x="2851" y="433"/>
                </a:cubicBezTo>
                <a:cubicBezTo>
                  <a:pt x="2851" y="435"/>
                  <a:pt x="2851" y="435"/>
                  <a:pt x="2851" y="435"/>
                </a:cubicBezTo>
                <a:cubicBezTo>
                  <a:pt x="2854" y="438"/>
                  <a:pt x="2854" y="438"/>
                  <a:pt x="2854" y="438"/>
                </a:cubicBezTo>
                <a:cubicBezTo>
                  <a:pt x="2854" y="440"/>
                  <a:pt x="2854" y="440"/>
                  <a:pt x="2854" y="440"/>
                </a:cubicBezTo>
                <a:cubicBezTo>
                  <a:pt x="2854" y="443"/>
                  <a:pt x="2854" y="443"/>
                  <a:pt x="2854" y="443"/>
                </a:cubicBezTo>
                <a:cubicBezTo>
                  <a:pt x="2854" y="447"/>
                  <a:pt x="2854" y="447"/>
                  <a:pt x="2854" y="447"/>
                </a:cubicBezTo>
                <a:cubicBezTo>
                  <a:pt x="2854" y="450"/>
                  <a:pt x="2854" y="450"/>
                  <a:pt x="2854" y="450"/>
                </a:cubicBezTo>
                <a:cubicBezTo>
                  <a:pt x="2857" y="451"/>
                  <a:pt x="2857" y="451"/>
                  <a:pt x="2857" y="451"/>
                </a:cubicBezTo>
                <a:cubicBezTo>
                  <a:pt x="2858" y="454"/>
                  <a:pt x="2858" y="454"/>
                  <a:pt x="2858" y="454"/>
                </a:cubicBezTo>
                <a:cubicBezTo>
                  <a:pt x="2861" y="456"/>
                  <a:pt x="2861" y="456"/>
                  <a:pt x="2861" y="456"/>
                </a:cubicBezTo>
                <a:cubicBezTo>
                  <a:pt x="2860" y="454"/>
                  <a:pt x="2860" y="454"/>
                  <a:pt x="2860" y="454"/>
                </a:cubicBezTo>
                <a:cubicBezTo>
                  <a:pt x="2861" y="451"/>
                  <a:pt x="2861" y="451"/>
                  <a:pt x="2861" y="451"/>
                </a:cubicBezTo>
                <a:cubicBezTo>
                  <a:pt x="2860" y="449"/>
                  <a:pt x="2860" y="449"/>
                  <a:pt x="2860" y="449"/>
                </a:cubicBezTo>
                <a:cubicBezTo>
                  <a:pt x="2859" y="447"/>
                  <a:pt x="2859" y="447"/>
                  <a:pt x="2859" y="447"/>
                </a:cubicBezTo>
                <a:cubicBezTo>
                  <a:pt x="2860" y="444"/>
                  <a:pt x="2860" y="444"/>
                  <a:pt x="2860" y="444"/>
                </a:cubicBezTo>
                <a:cubicBezTo>
                  <a:pt x="2861" y="442"/>
                  <a:pt x="2861" y="442"/>
                  <a:pt x="2861" y="442"/>
                </a:cubicBezTo>
                <a:cubicBezTo>
                  <a:pt x="2862" y="443"/>
                  <a:pt x="2862" y="443"/>
                  <a:pt x="2862" y="443"/>
                </a:cubicBezTo>
                <a:cubicBezTo>
                  <a:pt x="2862" y="444"/>
                  <a:pt x="2862" y="444"/>
                  <a:pt x="2862" y="444"/>
                </a:cubicBezTo>
                <a:cubicBezTo>
                  <a:pt x="2863" y="445"/>
                  <a:pt x="2863" y="445"/>
                  <a:pt x="2863" y="445"/>
                </a:cubicBezTo>
                <a:cubicBezTo>
                  <a:pt x="2867" y="445"/>
                  <a:pt x="2867" y="445"/>
                  <a:pt x="2867" y="445"/>
                </a:cubicBezTo>
                <a:cubicBezTo>
                  <a:pt x="2868" y="444"/>
                  <a:pt x="2868" y="444"/>
                  <a:pt x="2868" y="444"/>
                </a:cubicBezTo>
                <a:cubicBezTo>
                  <a:pt x="2869" y="443"/>
                  <a:pt x="2869" y="443"/>
                  <a:pt x="2869" y="443"/>
                </a:cubicBezTo>
                <a:cubicBezTo>
                  <a:pt x="2869" y="444"/>
                  <a:pt x="2869" y="444"/>
                  <a:pt x="2869" y="444"/>
                </a:cubicBezTo>
                <a:cubicBezTo>
                  <a:pt x="2869" y="445"/>
                  <a:pt x="2869" y="445"/>
                  <a:pt x="2869" y="445"/>
                </a:cubicBezTo>
                <a:cubicBezTo>
                  <a:pt x="2869" y="447"/>
                  <a:pt x="2869" y="447"/>
                  <a:pt x="2869" y="447"/>
                </a:cubicBezTo>
                <a:cubicBezTo>
                  <a:pt x="2871" y="449"/>
                  <a:pt x="2871" y="449"/>
                  <a:pt x="2871" y="449"/>
                </a:cubicBezTo>
                <a:cubicBezTo>
                  <a:pt x="2871" y="451"/>
                  <a:pt x="2871" y="451"/>
                  <a:pt x="2871" y="451"/>
                </a:cubicBezTo>
                <a:cubicBezTo>
                  <a:pt x="2873" y="452"/>
                  <a:pt x="2873" y="452"/>
                  <a:pt x="2873" y="452"/>
                </a:cubicBezTo>
                <a:cubicBezTo>
                  <a:pt x="2873" y="451"/>
                  <a:pt x="2873" y="451"/>
                  <a:pt x="2873" y="451"/>
                </a:cubicBezTo>
                <a:cubicBezTo>
                  <a:pt x="2872" y="449"/>
                  <a:pt x="2872" y="449"/>
                  <a:pt x="2872" y="449"/>
                </a:cubicBezTo>
                <a:cubicBezTo>
                  <a:pt x="2872" y="447"/>
                  <a:pt x="2872" y="447"/>
                  <a:pt x="2872" y="447"/>
                </a:cubicBezTo>
                <a:cubicBezTo>
                  <a:pt x="2872" y="445"/>
                  <a:pt x="2872" y="445"/>
                  <a:pt x="2872" y="445"/>
                </a:cubicBezTo>
                <a:cubicBezTo>
                  <a:pt x="2871" y="443"/>
                  <a:pt x="2871" y="443"/>
                  <a:pt x="2871" y="443"/>
                </a:cubicBezTo>
                <a:cubicBezTo>
                  <a:pt x="2870" y="441"/>
                  <a:pt x="2870" y="441"/>
                  <a:pt x="2870" y="441"/>
                </a:cubicBezTo>
                <a:cubicBezTo>
                  <a:pt x="2869" y="439"/>
                  <a:pt x="2869" y="439"/>
                  <a:pt x="2869" y="439"/>
                </a:cubicBezTo>
                <a:cubicBezTo>
                  <a:pt x="2868" y="440"/>
                  <a:pt x="2868" y="440"/>
                  <a:pt x="2868" y="440"/>
                </a:cubicBezTo>
                <a:cubicBezTo>
                  <a:pt x="2867" y="440"/>
                  <a:pt x="2867" y="440"/>
                  <a:pt x="2867" y="440"/>
                </a:cubicBezTo>
                <a:cubicBezTo>
                  <a:pt x="2864" y="438"/>
                  <a:pt x="2864" y="438"/>
                  <a:pt x="2864" y="438"/>
                </a:cubicBezTo>
                <a:cubicBezTo>
                  <a:pt x="2863" y="435"/>
                  <a:pt x="2863" y="435"/>
                  <a:pt x="2863" y="435"/>
                </a:cubicBezTo>
                <a:cubicBezTo>
                  <a:pt x="2862" y="433"/>
                  <a:pt x="2862" y="433"/>
                  <a:pt x="2862" y="433"/>
                </a:cubicBezTo>
                <a:cubicBezTo>
                  <a:pt x="2860" y="431"/>
                  <a:pt x="2860" y="431"/>
                  <a:pt x="2860" y="431"/>
                </a:cubicBezTo>
                <a:cubicBezTo>
                  <a:pt x="2858" y="430"/>
                  <a:pt x="2858" y="430"/>
                  <a:pt x="2858" y="430"/>
                </a:cubicBezTo>
                <a:cubicBezTo>
                  <a:pt x="2856" y="428"/>
                  <a:pt x="2856" y="428"/>
                  <a:pt x="2856" y="428"/>
                </a:cubicBezTo>
                <a:cubicBezTo>
                  <a:pt x="2856" y="425"/>
                  <a:pt x="2856" y="425"/>
                  <a:pt x="2856" y="425"/>
                </a:cubicBezTo>
                <a:cubicBezTo>
                  <a:pt x="2854" y="422"/>
                  <a:pt x="2854" y="422"/>
                  <a:pt x="2854" y="422"/>
                </a:cubicBezTo>
                <a:cubicBezTo>
                  <a:pt x="2853" y="420"/>
                  <a:pt x="2853" y="420"/>
                  <a:pt x="2853" y="420"/>
                </a:cubicBezTo>
                <a:cubicBezTo>
                  <a:pt x="2853" y="416"/>
                  <a:pt x="2853" y="416"/>
                  <a:pt x="2853" y="416"/>
                </a:cubicBezTo>
                <a:cubicBezTo>
                  <a:pt x="2853" y="412"/>
                  <a:pt x="2853" y="412"/>
                  <a:pt x="2853" y="412"/>
                </a:cubicBezTo>
                <a:cubicBezTo>
                  <a:pt x="2852" y="410"/>
                  <a:pt x="2852" y="410"/>
                  <a:pt x="2852" y="410"/>
                </a:cubicBezTo>
                <a:cubicBezTo>
                  <a:pt x="2852" y="407"/>
                  <a:pt x="2852" y="407"/>
                  <a:pt x="2852" y="407"/>
                </a:cubicBezTo>
                <a:cubicBezTo>
                  <a:pt x="2852" y="405"/>
                  <a:pt x="2852" y="405"/>
                  <a:pt x="2852" y="405"/>
                </a:cubicBezTo>
                <a:cubicBezTo>
                  <a:pt x="2851" y="402"/>
                  <a:pt x="2851" y="402"/>
                  <a:pt x="2851" y="402"/>
                </a:cubicBezTo>
                <a:cubicBezTo>
                  <a:pt x="2852" y="401"/>
                  <a:pt x="2852" y="401"/>
                  <a:pt x="2852" y="401"/>
                </a:cubicBezTo>
                <a:cubicBezTo>
                  <a:pt x="2852" y="400"/>
                  <a:pt x="2852" y="400"/>
                  <a:pt x="2852" y="400"/>
                </a:cubicBezTo>
                <a:cubicBezTo>
                  <a:pt x="2852" y="398"/>
                  <a:pt x="2852" y="398"/>
                  <a:pt x="2852" y="398"/>
                </a:cubicBezTo>
                <a:cubicBezTo>
                  <a:pt x="2853" y="398"/>
                  <a:pt x="2853" y="398"/>
                  <a:pt x="2853" y="398"/>
                </a:cubicBezTo>
                <a:cubicBezTo>
                  <a:pt x="2854" y="398"/>
                  <a:pt x="2854" y="398"/>
                  <a:pt x="2854" y="398"/>
                </a:cubicBezTo>
                <a:cubicBezTo>
                  <a:pt x="2856" y="398"/>
                  <a:pt x="2856" y="398"/>
                  <a:pt x="2856" y="398"/>
                </a:cubicBezTo>
                <a:cubicBezTo>
                  <a:pt x="2859" y="398"/>
                  <a:pt x="2859" y="398"/>
                  <a:pt x="2859" y="398"/>
                </a:cubicBezTo>
                <a:cubicBezTo>
                  <a:pt x="2861" y="400"/>
                  <a:pt x="2861" y="400"/>
                  <a:pt x="2861" y="400"/>
                </a:cubicBezTo>
                <a:cubicBezTo>
                  <a:pt x="2862" y="403"/>
                  <a:pt x="2862" y="403"/>
                  <a:pt x="2862" y="403"/>
                </a:cubicBezTo>
                <a:cubicBezTo>
                  <a:pt x="2864" y="403"/>
                  <a:pt x="2864" y="403"/>
                  <a:pt x="2864" y="403"/>
                </a:cubicBezTo>
                <a:cubicBezTo>
                  <a:pt x="2866" y="405"/>
                  <a:pt x="2866" y="405"/>
                  <a:pt x="2866" y="405"/>
                </a:cubicBezTo>
                <a:cubicBezTo>
                  <a:pt x="2868" y="407"/>
                  <a:pt x="2868" y="407"/>
                  <a:pt x="2868" y="407"/>
                </a:cubicBezTo>
                <a:cubicBezTo>
                  <a:pt x="2869" y="408"/>
                  <a:pt x="2869" y="408"/>
                  <a:pt x="2869" y="408"/>
                </a:cubicBezTo>
                <a:cubicBezTo>
                  <a:pt x="2868" y="405"/>
                  <a:pt x="2868" y="405"/>
                  <a:pt x="2868" y="405"/>
                </a:cubicBezTo>
                <a:cubicBezTo>
                  <a:pt x="2866" y="403"/>
                  <a:pt x="2866" y="403"/>
                  <a:pt x="2866" y="403"/>
                </a:cubicBezTo>
                <a:cubicBezTo>
                  <a:pt x="2863" y="401"/>
                  <a:pt x="2863" y="401"/>
                  <a:pt x="2863" y="401"/>
                </a:cubicBezTo>
                <a:cubicBezTo>
                  <a:pt x="2862" y="398"/>
                  <a:pt x="2862" y="398"/>
                  <a:pt x="2862" y="398"/>
                </a:cubicBezTo>
                <a:cubicBezTo>
                  <a:pt x="2860" y="395"/>
                  <a:pt x="2860" y="395"/>
                  <a:pt x="2860" y="395"/>
                </a:cubicBezTo>
                <a:cubicBezTo>
                  <a:pt x="2860" y="394"/>
                  <a:pt x="2860" y="394"/>
                  <a:pt x="2860" y="394"/>
                </a:cubicBezTo>
                <a:cubicBezTo>
                  <a:pt x="2859" y="393"/>
                  <a:pt x="2859" y="393"/>
                  <a:pt x="2859" y="393"/>
                </a:cubicBezTo>
                <a:cubicBezTo>
                  <a:pt x="2857" y="389"/>
                  <a:pt x="2857" y="389"/>
                  <a:pt x="2857" y="389"/>
                </a:cubicBezTo>
                <a:cubicBezTo>
                  <a:pt x="2856" y="387"/>
                  <a:pt x="2856" y="387"/>
                  <a:pt x="2856" y="387"/>
                </a:cubicBezTo>
                <a:cubicBezTo>
                  <a:pt x="2855" y="386"/>
                  <a:pt x="2855" y="386"/>
                  <a:pt x="2855" y="386"/>
                </a:cubicBezTo>
                <a:cubicBezTo>
                  <a:pt x="2854" y="384"/>
                  <a:pt x="2854" y="384"/>
                  <a:pt x="2854" y="384"/>
                </a:cubicBezTo>
                <a:cubicBezTo>
                  <a:pt x="2851" y="381"/>
                  <a:pt x="2851" y="381"/>
                  <a:pt x="2851" y="381"/>
                </a:cubicBezTo>
                <a:cubicBezTo>
                  <a:pt x="2849" y="376"/>
                  <a:pt x="2849" y="376"/>
                  <a:pt x="2849" y="376"/>
                </a:cubicBezTo>
                <a:cubicBezTo>
                  <a:pt x="2848" y="373"/>
                  <a:pt x="2848" y="373"/>
                  <a:pt x="2848" y="373"/>
                </a:cubicBezTo>
                <a:cubicBezTo>
                  <a:pt x="2844" y="369"/>
                  <a:pt x="2844" y="369"/>
                  <a:pt x="2844" y="369"/>
                </a:cubicBezTo>
                <a:cubicBezTo>
                  <a:pt x="2842" y="365"/>
                  <a:pt x="2842" y="365"/>
                  <a:pt x="2842" y="365"/>
                </a:cubicBezTo>
                <a:cubicBezTo>
                  <a:pt x="2841" y="364"/>
                  <a:pt x="2841" y="364"/>
                  <a:pt x="2841" y="364"/>
                </a:cubicBezTo>
                <a:cubicBezTo>
                  <a:pt x="2841" y="362"/>
                  <a:pt x="2841" y="362"/>
                  <a:pt x="2841" y="362"/>
                </a:cubicBezTo>
                <a:cubicBezTo>
                  <a:pt x="2840" y="360"/>
                  <a:pt x="2840" y="360"/>
                  <a:pt x="2840" y="360"/>
                </a:cubicBezTo>
                <a:cubicBezTo>
                  <a:pt x="2839" y="360"/>
                  <a:pt x="2839" y="360"/>
                  <a:pt x="2839" y="360"/>
                </a:cubicBezTo>
                <a:cubicBezTo>
                  <a:pt x="2838" y="361"/>
                  <a:pt x="2838" y="361"/>
                  <a:pt x="2838" y="361"/>
                </a:cubicBezTo>
                <a:cubicBezTo>
                  <a:pt x="2837" y="360"/>
                  <a:pt x="2837" y="360"/>
                  <a:pt x="2837" y="360"/>
                </a:cubicBezTo>
                <a:cubicBezTo>
                  <a:pt x="2837" y="360"/>
                  <a:pt x="2837" y="360"/>
                  <a:pt x="2837" y="360"/>
                </a:cubicBezTo>
                <a:cubicBezTo>
                  <a:pt x="2837" y="358"/>
                  <a:pt x="2837" y="358"/>
                  <a:pt x="2837" y="358"/>
                </a:cubicBezTo>
                <a:cubicBezTo>
                  <a:pt x="2837" y="356"/>
                  <a:pt x="2837" y="356"/>
                  <a:pt x="2837" y="356"/>
                </a:cubicBezTo>
                <a:cubicBezTo>
                  <a:pt x="2835" y="355"/>
                  <a:pt x="2835" y="355"/>
                  <a:pt x="2835" y="355"/>
                </a:cubicBezTo>
                <a:cubicBezTo>
                  <a:pt x="2833" y="353"/>
                  <a:pt x="2833" y="353"/>
                  <a:pt x="2833" y="353"/>
                </a:cubicBezTo>
                <a:cubicBezTo>
                  <a:pt x="2832" y="350"/>
                  <a:pt x="2832" y="350"/>
                  <a:pt x="2832" y="350"/>
                </a:cubicBezTo>
                <a:cubicBezTo>
                  <a:pt x="2831" y="349"/>
                  <a:pt x="2831" y="349"/>
                  <a:pt x="2831" y="349"/>
                </a:cubicBezTo>
                <a:cubicBezTo>
                  <a:pt x="2831" y="347"/>
                  <a:pt x="2831" y="347"/>
                  <a:pt x="2831" y="347"/>
                </a:cubicBezTo>
                <a:cubicBezTo>
                  <a:pt x="2831" y="345"/>
                  <a:pt x="2831" y="345"/>
                  <a:pt x="2831" y="345"/>
                </a:cubicBezTo>
                <a:cubicBezTo>
                  <a:pt x="2832" y="345"/>
                  <a:pt x="2832" y="345"/>
                  <a:pt x="2832" y="345"/>
                </a:cubicBezTo>
                <a:cubicBezTo>
                  <a:pt x="2831" y="342"/>
                  <a:pt x="2831" y="342"/>
                  <a:pt x="2831" y="342"/>
                </a:cubicBezTo>
                <a:cubicBezTo>
                  <a:pt x="2831" y="339"/>
                  <a:pt x="2831" y="339"/>
                  <a:pt x="2831" y="339"/>
                </a:cubicBezTo>
                <a:cubicBezTo>
                  <a:pt x="2830" y="337"/>
                  <a:pt x="2830" y="337"/>
                  <a:pt x="2830" y="337"/>
                </a:cubicBezTo>
                <a:cubicBezTo>
                  <a:pt x="2828" y="336"/>
                  <a:pt x="2828" y="336"/>
                  <a:pt x="2828" y="336"/>
                </a:cubicBezTo>
                <a:cubicBezTo>
                  <a:pt x="2826" y="334"/>
                  <a:pt x="2826" y="334"/>
                  <a:pt x="2826" y="334"/>
                </a:cubicBezTo>
                <a:cubicBezTo>
                  <a:pt x="2826" y="332"/>
                  <a:pt x="2826" y="332"/>
                  <a:pt x="2826" y="332"/>
                </a:cubicBezTo>
                <a:cubicBezTo>
                  <a:pt x="2825" y="331"/>
                  <a:pt x="2825" y="331"/>
                  <a:pt x="2825" y="331"/>
                </a:cubicBezTo>
                <a:cubicBezTo>
                  <a:pt x="2825" y="330"/>
                  <a:pt x="2825" y="330"/>
                  <a:pt x="2825" y="330"/>
                </a:cubicBezTo>
                <a:cubicBezTo>
                  <a:pt x="2825" y="330"/>
                  <a:pt x="2825" y="330"/>
                  <a:pt x="2825" y="330"/>
                </a:cubicBezTo>
                <a:cubicBezTo>
                  <a:pt x="2827" y="332"/>
                  <a:pt x="2827" y="332"/>
                  <a:pt x="2827" y="332"/>
                </a:cubicBezTo>
                <a:cubicBezTo>
                  <a:pt x="2829" y="335"/>
                  <a:pt x="2829" y="335"/>
                  <a:pt x="2829" y="335"/>
                </a:cubicBezTo>
                <a:cubicBezTo>
                  <a:pt x="2828" y="332"/>
                  <a:pt x="2828" y="332"/>
                  <a:pt x="2828" y="332"/>
                </a:cubicBezTo>
                <a:cubicBezTo>
                  <a:pt x="2826" y="329"/>
                  <a:pt x="2826" y="329"/>
                  <a:pt x="2826" y="329"/>
                </a:cubicBezTo>
                <a:cubicBezTo>
                  <a:pt x="2824" y="326"/>
                  <a:pt x="2824" y="326"/>
                  <a:pt x="2824" y="326"/>
                </a:cubicBezTo>
                <a:cubicBezTo>
                  <a:pt x="2823" y="326"/>
                  <a:pt x="2823" y="326"/>
                  <a:pt x="2823" y="326"/>
                </a:cubicBezTo>
                <a:cubicBezTo>
                  <a:pt x="2822" y="324"/>
                  <a:pt x="2822" y="324"/>
                  <a:pt x="2822" y="324"/>
                </a:cubicBezTo>
                <a:cubicBezTo>
                  <a:pt x="2818" y="321"/>
                  <a:pt x="2818" y="321"/>
                  <a:pt x="2818" y="321"/>
                </a:cubicBezTo>
                <a:cubicBezTo>
                  <a:pt x="2817" y="319"/>
                  <a:pt x="2817" y="319"/>
                  <a:pt x="2817" y="319"/>
                </a:cubicBezTo>
                <a:cubicBezTo>
                  <a:pt x="2817" y="316"/>
                  <a:pt x="2817" y="316"/>
                  <a:pt x="2817" y="316"/>
                </a:cubicBezTo>
                <a:cubicBezTo>
                  <a:pt x="2816" y="314"/>
                  <a:pt x="2816" y="314"/>
                  <a:pt x="2816" y="314"/>
                </a:cubicBezTo>
                <a:cubicBezTo>
                  <a:pt x="2813" y="313"/>
                  <a:pt x="2813" y="313"/>
                  <a:pt x="2813" y="313"/>
                </a:cubicBezTo>
                <a:cubicBezTo>
                  <a:pt x="2811" y="310"/>
                  <a:pt x="2811" y="310"/>
                  <a:pt x="2811" y="310"/>
                </a:cubicBezTo>
                <a:cubicBezTo>
                  <a:pt x="2811" y="309"/>
                  <a:pt x="2811" y="309"/>
                  <a:pt x="2811" y="309"/>
                </a:cubicBezTo>
                <a:cubicBezTo>
                  <a:pt x="2810" y="310"/>
                  <a:pt x="2810" y="310"/>
                  <a:pt x="2810" y="310"/>
                </a:cubicBezTo>
                <a:cubicBezTo>
                  <a:pt x="2811" y="311"/>
                  <a:pt x="2811" y="311"/>
                  <a:pt x="2811" y="311"/>
                </a:cubicBezTo>
                <a:cubicBezTo>
                  <a:pt x="2811" y="313"/>
                  <a:pt x="2811" y="313"/>
                  <a:pt x="2811" y="313"/>
                </a:cubicBezTo>
                <a:cubicBezTo>
                  <a:pt x="2810" y="313"/>
                  <a:pt x="2810" y="313"/>
                  <a:pt x="2810" y="313"/>
                </a:cubicBezTo>
                <a:cubicBezTo>
                  <a:pt x="2808" y="312"/>
                  <a:pt x="2808" y="312"/>
                  <a:pt x="2808" y="312"/>
                </a:cubicBezTo>
                <a:cubicBezTo>
                  <a:pt x="2806" y="312"/>
                  <a:pt x="2806" y="312"/>
                  <a:pt x="2806" y="312"/>
                </a:cubicBezTo>
                <a:cubicBezTo>
                  <a:pt x="2809" y="315"/>
                  <a:pt x="2809" y="315"/>
                  <a:pt x="2809" y="315"/>
                </a:cubicBezTo>
                <a:cubicBezTo>
                  <a:pt x="2812" y="317"/>
                  <a:pt x="2812" y="317"/>
                  <a:pt x="2812" y="317"/>
                </a:cubicBezTo>
                <a:cubicBezTo>
                  <a:pt x="2814" y="319"/>
                  <a:pt x="2814" y="319"/>
                  <a:pt x="2814" y="319"/>
                </a:cubicBezTo>
                <a:cubicBezTo>
                  <a:pt x="2813" y="321"/>
                  <a:pt x="2813" y="321"/>
                  <a:pt x="2813" y="321"/>
                </a:cubicBezTo>
                <a:cubicBezTo>
                  <a:pt x="2814" y="320"/>
                  <a:pt x="2814" y="320"/>
                  <a:pt x="2814" y="320"/>
                </a:cubicBezTo>
                <a:cubicBezTo>
                  <a:pt x="2815" y="320"/>
                  <a:pt x="2815" y="320"/>
                  <a:pt x="2815" y="320"/>
                </a:cubicBezTo>
                <a:cubicBezTo>
                  <a:pt x="2816" y="321"/>
                  <a:pt x="2816" y="321"/>
                  <a:pt x="2816" y="321"/>
                </a:cubicBezTo>
                <a:cubicBezTo>
                  <a:pt x="2815" y="322"/>
                  <a:pt x="2815" y="322"/>
                  <a:pt x="2815" y="322"/>
                </a:cubicBezTo>
                <a:cubicBezTo>
                  <a:pt x="2814" y="323"/>
                  <a:pt x="2814" y="323"/>
                  <a:pt x="2814" y="323"/>
                </a:cubicBezTo>
                <a:cubicBezTo>
                  <a:pt x="2814" y="324"/>
                  <a:pt x="2814" y="324"/>
                  <a:pt x="2814" y="324"/>
                </a:cubicBezTo>
                <a:cubicBezTo>
                  <a:pt x="2816" y="324"/>
                  <a:pt x="2816" y="324"/>
                  <a:pt x="2816" y="324"/>
                </a:cubicBezTo>
                <a:cubicBezTo>
                  <a:pt x="2816" y="326"/>
                  <a:pt x="2816" y="326"/>
                  <a:pt x="2816" y="326"/>
                </a:cubicBezTo>
                <a:cubicBezTo>
                  <a:pt x="2814" y="327"/>
                  <a:pt x="2814" y="327"/>
                  <a:pt x="2814" y="327"/>
                </a:cubicBezTo>
                <a:cubicBezTo>
                  <a:pt x="2813" y="327"/>
                  <a:pt x="2813" y="327"/>
                  <a:pt x="2813" y="327"/>
                </a:cubicBezTo>
                <a:cubicBezTo>
                  <a:pt x="2812" y="325"/>
                  <a:pt x="2812" y="325"/>
                  <a:pt x="2812" y="325"/>
                </a:cubicBezTo>
                <a:cubicBezTo>
                  <a:pt x="2810" y="326"/>
                  <a:pt x="2810" y="326"/>
                  <a:pt x="2810" y="326"/>
                </a:cubicBezTo>
                <a:cubicBezTo>
                  <a:pt x="2809" y="329"/>
                  <a:pt x="2809" y="329"/>
                  <a:pt x="2809" y="329"/>
                </a:cubicBezTo>
                <a:cubicBezTo>
                  <a:pt x="2811" y="331"/>
                  <a:pt x="2811" y="331"/>
                  <a:pt x="2811" y="331"/>
                </a:cubicBezTo>
                <a:cubicBezTo>
                  <a:pt x="2812" y="334"/>
                  <a:pt x="2812" y="334"/>
                  <a:pt x="2812" y="334"/>
                </a:cubicBezTo>
                <a:cubicBezTo>
                  <a:pt x="2814" y="336"/>
                  <a:pt x="2814" y="336"/>
                  <a:pt x="2814" y="336"/>
                </a:cubicBezTo>
                <a:cubicBezTo>
                  <a:pt x="2815" y="339"/>
                  <a:pt x="2815" y="339"/>
                  <a:pt x="2815" y="339"/>
                </a:cubicBezTo>
                <a:cubicBezTo>
                  <a:pt x="2816" y="344"/>
                  <a:pt x="2816" y="344"/>
                  <a:pt x="2816" y="344"/>
                </a:cubicBezTo>
                <a:cubicBezTo>
                  <a:pt x="2816" y="345"/>
                  <a:pt x="2816" y="345"/>
                  <a:pt x="2816" y="345"/>
                </a:cubicBezTo>
                <a:cubicBezTo>
                  <a:pt x="2817" y="348"/>
                  <a:pt x="2817" y="348"/>
                  <a:pt x="2817" y="348"/>
                </a:cubicBezTo>
                <a:cubicBezTo>
                  <a:pt x="2818" y="353"/>
                  <a:pt x="2818" y="353"/>
                  <a:pt x="2818" y="353"/>
                </a:cubicBezTo>
                <a:cubicBezTo>
                  <a:pt x="2820" y="356"/>
                  <a:pt x="2820" y="356"/>
                  <a:pt x="2820" y="356"/>
                </a:cubicBezTo>
                <a:cubicBezTo>
                  <a:pt x="2822" y="357"/>
                  <a:pt x="2822" y="357"/>
                  <a:pt x="2822" y="357"/>
                </a:cubicBezTo>
                <a:cubicBezTo>
                  <a:pt x="2822" y="358"/>
                  <a:pt x="2822" y="358"/>
                  <a:pt x="2822" y="358"/>
                </a:cubicBezTo>
                <a:cubicBezTo>
                  <a:pt x="2821" y="359"/>
                  <a:pt x="2821" y="359"/>
                  <a:pt x="2821" y="359"/>
                </a:cubicBezTo>
                <a:lnTo>
                  <a:pt x="2826" y="363"/>
                </a:lnTo>
                <a:close/>
                <a:moveTo>
                  <a:pt x="2843" y="204"/>
                </a:moveTo>
                <a:cubicBezTo>
                  <a:pt x="2843" y="203"/>
                  <a:pt x="2843" y="203"/>
                  <a:pt x="2843" y="203"/>
                </a:cubicBezTo>
                <a:cubicBezTo>
                  <a:pt x="2842" y="203"/>
                  <a:pt x="2842" y="203"/>
                  <a:pt x="2842" y="203"/>
                </a:cubicBezTo>
                <a:cubicBezTo>
                  <a:pt x="2841" y="205"/>
                  <a:pt x="2841" y="205"/>
                  <a:pt x="2841" y="205"/>
                </a:cubicBezTo>
                <a:cubicBezTo>
                  <a:pt x="2840" y="206"/>
                  <a:pt x="2840" y="206"/>
                  <a:pt x="2840" y="206"/>
                </a:cubicBezTo>
                <a:cubicBezTo>
                  <a:pt x="2841" y="206"/>
                  <a:pt x="2841" y="206"/>
                  <a:pt x="2841" y="206"/>
                </a:cubicBezTo>
                <a:lnTo>
                  <a:pt x="2843" y="204"/>
                </a:lnTo>
                <a:close/>
                <a:moveTo>
                  <a:pt x="2770" y="902"/>
                </a:moveTo>
                <a:cubicBezTo>
                  <a:pt x="2769" y="901"/>
                  <a:pt x="2769" y="901"/>
                  <a:pt x="2769" y="901"/>
                </a:cubicBezTo>
                <a:cubicBezTo>
                  <a:pt x="2769" y="903"/>
                  <a:pt x="2769" y="903"/>
                  <a:pt x="2769" y="903"/>
                </a:cubicBezTo>
                <a:cubicBezTo>
                  <a:pt x="2771" y="906"/>
                  <a:pt x="2771" y="906"/>
                  <a:pt x="2771" y="906"/>
                </a:cubicBezTo>
                <a:cubicBezTo>
                  <a:pt x="2773" y="908"/>
                  <a:pt x="2773" y="908"/>
                  <a:pt x="2773" y="908"/>
                </a:cubicBezTo>
                <a:cubicBezTo>
                  <a:pt x="2776" y="911"/>
                  <a:pt x="2776" y="911"/>
                  <a:pt x="2776" y="911"/>
                </a:cubicBezTo>
                <a:cubicBezTo>
                  <a:pt x="2777" y="911"/>
                  <a:pt x="2777" y="911"/>
                  <a:pt x="2777" y="911"/>
                </a:cubicBezTo>
                <a:cubicBezTo>
                  <a:pt x="2776" y="912"/>
                  <a:pt x="2776" y="912"/>
                  <a:pt x="2776" y="912"/>
                </a:cubicBezTo>
                <a:cubicBezTo>
                  <a:pt x="2775" y="913"/>
                  <a:pt x="2775" y="913"/>
                  <a:pt x="2775" y="913"/>
                </a:cubicBezTo>
                <a:cubicBezTo>
                  <a:pt x="2775" y="914"/>
                  <a:pt x="2775" y="914"/>
                  <a:pt x="2775" y="914"/>
                </a:cubicBezTo>
                <a:cubicBezTo>
                  <a:pt x="2776" y="913"/>
                  <a:pt x="2776" y="913"/>
                  <a:pt x="2776" y="913"/>
                </a:cubicBezTo>
                <a:cubicBezTo>
                  <a:pt x="2776" y="914"/>
                  <a:pt x="2776" y="914"/>
                  <a:pt x="2776" y="914"/>
                </a:cubicBezTo>
                <a:cubicBezTo>
                  <a:pt x="2777" y="915"/>
                  <a:pt x="2777" y="915"/>
                  <a:pt x="2777" y="915"/>
                </a:cubicBezTo>
                <a:cubicBezTo>
                  <a:pt x="2779" y="916"/>
                  <a:pt x="2779" y="916"/>
                  <a:pt x="2779" y="916"/>
                </a:cubicBezTo>
                <a:cubicBezTo>
                  <a:pt x="2779" y="917"/>
                  <a:pt x="2779" y="917"/>
                  <a:pt x="2779" y="917"/>
                </a:cubicBezTo>
                <a:cubicBezTo>
                  <a:pt x="2782" y="917"/>
                  <a:pt x="2782" y="917"/>
                  <a:pt x="2782" y="917"/>
                </a:cubicBezTo>
                <a:cubicBezTo>
                  <a:pt x="2783" y="917"/>
                  <a:pt x="2783" y="917"/>
                  <a:pt x="2783" y="917"/>
                </a:cubicBezTo>
                <a:cubicBezTo>
                  <a:pt x="2783" y="917"/>
                  <a:pt x="2783" y="917"/>
                  <a:pt x="2783" y="917"/>
                </a:cubicBezTo>
                <a:cubicBezTo>
                  <a:pt x="2784" y="917"/>
                  <a:pt x="2784" y="917"/>
                  <a:pt x="2784" y="917"/>
                </a:cubicBezTo>
                <a:cubicBezTo>
                  <a:pt x="2783" y="916"/>
                  <a:pt x="2783" y="916"/>
                  <a:pt x="2783" y="916"/>
                </a:cubicBezTo>
                <a:cubicBezTo>
                  <a:pt x="2783" y="914"/>
                  <a:pt x="2783" y="914"/>
                  <a:pt x="2783" y="914"/>
                </a:cubicBezTo>
                <a:cubicBezTo>
                  <a:pt x="2782" y="913"/>
                  <a:pt x="2782" y="913"/>
                  <a:pt x="2782" y="913"/>
                </a:cubicBezTo>
                <a:cubicBezTo>
                  <a:pt x="2782" y="910"/>
                  <a:pt x="2782" y="910"/>
                  <a:pt x="2782" y="910"/>
                </a:cubicBezTo>
                <a:cubicBezTo>
                  <a:pt x="2782" y="907"/>
                  <a:pt x="2782" y="907"/>
                  <a:pt x="2782" y="907"/>
                </a:cubicBezTo>
                <a:cubicBezTo>
                  <a:pt x="2782" y="906"/>
                  <a:pt x="2782" y="906"/>
                  <a:pt x="2782" y="906"/>
                </a:cubicBezTo>
                <a:cubicBezTo>
                  <a:pt x="2781" y="905"/>
                  <a:pt x="2781" y="905"/>
                  <a:pt x="2781" y="905"/>
                </a:cubicBezTo>
                <a:cubicBezTo>
                  <a:pt x="2779" y="903"/>
                  <a:pt x="2779" y="903"/>
                  <a:pt x="2779" y="903"/>
                </a:cubicBezTo>
                <a:cubicBezTo>
                  <a:pt x="2778" y="901"/>
                  <a:pt x="2778" y="901"/>
                  <a:pt x="2778" y="901"/>
                </a:cubicBezTo>
                <a:cubicBezTo>
                  <a:pt x="2777" y="901"/>
                  <a:pt x="2777" y="901"/>
                  <a:pt x="2777" y="901"/>
                </a:cubicBezTo>
                <a:cubicBezTo>
                  <a:pt x="2776" y="901"/>
                  <a:pt x="2776" y="901"/>
                  <a:pt x="2776" y="901"/>
                </a:cubicBezTo>
                <a:cubicBezTo>
                  <a:pt x="2775" y="901"/>
                  <a:pt x="2775" y="901"/>
                  <a:pt x="2775" y="901"/>
                </a:cubicBezTo>
                <a:cubicBezTo>
                  <a:pt x="2774" y="901"/>
                  <a:pt x="2774" y="901"/>
                  <a:pt x="2774" y="901"/>
                </a:cubicBezTo>
                <a:cubicBezTo>
                  <a:pt x="2774" y="902"/>
                  <a:pt x="2774" y="902"/>
                  <a:pt x="2774" y="902"/>
                </a:cubicBezTo>
                <a:cubicBezTo>
                  <a:pt x="2772" y="902"/>
                  <a:pt x="2772" y="902"/>
                  <a:pt x="2772" y="902"/>
                </a:cubicBezTo>
                <a:lnTo>
                  <a:pt x="2770" y="902"/>
                </a:lnTo>
                <a:close/>
                <a:moveTo>
                  <a:pt x="2774" y="632"/>
                </a:moveTo>
                <a:cubicBezTo>
                  <a:pt x="2775" y="630"/>
                  <a:pt x="2775" y="630"/>
                  <a:pt x="2775" y="630"/>
                </a:cubicBezTo>
                <a:cubicBezTo>
                  <a:pt x="2775" y="629"/>
                  <a:pt x="2775" y="629"/>
                  <a:pt x="2775" y="629"/>
                </a:cubicBezTo>
                <a:cubicBezTo>
                  <a:pt x="2774" y="628"/>
                  <a:pt x="2774" y="628"/>
                  <a:pt x="2774" y="628"/>
                </a:cubicBezTo>
                <a:cubicBezTo>
                  <a:pt x="2773" y="629"/>
                  <a:pt x="2773" y="629"/>
                  <a:pt x="2773" y="629"/>
                </a:cubicBezTo>
                <a:cubicBezTo>
                  <a:pt x="2773" y="630"/>
                  <a:pt x="2773" y="630"/>
                  <a:pt x="2773" y="630"/>
                </a:cubicBezTo>
                <a:cubicBezTo>
                  <a:pt x="2773" y="632"/>
                  <a:pt x="2773" y="632"/>
                  <a:pt x="2773" y="632"/>
                </a:cubicBezTo>
                <a:lnTo>
                  <a:pt x="2774" y="632"/>
                </a:lnTo>
                <a:close/>
                <a:moveTo>
                  <a:pt x="2880" y="1165"/>
                </a:moveTo>
                <a:cubicBezTo>
                  <a:pt x="2882" y="1164"/>
                  <a:pt x="2882" y="1164"/>
                  <a:pt x="2882" y="1164"/>
                </a:cubicBezTo>
                <a:cubicBezTo>
                  <a:pt x="2882" y="1164"/>
                  <a:pt x="2882" y="1164"/>
                  <a:pt x="2882" y="1164"/>
                </a:cubicBezTo>
                <a:cubicBezTo>
                  <a:pt x="2879" y="1164"/>
                  <a:pt x="2879" y="1164"/>
                  <a:pt x="2879" y="1164"/>
                </a:cubicBezTo>
                <a:lnTo>
                  <a:pt x="2880" y="1165"/>
                </a:lnTo>
                <a:close/>
                <a:moveTo>
                  <a:pt x="2814" y="610"/>
                </a:moveTo>
                <a:cubicBezTo>
                  <a:pt x="2813" y="611"/>
                  <a:pt x="2813" y="611"/>
                  <a:pt x="2813" y="611"/>
                </a:cubicBezTo>
                <a:cubicBezTo>
                  <a:pt x="2814" y="612"/>
                  <a:pt x="2814" y="612"/>
                  <a:pt x="2814" y="612"/>
                </a:cubicBezTo>
                <a:cubicBezTo>
                  <a:pt x="2815" y="611"/>
                  <a:pt x="2815" y="611"/>
                  <a:pt x="2815" y="611"/>
                </a:cubicBezTo>
                <a:lnTo>
                  <a:pt x="2814" y="610"/>
                </a:lnTo>
                <a:close/>
                <a:moveTo>
                  <a:pt x="2979" y="1117"/>
                </a:moveTo>
                <a:cubicBezTo>
                  <a:pt x="2979" y="1116"/>
                  <a:pt x="2979" y="1116"/>
                  <a:pt x="2979" y="1116"/>
                </a:cubicBezTo>
                <a:cubicBezTo>
                  <a:pt x="2979" y="1117"/>
                  <a:pt x="2979" y="1117"/>
                  <a:pt x="2979" y="1117"/>
                </a:cubicBezTo>
                <a:close/>
                <a:moveTo>
                  <a:pt x="2965" y="1125"/>
                </a:moveTo>
                <a:cubicBezTo>
                  <a:pt x="2966" y="1126"/>
                  <a:pt x="2966" y="1126"/>
                  <a:pt x="2966" y="1126"/>
                </a:cubicBezTo>
                <a:cubicBezTo>
                  <a:pt x="2967" y="1125"/>
                  <a:pt x="2967" y="1125"/>
                  <a:pt x="2967" y="1125"/>
                </a:cubicBezTo>
                <a:lnTo>
                  <a:pt x="2965" y="1125"/>
                </a:lnTo>
                <a:close/>
                <a:moveTo>
                  <a:pt x="3007" y="1056"/>
                </a:moveTo>
                <a:cubicBezTo>
                  <a:pt x="3006" y="1056"/>
                  <a:pt x="3006" y="1056"/>
                  <a:pt x="3006" y="1056"/>
                </a:cubicBezTo>
                <a:cubicBezTo>
                  <a:pt x="3004" y="1056"/>
                  <a:pt x="3004" y="1056"/>
                  <a:pt x="3004" y="1056"/>
                </a:cubicBezTo>
                <a:cubicBezTo>
                  <a:pt x="3003" y="1056"/>
                  <a:pt x="3003" y="1056"/>
                  <a:pt x="3003" y="1056"/>
                </a:cubicBezTo>
                <a:cubicBezTo>
                  <a:pt x="3001" y="1056"/>
                  <a:pt x="3001" y="1056"/>
                  <a:pt x="3001" y="1056"/>
                </a:cubicBezTo>
                <a:cubicBezTo>
                  <a:pt x="3000" y="1056"/>
                  <a:pt x="3000" y="1056"/>
                  <a:pt x="3000" y="1056"/>
                </a:cubicBezTo>
                <a:cubicBezTo>
                  <a:pt x="3000" y="1056"/>
                  <a:pt x="3001" y="1058"/>
                  <a:pt x="3001" y="1058"/>
                </a:cubicBezTo>
                <a:cubicBezTo>
                  <a:pt x="3003" y="1058"/>
                  <a:pt x="3003" y="1058"/>
                  <a:pt x="3003" y="1058"/>
                </a:cubicBezTo>
                <a:cubicBezTo>
                  <a:pt x="3004" y="1059"/>
                  <a:pt x="3004" y="1059"/>
                  <a:pt x="3004" y="1059"/>
                </a:cubicBezTo>
                <a:cubicBezTo>
                  <a:pt x="3006" y="1059"/>
                  <a:pt x="3006" y="1059"/>
                  <a:pt x="3006" y="1059"/>
                </a:cubicBezTo>
                <a:cubicBezTo>
                  <a:pt x="3008" y="1057"/>
                  <a:pt x="3008" y="1057"/>
                  <a:pt x="3008" y="1057"/>
                </a:cubicBezTo>
                <a:lnTo>
                  <a:pt x="3007" y="1056"/>
                </a:lnTo>
                <a:close/>
                <a:moveTo>
                  <a:pt x="2921" y="1214"/>
                </a:moveTo>
                <a:cubicBezTo>
                  <a:pt x="2919" y="1214"/>
                  <a:pt x="2919" y="1214"/>
                  <a:pt x="2919" y="1214"/>
                </a:cubicBezTo>
                <a:cubicBezTo>
                  <a:pt x="2916" y="1215"/>
                  <a:pt x="2916" y="1215"/>
                  <a:pt x="2916" y="1215"/>
                </a:cubicBezTo>
                <a:cubicBezTo>
                  <a:pt x="2916" y="1215"/>
                  <a:pt x="2916" y="1217"/>
                  <a:pt x="2916" y="1217"/>
                </a:cubicBezTo>
                <a:cubicBezTo>
                  <a:pt x="2917" y="1217"/>
                  <a:pt x="2917" y="1217"/>
                  <a:pt x="2917" y="1217"/>
                </a:cubicBezTo>
                <a:cubicBezTo>
                  <a:pt x="2918" y="1217"/>
                  <a:pt x="2918" y="1217"/>
                  <a:pt x="2918" y="1217"/>
                </a:cubicBezTo>
                <a:cubicBezTo>
                  <a:pt x="2919" y="1215"/>
                  <a:pt x="2919" y="1215"/>
                  <a:pt x="2919" y="1215"/>
                </a:cubicBezTo>
                <a:cubicBezTo>
                  <a:pt x="2921" y="1215"/>
                  <a:pt x="2921" y="1215"/>
                  <a:pt x="2921" y="1215"/>
                </a:cubicBezTo>
                <a:lnTo>
                  <a:pt x="2921" y="1214"/>
                </a:lnTo>
                <a:close/>
                <a:moveTo>
                  <a:pt x="2971" y="1120"/>
                </a:moveTo>
                <a:cubicBezTo>
                  <a:pt x="2970" y="1118"/>
                  <a:pt x="2970" y="1118"/>
                  <a:pt x="2970" y="1118"/>
                </a:cubicBezTo>
                <a:cubicBezTo>
                  <a:pt x="2969" y="1119"/>
                  <a:pt x="2969" y="1119"/>
                  <a:pt x="2969" y="1119"/>
                </a:cubicBezTo>
                <a:cubicBezTo>
                  <a:pt x="2969" y="1120"/>
                  <a:pt x="2969" y="1120"/>
                  <a:pt x="2969" y="1120"/>
                </a:cubicBezTo>
                <a:cubicBezTo>
                  <a:pt x="2970" y="1121"/>
                  <a:pt x="2970" y="1121"/>
                  <a:pt x="2970" y="1121"/>
                </a:cubicBezTo>
                <a:cubicBezTo>
                  <a:pt x="2970" y="1121"/>
                  <a:pt x="2970" y="1121"/>
                  <a:pt x="2970" y="1121"/>
                </a:cubicBezTo>
                <a:lnTo>
                  <a:pt x="2971" y="1120"/>
                </a:lnTo>
                <a:close/>
                <a:moveTo>
                  <a:pt x="2951" y="1148"/>
                </a:moveTo>
                <a:cubicBezTo>
                  <a:pt x="2951" y="1151"/>
                  <a:pt x="2951" y="1151"/>
                  <a:pt x="2951" y="1151"/>
                </a:cubicBezTo>
                <a:cubicBezTo>
                  <a:pt x="2952" y="1150"/>
                  <a:pt x="2952" y="1150"/>
                  <a:pt x="2952" y="1150"/>
                </a:cubicBezTo>
                <a:cubicBezTo>
                  <a:pt x="2953" y="1150"/>
                  <a:pt x="2953" y="1150"/>
                  <a:pt x="2953" y="1150"/>
                </a:cubicBezTo>
                <a:cubicBezTo>
                  <a:pt x="2952" y="1148"/>
                  <a:pt x="2952" y="1148"/>
                  <a:pt x="2952" y="1148"/>
                </a:cubicBezTo>
                <a:lnTo>
                  <a:pt x="2951" y="1148"/>
                </a:lnTo>
                <a:close/>
                <a:moveTo>
                  <a:pt x="2967" y="1126"/>
                </a:moveTo>
                <a:cubicBezTo>
                  <a:pt x="2968" y="1127"/>
                  <a:pt x="2968" y="1127"/>
                  <a:pt x="2968" y="1127"/>
                </a:cubicBezTo>
                <a:cubicBezTo>
                  <a:pt x="2968" y="1126"/>
                  <a:pt x="2968" y="1126"/>
                  <a:pt x="2968" y="1126"/>
                </a:cubicBezTo>
                <a:lnTo>
                  <a:pt x="2967" y="1126"/>
                </a:lnTo>
                <a:close/>
                <a:moveTo>
                  <a:pt x="2970" y="1124"/>
                </a:moveTo>
                <a:cubicBezTo>
                  <a:pt x="2969" y="1124"/>
                  <a:pt x="2969" y="1124"/>
                  <a:pt x="2969" y="1124"/>
                </a:cubicBezTo>
                <a:cubicBezTo>
                  <a:pt x="2968" y="1125"/>
                  <a:pt x="2968" y="1125"/>
                  <a:pt x="2968" y="1125"/>
                </a:cubicBezTo>
                <a:cubicBezTo>
                  <a:pt x="2968" y="1125"/>
                  <a:pt x="2970" y="1125"/>
                  <a:pt x="2970" y="1125"/>
                </a:cubicBezTo>
                <a:lnTo>
                  <a:pt x="2970" y="1124"/>
                </a:lnTo>
                <a:close/>
                <a:moveTo>
                  <a:pt x="2967" y="1121"/>
                </a:moveTo>
                <a:cubicBezTo>
                  <a:pt x="2968" y="1122"/>
                  <a:pt x="2968" y="1122"/>
                  <a:pt x="2968" y="1122"/>
                </a:cubicBezTo>
                <a:cubicBezTo>
                  <a:pt x="2969" y="1122"/>
                  <a:pt x="2969" y="1122"/>
                  <a:pt x="2969" y="1122"/>
                </a:cubicBezTo>
                <a:cubicBezTo>
                  <a:pt x="2969" y="1122"/>
                  <a:pt x="2969" y="1122"/>
                  <a:pt x="2969" y="1122"/>
                </a:cubicBezTo>
                <a:lnTo>
                  <a:pt x="2967" y="1121"/>
                </a:lnTo>
                <a:close/>
                <a:moveTo>
                  <a:pt x="2952" y="1143"/>
                </a:moveTo>
                <a:cubicBezTo>
                  <a:pt x="2953" y="1144"/>
                  <a:pt x="2953" y="1144"/>
                  <a:pt x="2953" y="1144"/>
                </a:cubicBezTo>
                <a:cubicBezTo>
                  <a:pt x="2954" y="1143"/>
                  <a:pt x="2954" y="1143"/>
                  <a:pt x="2954" y="1143"/>
                </a:cubicBezTo>
                <a:lnTo>
                  <a:pt x="2952" y="1143"/>
                </a:lnTo>
                <a:close/>
                <a:moveTo>
                  <a:pt x="2886" y="1160"/>
                </a:moveTo>
                <a:cubicBezTo>
                  <a:pt x="2885" y="1161"/>
                  <a:pt x="2885" y="1161"/>
                  <a:pt x="2885" y="1161"/>
                </a:cubicBezTo>
                <a:cubicBezTo>
                  <a:pt x="2886" y="1161"/>
                  <a:pt x="2886" y="1161"/>
                  <a:pt x="2886" y="1161"/>
                </a:cubicBezTo>
                <a:lnTo>
                  <a:pt x="2886" y="1160"/>
                </a:lnTo>
                <a:close/>
                <a:moveTo>
                  <a:pt x="2919" y="1118"/>
                </a:moveTo>
                <a:cubicBezTo>
                  <a:pt x="2920" y="1118"/>
                  <a:pt x="2920" y="1118"/>
                  <a:pt x="2920" y="1118"/>
                </a:cubicBezTo>
                <a:cubicBezTo>
                  <a:pt x="2920" y="1116"/>
                  <a:pt x="2920" y="1116"/>
                  <a:pt x="2920" y="1116"/>
                </a:cubicBezTo>
                <a:cubicBezTo>
                  <a:pt x="2921" y="1115"/>
                  <a:pt x="2921" y="1115"/>
                  <a:pt x="2921" y="1115"/>
                </a:cubicBezTo>
                <a:cubicBezTo>
                  <a:pt x="2919" y="1114"/>
                  <a:pt x="2919" y="1114"/>
                  <a:pt x="2919" y="1114"/>
                </a:cubicBezTo>
                <a:cubicBezTo>
                  <a:pt x="2918" y="1114"/>
                  <a:pt x="2918" y="1114"/>
                  <a:pt x="2918" y="1114"/>
                </a:cubicBezTo>
                <a:cubicBezTo>
                  <a:pt x="2915" y="1113"/>
                  <a:pt x="2915" y="1113"/>
                  <a:pt x="2915" y="1113"/>
                </a:cubicBezTo>
                <a:cubicBezTo>
                  <a:pt x="2913" y="1115"/>
                  <a:pt x="2913" y="1115"/>
                  <a:pt x="2913" y="1115"/>
                </a:cubicBezTo>
                <a:cubicBezTo>
                  <a:pt x="2912" y="1117"/>
                  <a:pt x="2912" y="1117"/>
                  <a:pt x="2912" y="1117"/>
                </a:cubicBezTo>
                <a:cubicBezTo>
                  <a:pt x="2911" y="1119"/>
                  <a:pt x="2911" y="1119"/>
                  <a:pt x="2911" y="1119"/>
                </a:cubicBezTo>
                <a:cubicBezTo>
                  <a:pt x="2906" y="1124"/>
                  <a:pt x="2906" y="1124"/>
                  <a:pt x="2906" y="1124"/>
                </a:cubicBezTo>
                <a:cubicBezTo>
                  <a:pt x="2906" y="1124"/>
                  <a:pt x="2910" y="1123"/>
                  <a:pt x="2910" y="1123"/>
                </a:cubicBezTo>
                <a:cubicBezTo>
                  <a:pt x="2911" y="1123"/>
                  <a:pt x="2911" y="1123"/>
                  <a:pt x="2911" y="1123"/>
                </a:cubicBezTo>
                <a:cubicBezTo>
                  <a:pt x="2914" y="1123"/>
                  <a:pt x="2914" y="1123"/>
                  <a:pt x="2914" y="1123"/>
                </a:cubicBezTo>
                <a:cubicBezTo>
                  <a:pt x="2915" y="1123"/>
                  <a:pt x="2915" y="1123"/>
                  <a:pt x="2915" y="1123"/>
                </a:cubicBezTo>
                <a:cubicBezTo>
                  <a:pt x="2917" y="1121"/>
                  <a:pt x="2917" y="1121"/>
                  <a:pt x="2917" y="1121"/>
                </a:cubicBezTo>
                <a:cubicBezTo>
                  <a:pt x="2919" y="1120"/>
                  <a:pt x="2919" y="1120"/>
                  <a:pt x="2919" y="1120"/>
                </a:cubicBezTo>
                <a:cubicBezTo>
                  <a:pt x="2919" y="1119"/>
                  <a:pt x="2919" y="1119"/>
                  <a:pt x="2919" y="1119"/>
                </a:cubicBezTo>
                <a:lnTo>
                  <a:pt x="2919" y="1118"/>
                </a:lnTo>
                <a:close/>
                <a:moveTo>
                  <a:pt x="2890" y="1159"/>
                </a:moveTo>
                <a:cubicBezTo>
                  <a:pt x="2889" y="1159"/>
                  <a:pt x="2889" y="1159"/>
                  <a:pt x="2889" y="1159"/>
                </a:cubicBezTo>
                <a:cubicBezTo>
                  <a:pt x="2889" y="1160"/>
                  <a:pt x="2889" y="1160"/>
                  <a:pt x="2889" y="1160"/>
                </a:cubicBezTo>
                <a:lnTo>
                  <a:pt x="2890" y="1159"/>
                </a:lnTo>
                <a:close/>
                <a:moveTo>
                  <a:pt x="2882" y="1163"/>
                </a:moveTo>
                <a:cubicBezTo>
                  <a:pt x="2883" y="1164"/>
                  <a:pt x="2883" y="1164"/>
                  <a:pt x="2883" y="1164"/>
                </a:cubicBezTo>
                <a:cubicBezTo>
                  <a:pt x="2884" y="1163"/>
                  <a:pt x="2884" y="1163"/>
                  <a:pt x="2884" y="1163"/>
                </a:cubicBezTo>
                <a:cubicBezTo>
                  <a:pt x="2885" y="1162"/>
                  <a:pt x="2885" y="1162"/>
                  <a:pt x="2885" y="1162"/>
                </a:cubicBezTo>
                <a:cubicBezTo>
                  <a:pt x="2886" y="1161"/>
                  <a:pt x="2886" y="1161"/>
                  <a:pt x="2886" y="1161"/>
                </a:cubicBezTo>
                <a:cubicBezTo>
                  <a:pt x="2884" y="1161"/>
                  <a:pt x="2884" y="1161"/>
                  <a:pt x="2884" y="1161"/>
                </a:cubicBezTo>
                <a:lnTo>
                  <a:pt x="2882" y="1163"/>
                </a:lnTo>
                <a:close/>
                <a:moveTo>
                  <a:pt x="2917" y="1122"/>
                </a:moveTo>
                <a:cubicBezTo>
                  <a:pt x="2916" y="1123"/>
                  <a:pt x="2916" y="1123"/>
                  <a:pt x="2916" y="1123"/>
                </a:cubicBezTo>
                <a:cubicBezTo>
                  <a:pt x="2917" y="1123"/>
                  <a:pt x="2917" y="1123"/>
                  <a:pt x="2917" y="1123"/>
                </a:cubicBezTo>
                <a:cubicBezTo>
                  <a:pt x="2919" y="1124"/>
                  <a:pt x="2919" y="1124"/>
                  <a:pt x="2919" y="1124"/>
                </a:cubicBezTo>
                <a:cubicBezTo>
                  <a:pt x="2920" y="1123"/>
                  <a:pt x="2920" y="1123"/>
                  <a:pt x="2920" y="1123"/>
                </a:cubicBezTo>
                <a:cubicBezTo>
                  <a:pt x="2919" y="1121"/>
                  <a:pt x="2919" y="1121"/>
                  <a:pt x="2919" y="1121"/>
                </a:cubicBezTo>
                <a:cubicBezTo>
                  <a:pt x="2918" y="1121"/>
                  <a:pt x="2918" y="1121"/>
                  <a:pt x="2918" y="1121"/>
                </a:cubicBezTo>
                <a:lnTo>
                  <a:pt x="2917" y="1122"/>
                </a:lnTo>
                <a:close/>
                <a:moveTo>
                  <a:pt x="2893" y="1156"/>
                </a:moveTo>
                <a:cubicBezTo>
                  <a:pt x="2894" y="1157"/>
                  <a:pt x="2894" y="1157"/>
                  <a:pt x="2894" y="1157"/>
                </a:cubicBezTo>
                <a:cubicBezTo>
                  <a:pt x="2894" y="1156"/>
                  <a:pt x="2894" y="1156"/>
                  <a:pt x="2894" y="1156"/>
                </a:cubicBezTo>
                <a:cubicBezTo>
                  <a:pt x="2896" y="1154"/>
                  <a:pt x="2896" y="1154"/>
                  <a:pt x="2896" y="1154"/>
                </a:cubicBezTo>
                <a:cubicBezTo>
                  <a:pt x="2895" y="1153"/>
                  <a:pt x="2895" y="1153"/>
                  <a:pt x="2895" y="1153"/>
                </a:cubicBezTo>
                <a:cubicBezTo>
                  <a:pt x="2893" y="1155"/>
                  <a:pt x="2893" y="1155"/>
                  <a:pt x="2893" y="1155"/>
                </a:cubicBezTo>
                <a:lnTo>
                  <a:pt x="2893" y="1156"/>
                </a:lnTo>
                <a:close/>
                <a:moveTo>
                  <a:pt x="2892" y="1159"/>
                </a:moveTo>
                <a:cubicBezTo>
                  <a:pt x="2891" y="1158"/>
                  <a:pt x="2891" y="1158"/>
                  <a:pt x="2891" y="1158"/>
                </a:cubicBezTo>
                <a:cubicBezTo>
                  <a:pt x="2890" y="1158"/>
                  <a:pt x="2890" y="1158"/>
                  <a:pt x="2890" y="1158"/>
                </a:cubicBezTo>
                <a:lnTo>
                  <a:pt x="2892" y="1159"/>
                </a:lnTo>
                <a:close/>
                <a:moveTo>
                  <a:pt x="2919" y="1222"/>
                </a:moveTo>
                <a:cubicBezTo>
                  <a:pt x="2920" y="1221"/>
                  <a:pt x="2920" y="1221"/>
                  <a:pt x="2920" y="1221"/>
                </a:cubicBezTo>
                <a:cubicBezTo>
                  <a:pt x="2920" y="1220"/>
                  <a:pt x="2920" y="1220"/>
                  <a:pt x="2920" y="1220"/>
                </a:cubicBezTo>
                <a:cubicBezTo>
                  <a:pt x="2918" y="1221"/>
                  <a:pt x="2918" y="1221"/>
                  <a:pt x="2918" y="1221"/>
                </a:cubicBezTo>
                <a:lnTo>
                  <a:pt x="2919" y="1222"/>
                </a:lnTo>
                <a:close/>
                <a:moveTo>
                  <a:pt x="3040" y="1135"/>
                </a:moveTo>
                <a:cubicBezTo>
                  <a:pt x="3040" y="1135"/>
                  <a:pt x="3040" y="1135"/>
                  <a:pt x="3040" y="1135"/>
                </a:cubicBezTo>
                <a:cubicBezTo>
                  <a:pt x="3038" y="1135"/>
                  <a:pt x="3038" y="1135"/>
                  <a:pt x="3038" y="1135"/>
                </a:cubicBezTo>
                <a:cubicBezTo>
                  <a:pt x="3038" y="1135"/>
                  <a:pt x="3038" y="1135"/>
                  <a:pt x="3038" y="1135"/>
                </a:cubicBezTo>
                <a:cubicBezTo>
                  <a:pt x="3038" y="1137"/>
                  <a:pt x="3038" y="1137"/>
                  <a:pt x="3038" y="1137"/>
                </a:cubicBezTo>
                <a:cubicBezTo>
                  <a:pt x="3039" y="1138"/>
                  <a:pt x="3039" y="1138"/>
                  <a:pt x="3039" y="1138"/>
                </a:cubicBezTo>
                <a:cubicBezTo>
                  <a:pt x="3041" y="1138"/>
                  <a:pt x="3041" y="1138"/>
                  <a:pt x="3041" y="1138"/>
                </a:cubicBezTo>
                <a:cubicBezTo>
                  <a:pt x="3041" y="1138"/>
                  <a:pt x="3041" y="1138"/>
                  <a:pt x="3041" y="1138"/>
                </a:cubicBezTo>
                <a:cubicBezTo>
                  <a:pt x="3042" y="1137"/>
                  <a:pt x="3042" y="1137"/>
                  <a:pt x="3042" y="1137"/>
                </a:cubicBezTo>
                <a:cubicBezTo>
                  <a:pt x="3041" y="1137"/>
                  <a:pt x="3041" y="1137"/>
                  <a:pt x="3041" y="1137"/>
                </a:cubicBezTo>
                <a:cubicBezTo>
                  <a:pt x="3040" y="1137"/>
                  <a:pt x="3040" y="1137"/>
                  <a:pt x="3040" y="1137"/>
                </a:cubicBezTo>
                <a:cubicBezTo>
                  <a:pt x="3041" y="1136"/>
                  <a:pt x="3041" y="1136"/>
                  <a:pt x="3041" y="1136"/>
                </a:cubicBezTo>
                <a:lnTo>
                  <a:pt x="3040" y="1135"/>
                </a:lnTo>
                <a:close/>
                <a:moveTo>
                  <a:pt x="3045" y="1128"/>
                </a:moveTo>
                <a:cubicBezTo>
                  <a:pt x="3045" y="1126"/>
                  <a:pt x="3045" y="1126"/>
                  <a:pt x="3045" y="1126"/>
                </a:cubicBezTo>
                <a:cubicBezTo>
                  <a:pt x="3045" y="1124"/>
                  <a:pt x="3045" y="1124"/>
                  <a:pt x="3045" y="1124"/>
                </a:cubicBezTo>
                <a:cubicBezTo>
                  <a:pt x="3044" y="1124"/>
                  <a:pt x="3044" y="1124"/>
                  <a:pt x="3044" y="1124"/>
                </a:cubicBezTo>
                <a:cubicBezTo>
                  <a:pt x="3044" y="1125"/>
                  <a:pt x="3044" y="1125"/>
                  <a:pt x="3044" y="1125"/>
                </a:cubicBezTo>
                <a:cubicBezTo>
                  <a:pt x="3044" y="1126"/>
                  <a:pt x="3044" y="1126"/>
                  <a:pt x="3044" y="1126"/>
                </a:cubicBezTo>
                <a:cubicBezTo>
                  <a:pt x="3045" y="1126"/>
                  <a:pt x="3045" y="1126"/>
                  <a:pt x="3045" y="1126"/>
                </a:cubicBezTo>
                <a:cubicBezTo>
                  <a:pt x="3045" y="1127"/>
                  <a:pt x="3045" y="1127"/>
                  <a:pt x="3045" y="1127"/>
                </a:cubicBezTo>
                <a:cubicBezTo>
                  <a:pt x="3045" y="1128"/>
                  <a:pt x="3045" y="1128"/>
                  <a:pt x="3045" y="1128"/>
                </a:cubicBezTo>
                <a:close/>
                <a:moveTo>
                  <a:pt x="3028" y="1298"/>
                </a:moveTo>
                <a:cubicBezTo>
                  <a:pt x="3027" y="1297"/>
                  <a:pt x="3027" y="1297"/>
                  <a:pt x="3027" y="1297"/>
                </a:cubicBezTo>
                <a:cubicBezTo>
                  <a:pt x="3027" y="1298"/>
                  <a:pt x="3027" y="1298"/>
                  <a:pt x="3027" y="1298"/>
                </a:cubicBezTo>
                <a:cubicBezTo>
                  <a:pt x="3028" y="1301"/>
                  <a:pt x="3028" y="1301"/>
                  <a:pt x="3028" y="1301"/>
                </a:cubicBezTo>
                <a:cubicBezTo>
                  <a:pt x="3029" y="1302"/>
                  <a:pt x="3029" y="1302"/>
                  <a:pt x="3029" y="1302"/>
                </a:cubicBezTo>
                <a:cubicBezTo>
                  <a:pt x="3030" y="1301"/>
                  <a:pt x="3030" y="1301"/>
                  <a:pt x="3030" y="1301"/>
                </a:cubicBezTo>
                <a:cubicBezTo>
                  <a:pt x="3029" y="1300"/>
                  <a:pt x="3029" y="1300"/>
                  <a:pt x="3029" y="1300"/>
                </a:cubicBezTo>
                <a:cubicBezTo>
                  <a:pt x="3029" y="1298"/>
                  <a:pt x="3029" y="1298"/>
                  <a:pt x="3029" y="1298"/>
                </a:cubicBezTo>
                <a:lnTo>
                  <a:pt x="3028" y="1298"/>
                </a:lnTo>
                <a:close/>
                <a:moveTo>
                  <a:pt x="3043" y="1140"/>
                </a:moveTo>
                <a:cubicBezTo>
                  <a:pt x="3042" y="1140"/>
                  <a:pt x="3042" y="1140"/>
                  <a:pt x="3042" y="1140"/>
                </a:cubicBezTo>
                <a:cubicBezTo>
                  <a:pt x="3042" y="1140"/>
                  <a:pt x="3042" y="1140"/>
                  <a:pt x="3042" y="1140"/>
                </a:cubicBezTo>
                <a:cubicBezTo>
                  <a:pt x="3041" y="1139"/>
                  <a:pt x="3041" y="1139"/>
                  <a:pt x="3041" y="1139"/>
                </a:cubicBezTo>
                <a:cubicBezTo>
                  <a:pt x="3040" y="1139"/>
                  <a:pt x="3040" y="1139"/>
                  <a:pt x="3040" y="1139"/>
                </a:cubicBezTo>
                <a:cubicBezTo>
                  <a:pt x="3040" y="1139"/>
                  <a:pt x="3040" y="1139"/>
                  <a:pt x="3040" y="1139"/>
                </a:cubicBezTo>
                <a:cubicBezTo>
                  <a:pt x="3041" y="1139"/>
                  <a:pt x="3041" y="1139"/>
                  <a:pt x="3041" y="1139"/>
                </a:cubicBezTo>
                <a:cubicBezTo>
                  <a:pt x="3042" y="1141"/>
                  <a:pt x="3042" y="1141"/>
                  <a:pt x="3042" y="1141"/>
                </a:cubicBezTo>
                <a:cubicBezTo>
                  <a:pt x="3042" y="1141"/>
                  <a:pt x="3042" y="1141"/>
                  <a:pt x="3042" y="1141"/>
                </a:cubicBezTo>
                <a:cubicBezTo>
                  <a:pt x="3042" y="1143"/>
                  <a:pt x="3042" y="1143"/>
                  <a:pt x="3042" y="1143"/>
                </a:cubicBezTo>
                <a:cubicBezTo>
                  <a:pt x="3043" y="1143"/>
                  <a:pt x="3043" y="1143"/>
                  <a:pt x="3043" y="1143"/>
                </a:cubicBezTo>
                <a:cubicBezTo>
                  <a:pt x="3044" y="1143"/>
                  <a:pt x="3044" y="1143"/>
                  <a:pt x="3044" y="1143"/>
                </a:cubicBezTo>
                <a:cubicBezTo>
                  <a:pt x="3045" y="1142"/>
                  <a:pt x="3045" y="1142"/>
                  <a:pt x="3045" y="1142"/>
                </a:cubicBezTo>
                <a:cubicBezTo>
                  <a:pt x="3046" y="1141"/>
                  <a:pt x="3046" y="1141"/>
                  <a:pt x="3046" y="1141"/>
                </a:cubicBezTo>
                <a:cubicBezTo>
                  <a:pt x="3045" y="1140"/>
                  <a:pt x="3045" y="1140"/>
                  <a:pt x="3045" y="1140"/>
                </a:cubicBezTo>
                <a:cubicBezTo>
                  <a:pt x="3044" y="1140"/>
                  <a:pt x="3044" y="1140"/>
                  <a:pt x="3044" y="1140"/>
                </a:cubicBezTo>
                <a:cubicBezTo>
                  <a:pt x="3043" y="1141"/>
                  <a:pt x="3043" y="1141"/>
                  <a:pt x="3043" y="1141"/>
                </a:cubicBezTo>
                <a:lnTo>
                  <a:pt x="3043" y="1140"/>
                </a:lnTo>
                <a:close/>
                <a:moveTo>
                  <a:pt x="3004" y="1092"/>
                </a:moveTo>
                <a:cubicBezTo>
                  <a:pt x="3005" y="1093"/>
                  <a:pt x="3005" y="1093"/>
                  <a:pt x="3005" y="1093"/>
                </a:cubicBezTo>
                <a:cubicBezTo>
                  <a:pt x="3006" y="1093"/>
                  <a:pt x="3006" y="1093"/>
                  <a:pt x="3006" y="1093"/>
                </a:cubicBezTo>
                <a:cubicBezTo>
                  <a:pt x="3006" y="1091"/>
                  <a:pt x="3006" y="1091"/>
                  <a:pt x="3006" y="1091"/>
                </a:cubicBezTo>
                <a:cubicBezTo>
                  <a:pt x="3005" y="1090"/>
                  <a:pt x="3005" y="1090"/>
                  <a:pt x="3005" y="1090"/>
                </a:cubicBezTo>
                <a:lnTo>
                  <a:pt x="3004" y="1092"/>
                </a:lnTo>
                <a:close/>
                <a:moveTo>
                  <a:pt x="3036" y="1136"/>
                </a:moveTo>
                <a:cubicBezTo>
                  <a:pt x="3037" y="1137"/>
                  <a:pt x="3037" y="1137"/>
                  <a:pt x="3037" y="1137"/>
                </a:cubicBezTo>
                <a:cubicBezTo>
                  <a:pt x="3037" y="1135"/>
                  <a:pt x="3037" y="1135"/>
                  <a:pt x="3037" y="1135"/>
                </a:cubicBezTo>
                <a:cubicBezTo>
                  <a:pt x="3036" y="1134"/>
                  <a:pt x="3036" y="1134"/>
                  <a:pt x="3036" y="1134"/>
                </a:cubicBezTo>
                <a:cubicBezTo>
                  <a:pt x="3035" y="1133"/>
                  <a:pt x="3035" y="1133"/>
                  <a:pt x="3035" y="1133"/>
                </a:cubicBezTo>
                <a:cubicBezTo>
                  <a:pt x="3034" y="1134"/>
                  <a:pt x="3034" y="1134"/>
                  <a:pt x="3034" y="1134"/>
                </a:cubicBezTo>
                <a:cubicBezTo>
                  <a:pt x="3034" y="1135"/>
                  <a:pt x="3034" y="1135"/>
                  <a:pt x="3034" y="1135"/>
                </a:cubicBezTo>
                <a:cubicBezTo>
                  <a:pt x="3035" y="1135"/>
                  <a:pt x="3035" y="1135"/>
                  <a:pt x="3035" y="1135"/>
                </a:cubicBezTo>
                <a:lnTo>
                  <a:pt x="3036" y="1136"/>
                </a:lnTo>
                <a:close/>
                <a:moveTo>
                  <a:pt x="3013" y="1097"/>
                </a:moveTo>
                <a:cubicBezTo>
                  <a:pt x="3014" y="1096"/>
                  <a:pt x="3014" y="1096"/>
                  <a:pt x="3014" y="1096"/>
                </a:cubicBezTo>
                <a:cubicBezTo>
                  <a:pt x="3013" y="1094"/>
                  <a:pt x="3013" y="1094"/>
                  <a:pt x="3013" y="1094"/>
                </a:cubicBezTo>
                <a:cubicBezTo>
                  <a:pt x="3012" y="1093"/>
                  <a:pt x="3012" y="1093"/>
                  <a:pt x="3012" y="1093"/>
                </a:cubicBezTo>
                <a:cubicBezTo>
                  <a:pt x="3011" y="1094"/>
                  <a:pt x="3011" y="1094"/>
                  <a:pt x="3011" y="1094"/>
                </a:cubicBezTo>
                <a:cubicBezTo>
                  <a:pt x="3012" y="1096"/>
                  <a:pt x="3012" y="1096"/>
                  <a:pt x="3012" y="1096"/>
                </a:cubicBezTo>
                <a:lnTo>
                  <a:pt x="3013" y="1097"/>
                </a:lnTo>
                <a:close/>
                <a:moveTo>
                  <a:pt x="2986" y="1240"/>
                </a:moveTo>
                <a:cubicBezTo>
                  <a:pt x="2987" y="1238"/>
                  <a:pt x="2987" y="1238"/>
                  <a:pt x="2987" y="1238"/>
                </a:cubicBezTo>
                <a:cubicBezTo>
                  <a:pt x="2987" y="1235"/>
                  <a:pt x="2987" y="1235"/>
                  <a:pt x="2987" y="1235"/>
                </a:cubicBezTo>
                <a:cubicBezTo>
                  <a:pt x="2986" y="1235"/>
                  <a:pt x="2986" y="1235"/>
                  <a:pt x="2986" y="1235"/>
                </a:cubicBezTo>
                <a:cubicBezTo>
                  <a:pt x="2985" y="1236"/>
                  <a:pt x="2985" y="1236"/>
                  <a:pt x="2985" y="1236"/>
                </a:cubicBezTo>
                <a:cubicBezTo>
                  <a:pt x="2986" y="1237"/>
                  <a:pt x="2986" y="1237"/>
                  <a:pt x="2986" y="1237"/>
                </a:cubicBezTo>
                <a:cubicBezTo>
                  <a:pt x="2985" y="1239"/>
                  <a:pt x="2985" y="1239"/>
                  <a:pt x="2985" y="1239"/>
                </a:cubicBezTo>
                <a:lnTo>
                  <a:pt x="2986" y="1240"/>
                </a:lnTo>
                <a:close/>
                <a:moveTo>
                  <a:pt x="3024" y="1284"/>
                </a:moveTo>
                <a:cubicBezTo>
                  <a:pt x="3024" y="1283"/>
                  <a:pt x="3024" y="1283"/>
                  <a:pt x="3024" y="1283"/>
                </a:cubicBezTo>
                <a:cubicBezTo>
                  <a:pt x="3023" y="1283"/>
                  <a:pt x="3023" y="1283"/>
                  <a:pt x="3023" y="1283"/>
                </a:cubicBezTo>
                <a:lnTo>
                  <a:pt x="3024" y="1284"/>
                </a:lnTo>
                <a:close/>
                <a:moveTo>
                  <a:pt x="2977" y="1115"/>
                </a:moveTo>
                <a:cubicBezTo>
                  <a:pt x="2977" y="1116"/>
                  <a:pt x="2977" y="1116"/>
                  <a:pt x="2977" y="1116"/>
                </a:cubicBezTo>
                <a:cubicBezTo>
                  <a:pt x="2978" y="1117"/>
                  <a:pt x="2978" y="1117"/>
                  <a:pt x="2978" y="1117"/>
                </a:cubicBezTo>
                <a:cubicBezTo>
                  <a:pt x="2978" y="1116"/>
                  <a:pt x="2978" y="1116"/>
                  <a:pt x="2978" y="1116"/>
                </a:cubicBezTo>
                <a:cubicBezTo>
                  <a:pt x="2979" y="1115"/>
                  <a:pt x="2979" y="1115"/>
                  <a:pt x="2979" y="1115"/>
                </a:cubicBezTo>
                <a:lnTo>
                  <a:pt x="2977" y="1115"/>
                </a:lnTo>
                <a:close/>
                <a:moveTo>
                  <a:pt x="2971" y="1117"/>
                </a:moveTo>
                <a:cubicBezTo>
                  <a:pt x="2972" y="1119"/>
                  <a:pt x="2972" y="1119"/>
                  <a:pt x="2972" y="1119"/>
                </a:cubicBezTo>
                <a:cubicBezTo>
                  <a:pt x="2973" y="1119"/>
                  <a:pt x="2973" y="1119"/>
                  <a:pt x="2973" y="1119"/>
                </a:cubicBezTo>
                <a:cubicBezTo>
                  <a:pt x="2972" y="1118"/>
                  <a:pt x="2972" y="1118"/>
                  <a:pt x="2972" y="1118"/>
                </a:cubicBezTo>
                <a:lnTo>
                  <a:pt x="2971" y="1117"/>
                </a:lnTo>
                <a:close/>
                <a:moveTo>
                  <a:pt x="2976" y="1116"/>
                </a:moveTo>
                <a:cubicBezTo>
                  <a:pt x="2976" y="1118"/>
                  <a:pt x="2976" y="1118"/>
                  <a:pt x="2976" y="1118"/>
                </a:cubicBezTo>
                <a:cubicBezTo>
                  <a:pt x="2977" y="1118"/>
                  <a:pt x="2977" y="1118"/>
                  <a:pt x="2977" y="1118"/>
                </a:cubicBezTo>
                <a:cubicBezTo>
                  <a:pt x="2977" y="1117"/>
                  <a:pt x="2977" y="1117"/>
                  <a:pt x="2977" y="1117"/>
                </a:cubicBezTo>
                <a:lnTo>
                  <a:pt x="2976" y="1116"/>
                </a:lnTo>
                <a:close/>
                <a:moveTo>
                  <a:pt x="2736" y="838"/>
                </a:moveTo>
                <a:cubicBezTo>
                  <a:pt x="2734" y="838"/>
                  <a:pt x="2734" y="838"/>
                  <a:pt x="2734" y="838"/>
                </a:cubicBezTo>
                <a:cubicBezTo>
                  <a:pt x="2733" y="836"/>
                  <a:pt x="2733" y="836"/>
                  <a:pt x="2733" y="836"/>
                </a:cubicBezTo>
                <a:cubicBezTo>
                  <a:pt x="2729" y="835"/>
                  <a:pt x="2729" y="835"/>
                  <a:pt x="2729" y="835"/>
                </a:cubicBezTo>
                <a:cubicBezTo>
                  <a:pt x="2726" y="836"/>
                  <a:pt x="2726" y="836"/>
                  <a:pt x="2726" y="836"/>
                </a:cubicBezTo>
                <a:cubicBezTo>
                  <a:pt x="2726" y="838"/>
                  <a:pt x="2726" y="838"/>
                  <a:pt x="2726" y="838"/>
                </a:cubicBezTo>
                <a:cubicBezTo>
                  <a:pt x="2724" y="842"/>
                  <a:pt x="2724" y="842"/>
                  <a:pt x="2724" y="842"/>
                </a:cubicBezTo>
                <a:cubicBezTo>
                  <a:pt x="2724" y="845"/>
                  <a:pt x="2724" y="845"/>
                  <a:pt x="2724" y="845"/>
                </a:cubicBezTo>
                <a:cubicBezTo>
                  <a:pt x="2724" y="849"/>
                  <a:pt x="2724" y="849"/>
                  <a:pt x="2724" y="849"/>
                </a:cubicBezTo>
                <a:cubicBezTo>
                  <a:pt x="2723" y="854"/>
                  <a:pt x="2723" y="854"/>
                  <a:pt x="2723" y="854"/>
                </a:cubicBezTo>
                <a:cubicBezTo>
                  <a:pt x="2722" y="856"/>
                  <a:pt x="2722" y="856"/>
                  <a:pt x="2722" y="856"/>
                </a:cubicBezTo>
                <a:cubicBezTo>
                  <a:pt x="2724" y="860"/>
                  <a:pt x="2724" y="860"/>
                  <a:pt x="2724" y="860"/>
                </a:cubicBezTo>
                <a:cubicBezTo>
                  <a:pt x="2724" y="861"/>
                  <a:pt x="2724" y="861"/>
                  <a:pt x="2724" y="861"/>
                </a:cubicBezTo>
                <a:cubicBezTo>
                  <a:pt x="2722" y="862"/>
                  <a:pt x="2722" y="862"/>
                  <a:pt x="2722" y="862"/>
                </a:cubicBezTo>
                <a:cubicBezTo>
                  <a:pt x="2720" y="862"/>
                  <a:pt x="2720" y="862"/>
                  <a:pt x="2720" y="862"/>
                </a:cubicBezTo>
                <a:cubicBezTo>
                  <a:pt x="2719" y="860"/>
                  <a:pt x="2719" y="860"/>
                  <a:pt x="2719" y="860"/>
                </a:cubicBezTo>
                <a:cubicBezTo>
                  <a:pt x="2719" y="862"/>
                  <a:pt x="2719" y="862"/>
                  <a:pt x="2719" y="862"/>
                </a:cubicBezTo>
                <a:cubicBezTo>
                  <a:pt x="2719" y="864"/>
                  <a:pt x="2719" y="864"/>
                  <a:pt x="2719" y="864"/>
                </a:cubicBezTo>
                <a:cubicBezTo>
                  <a:pt x="2720" y="865"/>
                  <a:pt x="2720" y="865"/>
                  <a:pt x="2720" y="865"/>
                </a:cubicBezTo>
                <a:cubicBezTo>
                  <a:pt x="2721" y="865"/>
                  <a:pt x="2721" y="865"/>
                  <a:pt x="2721" y="865"/>
                </a:cubicBezTo>
                <a:cubicBezTo>
                  <a:pt x="2720" y="867"/>
                  <a:pt x="2720" y="867"/>
                  <a:pt x="2720" y="867"/>
                </a:cubicBezTo>
                <a:cubicBezTo>
                  <a:pt x="2721" y="870"/>
                  <a:pt x="2721" y="870"/>
                  <a:pt x="2721" y="870"/>
                </a:cubicBezTo>
                <a:cubicBezTo>
                  <a:pt x="2722" y="872"/>
                  <a:pt x="2722" y="872"/>
                  <a:pt x="2722" y="872"/>
                </a:cubicBezTo>
                <a:cubicBezTo>
                  <a:pt x="2722" y="876"/>
                  <a:pt x="2722" y="876"/>
                  <a:pt x="2722" y="876"/>
                </a:cubicBezTo>
                <a:cubicBezTo>
                  <a:pt x="2723" y="877"/>
                  <a:pt x="2723" y="877"/>
                  <a:pt x="2723" y="877"/>
                </a:cubicBezTo>
                <a:cubicBezTo>
                  <a:pt x="2724" y="876"/>
                  <a:pt x="2724" y="876"/>
                  <a:pt x="2724" y="876"/>
                </a:cubicBezTo>
                <a:cubicBezTo>
                  <a:pt x="2725" y="876"/>
                  <a:pt x="2725" y="876"/>
                  <a:pt x="2725" y="876"/>
                </a:cubicBezTo>
                <a:cubicBezTo>
                  <a:pt x="2725" y="878"/>
                  <a:pt x="2725" y="878"/>
                  <a:pt x="2725" y="878"/>
                </a:cubicBezTo>
                <a:cubicBezTo>
                  <a:pt x="2727" y="881"/>
                  <a:pt x="2727" y="881"/>
                  <a:pt x="2727" y="881"/>
                </a:cubicBezTo>
                <a:cubicBezTo>
                  <a:pt x="2728" y="881"/>
                  <a:pt x="2728" y="881"/>
                  <a:pt x="2728" y="881"/>
                </a:cubicBezTo>
                <a:cubicBezTo>
                  <a:pt x="2729" y="880"/>
                  <a:pt x="2729" y="880"/>
                  <a:pt x="2729" y="880"/>
                </a:cubicBezTo>
                <a:cubicBezTo>
                  <a:pt x="2728" y="878"/>
                  <a:pt x="2728" y="878"/>
                  <a:pt x="2728" y="878"/>
                </a:cubicBezTo>
                <a:cubicBezTo>
                  <a:pt x="2728" y="877"/>
                  <a:pt x="2728" y="877"/>
                  <a:pt x="2728" y="877"/>
                </a:cubicBezTo>
                <a:cubicBezTo>
                  <a:pt x="2731" y="877"/>
                  <a:pt x="2731" y="877"/>
                  <a:pt x="2731" y="877"/>
                </a:cubicBezTo>
                <a:cubicBezTo>
                  <a:pt x="2732" y="879"/>
                  <a:pt x="2732" y="879"/>
                  <a:pt x="2732" y="879"/>
                </a:cubicBezTo>
                <a:cubicBezTo>
                  <a:pt x="2730" y="881"/>
                  <a:pt x="2730" y="881"/>
                  <a:pt x="2730" y="881"/>
                </a:cubicBezTo>
                <a:cubicBezTo>
                  <a:pt x="2729" y="883"/>
                  <a:pt x="2729" y="883"/>
                  <a:pt x="2729" y="883"/>
                </a:cubicBezTo>
                <a:cubicBezTo>
                  <a:pt x="2729" y="884"/>
                  <a:pt x="2729" y="884"/>
                  <a:pt x="2729" y="884"/>
                </a:cubicBezTo>
                <a:cubicBezTo>
                  <a:pt x="2729" y="886"/>
                  <a:pt x="2729" y="886"/>
                  <a:pt x="2729" y="886"/>
                </a:cubicBezTo>
                <a:cubicBezTo>
                  <a:pt x="2730" y="889"/>
                  <a:pt x="2730" y="889"/>
                  <a:pt x="2730" y="889"/>
                </a:cubicBezTo>
                <a:cubicBezTo>
                  <a:pt x="2731" y="887"/>
                  <a:pt x="2731" y="887"/>
                  <a:pt x="2731" y="887"/>
                </a:cubicBezTo>
                <a:cubicBezTo>
                  <a:pt x="2732" y="886"/>
                  <a:pt x="2732" y="886"/>
                  <a:pt x="2732" y="886"/>
                </a:cubicBezTo>
                <a:cubicBezTo>
                  <a:pt x="2733" y="888"/>
                  <a:pt x="2733" y="888"/>
                  <a:pt x="2733" y="888"/>
                </a:cubicBezTo>
                <a:cubicBezTo>
                  <a:pt x="2732" y="890"/>
                  <a:pt x="2732" y="890"/>
                  <a:pt x="2732" y="890"/>
                </a:cubicBezTo>
                <a:cubicBezTo>
                  <a:pt x="2734" y="889"/>
                  <a:pt x="2734" y="889"/>
                  <a:pt x="2734" y="889"/>
                </a:cubicBezTo>
                <a:cubicBezTo>
                  <a:pt x="2735" y="888"/>
                  <a:pt x="2735" y="888"/>
                  <a:pt x="2735" y="888"/>
                </a:cubicBezTo>
                <a:cubicBezTo>
                  <a:pt x="2737" y="890"/>
                  <a:pt x="2737" y="890"/>
                  <a:pt x="2737" y="890"/>
                </a:cubicBezTo>
                <a:cubicBezTo>
                  <a:pt x="2739" y="889"/>
                  <a:pt x="2739" y="889"/>
                  <a:pt x="2739" y="889"/>
                </a:cubicBezTo>
                <a:cubicBezTo>
                  <a:pt x="2739" y="888"/>
                  <a:pt x="2739" y="888"/>
                  <a:pt x="2739" y="888"/>
                </a:cubicBezTo>
                <a:cubicBezTo>
                  <a:pt x="2740" y="886"/>
                  <a:pt x="2740" y="886"/>
                  <a:pt x="2740" y="886"/>
                </a:cubicBezTo>
                <a:cubicBezTo>
                  <a:pt x="2742" y="886"/>
                  <a:pt x="2742" y="886"/>
                  <a:pt x="2742" y="886"/>
                </a:cubicBezTo>
                <a:cubicBezTo>
                  <a:pt x="2746" y="888"/>
                  <a:pt x="2746" y="888"/>
                  <a:pt x="2746" y="888"/>
                </a:cubicBezTo>
                <a:cubicBezTo>
                  <a:pt x="2747" y="889"/>
                  <a:pt x="2747" y="889"/>
                  <a:pt x="2747" y="889"/>
                </a:cubicBezTo>
                <a:cubicBezTo>
                  <a:pt x="2749" y="891"/>
                  <a:pt x="2749" y="891"/>
                  <a:pt x="2749" y="891"/>
                </a:cubicBezTo>
                <a:cubicBezTo>
                  <a:pt x="2751" y="894"/>
                  <a:pt x="2751" y="894"/>
                  <a:pt x="2751" y="894"/>
                </a:cubicBezTo>
                <a:cubicBezTo>
                  <a:pt x="2752" y="894"/>
                  <a:pt x="2752" y="894"/>
                  <a:pt x="2752" y="894"/>
                </a:cubicBezTo>
                <a:cubicBezTo>
                  <a:pt x="2751" y="891"/>
                  <a:pt x="2751" y="891"/>
                  <a:pt x="2751" y="891"/>
                </a:cubicBezTo>
                <a:cubicBezTo>
                  <a:pt x="2749" y="887"/>
                  <a:pt x="2749" y="887"/>
                  <a:pt x="2749" y="887"/>
                </a:cubicBezTo>
                <a:cubicBezTo>
                  <a:pt x="2749" y="886"/>
                  <a:pt x="2749" y="886"/>
                  <a:pt x="2749" y="886"/>
                </a:cubicBezTo>
                <a:cubicBezTo>
                  <a:pt x="2750" y="886"/>
                  <a:pt x="2750" y="886"/>
                  <a:pt x="2750" y="886"/>
                </a:cubicBezTo>
                <a:cubicBezTo>
                  <a:pt x="2752" y="888"/>
                  <a:pt x="2752" y="888"/>
                  <a:pt x="2752" y="888"/>
                </a:cubicBezTo>
                <a:cubicBezTo>
                  <a:pt x="2753" y="888"/>
                  <a:pt x="2753" y="888"/>
                  <a:pt x="2753" y="888"/>
                </a:cubicBezTo>
                <a:cubicBezTo>
                  <a:pt x="2754" y="891"/>
                  <a:pt x="2754" y="891"/>
                  <a:pt x="2754" y="891"/>
                </a:cubicBezTo>
                <a:cubicBezTo>
                  <a:pt x="2757" y="892"/>
                  <a:pt x="2757" y="892"/>
                  <a:pt x="2757" y="892"/>
                </a:cubicBezTo>
                <a:cubicBezTo>
                  <a:pt x="2758" y="894"/>
                  <a:pt x="2758" y="894"/>
                  <a:pt x="2758" y="894"/>
                </a:cubicBezTo>
                <a:cubicBezTo>
                  <a:pt x="2758" y="896"/>
                  <a:pt x="2758" y="896"/>
                  <a:pt x="2758" y="896"/>
                </a:cubicBezTo>
                <a:cubicBezTo>
                  <a:pt x="2760" y="896"/>
                  <a:pt x="2760" y="896"/>
                  <a:pt x="2760" y="896"/>
                </a:cubicBezTo>
                <a:cubicBezTo>
                  <a:pt x="2762" y="899"/>
                  <a:pt x="2762" y="899"/>
                  <a:pt x="2762" y="899"/>
                </a:cubicBezTo>
                <a:cubicBezTo>
                  <a:pt x="2764" y="898"/>
                  <a:pt x="2764" y="898"/>
                  <a:pt x="2764" y="898"/>
                </a:cubicBezTo>
                <a:cubicBezTo>
                  <a:pt x="2763" y="898"/>
                  <a:pt x="2763" y="898"/>
                  <a:pt x="2763" y="898"/>
                </a:cubicBezTo>
                <a:cubicBezTo>
                  <a:pt x="2765" y="898"/>
                  <a:pt x="2765" y="898"/>
                  <a:pt x="2765" y="898"/>
                </a:cubicBezTo>
                <a:cubicBezTo>
                  <a:pt x="2765" y="899"/>
                  <a:pt x="2765" y="899"/>
                  <a:pt x="2765" y="899"/>
                </a:cubicBezTo>
                <a:cubicBezTo>
                  <a:pt x="2763" y="900"/>
                  <a:pt x="2763" y="900"/>
                  <a:pt x="2763" y="900"/>
                </a:cubicBezTo>
                <a:cubicBezTo>
                  <a:pt x="2765" y="902"/>
                  <a:pt x="2765" y="902"/>
                  <a:pt x="2765" y="902"/>
                </a:cubicBezTo>
                <a:cubicBezTo>
                  <a:pt x="2767" y="903"/>
                  <a:pt x="2767" y="903"/>
                  <a:pt x="2767" y="903"/>
                </a:cubicBezTo>
                <a:cubicBezTo>
                  <a:pt x="2768" y="900"/>
                  <a:pt x="2768" y="900"/>
                  <a:pt x="2768" y="900"/>
                </a:cubicBezTo>
                <a:cubicBezTo>
                  <a:pt x="2767" y="898"/>
                  <a:pt x="2767" y="898"/>
                  <a:pt x="2767" y="898"/>
                </a:cubicBezTo>
                <a:cubicBezTo>
                  <a:pt x="2768" y="898"/>
                  <a:pt x="2768" y="898"/>
                  <a:pt x="2768" y="898"/>
                </a:cubicBezTo>
                <a:cubicBezTo>
                  <a:pt x="2767" y="896"/>
                  <a:pt x="2767" y="896"/>
                  <a:pt x="2767" y="896"/>
                </a:cubicBezTo>
                <a:cubicBezTo>
                  <a:pt x="2766" y="897"/>
                  <a:pt x="2766" y="897"/>
                  <a:pt x="2766" y="897"/>
                </a:cubicBezTo>
                <a:cubicBezTo>
                  <a:pt x="2764" y="896"/>
                  <a:pt x="2764" y="896"/>
                  <a:pt x="2764" y="896"/>
                </a:cubicBezTo>
                <a:cubicBezTo>
                  <a:pt x="2762" y="896"/>
                  <a:pt x="2762" y="896"/>
                  <a:pt x="2762" y="896"/>
                </a:cubicBezTo>
                <a:cubicBezTo>
                  <a:pt x="2762" y="894"/>
                  <a:pt x="2762" y="894"/>
                  <a:pt x="2762" y="894"/>
                </a:cubicBezTo>
                <a:cubicBezTo>
                  <a:pt x="2761" y="891"/>
                  <a:pt x="2761" y="891"/>
                  <a:pt x="2761" y="891"/>
                </a:cubicBezTo>
                <a:cubicBezTo>
                  <a:pt x="2761" y="889"/>
                  <a:pt x="2761" y="889"/>
                  <a:pt x="2761" y="889"/>
                </a:cubicBezTo>
                <a:cubicBezTo>
                  <a:pt x="2762" y="888"/>
                  <a:pt x="2762" y="888"/>
                  <a:pt x="2762" y="888"/>
                </a:cubicBezTo>
                <a:cubicBezTo>
                  <a:pt x="2763" y="889"/>
                  <a:pt x="2763" y="889"/>
                  <a:pt x="2763" y="889"/>
                </a:cubicBezTo>
                <a:cubicBezTo>
                  <a:pt x="2764" y="889"/>
                  <a:pt x="2764" y="889"/>
                  <a:pt x="2764" y="889"/>
                </a:cubicBezTo>
                <a:cubicBezTo>
                  <a:pt x="2764" y="888"/>
                  <a:pt x="2764" y="888"/>
                  <a:pt x="2764" y="888"/>
                </a:cubicBezTo>
                <a:cubicBezTo>
                  <a:pt x="2762" y="887"/>
                  <a:pt x="2762" y="887"/>
                  <a:pt x="2762" y="887"/>
                </a:cubicBezTo>
                <a:cubicBezTo>
                  <a:pt x="2759" y="887"/>
                  <a:pt x="2759" y="887"/>
                  <a:pt x="2759" y="887"/>
                </a:cubicBezTo>
                <a:cubicBezTo>
                  <a:pt x="2758" y="885"/>
                  <a:pt x="2758" y="885"/>
                  <a:pt x="2758" y="885"/>
                </a:cubicBezTo>
                <a:cubicBezTo>
                  <a:pt x="2757" y="885"/>
                  <a:pt x="2757" y="885"/>
                  <a:pt x="2757" y="885"/>
                </a:cubicBezTo>
                <a:cubicBezTo>
                  <a:pt x="2757" y="887"/>
                  <a:pt x="2757" y="887"/>
                  <a:pt x="2757" y="887"/>
                </a:cubicBezTo>
                <a:cubicBezTo>
                  <a:pt x="2756" y="888"/>
                  <a:pt x="2756" y="888"/>
                  <a:pt x="2756" y="888"/>
                </a:cubicBezTo>
                <a:cubicBezTo>
                  <a:pt x="2755" y="887"/>
                  <a:pt x="2755" y="887"/>
                  <a:pt x="2755" y="887"/>
                </a:cubicBezTo>
                <a:cubicBezTo>
                  <a:pt x="2755" y="885"/>
                  <a:pt x="2755" y="885"/>
                  <a:pt x="2755" y="885"/>
                </a:cubicBezTo>
                <a:cubicBezTo>
                  <a:pt x="2754" y="883"/>
                  <a:pt x="2754" y="883"/>
                  <a:pt x="2754" y="883"/>
                </a:cubicBezTo>
                <a:cubicBezTo>
                  <a:pt x="2751" y="881"/>
                  <a:pt x="2751" y="881"/>
                  <a:pt x="2751" y="881"/>
                </a:cubicBezTo>
                <a:cubicBezTo>
                  <a:pt x="2749" y="881"/>
                  <a:pt x="2749" y="881"/>
                  <a:pt x="2749" y="881"/>
                </a:cubicBezTo>
                <a:cubicBezTo>
                  <a:pt x="2746" y="883"/>
                  <a:pt x="2746" y="883"/>
                  <a:pt x="2746" y="883"/>
                </a:cubicBezTo>
                <a:cubicBezTo>
                  <a:pt x="2746" y="885"/>
                  <a:pt x="2746" y="885"/>
                  <a:pt x="2746" y="885"/>
                </a:cubicBezTo>
                <a:cubicBezTo>
                  <a:pt x="2744" y="885"/>
                  <a:pt x="2744" y="885"/>
                  <a:pt x="2744" y="885"/>
                </a:cubicBezTo>
                <a:cubicBezTo>
                  <a:pt x="2742" y="884"/>
                  <a:pt x="2742" y="884"/>
                  <a:pt x="2742" y="884"/>
                </a:cubicBezTo>
                <a:cubicBezTo>
                  <a:pt x="2741" y="883"/>
                  <a:pt x="2741" y="883"/>
                  <a:pt x="2741" y="883"/>
                </a:cubicBezTo>
                <a:cubicBezTo>
                  <a:pt x="2739" y="881"/>
                  <a:pt x="2739" y="881"/>
                  <a:pt x="2739" y="881"/>
                </a:cubicBezTo>
                <a:cubicBezTo>
                  <a:pt x="2739" y="879"/>
                  <a:pt x="2739" y="879"/>
                  <a:pt x="2739" y="879"/>
                </a:cubicBezTo>
                <a:cubicBezTo>
                  <a:pt x="2740" y="878"/>
                  <a:pt x="2740" y="878"/>
                  <a:pt x="2740" y="878"/>
                </a:cubicBezTo>
                <a:cubicBezTo>
                  <a:pt x="2739" y="876"/>
                  <a:pt x="2739" y="876"/>
                  <a:pt x="2739" y="876"/>
                </a:cubicBezTo>
                <a:cubicBezTo>
                  <a:pt x="2738" y="874"/>
                  <a:pt x="2738" y="874"/>
                  <a:pt x="2738" y="874"/>
                </a:cubicBezTo>
                <a:cubicBezTo>
                  <a:pt x="2737" y="873"/>
                  <a:pt x="2737" y="873"/>
                  <a:pt x="2737" y="873"/>
                </a:cubicBezTo>
                <a:cubicBezTo>
                  <a:pt x="2737" y="870"/>
                  <a:pt x="2737" y="870"/>
                  <a:pt x="2737" y="870"/>
                </a:cubicBezTo>
                <a:cubicBezTo>
                  <a:pt x="2738" y="869"/>
                  <a:pt x="2738" y="869"/>
                  <a:pt x="2738" y="869"/>
                </a:cubicBezTo>
                <a:cubicBezTo>
                  <a:pt x="2738" y="867"/>
                  <a:pt x="2738" y="867"/>
                  <a:pt x="2738" y="867"/>
                </a:cubicBezTo>
                <a:cubicBezTo>
                  <a:pt x="2739" y="865"/>
                  <a:pt x="2739" y="865"/>
                  <a:pt x="2739" y="865"/>
                </a:cubicBezTo>
                <a:cubicBezTo>
                  <a:pt x="2742" y="862"/>
                  <a:pt x="2742" y="862"/>
                  <a:pt x="2742" y="862"/>
                </a:cubicBezTo>
                <a:cubicBezTo>
                  <a:pt x="2743" y="861"/>
                  <a:pt x="2743" y="861"/>
                  <a:pt x="2743" y="861"/>
                </a:cubicBezTo>
                <a:cubicBezTo>
                  <a:pt x="2742" y="863"/>
                  <a:pt x="2742" y="863"/>
                  <a:pt x="2742" y="863"/>
                </a:cubicBezTo>
                <a:cubicBezTo>
                  <a:pt x="2743" y="864"/>
                  <a:pt x="2743" y="864"/>
                  <a:pt x="2743" y="864"/>
                </a:cubicBezTo>
                <a:cubicBezTo>
                  <a:pt x="2744" y="861"/>
                  <a:pt x="2744" y="861"/>
                  <a:pt x="2744" y="861"/>
                </a:cubicBezTo>
                <a:cubicBezTo>
                  <a:pt x="2744" y="859"/>
                  <a:pt x="2744" y="859"/>
                  <a:pt x="2744" y="859"/>
                </a:cubicBezTo>
                <a:cubicBezTo>
                  <a:pt x="2745" y="856"/>
                  <a:pt x="2745" y="856"/>
                  <a:pt x="2745" y="856"/>
                </a:cubicBezTo>
                <a:cubicBezTo>
                  <a:pt x="2746" y="851"/>
                  <a:pt x="2746" y="851"/>
                  <a:pt x="2746" y="851"/>
                </a:cubicBezTo>
                <a:cubicBezTo>
                  <a:pt x="2745" y="850"/>
                  <a:pt x="2745" y="850"/>
                  <a:pt x="2745" y="850"/>
                </a:cubicBezTo>
                <a:cubicBezTo>
                  <a:pt x="2744" y="847"/>
                  <a:pt x="2744" y="847"/>
                  <a:pt x="2744" y="847"/>
                </a:cubicBezTo>
                <a:cubicBezTo>
                  <a:pt x="2743" y="847"/>
                  <a:pt x="2743" y="847"/>
                  <a:pt x="2743" y="847"/>
                </a:cubicBezTo>
                <a:cubicBezTo>
                  <a:pt x="2741" y="844"/>
                  <a:pt x="2741" y="844"/>
                  <a:pt x="2741" y="844"/>
                </a:cubicBezTo>
                <a:cubicBezTo>
                  <a:pt x="2742" y="840"/>
                  <a:pt x="2742" y="840"/>
                  <a:pt x="2742" y="840"/>
                </a:cubicBezTo>
                <a:cubicBezTo>
                  <a:pt x="2743" y="838"/>
                  <a:pt x="2743" y="838"/>
                  <a:pt x="2743" y="838"/>
                </a:cubicBezTo>
                <a:cubicBezTo>
                  <a:pt x="2743" y="837"/>
                  <a:pt x="2743" y="837"/>
                  <a:pt x="2743" y="837"/>
                </a:cubicBezTo>
                <a:cubicBezTo>
                  <a:pt x="2742" y="835"/>
                  <a:pt x="2742" y="835"/>
                  <a:pt x="2742" y="835"/>
                </a:cubicBezTo>
                <a:cubicBezTo>
                  <a:pt x="2741" y="835"/>
                  <a:pt x="2741" y="835"/>
                  <a:pt x="2741" y="835"/>
                </a:cubicBezTo>
                <a:cubicBezTo>
                  <a:pt x="2741" y="836"/>
                  <a:pt x="2741" y="836"/>
                  <a:pt x="2741" y="836"/>
                </a:cubicBezTo>
                <a:cubicBezTo>
                  <a:pt x="2739" y="837"/>
                  <a:pt x="2739" y="837"/>
                  <a:pt x="2739" y="837"/>
                </a:cubicBezTo>
                <a:cubicBezTo>
                  <a:pt x="2736" y="837"/>
                  <a:pt x="2736" y="837"/>
                  <a:pt x="2736" y="837"/>
                </a:cubicBezTo>
                <a:lnTo>
                  <a:pt x="2736" y="838"/>
                </a:lnTo>
                <a:close/>
                <a:moveTo>
                  <a:pt x="2969" y="1129"/>
                </a:moveTo>
                <a:cubicBezTo>
                  <a:pt x="2967" y="1127"/>
                  <a:pt x="2967" y="1127"/>
                  <a:pt x="2967" y="1127"/>
                </a:cubicBezTo>
                <a:cubicBezTo>
                  <a:pt x="2967" y="1127"/>
                  <a:pt x="2964" y="1126"/>
                  <a:pt x="2964" y="1126"/>
                </a:cubicBezTo>
                <a:lnTo>
                  <a:pt x="2969" y="1129"/>
                </a:lnTo>
                <a:close/>
                <a:moveTo>
                  <a:pt x="2982" y="1117"/>
                </a:moveTo>
                <a:cubicBezTo>
                  <a:pt x="2983" y="1118"/>
                  <a:pt x="2983" y="1118"/>
                  <a:pt x="2983" y="1118"/>
                </a:cubicBezTo>
                <a:cubicBezTo>
                  <a:pt x="2983" y="1118"/>
                  <a:pt x="2983" y="1117"/>
                  <a:pt x="2983" y="1117"/>
                </a:cubicBezTo>
                <a:lnTo>
                  <a:pt x="2982" y="1117"/>
                </a:lnTo>
                <a:close/>
                <a:moveTo>
                  <a:pt x="2744" y="884"/>
                </a:moveTo>
                <a:cubicBezTo>
                  <a:pt x="2745" y="885"/>
                  <a:pt x="2745" y="885"/>
                  <a:pt x="2745" y="885"/>
                </a:cubicBezTo>
                <a:cubicBezTo>
                  <a:pt x="2745" y="883"/>
                  <a:pt x="2745" y="883"/>
                  <a:pt x="2745" y="883"/>
                </a:cubicBezTo>
                <a:cubicBezTo>
                  <a:pt x="2743" y="882"/>
                  <a:pt x="2743" y="882"/>
                  <a:pt x="2743" y="882"/>
                </a:cubicBezTo>
                <a:lnTo>
                  <a:pt x="2744" y="884"/>
                </a:lnTo>
                <a:close/>
                <a:moveTo>
                  <a:pt x="2463" y="960"/>
                </a:moveTo>
                <a:cubicBezTo>
                  <a:pt x="2462" y="959"/>
                  <a:pt x="2462" y="959"/>
                  <a:pt x="2462" y="959"/>
                </a:cubicBezTo>
                <a:cubicBezTo>
                  <a:pt x="2461" y="960"/>
                  <a:pt x="2461" y="960"/>
                  <a:pt x="2461" y="960"/>
                </a:cubicBezTo>
                <a:cubicBezTo>
                  <a:pt x="2461" y="962"/>
                  <a:pt x="2461" y="962"/>
                  <a:pt x="2461" y="962"/>
                </a:cubicBezTo>
                <a:cubicBezTo>
                  <a:pt x="2461" y="962"/>
                  <a:pt x="2462" y="963"/>
                  <a:pt x="2462" y="963"/>
                </a:cubicBezTo>
                <a:cubicBezTo>
                  <a:pt x="2462" y="963"/>
                  <a:pt x="2462" y="965"/>
                  <a:pt x="2462" y="965"/>
                </a:cubicBezTo>
                <a:cubicBezTo>
                  <a:pt x="2464" y="964"/>
                  <a:pt x="2464" y="964"/>
                  <a:pt x="2464" y="964"/>
                </a:cubicBezTo>
                <a:cubicBezTo>
                  <a:pt x="2463" y="962"/>
                  <a:pt x="2463" y="962"/>
                  <a:pt x="2463" y="962"/>
                </a:cubicBezTo>
                <a:lnTo>
                  <a:pt x="2463" y="960"/>
                </a:lnTo>
                <a:close/>
                <a:moveTo>
                  <a:pt x="2501" y="1021"/>
                </a:moveTo>
                <a:cubicBezTo>
                  <a:pt x="2500" y="1021"/>
                  <a:pt x="2500" y="1021"/>
                  <a:pt x="2500" y="1021"/>
                </a:cubicBezTo>
                <a:cubicBezTo>
                  <a:pt x="2499" y="1022"/>
                  <a:pt x="2499" y="1022"/>
                  <a:pt x="2499" y="1022"/>
                </a:cubicBezTo>
                <a:cubicBezTo>
                  <a:pt x="2497" y="1022"/>
                  <a:pt x="2497" y="1022"/>
                  <a:pt x="2497" y="1022"/>
                </a:cubicBezTo>
                <a:cubicBezTo>
                  <a:pt x="2499" y="1024"/>
                  <a:pt x="2499" y="1024"/>
                  <a:pt x="2499" y="1024"/>
                </a:cubicBezTo>
                <a:cubicBezTo>
                  <a:pt x="2500" y="1027"/>
                  <a:pt x="2500" y="1027"/>
                  <a:pt x="2500" y="1027"/>
                </a:cubicBezTo>
                <a:cubicBezTo>
                  <a:pt x="2501" y="1027"/>
                  <a:pt x="2501" y="1027"/>
                  <a:pt x="2501" y="1027"/>
                </a:cubicBezTo>
                <a:cubicBezTo>
                  <a:pt x="2503" y="1031"/>
                  <a:pt x="2503" y="1031"/>
                  <a:pt x="2503" y="1031"/>
                </a:cubicBezTo>
                <a:cubicBezTo>
                  <a:pt x="2504" y="1030"/>
                  <a:pt x="2504" y="1030"/>
                  <a:pt x="2504" y="1030"/>
                </a:cubicBezTo>
                <a:cubicBezTo>
                  <a:pt x="2504" y="1028"/>
                  <a:pt x="2504" y="1028"/>
                  <a:pt x="2504" y="1028"/>
                </a:cubicBezTo>
                <a:cubicBezTo>
                  <a:pt x="2505" y="1026"/>
                  <a:pt x="2505" y="1026"/>
                  <a:pt x="2505" y="1026"/>
                </a:cubicBezTo>
                <a:cubicBezTo>
                  <a:pt x="2503" y="1024"/>
                  <a:pt x="2503" y="1024"/>
                  <a:pt x="2503" y="1024"/>
                </a:cubicBezTo>
                <a:lnTo>
                  <a:pt x="2501" y="1021"/>
                </a:lnTo>
                <a:close/>
                <a:moveTo>
                  <a:pt x="2512" y="1042"/>
                </a:moveTo>
                <a:cubicBezTo>
                  <a:pt x="2510" y="1041"/>
                  <a:pt x="2510" y="1041"/>
                  <a:pt x="2510" y="1041"/>
                </a:cubicBezTo>
                <a:cubicBezTo>
                  <a:pt x="2509" y="1043"/>
                  <a:pt x="2509" y="1043"/>
                  <a:pt x="2509" y="1043"/>
                </a:cubicBezTo>
                <a:cubicBezTo>
                  <a:pt x="2510" y="1045"/>
                  <a:pt x="2510" y="1045"/>
                  <a:pt x="2510" y="1045"/>
                </a:cubicBezTo>
                <a:cubicBezTo>
                  <a:pt x="2512" y="1043"/>
                  <a:pt x="2512" y="1043"/>
                  <a:pt x="2512" y="1043"/>
                </a:cubicBezTo>
                <a:lnTo>
                  <a:pt x="2512" y="1042"/>
                </a:lnTo>
                <a:close/>
                <a:moveTo>
                  <a:pt x="2498" y="1014"/>
                </a:moveTo>
                <a:cubicBezTo>
                  <a:pt x="2497" y="1014"/>
                  <a:pt x="2497" y="1014"/>
                  <a:pt x="2497" y="1014"/>
                </a:cubicBezTo>
                <a:cubicBezTo>
                  <a:pt x="2499" y="1015"/>
                  <a:pt x="2499" y="1015"/>
                  <a:pt x="2499" y="1015"/>
                </a:cubicBezTo>
                <a:lnTo>
                  <a:pt x="2498" y="1014"/>
                </a:lnTo>
                <a:close/>
                <a:moveTo>
                  <a:pt x="2483" y="1006"/>
                </a:moveTo>
                <a:cubicBezTo>
                  <a:pt x="2482" y="1006"/>
                  <a:pt x="2482" y="1006"/>
                  <a:pt x="2482" y="1006"/>
                </a:cubicBezTo>
                <a:cubicBezTo>
                  <a:pt x="2482" y="1008"/>
                  <a:pt x="2482" y="1008"/>
                  <a:pt x="2482" y="1008"/>
                </a:cubicBezTo>
                <a:cubicBezTo>
                  <a:pt x="2484" y="1009"/>
                  <a:pt x="2484" y="1009"/>
                  <a:pt x="2484" y="1009"/>
                </a:cubicBezTo>
                <a:cubicBezTo>
                  <a:pt x="2486" y="1009"/>
                  <a:pt x="2486" y="1009"/>
                  <a:pt x="2486" y="1009"/>
                </a:cubicBezTo>
                <a:cubicBezTo>
                  <a:pt x="2485" y="1007"/>
                  <a:pt x="2485" y="1007"/>
                  <a:pt x="2485" y="1007"/>
                </a:cubicBezTo>
                <a:lnTo>
                  <a:pt x="2483" y="1006"/>
                </a:lnTo>
                <a:close/>
                <a:moveTo>
                  <a:pt x="2456" y="952"/>
                </a:moveTo>
                <a:cubicBezTo>
                  <a:pt x="2457" y="953"/>
                  <a:pt x="2457" y="953"/>
                  <a:pt x="2457" y="953"/>
                </a:cubicBezTo>
                <a:cubicBezTo>
                  <a:pt x="2458" y="954"/>
                  <a:pt x="2458" y="954"/>
                  <a:pt x="2458" y="954"/>
                </a:cubicBezTo>
                <a:cubicBezTo>
                  <a:pt x="2459" y="953"/>
                  <a:pt x="2459" y="953"/>
                  <a:pt x="2459" y="953"/>
                </a:cubicBezTo>
                <a:cubicBezTo>
                  <a:pt x="2458" y="951"/>
                  <a:pt x="2458" y="951"/>
                  <a:pt x="2458" y="951"/>
                </a:cubicBezTo>
                <a:lnTo>
                  <a:pt x="2456" y="952"/>
                </a:lnTo>
                <a:close/>
                <a:moveTo>
                  <a:pt x="2454" y="947"/>
                </a:moveTo>
                <a:cubicBezTo>
                  <a:pt x="2454" y="947"/>
                  <a:pt x="2454" y="948"/>
                  <a:pt x="2454" y="948"/>
                </a:cubicBezTo>
                <a:cubicBezTo>
                  <a:pt x="2456" y="950"/>
                  <a:pt x="2456" y="950"/>
                  <a:pt x="2456" y="950"/>
                </a:cubicBezTo>
                <a:cubicBezTo>
                  <a:pt x="2455" y="947"/>
                  <a:pt x="2455" y="947"/>
                  <a:pt x="2455" y="947"/>
                </a:cubicBezTo>
                <a:lnTo>
                  <a:pt x="2454" y="947"/>
                </a:lnTo>
                <a:close/>
                <a:moveTo>
                  <a:pt x="2460" y="949"/>
                </a:moveTo>
                <a:cubicBezTo>
                  <a:pt x="2459" y="948"/>
                  <a:pt x="2459" y="948"/>
                  <a:pt x="2459" y="948"/>
                </a:cubicBezTo>
                <a:cubicBezTo>
                  <a:pt x="2458" y="950"/>
                  <a:pt x="2458" y="950"/>
                  <a:pt x="2458" y="950"/>
                </a:cubicBezTo>
                <a:cubicBezTo>
                  <a:pt x="2459" y="951"/>
                  <a:pt x="2459" y="951"/>
                  <a:pt x="2459" y="951"/>
                </a:cubicBezTo>
                <a:cubicBezTo>
                  <a:pt x="2460" y="950"/>
                  <a:pt x="2460" y="950"/>
                  <a:pt x="2460" y="950"/>
                </a:cubicBezTo>
                <a:lnTo>
                  <a:pt x="2460" y="949"/>
                </a:lnTo>
                <a:close/>
                <a:moveTo>
                  <a:pt x="2461" y="956"/>
                </a:moveTo>
                <a:cubicBezTo>
                  <a:pt x="2460" y="958"/>
                  <a:pt x="2460" y="958"/>
                  <a:pt x="2460" y="958"/>
                </a:cubicBezTo>
                <a:cubicBezTo>
                  <a:pt x="2460" y="958"/>
                  <a:pt x="2460" y="958"/>
                  <a:pt x="2460" y="958"/>
                </a:cubicBezTo>
                <a:cubicBezTo>
                  <a:pt x="2462" y="957"/>
                  <a:pt x="2462" y="957"/>
                  <a:pt x="2462" y="957"/>
                </a:cubicBezTo>
                <a:lnTo>
                  <a:pt x="2461" y="956"/>
                </a:lnTo>
                <a:close/>
                <a:moveTo>
                  <a:pt x="2549" y="1091"/>
                </a:moveTo>
                <a:cubicBezTo>
                  <a:pt x="2548" y="1092"/>
                  <a:pt x="2548" y="1092"/>
                  <a:pt x="2548" y="1092"/>
                </a:cubicBezTo>
                <a:cubicBezTo>
                  <a:pt x="2550" y="1094"/>
                  <a:pt x="2550" y="1094"/>
                  <a:pt x="2550" y="1094"/>
                </a:cubicBezTo>
                <a:cubicBezTo>
                  <a:pt x="2550" y="1092"/>
                  <a:pt x="2550" y="1092"/>
                  <a:pt x="2550" y="1092"/>
                </a:cubicBezTo>
                <a:lnTo>
                  <a:pt x="2549" y="1091"/>
                </a:lnTo>
                <a:close/>
                <a:moveTo>
                  <a:pt x="2531" y="1068"/>
                </a:moveTo>
                <a:cubicBezTo>
                  <a:pt x="2529" y="1066"/>
                  <a:pt x="2529" y="1066"/>
                  <a:pt x="2529" y="1066"/>
                </a:cubicBezTo>
                <a:cubicBezTo>
                  <a:pt x="2528" y="1068"/>
                  <a:pt x="2528" y="1068"/>
                  <a:pt x="2528" y="1068"/>
                </a:cubicBezTo>
                <a:cubicBezTo>
                  <a:pt x="2531" y="1072"/>
                  <a:pt x="2531" y="1072"/>
                  <a:pt x="2531" y="1072"/>
                </a:cubicBezTo>
                <a:cubicBezTo>
                  <a:pt x="2531" y="1070"/>
                  <a:pt x="2531" y="1070"/>
                  <a:pt x="2531" y="1070"/>
                </a:cubicBezTo>
                <a:lnTo>
                  <a:pt x="2531" y="1068"/>
                </a:lnTo>
                <a:close/>
                <a:moveTo>
                  <a:pt x="2515" y="1036"/>
                </a:moveTo>
                <a:cubicBezTo>
                  <a:pt x="2515" y="1035"/>
                  <a:pt x="2515" y="1035"/>
                  <a:pt x="2515" y="1035"/>
                </a:cubicBezTo>
                <a:cubicBezTo>
                  <a:pt x="2512" y="1034"/>
                  <a:pt x="2512" y="1034"/>
                  <a:pt x="2512" y="1034"/>
                </a:cubicBezTo>
                <a:cubicBezTo>
                  <a:pt x="2511" y="1036"/>
                  <a:pt x="2511" y="1036"/>
                  <a:pt x="2511" y="1036"/>
                </a:cubicBezTo>
                <a:cubicBezTo>
                  <a:pt x="2514" y="1036"/>
                  <a:pt x="2514" y="1036"/>
                  <a:pt x="2514" y="1036"/>
                </a:cubicBezTo>
                <a:lnTo>
                  <a:pt x="2515" y="1036"/>
                </a:lnTo>
                <a:close/>
                <a:moveTo>
                  <a:pt x="2581" y="1093"/>
                </a:moveTo>
                <a:cubicBezTo>
                  <a:pt x="2583" y="1096"/>
                  <a:pt x="2583" y="1096"/>
                  <a:pt x="2583" y="1096"/>
                </a:cubicBezTo>
                <a:cubicBezTo>
                  <a:pt x="2584" y="1097"/>
                  <a:pt x="2584" y="1097"/>
                  <a:pt x="2584" y="1097"/>
                </a:cubicBezTo>
                <a:cubicBezTo>
                  <a:pt x="2585" y="1095"/>
                  <a:pt x="2585" y="1095"/>
                  <a:pt x="2585" y="1095"/>
                </a:cubicBezTo>
                <a:cubicBezTo>
                  <a:pt x="2585" y="1091"/>
                  <a:pt x="2585" y="1091"/>
                  <a:pt x="2585" y="1091"/>
                </a:cubicBezTo>
                <a:cubicBezTo>
                  <a:pt x="2586" y="1085"/>
                  <a:pt x="2586" y="1085"/>
                  <a:pt x="2586" y="1085"/>
                </a:cubicBezTo>
                <a:cubicBezTo>
                  <a:pt x="2585" y="1082"/>
                  <a:pt x="2585" y="1082"/>
                  <a:pt x="2585" y="1082"/>
                </a:cubicBezTo>
                <a:cubicBezTo>
                  <a:pt x="2587" y="1078"/>
                  <a:pt x="2587" y="1078"/>
                  <a:pt x="2587" y="1078"/>
                </a:cubicBezTo>
                <a:cubicBezTo>
                  <a:pt x="2586" y="1076"/>
                  <a:pt x="2586" y="1076"/>
                  <a:pt x="2586" y="1076"/>
                </a:cubicBezTo>
                <a:cubicBezTo>
                  <a:pt x="2586" y="1073"/>
                  <a:pt x="2586" y="1073"/>
                  <a:pt x="2586" y="1073"/>
                </a:cubicBezTo>
                <a:cubicBezTo>
                  <a:pt x="2588" y="1072"/>
                  <a:pt x="2588" y="1072"/>
                  <a:pt x="2588" y="1072"/>
                </a:cubicBezTo>
                <a:cubicBezTo>
                  <a:pt x="2589" y="1071"/>
                  <a:pt x="2589" y="1071"/>
                  <a:pt x="2589" y="1071"/>
                </a:cubicBezTo>
                <a:cubicBezTo>
                  <a:pt x="2588" y="1069"/>
                  <a:pt x="2588" y="1069"/>
                  <a:pt x="2588" y="1069"/>
                </a:cubicBezTo>
                <a:cubicBezTo>
                  <a:pt x="2587" y="1068"/>
                  <a:pt x="2587" y="1068"/>
                  <a:pt x="2587" y="1068"/>
                </a:cubicBezTo>
                <a:cubicBezTo>
                  <a:pt x="2585" y="1067"/>
                  <a:pt x="2585" y="1067"/>
                  <a:pt x="2585" y="1067"/>
                </a:cubicBezTo>
                <a:cubicBezTo>
                  <a:pt x="2584" y="1064"/>
                  <a:pt x="2584" y="1064"/>
                  <a:pt x="2584" y="1064"/>
                </a:cubicBezTo>
                <a:cubicBezTo>
                  <a:pt x="2583" y="1064"/>
                  <a:pt x="2583" y="1064"/>
                  <a:pt x="2583" y="1064"/>
                </a:cubicBezTo>
                <a:cubicBezTo>
                  <a:pt x="2582" y="1062"/>
                  <a:pt x="2582" y="1062"/>
                  <a:pt x="2582" y="1062"/>
                </a:cubicBezTo>
                <a:cubicBezTo>
                  <a:pt x="2581" y="1061"/>
                  <a:pt x="2581" y="1061"/>
                  <a:pt x="2581" y="1061"/>
                </a:cubicBezTo>
                <a:cubicBezTo>
                  <a:pt x="2577" y="1062"/>
                  <a:pt x="2577" y="1062"/>
                  <a:pt x="2577" y="1062"/>
                </a:cubicBezTo>
                <a:cubicBezTo>
                  <a:pt x="2576" y="1061"/>
                  <a:pt x="2576" y="1061"/>
                  <a:pt x="2576" y="1061"/>
                </a:cubicBezTo>
                <a:cubicBezTo>
                  <a:pt x="2575" y="1058"/>
                  <a:pt x="2575" y="1058"/>
                  <a:pt x="2575" y="1058"/>
                </a:cubicBezTo>
                <a:cubicBezTo>
                  <a:pt x="2574" y="1056"/>
                  <a:pt x="2574" y="1056"/>
                  <a:pt x="2574" y="1056"/>
                </a:cubicBezTo>
                <a:cubicBezTo>
                  <a:pt x="2572" y="1057"/>
                  <a:pt x="2572" y="1057"/>
                  <a:pt x="2572" y="1057"/>
                </a:cubicBezTo>
                <a:cubicBezTo>
                  <a:pt x="2573" y="1055"/>
                  <a:pt x="2573" y="1055"/>
                  <a:pt x="2573" y="1055"/>
                </a:cubicBezTo>
                <a:cubicBezTo>
                  <a:pt x="2573" y="1053"/>
                  <a:pt x="2573" y="1053"/>
                  <a:pt x="2573" y="1053"/>
                </a:cubicBezTo>
                <a:cubicBezTo>
                  <a:pt x="2572" y="1048"/>
                  <a:pt x="2572" y="1048"/>
                  <a:pt x="2572" y="1048"/>
                </a:cubicBezTo>
                <a:cubicBezTo>
                  <a:pt x="2570" y="1049"/>
                  <a:pt x="2570" y="1049"/>
                  <a:pt x="2570" y="1049"/>
                </a:cubicBezTo>
                <a:cubicBezTo>
                  <a:pt x="2569" y="1048"/>
                  <a:pt x="2569" y="1048"/>
                  <a:pt x="2569" y="1048"/>
                </a:cubicBezTo>
                <a:cubicBezTo>
                  <a:pt x="2565" y="1048"/>
                  <a:pt x="2565" y="1048"/>
                  <a:pt x="2565" y="1048"/>
                </a:cubicBezTo>
                <a:cubicBezTo>
                  <a:pt x="2562" y="1046"/>
                  <a:pt x="2562" y="1046"/>
                  <a:pt x="2562" y="1046"/>
                </a:cubicBezTo>
                <a:cubicBezTo>
                  <a:pt x="2562" y="1044"/>
                  <a:pt x="2562" y="1044"/>
                  <a:pt x="2562" y="1044"/>
                </a:cubicBezTo>
                <a:cubicBezTo>
                  <a:pt x="2564" y="1043"/>
                  <a:pt x="2564" y="1043"/>
                  <a:pt x="2564" y="1043"/>
                </a:cubicBezTo>
                <a:cubicBezTo>
                  <a:pt x="2566" y="1042"/>
                  <a:pt x="2566" y="1042"/>
                  <a:pt x="2566" y="1042"/>
                </a:cubicBezTo>
                <a:cubicBezTo>
                  <a:pt x="2564" y="1041"/>
                  <a:pt x="2564" y="1041"/>
                  <a:pt x="2564" y="1041"/>
                </a:cubicBezTo>
                <a:cubicBezTo>
                  <a:pt x="2562" y="1041"/>
                  <a:pt x="2562" y="1041"/>
                  <a:pt x="2562" y="1041"/>
                </a:cubicBezTo>
                <a:cubicBezTo>
                  <a:pt x="2561" y="1041"/>
                  <a:pt x="2561" y="1041"/>
                  <a:pt x="2561" y="1041"/>
                </a:cubicBezTo>
                <a:cubicBezTo>
                  <a:pt x="2559" y="1041"/>
                  <a:pt x="2559" y="1041"/>
                  <a:pt x="2559" y="1041"/>
                </a:cubicBezTo>
                <a:cubicBezTo>
                  <a:pt x="2560" y="1040"/>
                  <a:pt x="2560" y="1040"/>
                  <a:pt x="2560" y="1040"/>
                </a:cubicBezTo>
                <a:cubicBezTo>
                  <a:pt x="2563" y="1038"/>
                  <a:pt x="2563" y="1038"/>
                  <a:pt x="2563" y="1038"/>
                </a:cubicBezTo>
                <a:cubicBezTo>
                  <a:pt x="2566" y="1038"/>
                  <a:pt x="2566" y="1038"/>
                  <a:pt x="2566" y="1038"/>
                </a:cubicBezTo>
                <a:cubicBezTo>
                  <a:pt x="2565" y="1036"/>
                  <a:pt x="2565" y="1036"/>
                  <a:pt x="2565" y="1036"/>
                </a:cubicBezTo>
                <a:cubicBezTo>
                  <a:pt x="2562" y="1032"/>
                  <a:pt x="2562" y="1032"/>
                  <a:pt x="2562" y="1032"/>
                </a:cubicBezTo>
                <a:cubicBezTo>
                  <a:pt x="2560" y="1032"/>
                  <a:pt x="2560" y="1032"/>
                  <a:pt x="2560" y="1032"/>
                </a:cubicBezTo>
                <a:cubicBezTo>
                  <a:pt x="2558" y="1034"/>
                  <a:pt x="2558" y="1034"/>
                  <a:pt x="2558" y="1034"/>
                </a:cubicBezTo>
                <a:cubicBezTo>
                  <a:pt x="2556" y="1035"/>
                  <a:pt x="2556" y="1035"/>
                  <a:pt x="2556" y="1035"/>
                </a:cubicBezTo>
                <a:cubicBezTo>
                  <a:pt x="2553" y="1035"/>
                  <a:pt x="2553" y="1035"/>
                  <a:pt x="2553" y="1035"/>
                </a:cubicBezTo>
                <a:cubicBezTo>
                  <a:pt x="2555" y="1035"/>
                  <a:pt x="2555" y="1035"/>
                  <a:pt x="2555" y="1035"/>
                </a:cubicBezTo>
                <a:cubicBezTo>
                  <a:pt x="2556" y="1034"/>
                  <a:pt x="2556" y="1034"/>
                  <a:pt x="2556" y="1034"/>
                </a:cubicBezTo>
                <a:cubicBezTo>
                  <a:pt x="2557" y="1034"/>
                  <a:pt x="2557" y="1034"/>
                  <a:pt x="2557" y="1034"/>
                </a:cubicBezTo>
                <a:cubicBezTo>
                  <a:pt x="2558" y="1032"/>
                  <a:pt x="2558" y="1032"/>
                  <a:pt x="2558" y="1032"/>
                </a:cubicBezTo>
                <a:cubicBezTo>
                  <a:pt x="2557" y="1031"/>
                  <a:pt x="2557" y="1031"/>
                  <a:pt x="2557" y="1031"/>
                </a:cubicBezTo>
                <a:cubicBezTo>
                  <a:pt x="2555" y="1030"/>
                  <a:pt x="2555" y="1030"/>
                  <a:pt x="2555" y="1030"/>
                </a:cubicBezTo>
                <a:cubicBezTo>
                  <a:pt x="2551" y="1030"/>
                  <a:pt x="2551" y="1030"/>
                  <a:pt x="2551" y="1030"/>
                </a:cubicBezTo>
                <a:cubicBezTo>
                  <a:pt x="2549" y="1028"/>
                  <a:pt x="2549" y="1028"/>
                  <a:pt x="2549" y="1028"/>
                </a:cubicBezTo>
                <a:cubicBezTo>
                  <a:pt x="2549" y="1027"/>
                  <a:pt x="2549" y="1027"/>
                  <a:pt x="2549" y="1027"/>
                </a:cubicBezTo>
                <a:cubicBezTo>
                  <a:pt x="2549" y="1024"/>
                  <a:pt x="2549" y="1024"/>
                  <a:pt x="2549" y="1024"/>
                </a:cubicBezTo>
                <a:cubicBezTo>
                  <a:pt x="2544" y="1020"/>
                  <a:pt x="2544" y="1020"/>
                  <a:pt x="2544" y="1020"/>
                </a:cubicBezTo>
                <a:cubicBezTo>
                  <a:pt x="2543" y="1019"/>
                  <a:pt x="2543" y="1019"/>
                  <a:pt x="2543" y="1019"/>
                </a:cubicBezTo>
                <a:cubicBezTo>
                  <a:pt x="2542" y="1020"/>
                  <a:pt x="2542" y="1020"/>
                  <a:pt x="2542" y="1020"/>
                </a:cubicBezTo>
                <a:cubicBezTo>
                  <a:pt x="2540" y="1019"/>
                  <a:pt x="2540" y="1019"/>
                  <a:pt x="2540" y="1019"/>
                </a:cubicBezTo>
                <a:cubicBezTo>
                  <a:pt x="2540" y="1015"/>
                  <a:pt x="2540" y="1015"/>
                  <a:pt x="2540" y="1015"/>
                </a:cubicBezTo>
                <a:cubicBezTo>
                  <a:pt x="2537" y="1012"/>
                  <a:pt x="2537" y="1012"/>
                  <a:pt x="2537" y="1012"/>
                </a:cubicBezTo>
                <a:cubicBezTo>
                  <a:pt x="2533" y="1010"/>
                  <a:pt x="2533" y="1010"/>
                  <a:pt x="2533" y="1010"/>
                </a:cubicBezTo>
                <a:cubicBezTo>
                  <a:pt x="2530" y="1010"/>
                  <a:pt x="2530" y="1010"/>
                  <a:pt x="2530" y="1010"/>
                </a:cubicBezTo>
                <a:cubicBezTo>
                  <a:pt x="2530" y="1011"/>
                  <a:pt x="2530" y="1011"/>
                  <a:pt x="2530" y="1011"/>
                </a:cubicBezTo>
                <a:cubicBezTo>
                  <a:pt x="2529" y="1010"/>
                  <a:pt x="2529" y="1010"/>
                  <a:pt x="2529" y="1010"/>
                </a:cubicBezTo>
                <a:cubicBezTo>
                  <a:pt x="2528" y="1007"/>
                  <a:pt x="2528" y="1007"/>
                  <a:pt x="2528" y="1007"/>
                </a:cubicBezTo>
                <a:cubicBezTo>
                  <a:pt x="2527" y="1008"/>
                  <a:pt x="2527" y="1008"/>
                  <a:pt x="2527" y="1008"/>
                </a:cubicBezTo>
                <a:cubicBezTo>
                  <a:pt x="2526" y="1007"/>
                  <a:pt x="2526" y="1007"/>
                  <a:pt x="2526" y="1007"/>
                </a:cubicBezTo>
                <a:cubicBezTo>
                  <a:pt x="2526" y="1004"/>
                  <a:pt x="2526" y="1004"/>
                  <a:pt x="2526" y="1004"/>
                </a:cubicBezTo>
                <a:cubicBezTo>
                  <a:pt x="2524" y="1002"/>
                  <a:pt x="2524" y="1002"/>
                  <a:pt x="2524" y="1002"/>
                </a:cubicBezTo>
                <a:cubicBezTo>
                  <a:pt x="2522" y="1001"/>
                  <a:pt x="2522" y="1001"/>
                  <a:pt x="2522" y="1001"/>
                </a:cubicBezTo>
                <a:cubicBezTo>
                  <a:pt x="2521" y="1000"/>
                  <a:pt x="2521" y="1000"/>
                  <a:pt x="2521" y="1000"/>
                </a:cubicBezTo>
                <a:cubicBezTo>
                  <a:pt x="2515" y="996"/>
                  <a:pt x="2515" y="996"/>
                  <a:pt x="2515" y="996"/>
                </a:cubicBezTo>
                <a:cubicBezTo>
                  <a:pt x="2513" y="996"/>
                  <a:pt x="2513" y="996"/>
                  <a:pt x="2513" y="996"/>
                </a:cubicBezTo>
                <a:cubicBezTo>
                  <a:pt x="2511" y="993"/>
                  <a:pt x="2511" y="993"/>
                  <a:pt x="2511" y="993"/>
                </a:cubicBezTo>
                <a:cubicBezTo>
                  <a:pt x="2508" y="993"/>
                  <a:pt x="2508" y="993"/>
                  <a:pt x="2508" y="993"/>
                </a:cubicBezTo>
                <a:cubicBezTo>
                  <a:pt x="2508" y="991"/>
                  <a:pt x="2508" y="991"/>
                  <a:pt x="2508" y="991"/>
                </a:cubicBezTo>
                <a:cubicBezTo>
                  <a:pt x="2507" y="988"/>
                  <a:pt x="2507" y="988"/>
                  <a:pt x="2507" y="988"/>
                </a:cubicBezTo>
                <a:cubicBezTo>
                  <a:pt x="2505" y="987"/>
                  <a:pt x="2505" y="987"/>
                  <a:pt x="2505" y="987"/>
                </a:cubicBezTo>
                <a:cubicBezTo>
                  <a:pt x="2504" y="984"/>
                  <a:pt x="2504" y="984"/>
                  <a:pt x="2504" y="984"/>
                </a:cubicBezTo>
                <a:cubicBezTo>
                  <a:pt x="2503" y="984"/>
                  <a:pt x="2503" y="984"/>
                  <a:pt x="2503" y="984"/>
                </a:cubicBezTo>
                <a:cubicBezTo>
                  <a:pt x="2501" y="981"/>
                  <a:pt x="2501" y="981"/>
                  <a:pt x="2501" y="981"/>
                </a:cubicBezTo>
                <a:cubicBezTo>
                  <a:pt x="2499" y="981"/>
                  <a:pt x="2499" y="981"/>
                  <a:pt x="2499" y="981"/>
                </a:cubicBezTo>
                <a:cubicBezTo>
                  <a:pt x="2497" y="981"/>
                  <a:pt x="2497" y="981"/>
                  <a:pt x="2497" y="981"/>
                </a:cubicBezTo>
                <a:cubicBezTo>
                  <a:pt x="2496" y="981"/>
                  <a:pt x="2496" y="981"/>
                  <a:pt x="2496" y="981"/>
                </a:cubicBezTo>
                <a:cubicBezTo>
                  <a:pt x="2495" y="980"/>
                  <a:pt x="2495" y="980"/>
                  <a:pt x="2495" y="980"/>
                </a:cubicBezTo>
                <a:cubicBezTo>
                  <a:pt x="2492" y="980"/>
                  <a:pt x="2492" y="980"/>
                  <a:pt x="2492" y="980"/>
                </a:cubicBezTo>
                <a:cubicBezTo>
                  <a:pt x="2489" y="981"/>
                  <a:pt x="2489" y="981"/>
                  <a:pt x="2489" y="981"/>
                </a:cubicBezTo>
                <a:cubicBezTo>
                  <a:pt x="2488" y="980"/>
                  <a:pt x="2488" y="980"/>
                  <a:pt x="2488" y="980"/>
                </a:cubicBezTo>
                <a:cubicBezTo>
                  <a:pt x="2483" y="977"/>
                  <a:pt x="2483" y="977"/>
                  <a:pt x="2483" y="977"/>
                </a:cubicBezTo>
                <a:cubicBezTo>
                  <a:pt x="2479" y="976"/>
                  <a:pt x="2479" y="976"/>
                  <a:pt x="2479" y="976"/>
                </a:cubicBezTo>
                <a:cubicBezTo>
                  <a:pt x="2477" y="977"/>
                  <a:pt x="2477" y="977"/>
                  <a:pt x="2477" y="977"/>
                </a:cubicBezTo>
                <a:cubicBezTo>
                  <a:pt x="2477" y="978"/>
                  <a:pt x="2477" y="978"/>
                  <a:pt x="2477" y="978"/>
                </a:cubicBezTo>
                <a:cubicBezTo>
                  <a:pt x="2477" y="981"/>
                  <a:pt x="2477" y="981"/>
                  <a:pt x="2477" y="981"/>
                </a:cubicBezTo>
                <a:cubicBezTo>
                  <a:pt x="2480" y="987"/>
                  <a:pt x="2480" y="987"/>
                  <a:pt x="2480" y="987"/>
                </a:cubicBezTo>
                <a:cubicBezTo>
                  <a:pt x="2481" y="987"/>
                  <a:pt x="2481" y="987"/>
                  <a:pt x="2481" y="987"/>
                </a:cubicBezTo>
                <a:cubicBezTo>
                  <a:pt x="2486" y="992"/>
                  <a:pt x="2486" y="992"/>
                  <a:pt x="2486" y="992"/>
                </a:cubicBezTo>
                <a:cubicBezTo>
                  <a:pt x="2487" y="992"/>
                  <a:pt x="2487" y="992"/>
                  <a:pt x="2487" y="992"/>
                </a:cubicBezTo>
                <a:cubicBezTo>
                  <a:pt x="2490" y="996"/>
                  <a:pt x="2490" y="996"/>
                  <a:pt x="2490" y="996"/>
                </a:cubicBezTo>
                <a:cubicBezTo>
                  <a:pt x="2491" y="996"/>
                  <a:pt x="2491" y="996"/>
                  <a:pt x="2491" y="996"/>
                </a:cubicBezTo>
                <a:cubicBezTo>
                  <a:pt x="2493" y="996"/>
                  <a:pt x="2493" y="996"/>
                  <a:pt x="2493" y="996"/>
                </a:cubicBezTo>
                <a:cubicBezTo>
                  <a:pt x="2496" y="998"/>
                  <a:pt x="2496" y="998"/>
                  <a:pt x="2496" y="998"/>
                </a:cubicBezTo>
                <a:cubicBezTo>
                  <a:pt x="2500" y="1004"/>
                  <a:pt x="2500" y="1004"/>
                  <a:pt x="2500" y="1004"/>
                </a:cubicBezTo>
                <a:cubicBezTo>
                  <a:pt x="2503" y="1008"/>
                  <a:pt x="2503" y="1008"/>
                  <a:pt x="2503" y="1008"/>
                </a:cubicBezTo>
                <a:cubicBezTo>
                  <a:pt x="2504" y="1008"/>
                  <a:pt x="2504" y="1008"/>
                  <a:pt x="2504" y="1008"/>
                </a:cubicBezTo>
                <a:cubicBezTo>
                  <a:pt x="2504" y="1010"/>
                  <a:pt x="2504" y="1010"/>
                  <a:pt x="2504" y="1010"/>
                </a:cubicBezTo>
                <a:cubicBezTo>
                  <a:pt x="2505" y="1011"/>
                  <a:pt x="2505" y="1011"/>
                  <a:pt x="2505" y="1011"/>
                </a:cubicBezTo>
                <a:cubicBezTo>
                  <a:pt x="2505" y="1014"/>
                  <a:pt x="2505" y="1014"/>
                  <a:pt x="2505" y="1014"/>
                </a:cubicBezTo>
                <a:cubicBezTo>
                  <a:pt x="2507" y="1015"/>
                  <a:pt x="2507" y="1015"/>
                  <a:pt x="2507" y="1015"/>
                </a:cubicBezTo>
                <a:cubicBezTo>
                  <a:pt x="2509" y="1015"/>
                  <a:pt x="2509" y="1015"/>
                  <a:pt x="2509" y="1015"/>
                </a:cubicBezTo>
                <a:cubicBezTo>
                  <a:pt x="2512" y="1018"/>
                  <a:pt x="2512" y="1018"/>
                  <a:pt x="2512" y="1018"/>
                </a:cubicBezTo>
                <a:cubicBezTo>
                  <a:pt x="2513" y="1019"/>
                  <a:pt x="2513" y="1019"/>
                  <a:pt x="2513" y="1019"/>
                </a:cubicBezTo>
                <a:cubicBezTo>
                  <a:pt x="2514" y="1019"/>
                  <a:pt x="2514" y="1019"/>
                  <a:pt x="2514" y="1019"/>
                </a:cubicBezTo>
                <a:cubicBezTo>
                  <a:pt x="2515" y="1020"/>
                  <a:pt x="2515" y="1020"/>
                  <a:pt x="2515" y="1020"/>
                </a:cubicBezTo>
                <a:cubicBezTo>
                  <a:pt x="2514" y="1021"/>
                  <a:pt x="2514" y="1021"/>
                  <a:pt x="2514" y="1021"/>
                </a:cubicBezTo>
                <a:cubicBezTo>
                  <a:pt x="2515" y="1023"/>
                  <a:pt x="2515" y="1023"/>
                  <a:pt x="2515" y="1023"/>
                </a:cubicBezTo>
                <a:cubicBezTo>
                  <a:pt x="2516" y="1025"/>
                  <a:pt x="2516" y="1025"/>
                  <a:pt x="2516" y="1025"/>
                </a:cubicBezTo>
                <a:cubicBezTo>
                  <a:pt x="2516" y="1026"/>
                  <a:pt x="2516" y="1026"/>
                  <a:pt x="2516" y="1026"/>
                </a:cubicBezTo>
                <a:cubicBezTo>
                  <a:pt x="2518" y="1031"/>
                  <a:pt x="2518" y="1031"/>
                  <a:pt x="2518" y="1031"/>
                </a:cubicBezTo>
                <a:cubicBezTo>
                  <a:pt x="2519" y="1034"/>
                  <a:pt x="2519" y="1034"/>
                  <a:pt x="2519" y="1034"/>
                </a:cubicBezTo>
                <a:cubicBezTo>
                  <a:pt x="2521" y="1035"/>
                  <a:pt x="2521" y="1035"/>
                  <a:pt x="2521" y="1035"/>
                </a:cubicBezTo>
                <a:cubicBezTo>
                  <a:pt x="2524" y="1037"/>
                  <a:pt x="2524" y="1037"/>
                  <a:pt x="2524" y="1037"/>
                </a:cubicBezTo>
                <a:cubicBezTo>
                  <a:pt x="2524" y="1039"/>
                  <a:pt x="2524" y="1039"/>
                  <a:pt x="2524" y="1039"/>
                </a:cubicBezTo>
                <a:cubicBezTo>
                  <a:pt x="2527" y="1043"/>
                  <a:pt x="2527" y="1043"/>
                  <a:pt x="2527" y="1043"/>
                </a:cubicBezTo>
                <a:cubicBezTo>
                  <a:pt x="2529" y="1045"/>
                  <a:pt x="2529" y="1045"/>
                  <a:pt x="2529" y="1045"/>
                </a:cubicBezTo>
                <a:cubicBezTo>
                  <a:pt x="2530" y="1050"/>
                  <a:pt x="2530" y="1050"/>
                  <a:pt x="2530" y="1050"/>
                </a:cubicBezTo>
                <a:cubicBezTo>
                  <a:pt x="2534" y="1057"/>
                  <a:pt x="2534" y="1057"/>
                  <a:pt x="2534" y="1057"/>
                </a:cubicBezTo>
                <a:cubicBezTo>
                  <a:pt x="2533" y="1060"/>
                  <a:pt x="2533" y="1060"/>
                  <a:pt x="2533" y="1060"/>
                </a:cubicBezTo>
                <a:cubicBezTo>
                  <a:pt x="2534" y="1062"/>
                  <a:pt x="2534" y="1062"/>
                  <a:pt x="2534" y="1062"/>
                </a:cubicBezTo>
                <a:cubicBezTo>
                  <a:pt x="2538" y="1065"/>
                  <a:pt x="2538" y="1065"/>
                  <a:pt x="2538" y="1065"/>
                </a:cubicBezTo>
                <a:cubicBezTo>
                  <a:pt x="2542" y="1070"/>
                  <a:pt x="2542" y="1070"/>
                  <a:pt x="2542" y="1070"/>
                </a:cubicBezTo>
                <a:cubicBezTo>
                  <a:pt x="2543" y="1072"/>
                  <a:pt x="2543" y="1072"/>
                  <a:pt x="2543" y="1072"/>
                </a:cubicBezTo>
                <a:cubicBezTo>
                  <a:pt x="2545" y="1073"/>
                  <a:pt x="2545" y="1073"/>
                  <a:pt x="2545" y="1073"/>
                </a:cubicBezTo>
                <a:cubicBezTo>
                  <a:pt x="2547" y="1074"/>
                  <a:pt x="2547" y="1074"/>
                  <a:pt x="2547" y="1074"/>
                </a:cubicBezTo>
                <a:cubicBezTo>
                  <a:pt x="2549" y="1075"/>
                  <a:pt x="2549" y="1075"/>
                  <a:pt x="2549" y="1075"/>
                </a:cubicBezTo>
                <a:cubicBezTo>
                  <a:pt x="2549" y="1078"/>
                  <a:pt x="2549" y="1078"/>
                  <a:pt x="2549" y="1078"/>
                </a:cubicBezTo>
                <a:cubicBezTo>
                  <a:pt x="2552" y="1080"/>
                  <a:pt x="2552" y="1080"/>
                  <a:pt x="2552" y="1080"/>
                </a:cubicBezTo>
                <a:cubicBezTo>
                  <a:pt x="2554" y="1083"/>
                  <a:pt x="2554" y="1083"/>
                  <a:pt x="2554" y="1083"/>
                </a:cubicBezTo>
                <a:cubicBezTo>
                  <a:pt x="2559" y="1085"/>
                  <a:pt x="2559" y="1085"/>
                  <a:pt x="2559" y="1085"/>
                </a:cubicBezTo>
                <a:cubicBezTo>
                  <a:pt x="2560" y="1088"/>
                  <a:pt x="2560" y="1088"/>
                  <a:pt x="2560" y="1088"/>
                </a:cubicBezTo>
                <a:cubicBezTo>
                  <a:pt x="2563" y="1088"/>
                  <a:pt x="2563" y="1088"/>
                  <a:pt x="2563" y="1088"/>
                </a:cubicBezTo>
                <a:cubicBezTo>
                  <a:pt x="2569" y="1094"/>
                  <a:pt x="2569" y="1094"/>
                  <a:pt x="2569" y="1094"/>
                </a:cubicBezTo>
                <a:cubicBezTo>
                  <a:pt x="2569" y="1096"/>
                  <a:pt x="2569" y="1096"/>
                  <a:pt x="2569" y="1096"/>
                </a:cubicBezTo>
                <a:cubicBezTo>
                  <a:pt x="2570" y="1096"/>
                  <a:pt x="2570" y="1096"/>
                  <a:pt x="2570" y="1096"/>
                </a:cubicBezTo>
                <a:cubicBezTo>
                  <a:pt x="2572" y="1099"/>
                  <a:pt x="2572" y="1099"/>
                  <a:pt x="2572" y="1099"/>
                </a:cubicBezTo>
                <a:cubicBezTo>
                  <a:pt x="2573" y="1098"/>
                  <a:pt x="2573" y="1098"/>
                  <a:pt x="2573" y="1098"/>
                </a:cubicBezTo>
                <a:cubicBezTo>
                  <a:pt x="2573" y="1096"/>
                  <a:pt x="2573" y="1096"/>
                  <a:pt x="2573" y="1096"/>
                </a:cubicBezTo>
                <a:cubicBezTo>
                  <a:pt x="2572" y="1095"/>
                  <a:pt x="2572" y="1095"/>
                  <a:pt x="2572" y="1095"/>
                </a:cubicBezTo>
                <a:cubicBezTo>
                  <a:pt x="2572" y="1094"/>
                  <a:pt x="2572" y="1094"/>
                  <a:pt x="2572" y="1094"/>
                </a:cubicBezTo>
                <a:cubicBezTo>
                  <a:pt x="2574" y="1094"/>
                  <a:pt x="2574" y="1094"/>
                  <a:pt x="2574" y="1094"/>
                </a:cubicBezTo>
                <a:cubicBezTo>
                  <a:pt x="2578" y="1098"/>
                  <a:pt x="2578" y="1098"/>
                  <a:pt x="2578" y="1098"/>
                </a:cubicBezTo>
                <a:cubicBezTo>
                  <a:pt x="2579" y="1097"/>
                  <a:pt x="2579" y="1097"/>
                  <a:pt x="2579" y="1097"/>
                </a:cubicBezTo>
                <a:cubicBezTo>
                  <a:pt x="2579" y="1094"/>
                  <a:pt x="2579" y="1094"/>
                  <a:pt x="2579" y="1094"/>
                </a:cubicBezTo>
                <a:cubicBezTo>
                  <a:pt x="2579" y="1093"/>
                  <a:pt x="2579" y="1093"/>
                  <a:pt x="2579" y="1093"/>
                </a:cubicBezTo>
                <a:lnTo>
                  <a:pt x="2581" y="1093"/>
                </a:lnTo>
                <a:close/>
                <a:moveTo>
                  <a:pt x="2513" y="1047"/>
                </a:moveTo>
                <a:cubicBezTo>
                  <a:pt x="2511" y="1049"/>
                  <a:pt x="2511" y="1049"/>
                  <a:pt x="2511" y="1049"/>
                </a:cubicBezTo>
                <a:cubicBezTo>
                  <a:pt x="2511" y="1050"/>
                  <a:pt x="2511" y="1050"/>
                  <a:pt x="2511" y="1050"/>
                </a:cubicBezTo>
                <a:cubicBezTo>
                  <a:pt x="2514" y="1051"/>
                  <a:pt x="2514" y="1051"/>
                  <a:pt x="2514" y="1051"/>
                </a:cubicBezTo>
                <a:cubicBezTo>
                  <a:pt x="2516" y="1055"/>
                  <a:pt x="2516" y="1055"/>
                  <a:pt x="2516" y="1055"/>
                </a:cubicBezTo>
                <a:cubicBezTo>
                  <a:pt x="2519" y="1056"/>
                  <a:pt x="2519" y="1056"/>
                  <a:pt x="2519" y="1056"/>
                </a:cubicBezTo>
                <a:cubicBezTo>
                  <a:pt x="2519" y="1052"/>
                  <a:pt x="2519" y="1052"/>
                  <a:pt x="2519" y="1052"/>
                </a:cubicBezTo>
                <a:cubicBezTo>
                  <a:pt x="2516" y="1048"/>
                  <a:pt x="2516" y="1048"/>
                  <a:pt x="2516" y="1048"/>
                </a:cubicBezTo>
                <a:lnTo>
                  <a:pt x="2513" y="1047"/>
                </a:lnTo>
                <a:close/>
                <a:moveTo>
                  <a:pt x="2526" y="1064"/>
                </a:moveTo>
                <a:cubicBezTo>
                  <a:pt x="2526" y="1067"/>
                  <a:pt x="2526" y="1067"/>
                  <a:pt x="2526" y="1067"/>
                </a:cubicBezTo>
                <a:cubicBezTo>
                  <a:pt x="2528" y="1065"/>
                  <a:pt x="2528" y="1065"/>
                  <a:pt x="2528" y="1065"/>
                </a:cubicBezTo>
                <a:lnTo>
                  <a:pt x="2526" y="1064"/>
                </a:lnTo>
                <a:close/>
                <a:moveTo>
                  <a:pt x="2521" y="1059"/>
                </a:moveTo>
                <a:cubicBezTo>
                  <a:pt x="2523" y="1061"/>
                  <a:pt x="2523" y="1061"/>
                  <a:pt x="2523" y="1061"/>
                </a:cubicBezTo>
                <a:cubicBezTo>
                  <a:pt x="2525" y="1061"/>
                  <a:pt x="2525" y="1061"/>
                  <a:pt x="2525" y="1061"/>
                </a:cubicBezTo>
                <a:cubicBezTo>
                  <a:pt x="2522" y="1058"/>
                  <a:pt x="2522" y="1058"/>
                  <a:pt x="2522" y="1058"/>
                </a:cubicBezTo>
                <a:lnTo>
                  <a:pt x="2521" y="1059"/>
                </a:lnTo>
                <a:close/>
                <a:moveTo>
                  <a:pt x="2424" y="794"/>
                </a:moveTo>
                <a:cubicBezTo>
                  <a:pt x="2425" y="796"/>
                  <a:pt x="2425" y="796"/>
                  <a:pt x="2425" y="796"/>
                </a:cubicBezTo>
                <a:cubicBezTo>
                  <a:pt x="2426" y="796"/>
                  <a:pt x="2426" y="796"/>
                  <a:pt x="2426" y="796"/>
                </a:cubicBezTo>
                <a:cubicBezTo>
                  <a:pt x="2426" y="794"/>
                  <a:pt x="2426" y="794"/>
                  <a:pt x="2426" y="794"/>
                </a:cubicBezTo>
                <a:cubicBezTo>
                  <a:pt x="2425" y="794"/>
                  <a:pt x="2425" y="794"/>
                  <a:pt x="2425" y="794"/>
                </a:cubicBezTo>
                <a:lnTo>
                  <a:pt x="2424" y="794"/>
                </a:lnTo>
                <a:close/>
                <a:moveTo>
                  <a:pt x="2394" y="804"/>
                </a:moveTo>
                <a:cubicBezTo>
                  <a:pt x="2395" y="806"/>
                  <a:pt x="2395" y="806"/>
                  <a:pt x="2395" y="806"/>
                </a:cubicBezTo>
                <a:cubicBezTo>
                  <a:pt x="2396" y="807"/>
                  <a:pt x="2396" y="807"/>
                  <a:pt x="2396" y="807"/>
                </a:cubicBezTo>
                <a:cubicBezTo>
                  <a:pt x="2395" y="805"/>
                  <a:pt x="2395" y="805"/>
                  <a:pt x="2395" y="805"/>
                </a:cubicBezTo>
                <a:lnTo>
                  <a:pt x="2394" y="804"/>
                </a:lnTo>
                <a:close/>
                <a:moveTo>
                  <a:pt x="2396" y="804"/>
                </a:moveTo>
                <a:cubicBezTo>
                  <a:pt x="2396" y="806"/>
                  <a:pt x="2396" y="806"/>
                  <a:pt x="2396" y="806"/>
                </a:cubicBezTo>
                <a:cubicBezTo>
                  <a:pt x="2397" y="806"/>
                  <a:pt x="2397" y="806"/>
                  <a:pt x="2397" y="806"/>
                </a:cubicBezTo>
                <a:cubicBezTo>
                  <a:pt x="2397" y="805"/>
                  <a:pt x="2397" y="805"/>
                  <a:pt x="2397" y="805"/>
                </a:cubicBezTo>
                <a:cubicBezTo>
                  <a:pt x="2397" y="804"/>
                  <a:pt x="2397" y="804"/>
                  <a:pt x="2397" y="804"/>
                </a:cubicBezTo>
                <a:lnTo>
                  <a:pt x="2396" y="804"/>
                </a:lnTo>
                <a:close/>
                <a:moveTo>
                  <a:pt x="2398" y="806"/>
                </a:moveTo>
                <a:cubicBezTo>
                  <a:pt x="2399" y="806"/>
                  <a:pt x="2399" y="806"/>
                  <a:pt x="2399" y="806"/>
                </a:cubicBezTo>
                <a:cubicBezTo>
                  <a:pt x="2398" y="804"/>
                  <a:pt x="2398" y="804"/>
                  <a:pt x="2398" y="804"/>
                </a:cubicBezTo>
                <a:lnTo>
                  <a:pt x="2398" y="806"/>
                </a:lnTo>
                <a:close/>
                <a:moveTo>
                  <a:pt x="2449" y="836"/>
                </a:moveTo>
                <a:cubicBezTo>
                  <a:pt x="2449" y="838"/>
                  <a:pt x="2449" y="838"/>
                  <a:pt x="2449" y="838"/>
                </a:cubicBezTo>
                <a:cubicBezTo>
                  <a:pt x="2451" y="839"/>
                  <a:pt x="2451" y="839"/>
                  <a:pt x="2451" y="839"/>
                </a:cubicBezTo>
                <a:cubicBezTo>
                  <a:pt x="2452" y="837"/>
                  <a:pt x="2452" y="837"/>
                  <a:pt x="2452" y="837"/>
                </a:cubicBezTo>
                <a:cubicBezTo>
                  <a:pt x="2450" y="836"/>
                  <a:pt x="2450" y="836"/>
                  <a:pt x="2450" y="836"/>
                </a:cubicBezTo>
                <a:lnTo>
                  <a:pt x="2449" y="836"/>
                </a:lnTo>
                <a:close/>
                <a:moveTo>
                  <a:pt x="2419" y="792"/>
                </a:moveTo>
                <a:cubicBezTo>
                  <a:pt x="2417" y="793"/>
                  <a:pt x="2417" y="793"/>
                  <a:pt x="2417" y="793"/>
                </a:cubicBezTo>
                <a:cubicBezTo>
                  <a:pt x="2417" y="794"/>
                  <a:pt x="2417" y="794"/>
                  <a:pt x="2417" y="794"/>
                </a:cubicBezTo>
                <a:cubicBezTo>
                  <a:pt x="2418" y="797"/>
                  <a:pt x="2418" y="797"/>
                  <a:pt x="2418" y="797"/>
                </a:cubicBezTo>
                <a:cubicBezTo>
                  <a:pt x="2420" y="797"/>
                  <a:pt x="2420" y="797"/>
                  <a:pt x="2420" y="797"/>
                </a:cubicBezTo>
                <a:cubicBezTo>
                  <a:pt x="2420" y="794"/>
                  <a:pt x="2420" y="794"/>
                  <a:pt x="2420" y="794"/>
                </a:cubicBezTo>
                <a:lnTo>
                  <a:pt x="2419" y="792"/>
                </a:lnTo>
                <a:close/>
                <a:moveTo>
                  <a:pt x="2392" y="805"/>
                </a:moveTo>
                <a:cubicBezTo>
                  <a:pt x="2392" y="806"/>
                  <a:pt x="2392" y="806"/>
                  <a:pt x="2392" y="806"/>
                </a:cubicBezTo>
                <a:cubicBezTo>
                  <a:pt x="2392" y="805"/>
                  <a:pt x="2392" y="805"/>
                  <a:pt x="2392" y="805"/>
                </a:cubicBezTo>
                <a:cubicBezTo>
                  <a:pt x="2393" y="803"/>
                  <a:pt x="2393" y="803"/>
                  <a:pt x="2393" y="803"/>
                </a:cubicBezTo>
                <a:cubicBezTo>
                  <a:pt x="2393" y="802"/>
                  <a:pt x="2393" y="802"/>
                  <a:pt x="2393" y="802"/>
                </a:cubicBezTo>
                <a:lnTo>
                  <a:pt x="2392" y="805"/>
                </a:lnTo>
                <a:close/>
                <a:moveTo>
                  <a:pt x="2323" y="935"/>
                </a:moveTo>
                <a:cubicBezTo>
                  <a:pt x="2325" y="936"/>
                  <a:pt x="2325" y="936"/>
                  <a:pt x="2325" y="936"/>
                </a:cubicBezTo>
                <a:cubicBezTo>
                  <a:pt x="2326" y="937"/>
                  <a:pt x="2326" y="937"/>
                  <a:pt x="2326" y="937"/>
                </a:cubicBezTo>
                <a:cubicBezTo>
                  <a:pt x="2328" y="937"/>
                  <a:pt x="2328" y="937"/>
                  <a:pt x="2328" y="937"/>
                </a:cubicBezTo>
                <a:cubicBezTo>
                  <a:pt x="2329" y="938"/>
                  <a:pt x="2329" y="938"/>
                  <a:pt x="2329" y="938"/>
                </a:cubicBezTo>
                <a:cubicBezTo>
                  <a:pt x="2328" y="937"/>
                  <a:pt x="2328" y="937"/>
                  <a:pt x="2328" y="937"/>
                </a:cubicBezTo>
                <a:cubicBezTo>
                  <a:pt x="2326" y="935"/>
                  <a:pt x="2326" y="935"/>
                  <a:pt x="2326" y="935"/>
                </a:cubicBezTo>
                <a:cubicBezTo>
                  <a:pt x="2325" y="934"/>
                  <a:pt x="2325" y="934"/>
                  <a:pt x="2325" y="934"/>
                </a:cubicBezTo>
                <a:cubicBezTo>
                  <a:pt x="2324" y="933"/>
                  <a:pt x="2324" y="933"/>
                  <a:pt x="2324" y="933"/>
                </a:cubicBezTo>
                <a:cubicBezTo>
                  <a:pt x="2324" y="934"/>
                  <a:pt x="2324" y="934"/>
                  <a:pt x="2324" y="934"/>
                </a:cubicBezTo>
                <a:cubicBezTo>
                  <a:pt x="2324" y="934"/>
                  <a:pt x="2324" y="934"/>
                  <a:pt x="2324" y="934"/>
                </a:cubicBezTo>
                <a:cubicBezTo>
                  <a:pt x="2323" y="934"/>
                  <a:pt x="2323" y="934"/>
                  <a:pt x="2323" y="934"/>
                </a:cubicBezTo>
                <a:lnTo>
                  <a:pt x="2323" y="935"/>
                </a:lnTo>
                <a:close/>
                <a:moveTo>
                  <a:pt x="2323" y="933"/>
                </a:moveTo>
                <a:cubicBezTo>
                  <a:pt x="2322" y="932"/>
                  <a:pt x="2322" y="932"/>
                  <a:pt x="2322" y="932"/>
                </a:cubicBezTo>
                <a:cubicBezTo>
                  <a:pt x="2319" y="933"/>
                  <a:pt x="2319" y="933"/>
                  <a:pt x="2319" y="933"/>
                </a:cubicBezTo>
                <a:cubicBezTo>
                  <a:pt x="2319" y="934"/>
                  <a:pt x="2319" y="934"/>
                  <a:pt x="2319" y="934"/>
                </a:cubicBezTo>
                <a:cubicBezTo>
                  <a:pt x="2322" y="936"/>
                  <a:pt x="2322" y="936"/>
                  <a:pt x="2322" y="936"/>
                </a:cubicBezTo>
                <a:cubicBezTo>
                  <a:pt x="2321" y="935"/>
                  <a:pt x="2321" y="935"/>
                  <a:pt x="2321" y="935"/>
                </a:cubicBezTo>
                <a:cubicBezTo>
                  <a:pt x="2322" y="935"/>
                  <a:pt x="2322" y="935"/>
                  <a:pt x="2322" y="935"/>
                </a:cubicBezTo>
                <a:lnTo>
                  <a:pt x="2323" y="933"/>
                </a:lnTo>
                <a:close/>
                <a:moveTo>
                  <a:pt x="2448" y="910"/>
                </a:moveTo>
                <a:cubicBezTo>
                  <a:pt x="2449" y="908"/>
                  <a:pt x="2449" y="908"/>
                  <a:pt x="2449" y="908"/>
                </a:cubicBezTo>
                <a:cubicBezTo>
                  <a:pt x="2450" y="907"/>
                  <a:pt x="2450" y="907"/>
                  <a:pt x="2450" y="907"/>
                </a:cubicBezTo>
                <a:cubicBezTo>
                  <a:pt x="2450" y="906"/>
                  <a:pt x="2450" y="906"/>
                  <a:pt x="2450" y="906"/>
                </a:cubicBezTo>
                <a:cubicBezTo>
                  <a:pt x="2447" y="907"/>
                  <a:pt x="2447" y="907"/>
                  <a:pt x="2447" y="907"/>
                </a:cubicBezTo>
                <a:cubicBezTo>
                  <a:pt x="2447" y="910"/>
                  <a:pt x="2447" y="910"/>
                  <a:pt x="2447" y="910"/>
                </a:cubicBezTo>
                <a:cubicBezTo>
                  <a:pt x="2446" y="911"/>
                  <a:pt x="2446" y="911"/>
                  <a:pt x="2446" y="911"/>
                </a:cubicBezTo>
                <a:cubicBezTo>
                  <a:pt x="2447" y="914"/>
                  <a:pt x="2447" y="914"/>
                  <a:pt x="2447" y="914"/>
                </a:cubicBezTo>
                <a:cubicBezTo>
                  <a:pt x="2447" y="915"/>
                  <a:pt x="2447" y="915"/>
                  <a:pt x="2447" y="915"/>
                </a:cubicBezTo>
                <a:cubicBezTo>
                  <a:pt x="2447" y="917"/>
                  <a:pt x="2447" y="917"/>
                  <a:pt x="2447" y="917"/>
                </a:cubicBezTo>
                <a:cubicBezTo>
                  <a:pt x="2449" y="914"/>
                  <a:pt x="2449" y="914"/>
                  <a:pt x="2449" y="914"/>
                </a:cubicBezTo>
                <a:cubicBezTo>
                  <a:pt x="2449" y="912"/>
                  <a:pt x="2449" y="912"/>
                  <a:pt x="2449" y="912"/>
                </a:cubicBezTo>
                <a:lnTo>
                  <a:pt x="2448" y="910"/>
                </a:lnTo>
                <a:close/>
                <a:moveTo>
                  <a:pt x="2449" y="905"/>
                </a:moveTo>
                <a:cubicBezTo>
                  <a:pt x="2451" y="903"/>
                  <a:pt x="2451" y="903"/>
                  <a:pt x="2451" y="903"/>
                </a:cubicBezTo>
                <a:cubicBezTo>
                  <a:pt x="2451" y="900"/>
                  <a:pt x="2451" y="900"/>
                  <a:pt x="2451" y="900"/>
                </a:cubicBezTo>
                <a:cubicBezTo>
                  <a:pt x="2449" y="900"/>
                  <a:pt x="2449" y="900"/>
                  <a:pt x="2449" y="900"/>
                </a:cubicBezTo>
                <a:cubicBezTo>
                  <a:pt x="2451" y="897"/>
                  <a:pt x="2451" y="897"/>
                  <a:pt x="2451" y="897"/>
                </a:cubicBezTo>
                <a:cubicBezTo>
                  <a:pt x="2451" y="895"/>
                  <a:pt x="2451" y="895"/>
                  <a:pt x="2451" y="895"/>
                </a:cubicBezTo>
                <a:cubicBezTo>
                  <a:pt x="2450" y="894"/>
                  <a:pt x="2450" y="894"/>
                  <a:pt x="2450" y="894"/>
                </a:cubicBezTo>
                <a:cubicBezTo>
                  <a:pt x="2451" y="893"/>
                  <a:pt x="2451" y="893"/>
                  <a:pt x="2451" y="893"/>
                </a:cubicBezTo>
                <a:cubicBezTo>
                  <a:pt x="2451" y="892"/>
                  <a:pt x="2451" y="892"/>
                  <a:pt x="2451" y="892"/>
                </a:cubicBezTo>
                <a:cubicBezTo>
                  <a:pt x="2449" y="894"/>
                  <a:pt x="2449" y="894"/>
                  <a:pt x="2449" y="894"/>
                </a:cubicBezTo>
                <a:cubicBezTo>
                  <a:pt x="2449" y="897"/>
                  <a:pt x="2449" y="897"/>
                  <a:pt x="2449" y="897"/>
                </a:cubicBezTo>
                <a:cubicBezTo>
                  <a:pt x="2448" y="898"/>
                  <a:pt x="2448" y="898"/>
                  <a:pt x="2448" y="898"/>
                </a:cubicBezTo>
                <a:cubicBezTo>
                  <a:pt x="2449" y="900"/>
                  <a:pt x="2449" y="900"/>
                  <a:pt x="2449" y="900"/>
                </a:cubicBezTo>
                <a:cubicBezTo>
                  <a:pt x="2448" y="904"/>
                  <a:pt x="2448" y="904"/>
                  <a:pt x="2448" y="904"/>
                </a:cubicBezTo>
                <a:lnTo>
                  <a:pt x="2449" y="905"/>
                </a:lnTo>
                <a:close/>
                <a:moveTo>
                  <a:pt x="2451" y="940"/>
                </a:moveTo>
                <a:cubicBezTo>
                  <a:pt x="2452" y="938"/>
                  <a:pt x="2452" y="938"/>
                  <a:pt x="2452" y="938"/>
                </a:cubicBezTo>
                <a:cubicBezTo>
                  <a:pt x="2450" y="939"/>
                  <a:pt x="2450" y="939"/>
                  <a:pt x="2450" y="939"/>
                </a:cubicBezTo>
                <a:lnTo>
                  <a:pt x="2451" y="940"/>
                </a:lnTo>
                <a:close/>
                <a:moveTo>
                  <a:pt x="2421" y="793"/>
                </a:moveTo>
                <a:cubicBezTo>
                  <a:pt x="2421" y="793"/>
                  <a:pt x="2421" y="794"/>
                  <a:pt x="2421" y="794"/>
                </a:cubicBezTo>
                <a:cubicBezTo>
                  <a:pt x="2422" y="796"/>
                  <a:pt x="2422" y="796"/>
                  <a:pt x="2422" y="796"/>
                </a:cubicBezTo>
                <a:cubicBezTo>
                  <a:pt x="2421" y="798"/>
                  <a:pt x="2421" y="798"/>
                  <a:pt x="2421" y="798"/>
                </a:cubicBezTo>
                <a:cubicBezTo>
                  <a:pt x="2422" y="799"/>
                  <a:pt x="2422" y="799"/>
                  <a:pt x="2422" y="799"/>
                </a:cubicBezTo>
                <a:cubicBezTo>
                  <a:pt x="2424" y="796"/>
                  <a:pt x="2424" y="796"/>
                  <a:pt x="2424" y="796"/>
                </a:cubicBezTo>
                <a:cubicBezTo>
                  <a:pt x="2423" y="795"/>
                  <a:pt x="2423" y="795"/>
                  <a:pt x="2423" y="795"/>
                </a:cubicBezTo>
                <a:lnTo>
                  <a:pt x="2421" y="793"/>
                </a:lnTo>
                <a:close/>
                <a:moveTo>
                  <a:pt x="2446" y="922"/>
                </a:moveTo>
                <a:cubicBezTo>
                  <a:pt x="2446" y="924"/>
                  <a:pt x="2446" y="924"/>
                  <a:pt x="2446" y="924"/>
                </a:cubicBezTo>
                <a:cubicBezTo>
                  <a:pt x="2446" y="924"/>
                  <a:pt x="2446" y="926"/>
                  <a:pt x="2446" y="926"/>
                </a:cubicBezTo>
                <a:cubicBezTo>
                  <a:pt x="2448" y="926"/>
                  <a:pt x="2448" y="926"/>
                  <a:pt x="2448" y="926"/>
                </a:cubicBezTo>
                <a:cubicBezTo>
                  <a:pt x="2449" y="923"/>
                  <a:pt x="2449" y="923"/>
                  <a:pt x="2449" y="923"/>
                </a:cubicBezTo>
                <a:cubicBezTo>
                  <a:pt x="2448" y="921"/>
                  <a:pt x="2448" y="921"/>
                  <a:pt x="2448" y="921"/>
                </a:cubicBezTo>
                <a:lnTo>
                  <a:pt x="2446" y="922"/>
                </a:lnTo>
                <a:close/>
                <a:moveTo>
                  <a:pt x="2508" y="953"/>
                </a:moveTo>
                <a:cubicBezTo>
                  <a:pt x="2508" y="950"/>
                  <a:pt x="2508" y="950"/>
                  <a:pt x="2508" y="950"/>
                </a:cubicBezTo>
                <a:cubicBezTo>
                  <a:pt x="2508" y="950"/>
                  <a:pt x="2507" y="950"/>
                  <a:pt x="2507" y="950"/>
                </a:cubicBezTo>
                <a:cubicBezTo>
                  <a:pt x="2507" y="951"/>
                  <a:pt x="2507" y="951"/>
                  <a:pt x="2507" y="951"/>
                </a:cubicBezTo>
                <a:cubicBezTo>
                  <a:pt x="2507" y="952"/>
                  <a:pt x="2507" y="952"/>
                  <a:pt x="2507" y="952"/>
                </a:cubicBezTo>
                <a:cubicBezTo>
                  <a:pt x="2507" y="954"/>
                  <a:pt x="2507" y="954"/>
                  <a:pt x="2507" y="954"/>
                </a:cubicBezTo>
                <a:lnTo>
                  <a:pt x="2508" y="953"/>
                </a:lnTo>
                <a:close/>
                <a:moveTo>
                  <a:pt x="2442" y="915"/>
                </a:moveTo>
                <a:cubicBezTo>
                  <a:pt x="2444" y="915"/>
                  <a:pt x="2444" y="915"/>
                  <a:pt x="2444" y="915"/>
                </a:cubicBezTo>
                <a:cubicBezTo>
                  <a:pt x="2443" y="914"/>
                  <a:pt x="2443" y="914"/>
                  <a:pt x="2443" y="914"/>
                </a:cubicBezTo>
                <a:lnTo>
                  <a:pt x="2442" y="915"/>
                </a:lnTo>
                <a:close/>
                <a:moveTo>
                  <a:pt x="2724" y="696"/>
                </a:moveTo>
                <a:cubicBezTo>
                  <a:pt x="2722" y="695"/>
                  <a:pt x="2722" y="695"/>
                  <a:pt x="2722" y="695"/>
                </a:cubicBezTo>
                <a:cubicBezTo>
                  <a:pt x="2721" y="695"/>
                  <a:pt x="2721" y="695"/>
                  <a:pt x="2721" y="695"/>
                </a:cubicBezTo>
                <a:cubicBezTo>
                  <a:pt x="2720" y="695"/>
                  <a:pt x="2720" y="695"/>
                  <a:pt x="2720" y="695"/>
                </a:cubicBezTo>
                <a:cubicBezTo>
                  <a:pt x="2720" y="696"/>
                  <a:pt x="2720" y="696"/>
                  <a:pt x="2720" y="696"/>
                </a:cubicBezTo>
                <a:cubicBezTo>
                  <a:pt x="2722" y="697"/>
                  <a:pt x="2722" y="697"/>
                  <a:pt x="2722" y="697"/>
                </a:cubicBezTo>
                <a:cubicBezTo>
                  <a:pt x="2724" y="698"/>
                  <a:pt x="2724" y="698"/>
                  <a:pt x="2724" y="698"/>
                </a:cubicBezTo>
                <a:lnTo>
                  <a:pt x="2724" y="696"/>
                </a:lnTo>
                <a:close/>
                <a:moveTo>
                  <a:pt x="2607" y="838"/>
                </a:moveTo>
                <a:cubicBezTo>
                  <a:pt x="2609" y="838"/>
                  <a:pt x="2609" y="838"/>
                  <a:pt x="2609" y="838"/>
                </a:cubicBezTo>
                <a:cubicBezTo>
                  <a:pt x="2610" y="839"/>
                  <a:pt x="2610" y="839"/>
                  <a:pt x="2610" y="839"/>
                </a:cubicBezTo>
                <a:cubicBezTo>
                  <a:pt x="2612" y="839"/>
                  <a:pt x="2612" y="839"/>
                  <a:pt x="2612" y="839"/>
                </a:cubicBezTo>
                <a:cubicBezTo>
                  <a:pt x="2614" y="840"/>
                  <a:pt x="2614" y="840"/>
                  <a:pt x="2614" y="840"/>
                </a:cubicBezTo>
                <a:cubicBezTo>
                  <a:pt x="2615" y="839"/>
                  <a:pt x="2615" y="839"/>
                  <a:pt x="2615" y="839"/>
                </a:cubicBezTo>
                <a:cubicBezTo>
                  <a:pt x="2615" y="838"/>
                  <a:pt x="2615" y="838"/>
                  <a:pt x="2615" y="838"/>
                </a:cubicBezTo>
                <a:cubicBezTo>
                  <a:pt x="2617" y="837"/>
                  <a:pt x="2617" y="837"/>
                  <a:pt x="2617" y="837"/>
                </a:cubicBezTo>
                <a:cubicBezTo>
                  <a:pt x="2619" y="838"/>
                  <a:pt x="2619" y="838"/>
                  <a:pt x="2619" y="838"/>
                </a:cubicBezTo>
                <a:cubicBezTo>
                  <a:pt x="2620" y="836"/>
                  <a:pt x="2620" y="836"/>
                  <a:pt x="2620" y="836"/>
                </a:cubicBezTo>
                <a:cubicBezTo>
                  <a:pt x="2620" y="835"/>
                  <a:pt x="2620" y="835"/>
                  <a:pt x="2620" y="835"/>
                </a:cubicBezTo>
                <a:cubicBezTo>
                  <a:pt x="2622" y="835"/>
                  <a:pt x="2622" y="835"/>
                  <a:pt x="2622" y="835"/>
                </a:cubicBezTo>
                <a:cubicBezTo>
                  <a:pt x="2623" y="833"/>
                  <a:pt x="2623" y="833"/>
                  <a:pt x="2623" y="833"/>
                </a:cubicBezTo>
                <a:cubicBezTo>
                  <a:pt x="2623" y="831"/>
                  <a:pt x="2623" y="831"/>
                  <a:pt x="2623" y="831"/>
                </a:cubicBezTo>
                <a:cubicBezTo>
                  <a:pt x="2624" y="828"/>
                  <a:pt x="2624" y="828"/>
                  <a:pt x="2624" y="828"/>
                </a:cubicBezTo>
                <a:cubicBezTo>
                  <a:pt x="2625" y="827"/>
                  <a:pt x="2625" y="827"/>
                  <a:pt x="2625" y="827"/>
                </a:cubicBezTo>
                <a:cubicBezTo>
                  <a:pt x="2626" y="826"/>
                  <a:pt x="2626" y="826"/>
                  <a:pt x="2626" y="826"/>
                </a:cubicBezTo>
                <a:cubicBezTo>
                  <a:pt x="2627" y="823"/>
                  <a:pt x="2627" y="823"/>
                  <a:pt x="2627" y="823"/>
                </a:cubicBezTo>
                <a:cubicBezTo>
                  <a:pt x="2626" y="821"/>
                  <a:pt x="2626" y="821"/>
                  <a:pt x="2626" y="821"/>
                </a:cubicBezTo>
                <a:cubicBezTo>
                  <a:pt x="2624" y="819"/>
                  <a:pt x="2624" y="819"/>
                  <a:pt x="2624" y="819"/>
                </a:cubicBezTo>
                <a:cubicBezTo>
                  <a:pt x="2622" y="819"/>
                  <a:pt x="2622" y="819"/>
                  <a:pt x="2622" y="819"/>
                </a:cubicBezTo>
                <a:cubicBezTo>
                  <a:pt x="2620" y="820"/>
                  <a:pt x="2620" y="820"/>
                  <a:pt x="2620" y="820"/>
                </a:cubicBezTo>
                <a:cubicBezTo>
                  <a:pt x="2620" y="820"/>
                  <a:pt x="2619" y="819"/>
                  <a:pt x="2619" y="819"/>
                </a:cubicBezTo>
                <a:cubicBezTo>
                  <a:pt x="2617" y="819"/>
                  <a:pt x="2617" y="819"/>
                  <a:pt x="2617" y="819"/>
                </a:cubicBezTo>
                <a:cubicBezTo>
                  <a:pt x="2616" y="819"/>
                  <a:pt x="2616" y="819"/>
                  <a:pt x="2616" y="819"/>
                </a:cubicBezTo>
                <a:cubicBezTo>
                  <a:pt x="2615" y="820"/>
                  <a:pt x="2615" y="820"/>
                  <a:pt x="2615" y="820"/>
                </a:cubicBezTo>
                <a:cubicBezTo>
                  <a:pt x="2613" y="820"/>
                  <a:pt x="2613" y="820"/>
                  <a:pt x="2613" y="820"/>
                </a:cubicBezTo>
                <a:cubicBezTo>
                  <a:pt x="2611" y="821"/>
                  <a:pt x="2611" y="821"/>
                  <a:pt x="2611" y="821"/>
                </a:cubicBezTo>
                <a:cubicBezTo>
                  <a:pt x="2609" y="821"/>
                  <a:pt x="2609" y="821"/>
                  <a:pt x="2609" y="821"/>
                </a:cubicBezTo>
                <a:cubicBezTo>
                  <a:pt x="2609" y="823"/>
                  <a:pt x="2609" y="823"/>
                  <a:pt x="2609" y="823"/>
                </a:cubicBezTo>
                <a:cubicBezTo>
                  <a:pt x="2606" y="825"/>
                  <a:pt x="2606" y="825"/>
                  <a:pt x="2606" y="825"/>
                </a:cubicBezTo>
                <a:cubicBezTo>
                  <a:pt x="2603" y="828"/>
                  <a:pt x="2603" y="828"/>
                  <a:pt x="2603" y="828"/>
                </a:cubicBezTo>
                <a:cubicBezTo>
                  <a:pt x="2604" y="829"/>
                  <a:pt x="2604" y="829"/>
                  <a:pt x="2604" y="829"/>
                </a:cubicBezTo>
                <a:cubicBezTo>
                  <a:pt x="2604" y="833"/>
                  <a:pt x="2604" y="833"/>
                  <a:pt x="2604" y="833"/>
                </a:cubicBezTo>
                <a:cubicBezTo>
                  <a:pt x="2605" y="835"/>
                  <a:pt x="2605" y="835"/>
                  <a:pt x="2605" y="835"/>
                </a:cubicBezTo>
                <a:cubicBezTo>
                  <a:pt x="2605" y="836"/>
                  <a:pt x="2605" y="836"/>
                  <a:pt x="2605" y="836"/>
                </a:cubicBezTo>
                <a:lnTo>
                  <a:pt x="2607" y="838"/>
                </a:lnTo>
                <a:close/>
                <a:moveTo>
                  <a:pt x="2691" y="1063"/>
                </a:moveTo>
                <a:cubicBezTo>
                  <a:pt x="2692" y="1063"/>
                  <a:pt x="2692" y="1063"/>
                  <a:pt x="2692" y="1063"/>
                </a:cubicBezTo>
                <a:cubicBezTo>
                  <a:pt x="2693" y="1062"/>
                  <a:pt x="2693" y="1062"/>
                  <a:pt x="2693" y="1062"/>
                </a:cubicBezTo>
                <a:cubicBezTo>
                  <a:pt x="2693" y="1060"/>
                  <a:pt x="2693" y="1060"/>
                  <a:pt x="2693" y="1060"/>
                </a:cubicBezTo>
                <a:cubicBezTo>
                  <a:pt x="2691" y="1060"/>
                  <a:pt x="2691" y="1060"/>
                  <a:pt x="2691" y="1060"/>
                </a:cubicBezTo>
                <a:cubicBezTo>
                  <a:pt x="2691" y="1060"/>
                  <a:pt x="2691" y="1060"/>
                  <a:pt x="2691" y="1060"/>
                </a:cubicBezTo>
                <a:cubicBezTo>
                  <a:pt x="2692" y="1059"/>
                  <a:pt x="2692" y="1059"/>
                  <a:pt x="2692" y="1059"/>
                </a:cubicBezTo>
                <a:cubicBezTo>
                  <a:pt x="2692" y="1057"/>
                  <a:pt x="2692" y="1057"/>
                  <a:pt x="2692" y="1057"/>
                </a:cubicBezTo>
                <a:cubicBezTo>
                  <a:pt x="2692" y="1057"/>
                  <a:pt x="2692" y="1057"/>
                  <a:pt x="2692" y="1057"/>
                </a:cubicBezTo>
                <a:cubicBezTo>
                  <a:pt x="2689" y="1057"/>
                  <a:pt x="2689" y="1057"/>
                  <a:pt x="2689" y="1057"/>
                </a:cubicBezTo>
                <a:cubicBezTo>
                  <a:pt x="2690" y="1056"/>
                  <a:pt x="2690" y="1056"/>
                  <a:pt x="2690" y="1056"/>
                </a:cubicBezTo>
                <a:cubicBezTo>
                  <a:pt x="2690" y="1055"/>
                  <a:pt x="2690" y="1055"/>
                  <a:pt x="2690" y="1055"/>
                </a:cubicBezTo>
                <a:cubicBezTo>
                  <a:pt x="2691" y="1055"/>
                  <a:pt x="2691" y="1055"/>
                  <a:pt x="2691" y="1055"/>
                </a:cubicBezTo>
                <a:cubicBezTo>
                  <a:pt x="2693" y="1054"/>
                  <a:pt x="2693" y="1054"/>
                  <a:pt x="2693" y="1054"/>
                </a:cubicBezTo>
                <a:cubicBezTo>
                  <a:pt x="2693" y="1053"/>
                  <a:pt x="2693" y="1053"/>
                  <a:pt x="2693" y="1053"/>
                </a:cubicBezTo>
                <a:cubicBezTo>
                  <a:pt x="2695" y="1051"/>
                  <a:pt x="2695" y="1051"/>
                  <a:pt x="2695" y="1051"/>
                </a:cubicBezTo>
                <a:cubicBezTo>
                  <a:pt x="2695" y="1049"/>
                  <a:pt x="2695" y="1049"/>
                  <a:pt x="2695" y="1049"/>
                </a:cubicBezTo>
                <a:cubicBezTo>
                  <a:pt x="2695" y="1047"/>
                  <a:pt x="2695" y="1047"/>
                  <a:pt x="2695" y="1047"/>
                </a:cubicBezTo>
                <a:cubicBezTo>
                  <a:pt x="2696" y="1048"/>
                  <a:pt x="2696" y="1048"/>
                  <a:pt x="2696" y="1048"/>
                </a:cubicBezTo>
                <a:cubicBezTo>
                  <a:pt x="2696" y="1050"/>
                  <a:pt x="2696" y="1050"/>
                  <a:pt x="2696" y="1050"/>
                </a:cubicBezTo>
                <a:cubicBezTo>
                  <a:pt x="2698" y="1048"/>
                  <a:pt x="2698" y="1048"/>
                  <a:pt x="2698" y="1048"/>
                </a:cubicBezTo>
                <a:cubicBezTo>
                  <a:pt x="2699" y="1046"/>
                  <a:pt x="2699" y="1046"/>
                  <a:pt x="2699" y="1046"/>
                </a:cubicBezTo>
                <a:cubicBezTo>
                  <a:pt x="2698" y="1043"/>
                  <a:pt x="2698" y="1043"/>
                  <a:pt x="2698" y="1043"/>
                </a:cubicBezTo>
                <a:cubicBezTo>
                  <a:pt x="2701" y="1041"/>
                  <a:pt x="2701" y="1041"/>
                  <a:pt x="2701" y="1041"/>
                </a:cubicBezTo>
                <a:cubicBezTo>
                  <a:pt x="2702" y="1038"/>
                  <a:pt x="2702" y="1038"/>
                  <a:pt x="2702" y="1038"/>
                </a:cubicBezTo>
                <a:cubicBezTo>
                  <a:pt x="2703" y="1036"/>
                  <a:pt x="2703" y="1036"/>
                  <a:pt x="2703" y="1036"/>
                </a:cubicBezTo>
                <a:cubicBezTo>
                  <a:pt x="2703" y="1032"/>
                  <a:pt x="2703" y="1032"/>
                  <a:pt x="2703" y="1032"/>
                </a:cubicBezTo>
                <a:cubicBezTo>
                  <a:pt x="2704" y="1031"/>
                  <a:pt x="2704" y="1031"/>
                  <a:pt x="2704" y="1031"/>
                </a:cubicBezTo>
                <a:cubicBezTo>
                  <a:pt x="2704" y="1030"/>
                  <a:pt x="2704" y="1030"/>
                  <a:pt x="2704" y="1030"/>
                </a:cubicBezTo>
                <a:cubicBezTo>
                  <a:pt x="2706" y="1028"/>
                  <a:pt x="2706" y="1028"/>
                  <a:pt x="2706" y="1028"/>
                </a:cubicBezTo>
                <a:cubicBezTo>
                  <a:pt x="2707" y="1029"/>
                  <a:pt x="2707" y="1029"/>
                  <a:pt x="2707" y="1029"/>
                </a:cubicBezTo>
                <a:cubicBezTo>
                  <a:pt x="2708" y="1028"/>
                  <a:pt x="2708" y="1028"/>
                  <a:pt x="2708" y="1028"/>
                </a:cubicBezTo>
                <a:cubicBezTo>
                  <a:pt x="2707" y="1025"/>
                  <a:pt x="2707" y="1025"/>
                  <a:pt x="2707" y="1025"/>
                </a:cubicBezTo>
                <a:cubicBezTo>
                  <a:pt x="2710" y="1029"/>
                  <a:pt x="2710" y="1029"/>
                  <a:pt x="2710" y="1029"/>
                </a:cubicBezTo>
                <a:cubicBezTo>
                  <a:pt x="2713" y="1029"/>
                  <a:pt x="2713" y="1029"/>
                  <a:pt x="2713" y="1029"/>
                </a:cubicBezTo>
                <a:cubicBezTo>
                  <a:pt x="2714" y="1028"/>
                  <a:pt x="2714" y="1028"/>
                  <a:pt x="2714" y="1028"/>
                </a:cubicBezTo>
                <a:cubicBezTo>
                  <a:pt x="2715" y="1028"/>
                  <a:pt x="2715" y="1028"/>
                  <a:pt x="2715" y="1028"/>
                </a:cubicBezTo>
                <a:cubicBezTo>
                  <a:pt x="2717" y="1028"/>
                  <a:pt x="2717" y="1028"/>
                  <a:pt x="2717" y="1028"/>
                </a:cubicBezTo>
                <a:cubicBezTo>
                  <a:pt x="2717" y="1026"/>
                  <a:pt x="2717" y="1026"/>
                  <a:pt x="2717" y="1026"/>
                </a:cubicBezTo>
                <a:cubicBezTo>
                  <a:pt x="2716" y="1026"/>
                  <a:pt x="2716" y="1026"/>
                  <a:pt x="2716" y="1026"/>
                </a:cubicBezTo>
                <a:cubicBezTo>
                  <a:pt x="2715" y="1024"/>
                  <a:pt x="2715" y="1024"/>
                  <a:pt x="2715" y="1024"/>
                </a:cubicBezTo>
                <a:cubicBezTo>
                  <a:pt x="2713" y="1022"/>
                  <a:pt x="2713" y="1022"/>
                  <a:pt x="2713" y="1022"/>
                </a:cubicBezTo>
                <a:cubicBezTo>
                  <a:pt x="2712" y="1022"/>
                  <a:pt x="2712" y="1022"/>
                  <a:pt x="2712" y="1022"/>
                </a:cubicBezTo>
                <a:cubicBezTo>
                  <a:pt x="2708" y="1018"/>
                  <a:pt x="2708" y="1018"/>
                  <a:pt x="2708" y="1018"/>
                </a:cubicBezTo>
                <a:cubicBezTo>
                  <a:pt x="2706" y="1018"/>
                  <a:pt x="2706" y="1018"/>
                  <a:pt x="2706" y="1018"/>
                </a:cubicBezTo>
                <a:cubicBezTo>
                  <a:pt x="2706" y="1016"/>
                  <a:pt x="2706" y="1016"/>
                  <a:pt x="2706" y="1016"/>
                </a:cubicBezTo>
                <a:cubicBezTo>
                  <a:pt x="2705" y="1015"/>
                  <a:pt x="2705" y="1015"/>
                  <a:pt x="2705" y="1015"/>
                </a:cubicBezTo>
                <a:cubicBezTo>
                  <a:pt x="2705" y="1014"/>
                  <a:pt x="2705" y="1014"/>
                  <a:pt x="2705" y="1014"/>
                </a:cubicBezTo>
                <a:cubicBezTo>
                  <a:pt x="2708" y="1013"/>
                  <a:pt x="2708" y="1013"/>
                  <a:pt x="2708" y="1013"/>
                </a:cubicBezTo>
                <a:cubicBezTo>
                  <a:pt x="2709" y="1011"/>
                  <a:pt x="2709" y="1011"/>
                  <a:pt x="2709" y="1011"/>
                </a:cubicBezTo>
                <a:cubicBezTo>
                  <a:pt x="2707" y="1010"/>
                  <a:pt x="2707" y="1010"/>
                  <a:pt x="2707" y="1010"/>
                </a:cubicBezTo>
                <a:cubicBezTo>
                  <a:pt x="2704" y="1006"/>
                  <a:pt x="2704" y="1006"/>
                  <a:pt x="2704" y="1006"/>
                </a:cubicBezTo>
                <a:cubicBezTo>
                  <a:pt x="2703" y="1004"/>
                  <a:pt x="2703" y="1004"/>
                  <a:pt x="2703" y="1004"/>
                </a:cubicBezTo>
                <a:cubicBezTo>
                  <a:pt x="2702" y="1003"/>
                  <a:pt x="2702" y="1003"/>
                  <a:pt x="2702" y="1003"/>
                </a:cubicBezTo>
                <a:cubicBezTo>
                  <a:pt x="2702" y="1001"/>
                  <a:pt x="2702" y="1001"/>
                  <a:pt x="2702" y="1001"/>
                </a:cubicBezTo>
                <a:cubicBezTo>
                  <a:pt x="2703" y="1001"/>
                  <a:pt x="2703" y="1001"/>
                  <a:pt x="2703" y="1001"/>
                </a:cubicBezTo>
                <a:cubicBezTo>
                  <a:pt x="2703" y="1000"/>
                  <a:pt x="2703" y="1000"/>
                  <a:pt x="2703" y="1000"/>
                </a:cubicBezTo>
                <a:cubicBezTo>
                  <a:pt x="2702" y="1000"/>
                  <a:pt x="2702" y="1000"/>
                  <a:pt x="2702" y="1000"/>
                </a:cubicBezTo>
                <a:cubicBezTo>
                  <a:pt x="2700" y="998"/>
                  <a:pt x="2700" y="998"/>
                  <a:pt x="2700" y="998"/>
                </a:cubicBezTo>
                <a:cubicBezTo>
                  <a:pt x="2701" y="997"/>
                  <a:pt x="2701" y="997"/>
                  <a:pt x="2701" y="997"/>
                </a:cubicBezTo>
                <a:cubicBezTo>
                  <a:pt x="2704" y="997"/>
                  <a:pt x="2704" y="997"/>
                  <a:pt x="2704" y="997"/>
                </a:cubicBezTo>
                <a:cubicBezTo>
                  <a:pt x="2706" y="997"/>
                  <a:pt x="2706" y="997"/>
                  <a:pt x="2706" y="997"/>
                </a:cubicBezTo>
                <a:cubicBezTo>
                  <a:pt x="2704" y="995"/>
                  <a:pt x="2704" y="995"/>
                  <a:pt x="2704" y="995"/>
                </a:cubicBezTo>
                <a:cubicBezTo>
                  <a:pt x="2702" y="994"/>
                  <a:pt x="2702" y="994"/>
                  <a:pt x="2702" y="994"/>
                </a:cubicBezTo>
                <a:cubicBezTo>
                  <a:pt x="2703" y="993"/>
                  <a:pt x="2703" y="993"/>
                  <a:pt x="2703" y="993"/>
                </a:cubicBezTo>
                <a:cubicBezTo>
                  <a:pt x="2702" y="992"/>
                  <a:pt x="2702" y="992"/>
                  <a:pt x="2702" y="992"/>
                </a:cubicBezTo>
                <a:cubicBezTo>
                  <a:pt x="2703" y="992"/>
                  <a:pt x="2703" y="992"/>
                  <a:pt x="2703" y="992"/>
                </a:cubicBezTo>
                <a:cubicBezTo>
                  <a:pt x="2703" y="991"/>
                  <a:pt x="2703" y="991"/>
                  <a:pt x="2703" y="991"/>
                </a:cubicBezTo>
                <a:cubicBezTo>
                  <a:pt x="2704" y="990"/>
                  <a:pt x="2704" y="990"/>
                  <a:pt x="2704" y="990"/>
                </a:cubicBezTo>
                <a:cubicBezTo>
                  <a:pt x="2706" y="992"/>
                  <a:pt x="2706" y="992"/>
                  <a:pt x="2706" y="992"/>
                </a:cubicBezTo>
                <a:cubicBezTo>
                  <a:pt x="2708" y="992"/>
                  <a:pt x="2708" y="992"/>
                  <a:pt x="2708" y="992"/>
                </a:cubicBezTo>
                <a:cubicBezTo>
                  <a:pt x="2710" y="991"/>
                  <a:pt x="2710" y="991"/>
                  <a:pt x="2710" y="991"/>
                </a:cubicBezTo>
                <a:cubicBezTo>
                  <a:pt x="2713" y="990"/>
                  <a:pt x="2713" y="990"/>
                  <a:pt x="2713" y="990"/>
                </a:cubicBezTo>
                <a:cubicBezTo>
                  <a:pt x="2713" y="989"/>
                  <a:pt x="2713" y="989"/>
                  <a:pt x="2713" y="989"/>
                </a:cubicBezTo>
                <a:cubicBezTo>
                  <a:pt x="2710" y="987"/>
                  <a:pt x="2710" y="987"/>
                  <a:pt x="2710" y="987"/>
                </a:cubicBezTo>
                <a:cubicBezTo>
                  <a:pt x="2710" y="984"/>
                  <a:pt x="2710" y="984"/>
                  <a:pt x="2710" y="984"/>
                </a:cubicBezTo>
                <a:cubicBezTo>
                  <a:pt x="2711" y="984"/>
                  <a:pt x="2711" y="984"/>
                  <a:pt x="2711" y="984"/>
                </a:cubicBezTo>
                <a:cubicBezTo>
                  <a:pt x="2715" y="984"/>
                  <a:pt x="2715" y="984"/>
                  <a:pt x="2715" y="984"/>
                </a:cubicBezTo>
                <a:cubicBezTo>
                  <a:pt x="2718" y="983"/>
                  <a:pt x="2718" y="983"/>
                  <a:pt x="2718" y="983"/>
                </a:cubicBezTo>
                <a:cubicBezTo>
                  <a:pt x="2721" y="982"/>
                  <a:pt x="2721" y="982"/>
                  <a:pt x="2721" y="982"/>
                </a:cubicBezTo>
                <a:cubicBezTo>
                  <a:pt x="2720" y="980"/>
                  <a:pt x="2720" y="980"/>
                  <a:pt x="2720" y="980"/>
                </a:cubicBezTo>
                <a:cubicBezTo>
                  <a:pt x="2719" y="980"/>
                  <a:pt x="2719" y="980"/>
                  <a:pt x="2719" y="980"/>
                </a:cubicBezTo>
                <a:cubicBezTo>
                  <a:pt x="2716" y="979"/>
                  <a:pt x="2716" y="979"/>
                  <a:pt x="2716" y="979"/>
                </a:cubicBezTo>
                <a:cubicBezTo>
                  <a:pt x="2714" y="978"/>
                  <a:pt x="2714" y="978"/>
                  <a:pt x="2714" y="978"/>
                </a:cubicBezTo>
                <a:cubicBezTo>
                  <a:pt x="2713" y="978"/>
                  <a:pt x="2713" y="978"/>
                  <a:pt x="2713" y="978"/>
                </a:cubicBezTo>
                <a:cubicBezTo>
                  <a:pt x="2710" y="976"/>
                  <a:pt x="2710" y="976"/>
                  <a:pt x="2710" y="976"/>
                </a:cubicBezTo>
                <a:cubicBezTo>
                  <a:pt x="2709" y="976"/>
                  <a:pt x="2709" y="976"/>
                  <a:pt x="2709" y="976"/>
                </a:cubicBezTo>
                <a:cubicBezTo>
                  <a:pt x="2707" y="977"/>
                  <a:pt x="2707" y="977"/>
                  <a:pt x="2707" y="977"/>
                </a:cubicBezTo>
                <a:cubicBezTo>
                  <a:pt x="2706" y="976"/>
                  <a:pt x="2706" y="976"/>
                  <a:pt x="2706" y="976"/>
                </a:cubicBezTo>
                <a:cubicBezTo>
                  <a:pt x="2708" y="974"/>
                  <a:pt x="2708" y="974"/>
                  <a:pt x="2708" y="974"/>
                </a:cubicBezTo>
                <a:cubicBezTo>
                  <a:pt x="2707" y="973"/>
                  <a:pt x="2707" y="973"/>
                  <a:pt x="2707" y="973"/>
                </a:cubicBezTo>
                <a:cubicBezTo>
                  <a:pt x="2707" y="973"/>
                  <a:pt x="2707" y="973"/>
                  <a:pt x="2707" y="973"/>
                </a:cubicBezTo>
                <a:cubicBezTo>
                  <a:pt x="2705" y="975"/>
                  <a:pt x="2705" y="975"/>
                  <a:pt x="2705" y="975"/>
                </a:cubicBezTo>
                <a:cubicBezTo>
                  <a:pt x="2704" y="974"/>
                  <a:pt x="2704" y="974"/>
                  <a:pt x="2704" y="974"/>
                </a:cubicBezTo>
                <a:cubicBezTo>
                  <a:pt x="2703" y="974"/>
                  <a:pt x="2703" y="974"/>
                  <a:pt x="2703" y="974"/>
                </a:cubicBezTo>
                <a:cubicBezTo>
                  <a:pt x="2704" y="971"/>
                  <a:pt x="2704" y="971"/>
                  <a:pt x="2704" y="971"/>
                </a:cubicBezTo>
                <a:cubicBezTo>
                  <a:pt x="2705" y="970"/>
                  <a:pt x="2705" y="970"/>
                  <a:pt x="2705" y="970"/>
                </a:cubicBezTo>
                <a:cubicBezTo>
                  <a:pt x="2705" y="969"/>
                  <a:pt x="2705" y="969"/>
                  <a:pt x="2705" y="969"/>
                </a:cubicBezTo>
                <a:cubicBezTo>
                  <a:pt x="2703" y="967"/>
                  <a:pt x="2703" y="967"/>
                  <a:pt x="2703" y="967"/>
                </a:cubicBezTo>
                <a:cubicBezTo>
                  <a:pt x="2702" y="968"/>
                  <a:pt x="2702" y="968"/>
                  <a:pt x="2702" y="968"/>
                </a:cubicBezTo>
                <a:cubicBezTo>
                  <a:pt x="2700" y="966"/>
                  <a:pt x="2700" y="966"/>
                  <a:pt x="2700" y="966"/>
                </a:cubicBezTo>
                <a:cubicBezTo>
                  <a:pt x="2700" y="963"/>
                  <a:pt x="2700" y="963"/>
                  <a:pt x="2700" y="963"/>
                </a:cubicBezTo>
                <a:cubicBezTo>
                  <a:pt x="2698" y="962"/>
                  <a:pt x="2698" y="962"/>
                  <a:pt x="2698" y="962"/>
                </a:cubicBezTo>
                <a:cubicBezTo>
                  <a:pt x="2697" y="963"/>
                  <a:pt x="2697" y="963"/>
                  <a:pt x="2697" y="963"/>
                </a:cubicBezTo>
                <a:cubicBezTo>
                  <a:pt x="2698" y="964"/>
                  <a:pt x="2698" y="964"/>
                  <a:pt x="2698" y="964"/>
                </a:cubicBezTo>
                <a:cubicBezTo>
                  <a:pt x="2695" y="967"/>
                  <a:pt x="2695" y="967"/>
                  <a:pt x="2695" y="967"/>
                </a:cubicBezTo>
                <a:cubicBezTo>
                  <a:pt x="2694" y="966"/>
                  <a:pt x="2694" y="966"/>
                  <a:pt x="2694" y="966"/>
                </a:cubicBezTo>
                <a:cubicBezTo>
                  <a:pt x="2695" y="965"/>
                  <a:pt x="2695" y="965"/>
                  <a:pt x="2695" y="965"/>
                </a:cubicBezTo>
                <a:cubicBezTo>
                  <a:pt x="2695" y="963"/>
                  <a:pt x="2695" y="963"/>
                  <a:pt x="2695" y="963"/>
                </a:cubicBezTo>
                <a:cubicBezTo>
                  <a:pt x="2693" y="963"/>
                  <a:pt x="2693" y="963"/>
                  <a:pt x="2693" y="963"/>
                </a:cubicBezTo>
                <a:cubicBezTo>
                  <a:pt x="2692" y="967"/>
                  <a:pt x="2692" y="967"/>
                  <a:pt x="2692" y="967"/>
                </a:cubicBezTo>
                <a:cubicBezTo>
                  <a:pt x="2691" y="968"/>
                  <a:pt x="2691" y="968"/>
                  <a:pt x="2691" y="968"/>
                </a:cubicBezTo>
                <a:cubicBezTo>
                  <a:pt x="2689" y="973"/>
                  <a:pt x="2689" y="973"/>
                  <a:pt x="2689" y="973"/>
                </a:cubicBezTo>
                <a:cubicBezTo>
                  <a:pt x="2688" y="975"/>
                  <a:pt x="2688" y="975"/>
                  <a:pt x="2688" y="975"/>
                </a:cubicBezTo>
                <a:cubicBezTo>
                  <a:pt x="2685" y="979"/>
                  <a:pt x="2685" y="979"/>
                  <a:pt x="2685" y="979"/>
                </a:cubicBezTo>
                <a:cubicBezTo>
                  <a:pt x="2683" y="979"/>
                  <a:pt x="2683" y="979"/>
                  <a:pt x="2683" y="979"/>
                </a:cubicBezTo>
                <a:cubicBezTo>
                  <a:pt x="2680" y="980"/>
                  <a:pt x="2680" y="980"/>
                  <a:pt x="2680" y="980"/>
                </a:cubicBezTo>
                <a:cubicBezTo>
                  <a:pt x="2679" y="981"/>
                  <a:pt x="2679" y="981"/>
                  <a:pt x="2679" y="981"/>
                </a:cubicBezTo>
                <a:cubicBezTo>
                  <a:pt x="2680" y="981"/>
                  <a:pt x="2680" y="981"/>
                  <a:pt x="2680" y="981"/>
                </a:cubicBezTo>
                <a:cubicBezTo>
                  <a:pt x="2679" y="982"/>
                  <a:pt x="2679" y="982"/>
                  <a:pt x="2679" y="982"/>
                </a:cubicBezTo>
                <a:cubicBezTo>
                  <a:pt x="2680" y="983"/>
                  <a:pt x="2680" y="983"/>
                  <a:pt x="2680" y="983"/>
                </a:cubicBezTo>
                <a:cubicBezTo>
                  <a:pt x="2682" y="982"/>
                  <a:pt x="2682" y="982"/>
                  <a:pt x="2682" y="982"/>
                </a:cubicBezTo>
                <a:cubicBezTo>
                  <a:pt x="2682" y="984"/>
                  <a:pt x="2682" y="984"/>
                  <a:pt x="2682" y="984"/>
                </a:cubicBezTo>
                <a:cubicBezTo>
                  <a:pt x="2680" y="984"/>
                  <a:pt x="2680" y="984"/>
                  <a:pt x="2680" y="984"/>
                </a:cubicBezTo>
                <a:cubicBezTo>
                  <a:pt x="2680" y="985"/>
                  <a:pt x="2680" y="985"/>
                  <a:pt x="2680" y="985"/>
                </a:cubicBezTo>
                <a:cubicBezTo>
                  <a:pt x="2679" y="986"/>
                  <a:pt x="2679" y="986"/>
                  <a:pt x="2679" y="986"/>
                </a:cubicBezTo>
                <a:cubicBezTo>
                  <a:pt x="2678" y="986"/>
                  <a:pt x="2678" y="986"/>
                  <a:pt x="2678" y="986"/>
                </a:cubicBezTo>
                <a:cubicBezTo>
                  <a:pt x="2678" y="986"/>
                  <a:pt x="2678" y="986"/>
                  <a:pt x="2678" y="986"/>
                </a:cubicBezTo>
                <a:cubicBezTo>
                  <a:pt x="2678" y="985"/>
                  <a:pt x="2678" y="985"/>
                  <a:pt x="2678" y="985"/>
                </a:cubicBezTo>
                <a:cubicBezTo>
                  <a:pt x="2678" y="985"/>
                  <a:pt x="2678" y="985"/>
                  <a:pt x="2678" y="985"/>
                </a:cubicBezTo>
                <a:cubicBezTo>
                  <a:pt x="2678" y="983"/>
                  <a:pt x="2678" y="983"/>
                  <a:pt x="2678" y="983"/>
                </a:cubicBezTo>
                <a:cubicBezTo>
                  <a:pt x="2676" y="983"/>
                  <a:pt x="2676" y="983"/>
                  <a:pt x="2676" y="983"/>
                </a:cubicBezTo>
                <a:cubicBezTo>
                  <a:pt x="2673" y="985"/>
                  <a:pt x="2673" y="985"/>
                  <a:pt x="2673" y="985"/>
                </a:cubicBezTo>
                <a:cubicBezTo>
                  <a:pt x="2670" y="986"/>
                  <a:pt x="2670" y="986"/>
                  <a:pt x="2670" y="986"/>
                </a:cubicBezTo>
                <a:cubicBezTo>
                  <a:pt x="2669" y="987"/>
                  <a:pt x="2669" y="987"/>
                  <a:pt x="2669" y="987"/>
                </a:cubicBezTo>
                <a:cubicBezTo>
                  <a:pt x="2668" y="989"/>
                  <a:pt x="2668" y="989"/>
                  <a:pt x="2668" y="989"/>
                </a:cubicBezTo>
                <a:cubicBezTo>
                  <a:pt x="2668" y="991"/>
                  <a:pt x="2668" y="991"/>
                  <a:pt x="2668" y="991"/>
                </a:cubicBezTo>
                <a:cubicBezTo>
                  <a:pt x="2665" y="993"/>
                  <a:pt x="2665" y="993"/>
                  <a:pt x="2665" y="993"/>
                </a:cubicBezTo>
                <a:cubicBezTo>
                  <a:pt x="2664" y="995"/>
                  <a:pt x="2664" y="995"/>
                  <a:pt x="2664" y="995"/>
                </a:cubicBezTo>
                <a:cubicBezTo>
                  <a:pt x="2661" y="998"/>
                  <a:pt x="2661" y="998"/>
                  <a:pt x="2661" y="998"/>
                </a:cubicBezTo>
                <a:cubicBezTo>
                  <a:pt x="2661" y="1000"/>
                  <a:pt x="2661" y="1000"/>
                  <a:pt x="2661" y="1000"/>
                </a:cubicBezTo>
                <a:cubicBezTo>
                  <a:pt x="2658" y="1003"/>
                  <a:pt x="2658" y="1003"/>
                  <a:pt x="2658" y="1003"/>
                </a:cubicBezTo>
                <a:cubicBezTo>
                  <a:pt x="2656" y="1005"/>
                  <a:pt x="2656" y="1005"/>
                  <a:pt x="2656" y="1005"/>
                </a:cubicBezTo>
                <a:cubicBezTo>
                  <a:pt x="2647" y="1007"/>
                  <a:pt x="2647" y="1007"/>
                  <a:pt x="2647" y="1007"/>
                </a:cubicBezTo>
                <a:cubicBezTo>
                  <a:pt x="2646" y="1008"/>
                  <a:pt x="2646" y="1008"/>
                  <a:pt x="2646" y="1008"/>
                </a:cubicBezTo>
                <a:cubicBezTo>
                  <a:pt x="2647" y="1010"/>
                  <a:pt x="2647" y="1010"/>
                  <a:pt x="2647" y="1010"/>
                </a:cubicBezTo>
                <a:cubicBezTo>
                  <a:pt x="2648" y="1011"/>
                  <a:pt x="2648" y="1011"/>
                  <a:pt x="2648" y="1011"/>
                </a:cubicBezTo>
                <a:cubicBezTo>
                  <a:pt x="2647" y="1011"/>
                  <a:pt x="2647" y="1011"/>
                  <a:pt x="2647" y="1011"/>
                </a:cubicBezTo>
                <a:cubicBezTo>
                  <a:pt x="2645" y="1012"/>
                  <a:pt x="2645" y="1012"/>
                  <a:pt x="2645" y="1012"/>
                </a:cubicBezTo>
                <a:cubicBezTo>
                  <a:pt x="2643" y="1012"/>
                  <a:pt x="2643" y="1012"/>
                  <a:pt x="2643" y="1012"/>
                </a:cubicBezTo>
                <a:cubicBezTo>
                  <a:pt x="2642" y="1013"/>
                  <a:pt x="2642" y="1013"/>
                  <a:pt x="2642" y="1013"/>
                </a:cubicBezTo>
                <a:cubicBezTo>
                  <a:pt x="2641" y="1015"/>
                  <a:pt x="2641" y="1015"/>
                  <a:pt x="2641" y="1015"/>
                </a:cubicBezTo>
                <a:cubicBezTo>
                  <a:pt x="2641" y="1018"/>
                  <a:pt x="2641" y="1018"/>
                  <a:pt x="2641" y="1018"/>
                </a:cubicBezTo>
                <a:cubicBezTo>
                  <a:pt x="2639" y="1021"/>
                  <a:pt x="2639" y="1021"/>
                  <a:pt x="2639" y="1021"/>
                </a:cubicBezTo>
                <a:cubicBezTo>
                  <a:pt x="2639" y="1021"/>
                  <a:pt x="2639" y="1021"/>
                  <a:pt x="2639" y="1021"/>
                </a:cubicBezTo>
                <a:cubicBezTo>
                  <a:pt x="2635" y="1021"/>
                  <a:pt x="2635" y="1021"/>
                  <a:pt x="2635" y="1021"/>
                </a:cubicBezTo>
                <a:cubicBezTo>
                  <a:pt x="2631" y="1019"/>
                  <a:pt x="2631" y="1019"/>
                  <a:pt x="2631" y="1019"/>
                </a:cubicBezTo>
                <a:cubicBezTo>
                  <a:pt x="2628" y="1020"/>
                  <a:pt x="2628" y="1020"/>
                  <a:pt x="2628" y="1020"/>
                </a:cubicBezTo>
                <a:cubicBezTo>
                  <a:pt x="2627" y="1018"/>
                  <a:pt x="2627" y="1018"/>
                  <a:pt x="2627" y="1018"/>
                </a:cubicBezTo>
                <a:cubicBezTo>
                  <a:pt x="2625" y="1016"/>
                  <a:pt x="2625" y="1016"/>
                  <a:pt x="2625" y="1016"/>
                </a:cubicBezTo>
                <a:cubicBezTo>
                  <a:pt x="2625" y="1016"/>
                  <a:pt x="2625" y="1016"/>
                  <a:pt x="2625" y="1016"/>
                </a:cubicBezTo>
                <a:cubicBezTo>
                  <a:pt x="2623" y="1017"/>
                  <a:pt x="2623" y="1017"/>
                  <a:pt x="2623" y="1017"/>
                </a:cubicBezTo>
                <a:cubicBezTo>
                  <a:pt x="2622" y="1018"/>
                  <a:pt x="2622" y="1018"/>
                  <a:pt x="2622" y="1018"/>
                </a:cubicBezTo>
                <a:cubicBezTo>
                  <a:pt x="2620" y="1021"/>
                  <a:pt x="2620" y="1021"/>
                  <a:pt x="2620" y="1021"/>
                </a:cubicBezTo>
                <a:cubicBezTo>
                  <a:pt x="2618" y="1024"/>
                  <a:pt x="2618" y="1024"/>
                  <a:pt x="2618" y="1024"/>
                </a:cubicBezTo>
                <a:cubicBezTo>
                  <a:pt x="2618" y="1026"/>
                  <a:pt x="2618" y="1026"/>
                  <a:pt x="2618" y="1026"/>
                </a:cubicBezTo>
                <a:cubicBezTo>
                  <a:pt x="2618" y="1027"/>
                  <a:pt x="2618" y="1027"/>
                  <a:pt x="2618" y="1027"/>
                </a:cubicBezTo>
                <a:cubicBezTo>
                  <a:pt x="2618" y="1028"/>
                  <a:pt x="2618" y="1028"/>
                  <a:pt x="2618" y="1028"/>
                </a:cubicBezTo>
                <a:cubicBezTo>
                  <a:pt x="2617" y="1029"/>
                  <a:pt x="2617" y="1029"/>
                  <a:pt x="2617" y="1029"/>
                </a:cubicBezTo>
                <a:cubicBezTo>
                  <a:pt x="2617" y="1033"/>
                  <a:pt x="2617" y="1033"/>
                  <a:pt x="2617" y="1033"/>
                </a:cubicBezTo>
                <a:cubicBezTo>
                  <a:pt x="2620" y="1037"/>
                  <a:pt x="2620" y="1037"/>
                  <a:pt x="2620" y="1037"/>
                </a:cubicBezTo>
                <a:cubicBezTo>
                  <a:pt x="2621" y="1038"/>
                  <a:pt x="2621" y="1038"/>
                  <a:pt x="2621" y="1038"/>
                </a:cubicBezTo>
                <a:cubicBezTo>
                  <a:pt x="2620" y="1038"/>
                  <a:pt x="2620" y="1038"/>
                  <a:pt x="2620" y="1038"/>
                </a:cubicBezTo>
                <a:cubicBezTo>
                  <a:pt x="2619" y="1038"/>
                  <a:pt x="2619" y="1038"/>
                  <a:pt x="2619" y="1038"/>
                </a:cubicBezTo>
                <a:cubicBezTo>
                  <a:pt x="2621" y="1040"/>
                  <a:pt x="2621" y="1040"/>
                  <a:pt x="2621" y="1040"/>
                </a:cubicBezTo>
                <a:cubicBezTo>
                  <a:pt x="2623" y="1041"/>
                  <a:pt x="2623" y="1041"/>
                  <a:pt x="2623" y="1041"/>
                </a:cubicBezTo>
                <a:cubicBezTo>
                  <a:pt x="2624" y="1041"/>
                  <a:pt x="2624" y="1041"/>
                  <a:pt x="2624" y="1041"/>
                </a:cubicBezTo>
                <a:cubicBezTo>
                  <a:pt x="2627" y="1040"/>
                  <a:pt x="2627" y="1040"/>
                  <a:pt x="2627" y="1040"/>
                </a:cubicBezTo>
                <a:cubicBezTo>
                  <a:pt x="2630" y="1039"/>
                  <a:pt x="2630" y="1039"/>
                  <a:pt x="2630" y="1039"/>
                </a:cubicBezTo>
                <a:cubicBezTo>
                  <a:pt x="2632" y="1039"/>
                  <a:pt x="2632" y="1039"/>
                  <a:pt x="2632" y="1039"/>
                </a:cubicBezTo>
                <a:cubicBezTo>
                  <a:pt x="2630" y="1039"/>
                  <a:pt x="2630" y="1039"/>
                  <a:pt x="2630" y="1039"/>
                </a:cubicBezTo>
                <a:cubicBezTo>
                  <a:pt x="2627" y="1041"/>
                  <a:pt x="2627" y="1041"/>
                  <a:pt x="2627" y="1041"/>
                </a:cubicBezTo>
                <a:cubicBezTo>
                  <a:pt x="2624" y="1042"/>
                  <a:pt x="2624" y="1042"/>
                  <a:pt x="2624" y="1042"/>
                </a:cubicBezTo>
                <a:cubicBezTo>
                  <a:pt x="2622" y="1043"/>
                  <a:pt x="2622" y="1043"/>
                  <a:pt x="2622" y="1043"/>
                </a:cubicBezTo>
                <a:cubicBezTo>
                  <a:pt x="2620" y="1043"/>
                  <a:pt x="2620" y="1043"/>
                  <a:pt x="2620" y="1043"/>
                </a:cubicBezTo>
                <a:cubicBezTo>
                  <a:pt x="2620" y="1044"/>
                  <a:pt x="2620" y="1044"/>
                  <a:pt x="2620" y="1044"/>
                </a:cubicBezTo>
                <a:cubicBezTo>
                  <a:pt x="2623" y="1045"/>
                  <a:pt x="2623" y="1045"/>
                  <a:pt x="2623" y="1045"/>
                </a:cubicBezTo>
                <a:cubicBezTo>
                  <a:pt x="2625" y="1046"/>
                  <a:pt x="2625" y="1046"/>
                  <a:pt x="2625" y="1046"/>
                </a:cubicBezTo>
                <a:cubicBezTo>
                  <a:pt x="2628" y="1049"/>
                  <a:pt x="2628" y="1049"/>
                  <a:pt x="2628" y="1049"/>
                </a:cubicBezTo>
                <a:cubicBezTo>
                  <a:pt x="2629" y="1051"/>
                  <a:pt x="2629" y="1051"/>
                  <a:pt x="2629" y="1051"/>
                </a:cubicBezTo>
                <a:cubicBezTo>
                  <a:pt x="2629" y="1053"/>
                  <a:pt x="2629" y="1053"/>
                  <a:pt x="2629" y="1053"/>
                </a:cubicBezTo>
                <a:cubicBezTo>
                  <a:pt x="2628" y="1055"/>
                  <a:pt x="2628" y="1055"/>
                  <a:pt x="2628" y="1055"/>
                </a:cubicBezTo>
                <a:cubicBezTo>
                  <a:pt x="2627" y="1056"/>
                  <a:pt x="2627" y="1056"/>
                  <a:pt x="2627" y="1056"/>
                </a:cubicBezTo>
                <a:cubicBezTo>
                  <a:pt x="2627" y="1057"/>
                  <a:pt x="2627" y="1057"/>
                  <a:pt x="2627" y="1057"/>
                </a:cubicBezTo>
                <a:cubicBezTo>
                  <a:pt x="2629" y="1058"/>
                  <a:pt x="2629" y="1058"/>
                  <a:pt x="2629" y="1058"/>
                </a:cubicBezTo>
                <a:cubicBezTo>
                  <a:pt x="2630" y="1063"/>
                  <a:pt x="2630" y="1063"/>
                  <a:pt x="2630" y="1063"/>
                </a:cubicBezTo>
                <a:cubicBezTo>
                  <a:pt x="2630" y="1065"/>
                  <a:pt x="2630" y="1065"/>
                  <a:pt x="2630" y="1065"/>
                </a:cubicBezTo>
                <a:cubicBezTo>
                  <a:pt x="2631" y="1068"/>
                  <a:pt x="2631" y="1068"/>
                  <a:pt x="2631" y="1068"/>
                </a:cubicBezTo>
                <a:cubicBezTo>
                  <a:pt x="2632" y="1068"/>
                  <a:pt x="2632" y="1068"/>
                  <a:pt x="2632" y="1068"/>
                </a:cubicBezTo>
                <a:cubicBezTo>
                  <a:pt x="2634" y="1067"/>
                  <a:pt x="2634" y="1067"/>
                  <a:pt x="2634" y="1067"/>
                </a:cubicBezTo>
                <a:cubicBezTo>
                  <a:pt x="2634" y="1068"/>
                  <a:pt x="2634" y="1068"/>
                  <a:pt x="2634" y="1068"/>
                </a:cubicBezTo>
                <a:cubicBezTo>
                  <a:pt x="2636" y="1068"/>
                  <a:pt x="2636" y="1068"/>
                  <a:pt x="2636" y="1068"/>
                </a:cubicBezTo>
                <a:cubicBezTo>
                  <a:pt x="2638" y="1069"/>
                  <a:pt x="2638" y="1069"/>
                  <a:pt x="2638" y="1069"/>
                </a:cubicBezTo>
                <a:cubicBezTo>
                  <a:pt x="2640" y="1069"/>
                  <a:pt x="2640" y="1069"/>
                  <a:pt x="2640" y="1069"/>
                </a:cubicBezTo>
                <a:cubicBezTo>
                  <a:pt x="2642" y="1067"/>
                  <a:pt x="2642" y="1067"/>
                  <a:pt x="2642" y="1067"/>
                </a:cubicBezTo>
                <a:cubicBezTo>
                  <a:pt x="2643" y="1068"/>
                  <a:pt x="2643" y="1068"/>
                  <a:pt x="2643" y="1068"/>
                </a:cubicBezTo>
                <a:cubicBezTo>
                  <a:pt x="2645" y="1067"/>
                  <a:pt x="2645" y="1067"/>
                  <a:pt x="2645" y="1067"/>
                </a:cubicBezTo>
                <a:cubicBezTo>
                  <a:pt x="2646" y="1065"/>
                  <a:pt x="2646" y="1065"/>
                  <a:pt x="2646" y="1065"/>
                </a:cubicBezTo>
                <a:cubicBezTo>
                  <a:pt x="2645" y="1064"/>
                  <a:pt x="2645" y="1064"/>
                  <a:pt x="2645" y="1064"/>
                </a:cubicBezTo>
                <a:cubicBezTo>
                  <a:pt x="2646" y="1066"/>
                  <a:pt x="2646" y="1066"/>
                  <a:pt x="2646" y="1066"/>
                </a:cubicBezTo>
                <a:cubicBezTo>
                  <a:pt x="2646" y="1067"/>
                  <a:pt x="2646" y="1067"/>
                  <a:pt x="2646" y="1067"/>
                </a:cubicBezTo>
                <a:cubicBezTo>
                  <a:pt x="2647" y="1070"/>
                  <a:pt x="2647" y="1070"/>
                  <a:pt x="2647" y="1070"/>
                </a:cubicBezTo>
                <a:cubicBezTo>
                  <a:pt x="2647" y="1073"/>
                  <a:pt x="2647" y="1073"/>
                  <a:pt x="2647" y="1073"/>
                </a:cubicBezTo>
                <a:cubicBezTo>
                  <a:pt x="2647" y="1075"/>
                  <a:pt x="2647" y="1075"/>
                  <a:pt x="2647" y="1075"/>
                </a:cubicBezTo>
                <a:cubicBezTo>
                  <a:pt x="2648" y="1075"/>
                  <a:pt x="2648" y="1075"/>
                  <a:pt x="2648" y="1075"/>
                </a:cubicBezTo>
                <a:cubicBezTo>
                  <a:pt x="2650" y="1072"/>
                  <a:pt x="2650" y="1072"/>
                  <a:pt x="2650" y="1072"/>
                </a:cubicBezTo>
                <a:cubicBezTo>
                  <a:pt x="2652" y="1072"/>
                  <a:pt x="2652" y="1072"/>
                  <a:pt x="2652" y="1072"/>
                </a:cubicBezTo>
                <a:cubicBezTo>
                  <a:pt x="2653" y="1073"/>
                  <a:pt x="2653" y="1073"/>
                  <a:pt x="2653" y="1073"/>
                </a:cubicBezTo>
                <a:cubicBezTo>
                  <a:pt x="2654" y="1072"/>
                  <a:pt x="2654" y="1072"/>
                  <a:pt x="2654" y="1072"/>
                </a:cubicBezTo>
                <a:cubicBezTo>
                  <a:pt x="2655" y="1071"/>
                  <a:pt x="2655" y="1071"/>
                  <a:pt x="2655" y="1071"/>
                </a:cubicBezTo>
                <a:cubicBezTo>
                  <a:pt x="2657" y="1071"/>
                  <a:pt x="2657" y="1071"/>
                  <a:pt x="2657" y="1071"/>
                </a:cubicBezTo>
                <a:cubicBezTo>
                  <a:pt x="2659" y="1069"/>
                  <a:pt x="2659" y="1069"/>
                  <a:pt x="2659" y="1069"/>
                </a:cubicBezTo>
                <a:cubicBezTo>
                  <a:pt x="2660" y="1069"/>
                  <a:pt x="2660" y="1069"/>
                  <a:pt x="2660" y="1069"/>
                </a:cubicBezTo>
                <a:cubicBezTo>
                  <a:pt x="2661" y="1070"/>
                  <a:pt x="2661" y="1070"/>
                  <a:pt x="2661" y="1070"/>
                </a:cubicBezTo>
                <a:cubicBezTo>
                  <a:pt x="2663" y="1070"/>
                  <a:pt x="2663" y="1070"/>
                  <a:pt x="2663" y="1070"/>
                </a:cubicBezTo>
                <a:cubicBezTo>
                  <a:pt x="2664" y="1071"/>
                  <a:pt x="2664" y="1071"/>
                  <a:pt x="2664" y="1071"/>
                </a:cubicBezTo>
                <a:cubicBezTo>
                  <a:pt x="2664" y="1072"/>
                  <a:pt x="2664" y="1072"/>
                  <a:pt x="2664" y="1072"/>
                </a:cubicBezTo>
                <a:cubicBezTo>
                  <a:pt x="2665" y="1073"/>
                  <a:pt x="2665" y="1073"/>
                  <a:pt x="2665" y="1073"/>
                </a:cubicBezTo>
                <a:cubicBezTo>
                  <a:pt x="2666" y="1074"/>
                  <a:pt x="2666" y="1074"/>
                  <a:pt x="2666" y="1074"/>
                </a:cubicBezTo>
                <a:cubicBezTo>
                  <a:pt x="2666" y="1072"/>
                  <a:pt x="2666" y="1072"/>
                  <a:pt x="2666" y="1072"/>
                </a:cubicBezTo>
                <a:cubicBezTo>
                  <a:pt x="2666" y="1071"/>
                  <a:pt x="2666" y="1071"/>
                  <a:pt x="2666" y="1071"/>
                </a:cubicBezTo>
                <a:cubicBezTo>
                  <a:pt x="2667" y="1072"/>
                  <a:pt x="2667" y="1072"/>
                  <a:pt x="2667" y="1072"/>
                </a:cubicBezTo>
                <a:cubicBezTo>
                  <a:pt x="2669" y="1073"/>
                  <a:pt x="2669" y="1073"/>
                  <a:pt x="2669" y="1073"/>
                </a:cubicBezTo>
                <a:cubicBezTo>
                  <a:pt x="2670" y="1072"/>
                  <a:pt x="2670" y="1072"/>
                  <a:pt x="2670" y="1072"/>
                </a:cubicBezTo>
                <a:cubicBezTo>
                  <a:pt x="2671" y="1074"/>
                  <a:pt x="2671" y="1074"/>
                  <a:pt x="2671" y="1074"/>
                </a:cubicBezTo>
                <a:cubicBezTo>
                  <a:pt x="2672" y="1073"/>
                  <a:pt x="2672" y="1073"/>
                  <a:pt x="2672" y="1073"/>
                </a:cubicBezTo>
                <a:cubicBezTo>
                  <a:pt x="2672" y="1074"/>
                  <a:pt x="2672" y="1074"/>
                  <a:pt x="2672" y="1074"/>
                </a:cubicBezTo>
                <a:cubicBezTo>
                  <a:pt x="2673" y="1076"/>
                  <a:pt x="2673" y="1076"/>
                  <a:pt x="2673" y="1076"/>
                </a:cubicBezTo>
                <a:cubicBezTo>
                  <a:pt x="2673" y="1077"/>
                  <a:pt x="2673" y="1077"/>
                  <a:pt x="2673" y="1077"/>
                </a:cubicBezTo>
                <a:cubicBezTo>
                  <a:pt x="2674" y="1080"/>
                  <a:pt x="2674" y="1080"/>
                  <a:pt x="2674" y="1080"/>
                </a:cubicBezTo>
                <a:cubicBezTo>
                  <a:pt x="2675" y="1080"/>
                  <a:pt x="2675" y="1080"/>
                  <a:pt x="2675" y="1080"/>
                </a:cubicBezTo>
                <a:cubicBezTo>
                  <a:pt x="2680" y="1078"/>
                  <a:pt x="2680" y="1078"/>
                  <a:pt x="2680" y="1078"/>
                </a:cubicBezTo>
                <a:cubicBezTo>
                  <a:pt x="2683" y="1077"/>
                  <a:pt x="2683" y="1077"/>
                  <a:pt x="2683" y="1077"/>
                </a:cubicBezTo>
                <a:cubicBezTo>
                  <a:pt x="2686" y="1075"/>
                  <a:pt x="2686" y="1075"/>
                  <a:pt x="2686" y="1075"/>
                </a:cubicBezTo>
                <a:cubicBezTo>
                  <a:pt x="2688" y="1071"/>
                  <a:pt x="2688" y="1071"/>
                  <a:pt x="2688" y="1071"/>
                </a:cubicBezTo>
                <a:cubicBezTo>
                  <a:pt x="2688" y="1070"/>
                  <a:pt x="2688" y="1070"/>
                  <a:pt x="2688" y="1070"/>
                </a:cubicBezTo>
                <a:cubicBezTo>
                  <a:pt x="2689" y="1067"/>
                  <a:pt x="2689" y="1067"/>
                  <a:pt x="2689" y="1067"/>
                </a:cubicBezTo>
                <a:cubicBezTo>
                  <a:pt x="2689" y="1068"/>
                  <a:pt x="2689" y="1068"/>
                  <a:pt x="2689" y="1068"/>
                </a:cubicBezTo>
                <a:cubicBezTo>
                  <a:pt x="2690" y="1068"/>
                  <a:pt x="2690" y="1068"/>
                  <a:pt x="2690" y="1068"/>
                </a:cubicBezTo>
                <a:cubicBezTo>
                  <a:pt x="2692" y="1065"/>
                  <a:pt x="2692" y="1065"/>
                  <a:pt x="2692" y="1065"/>
                </a:cubicBezTo>
                <a:cubicBezTo>
                  <a:pt x="2691" y="1064"/>
                  <a:pt x="2691" y="1064"/>
                  <a:pt x="2691" y="1064"/>
                </a:cubicBezTo>
                <a:cubicBezTo>
                  <a:pt x="2690" y="1063"/>
                  <a:pt x="2690" y="1063"/>
                  <a:pt x="2690" y="1063"/>
                </a:cubicBezTo>
                <a:cubicBezTo>
                  <a:pt x="2690" y="1062"/>
                  <a:pt x="2690" y="1062"/>
                  <a:pt x="2690" y="1062"/>
                </a:cubicBezTo>
                <a:lnTo>
                  <a:pt x="2691" y="1063"/>
                </a:lnTo>
                <a:close/>
                <a:moveTo>
                  <a:pt x="2643" y="1011"/>
                </a:moveTo>
                <a:cubicBezTo>
                  <a:pt x="2644" y="1011"/>
                  <a:pt x="2644" y="1011"/>
                  <a:pt x="2644" y="1011"/>
                </a:cubicBezTo>
                <a:cubicBezTo>
                  <a:pt x="2645" y="1011"/>
                  <a:pt x="2645" y="1011"/>
                  <a:pt x="2645" y="1011"/>
                </a:cubicBezTo>
                <a:cubicBezTo>
                  <a:pt x="2644" y="1010"/>
                  <a:pt x="2644" y="1010"/>
                  <a:pt x="2644" y="1010"/>
                </a:cubicBezTo>
                <a:lnTo>
                  <a:pt x="2643" y="1011"/>
                </a:lnTo>
                <a:close/>
                <a:moveTo>
                  <a:pt x="2623" y="809"/>
                </a:moveTo>
                <a:cubicBezTo>
                  <a:pt x="2621" y="808"/>
                  <a:pt x="2621" y="808"/>
                  <a:pt x="2621" y="808"/>
                </a:cubicBezTo>
                <a:cubicBezTo>
                  <a:pt x="2619" y="809"/>
                  <a:pt x="2619" y="809"/>
                  <a:pt x="2619" y="809"/>
                </a:cubicBezTo>
                <a:cubicBezTo>
                  <a:pt x="2620" y="810"/>
                  <a:pt x="2620" y="810"/>
                  <a:pt x="2620" y="810"/>
                </a:cubicBezTo>
                <a:cubicBezTo>
                  <a:pt x="2621" y="809"/>
                  <a:pt x="2621" y="809"/>
                  <a:pt x="2621" y="809"/>
                </a:cubicBezTo>
                <a:cubicBezTo>
                  <a:pt x="2623" y="810"/>
                  <a:pt x="2623" y="810"/>
                  <a:pt x="2623" y="810"/>
                </a:cubicBezTo>
                <a:lnTo>
                  <a:pt x="2623" y="809"/>
                </a:lnTo>
                <a:close/>
                <a:moveTo>
                  <a:pt x="2609" y="990"/>
                </a:moveTo>
                <a:cubicBezTo>
                  <a:pt x="2608" y="991"/>
                  <a:pt x="2608" y="991"/>
                  <a:pt x="2608" y="991"/>
                </a:cubicBezTo>
                <a:cubicBezTo>
                  <a:pt x="2607" y="993"/>
                  <a:pt x="2607" y="993"/>
                  <a:pt x="2607" y="993"/>
                </a:cubicBezTo>
                <a:cubicBezTo>
                  <a:pt x="2609" y="994"/>
                  <a:pt x="2609" y="994"/>
                  <a:pt x="2609" y="994"/>
                </a:cubicBezTo>
                <a:cubicBezTo>
                  <a:pt x="2610" y="994"/>
                  <a:pt x="2610" y="994"/>
                  <a:pt x="2610" y="994"/>
                </a:cubicBezTo>
                <a:cubicBezTo>
                  <a:pt x="2609" y="996"/>
                  <a:pt x="2609" y="996"/>
                  <a:pt x="2609" y="996"/>
                </a:cubicBezTo>
                <a:cubicBezTo>
                  <a:pt x="2611" y="996"/>
                  <a:pt x="2611" y="996"/>
                  <a:pt x="2611" y="996"/>
                </a:cubicBezTo>
                <a:cubicBezTo>
                  <a:pt x="2612" y="993"/>
                  <a:pt x="2612" y="993"/>
                  <a:pt x="2612" y="993"/>
                </a:cubicBezTo>
                <a:lnTo>
                  <a:pt x="2609" y="990"/>
                </a:lnTo>
                <a:close/>
                <a:moveTo>
                  <a:pt x="2597" y="1068"/>
                </a:moveTo>
                <a:cubicBezTo>
                  <a:pt x="2596" y="1067"/>
                  <a:pt x="2596" y="1067"/>
                  <a:pt x="2596" y="1067"/>
                </a:cubicBezTo>
                <a:cubicBezTo>
                  <a:pt x="2596" y="1069"/>
                  <a:pt x="2596" y="1069"/>
                  <a:pt x="2596" y="1069"/>
                </a:cubicBezTo>
                <a:lnTo>
                  <a:pt x="2597" y="1068"/>
                </a:lnTo>
                <a:close/>
                <a:moveTo>
                  <a:pt x="2605" y="1071"/>
                </a:moveTo>
                <a:cubicBezTo>
                  <a:pt x="2607" y="1068"/>
                  <a:pt x="2607" y="1068"/>
                  <a:pt x="2607" y="1068"/>
                </a:cubicBezTo>
                <a:cubicBezTo>
                  <a:pt x="2608" y="1070"/>
                  <a:pt x="2608" y="1070"/>
                  <a:pt x="2608" y="1070"/>
                </a:cubicBezTo>
                <a:cubicBezTo>
                  <a:pt x="2609" y="1070"/>
                  <a:pt x="2609" y="1070"/>
                  <a:pt x="2609" y="1070"/>
                </a:cubicBezTo>
                <a:cubicBezTo>
                  <a:pt x="2610" y="1069"/>
                  <a:pt x="2610" y="1069"/>
                  <a:pt x="2610" y="1069"/>
                </a:cubicBezTo>
                <a:cubicBezTo>
                  <a:pt x="2612" y="1068"/>
                  <a:pt x="2612" y="1068"/>
                  <a:pt x="2612" y="1068"/>
                </a:cubicBezTo>
                <a:cubicBezTo>
                  <a:pt x="2611" y="1066"/>
                  <a:pt x="2611" y="1066"/>
                  <a:pt x="2611" y="1066"/>
                </a:cubicBezTo>
                <a:cubicBezTo>
                  <a:pt x="2607" y="1064"/>
                  <a:pt x="2607" y="1064"/>
                  <a:pt x="2607" y="1064"/>
                </a:cubicBezTo>
                <a:cubicBezTo>
                  <a:pt x="2604" y="1063"/>
                  <a:pt x="2604" y="1063"/>
                  <a:pt x="2604" y="1063"/>
                </a:cubicBezTo>
                <a:cubicBezTo>
                  <a:pt x="2603" y="1064"/>
                  <a:pt x="2603" y="1064"/>
                  <a:pt x="2603" y="1064"/>
                </a:cubicBezTo>
                <a:cubicBezTo>
                  <a:pt x="2604" y="1065"/>
                  <a:pt x="2604" y="1065"/>
                  <a:pt x="2604" y="1065"/>
                </a:cubicBezTo>
                <a:cubicBezTo>
                  <a:pt x="2604" y="1066"/>
                  <a:pt x="2604" y="1066"/>
                  <a:pt x="2604" y="1066"/>
                </a:cubicBezTo>
                <a:cubicBezTo>
                  <a:pt x="2601" y="1067"/>
                  <a:pt x="2601" y="1067"/>
                  <a:pt x="2601" y="1067"/>
                </a:cubicBezTo>
                <a:cubicBezTo>
                  <a:pt x="2601" y="1068"/>
                  <a:pt x="2601" y="1068"/>
                  <a:pt x="2601" y="1068"/>
                </a:cubicBezTo>
                <a:cubicBezTo>
                  <a:pt x="2602" y="1068"/>
                  <a:pt x="2602" y="1068"/>
                  <a:pt x="2602" y="1068"/>
                </a:cubicBezTo>
                <a:cubicBezTo>
                  <a:pt x="2602" y="1067"/>
                  <a:pt x="2602" y="1067"/>
                  <a:pt x="2602" y="1067"/>
                </a:cubicBezTo>
                <a:cubicBezTo>
                  <a:pt x="2604" y="1067"/>
                  <a:pt x="2604" y="1067"/>
                  <a:pt x="2604" y="1067"/>
                </a:cubicBezTo>
                <a:cubicBezTo>
                  <a:pt x="2604" y="1069"/>
                  <a:pt x="2604" y="1069"/>
                  <a:pt x="2604" y="1069"/>
                </a:cubicBezTo>
                <a:lnTo>
                  <a:pt x="2605" y="1071"/>
                </a:lnTo>
                <a:close/>
                <a:moveTo>
                  <a:pt x="2647" y="1010"/>
                </a:moveTo>
                <a:cubicBezTo>
                  <a:pt x="2646" y="1008"/>
                  <a:pt x="2646" y="1008"/>
                  <a:pt x="2646" y="1008"/>
                </a:cubicBezTo>
                <a:cubicBezTo>
                  <a:pt x="2645" y="1008"/>
                  <a:pt x="2645" y="1008"/>
                  <a:pt x="2645" y="1008"/>
                </a:cubicBezTo>
                <a:cubicBezTo>
                  <a:pt x="2644" y="1008"/>
                  <a:pt x="2644" y="1008"/>
                  <a:pt x="2644" y="1008"/>
                </a:cubicBezTo>
                <a:cubicBezTo>
                  <a:pt x="2644" y="1008"/>
                  <a:pt x="2644" y="1008"/>
                  <a:pt x="2644" y="1008"/>
                </a:cubicBezTo>
                <a:cubicBezTo>
                  <a:pt x="2644" y="1009"/>
                  <a:pt x="2644" y="1009"/>
                  <a:pt x="2644" y="1009"/>
                </a:cubicBezTo>
                <a:cubicBezTo>
                  <a:pt x="2645" y="1011"/>
                  <a:pt x="2645" y="1011"/>
                  <a:pt x="2645" y="1011"/>
                </a:cubicBezTo>
                <a:lnTo>
                  <a:pt x="2647" y="1010"/>
                </a:lnTo>
                <a:close/>
                <a:moveTo>
                  <a:pt x="2706" y="755"/>
                </a:moveTo>
                <a:cubicBezTo>
                  <a:pt x="2706" y="754"/>
                  <a:pt x="2706" y="754"/>
                  <a:pt x="2706" y="754"/>
                </a:cubicBezTo>
                <a:cubicBezTo>
                  <a:pt x="2705" y="753"/>
                  <a:pt x="2705" y="753"/>
                  <a:pt x="2705" y="753"/>
                </a:cubicBezTo>
                <a:cubicBezTo>
                  <a:pt x="2704" y="753"/>
                  <a:pt x="2704" y="753"/>
                  <a:pt x="2704" y="753"/>
                </a:cubicBezTo>
                <a:cubicBezTo>
                  <a:pt x="2705" y="756"/>
                  <a:pt x="2705" y="756"/>
                  <a:pt x="2705" y="756"/>
                </a:cubicBezTo>
                <a:lnTo>
                  <a:pt x="2706" y="755"/>
                </a:lnTo>
                <a:close/>
                <a:moveTo>
                  <a:pt x="2702" y="941"/>
                </a:moveTo>
                <a:cubicBezTo>
                  <a:pt x="2699" y="944"/>
                  <a:pt x="2699" y="944"/>
                  <a:pt x="2699" y="944"/>
                </a:cubicBezTo>
                <a:cubicBezTo>
                  <a:pt x="2698" y="945"/>
                  <a:pt x="2698" y="945"/>
                  <a:pt x="2698" y="945"/>
                </a:cubicBezTo>
                <a:cubicBezTo>
                  <a:pt x="2699" y="946"/>
                  <a:pt x="2699" y="946"/>
                  <a:pt x="2699" y="946"/>
                </a:cubicBezTo>
                <a:cubicBezTo>
                  <a:pt x="2701" y="945"/>
                  <a:pt x="2701" y="945"/>
                  <a:pt x="2701" y="945"/>
                </a:cubicBezTo>
                <a:cubicBezTo>
                  <a:pt x="2702" y="944"/>
                  <a:pt x="2702" y="944"/>
                  <a:pt x="2702" y="944"/>
                </a:cubicBezTo>
                <a:cubicBezTo>
                  <a:pt x="2703" y="943"/>
                  <a:pt x="2703" y="943"/>
                  <a:pt x="2703" y="943"/>
                </a:cubicBezTo>
                <a:cubicBezTo>
                  <a:pt x="2705" y="942"/>
                  <a:pt x="2705" y="942"/>
                  <a:pt x="2705" y="942"/>
                </a:cubicBezTo>
                <a:cubicBezTo>
                  <a:pt x="2708" y="939"/>
                  <a:pt x="2708" y="939"/>
                  <a:pt x="2708" y="939"/>
                </a:cubicBezTo>
                <a:cubicBezTo>
                  <a:pt x="2710" y="938"/>
                  <a:pt x="2710" y="938"/>
                  <a:pt x="2710" y="938"/>
                </a:cubicBezTo>
                <a:cubicBezTo>
                  <a:pt x="2712" y="936"/>
                  <a:pt x="2712" y="936"/>
                  <a:pt x="2712" y="936"/>
                </a:cubicBezTo>
                <a:cubicBezTo>
                  <a:pt x="2712" y="935"/>
                  <a:pt x="2712" y="935"/>
                  <a:pt x="2712" y="935"/>
                </a:cubicBezTo>
                <a:cubicBezTo>
                  <a:pt x="2713" y="934"/>
                  <a:pt x="2713" y="934"/>
                  <a:pt x="2713" y="934"/>
                </a:cubicBezTo>
                <a:cubicBezTo>
                  <a:pt x="2713" y="931"/>
                  <a:pt x="2713" y="931"/>
                  <a:pt x="2713" y="931"/>
                </a:cubicBezTo>
                <a:cubicBezTo>
                  <a:pt x="2714" y="929"/>
                  <a:pt x="2714" y="929"/>
                  <a:pt x="2714" y="929"/>
                </a:cubicBezTo>
                <a:cubicBezTo>
                  <a:pt x="2717" y="929"/>
                  <a:pt x="2717" y="929"/>
                  <a:pt x="2717" y="929"/>
                </a:cubicBezTo>
                <a:cubicBezTo>
                  <a:pt x="2718" y="927"/>
                  <a:pt x="2718" y="927"/>
                  <a:pt x="2718" y="927"/>
                </a:cubicBezTo>
                <a:cubicBezTo>
                  <a:pt x="2720" y="926"/>
                  <a:pt x="2720" y="926"/>
                  <a:pt x="2720" y="926"/>
                </a:cubicBezTo>
                <a:cubicBezTo>
                  <a:pt x="2721" y="925"/>
                  <a:pt x="2721" y="925"/>
                  <a:pt x="2721" y="925"/>
                </a:cubicBezTo>
                <a:cubicBezTo>
                  <a:pt x="2722" y="924"/>
                  <a:pt x="2722" y="924"/>
                  <a:pt x="2722" y="924"/>
                </a:cubicBezTo>
                <a:cubicBezTo>
                  <a:pt x="2721" y="921"/>
                  <a:pt x="2721" y="921"/>
                  <a:pt x="2721" y="921"/>
                </a:cubicBezTo>
                <a:cubicBezTo>
                  <a:pt x="2719" y="919"/>
                  <a:pt x="2719" y="919"/>
                  <a:pt x="2719" y="919"/>
                </a:cubicBezTo>
                <a:cubicBezTo>
                  <a:pt x="2720" y="917"/>
                  <a:pt x="2720" y="917"/>
                  <a:pt x="2720" y="917"/>
                </a:cubicBezTo>
                <a:cubicBezTo>
                  <a:pt x="2719" y="915"/>
                  <a:pt x="2719" y="915"/>
                  <a:pt x="2719" y="915"/>
                </a:cubicBezTo>
                <a:cubicBezTo>
                  <a:pt x="2718" y="915"/>
                  <a:pt x="2718" y="915"/>
                  <a:pt x="2718" y="915"/>
                </a:cubicBezTo>
                <a:cubicBezTo>
                  <a:pt x="2718" y="918"/>
                  <a:pt x="2718" y="918"/>
                  <a:pt x="2718" y="918"/>
                </a:cubicBezTo>
                <a:cubicBezTo>
                  <a:pt x="2718" y="921"/>
                  <a:pt x="2718" y="921"/>
                  <a:pt x="2718" y="921"/>
                </a:cubicBezTo>
                <a:cubicBezTo>
                  <a:pt x="2717" y="920"/>
                  <a:pt x="2717" y="920"/>
                  <a:pt x="2717" y="920"/>
                </a:cubicBezTo>
                <a:cubicBezTo>
                  <a:pt x="2718" y="922"/>
                  <a:pt x="2718" y="922"/>
                  <a:pt x="2718" y="922"/>
                </a:cubicBezTo>
                <a:cubicBezTo>
                  <a:pt x="2718" y="923"/>
                  <a:pt x="2718" y="923"/>
                  <a:pt x="2718" y="923"/>
                </a:cubicBezTo>
                <a:cubicBezTo>
                  <a:pt x="2716" y="925"/>
                  <a:pt x="2716" y="925"/>
                  <a:pt x="2716" y="925"/>
                </a:cubicBezTo>
                <a:cubicBezTo>
                  <a:pt x="2715" y="925"/>
                  <a:pt x="2715" y="925"/>
                  <a:pt x="2715" y="925"/>
                </a:cubicBezTo>
                <a:cubicBezTo>
                  <a:pt x="2713" y="927"/>
                  <a:pt x="2713" y="927"/>
                  <a:pt x="2713" y="927"/>
                </a:cubicBezTo>
                <a:cubicBezTo>
                  <a:pt x="2713" y="929"/>
                  <a:pt x="2713" y="929"/>
                  <a:pt x="2713" y="929"/>
                </a:cubicBezTo>
                <a:cubicBezTo>
                  <a:pt x="2711" y="930"/>
                  <a:pt x="2711" y="930"/>
                  <a:pt x="2711" y="930"/>
                </a:cubicBezTo>
                <a:cubicBezTo>
                  <a:pt x="2709" y="934"/>
                  <a:pt x="2709" y="934"/>
                  <a:pt x="2709" y="934"/>
                </a:cubicBezTo>
                <a:cubicBezTo>
                  <a:pt x="2706" y="937"/>
                  <a:pt x="2706" y="937"/>
                  <a:pt x="2706" y="937"/>
                </a:cubicBezTo>
                <a:cubicBezTo>
                  <a:pt x="2704" y="937"/>
                  <a:pt x="2704" y="937"/>
                  <a:pt x="2704" y="937"/>
                </a:cubicBezTo>
                <a:cubicBezTo>
                  <a:pt x="2703" y="940"/>
                  <a:pt x="2703" y="940"/>
                  <a:pt x="2703" y="940"/>
                </a:cubicBezTo>
                <a:lnTo>
                  <a:pt x="2702" y="941"/>
                </a:lnTo>
                <a:close/>
                <a:moveTo>
                  <a:pt x="2515" y="957"/>
                </a:moveTo>
                <a:cubicBezTo>
                  <a:pt x="2515" y="956"/>
                  <a:pt x="2515" y="956"/>
                  <a:pt x="2515" y="956"/>
                </a:cubicBezTo>
                <a:cubicBezTo>
                  <a:pt x="2515" y="955"/>
                  <a:pt x="2515" y="955"/>
                  <a:pt x="2515" y="955"/>
                </a:cubicBezTo>
                <a:cubicBezTo>
                  <a:pt x="2514" y="955"/>
                  <a:pt x="2514" y="955"/>
                  <a:pt x="2514" y="955"/>
                </a:cubicBezTo>
                <a:lnTo>
                  <a:pt x="2515" y="957"/>
                </a:lnTo>
                <a:close/>
                <a:moveTo>
                  <a:pt x="2643" y="1010"/>
                </a:moveTo>
                <a:cubicBezTo>
                  <a:pt x="2643" y="1010"/>
                  <a:pt x="2643" y="1010"/>
                  <a:pt x="2643" y="1010"/>
                </a:cubicBezTo>
                <a:cubicBezTo>
                  <a:pt x="2643" y="1008"/>
                  <a:pt x="2643" y="1008"/>
                  <a:pt x="2643" y="1008"/>
                </a:cubicBezTo>
                <a:cubicBezTo>
                  <a:pt x="2644" y="1008"/>
                  <a:pt x="2644" y="1008"/>
                  <a:pt x="2644" y="1008"/>
                </a:cubicBezTo>
                <a:cubicBezTo>
                  <a:pt x="2643" y="1009"/>
                  <a:pt x="2643" y="1009"/>
                  <a:pt x="2643" y="1009"/>
                </a:cubicBezTo>
                <a:lnTo>
                  <a:pt x="2643" y="1010"/>
                </a:lnTo>
                <a:close/>
                <a:moveTo>
                  <a:pt x="2685" y="781"/>
                </a:moveTo>
                <a:cubicBezTo>
                  <a:pt x="2685" y="780"/>
                  <a:pt x="2685" y="780"/>
                  <a:pt x="2685" y="780"/>
                </a:cubicBezTo>
                <a:cubicBezTo>
                  <a:pt x="2684" y="779"/>
                  <a:pt x="2684" y="779"/>
                  <a:pt x="2684" y="779"/>
                </a:cubicBezTo>
                <a:cubicBezTo>
                  <a:pt x="2682" y="779"/>
                  <a:pt x="2682" y="779"/>
                  <a:pt x="2682" y="779"/>
                </a:cubicBezTo>
                <a:cubicBezTo>
                  <a:pt x="2683" y="780"/>
                  <a:pt x="2683" y="780"/>
                  <a:pt x="2683" y="780"/>
                </a:cubicBezTo>
                <a:lnTo>
                  <a:pt x="2685" y="781"/>
                </a:lnTo>
                <a:close/>
                <a:moveTo>
                  <a:pt x="2641" y="1123"/>
                </a:moveTo>
                <a:cubicBezTo>
                  <a:pt x="2643" y="1124"/>
                  <a:pt x="2643" y="1124"/>
                  <a:pt x="2643" y="1124"/>
                </a:cubicBezTo>
                <a:cubicBezTo>
                  <a:pt x="2646" y="1122"/>
                  <a:pt x="2646" y="1122"/>
                  <a:pt x="2646" y="1122"/>
                </a:cubicBezTo>
                <a:cubicBezTo>
                  <a:pt x="2648" y="1123"/>
                  <a:pt x="2648" y="1123"/>
                  <a:pt x="2648" y="1123"/>
                </a:cubicBezTo>
                <a:cubicBezTo>
                  <a:pt x="2651" y="1124"/>
                  <a:pt x="2651" y="1124"/>
                  <a:pt x="2651" y="1124"/>
                </a:cubicBezTo>
                <a:cubicBezTo>
                  <a:pt x="2654" y="1124"/>
                  <a:pt x="2654" y="1124"/>
                  <a:pt x="2654" y="1124"/>
                </a:cubicBezTo>
                <a:cubicBezTo>
                  <a:pt x="2657" y="1123"/>
                  <a:pt x="2657" y="1123"/>
                  <a:pt x="2657" y="1123"/>
                </a:cubicBezTo>
                <a:cubicBezTo>
                  <a:pt x="2658" y="1123"/>
                  <a:pt x="2658" y="1123"/>
                  <a:pt x="2658" y="1123"/>
                </a:cubicBezTo>
                <a:cubicBezTo>
                  <a:pt x="2660" y="1125"/>
                  <a:pt x="2660" y="1125"/>
                  <a:pt x="2660" y="1125"/>
                </a:cubicBezTo>
                <a:cubicBezTo>
                  <a:pt x="2662" y="1125"/>
                  <a:pt x="2662" y="1125"/>
                  <a:pt x="2662" y="1125"/>
                </a:cubicBezTo>
                <a:cubicBezTo>
                  <a:pt x="2665" y="1128"/>
                  <a:pt x="2665" y="1128"/>
                  <a:pt x="2665" y="1128"/>
                </a:cubicBezTo>
                <a:cubicBezTo>
                  <a:pt x="2667" y="1127"/>
                  <a:pt x="2667" y="1127"/>
                  <a:pt x="2667" y="1127"/>
                </a:cubicBezTo>
                <a:cubicBezTo>
                  <a:pt x="2669" y="1129"/>
                  <a:pt x="2669" y="1129"/>
                  <a:pt x="2669" y="1129"/>
                </a:cubicBezTo>
                <a:cubicBezTo>
                  <a:pt x="2670" y="1129"/>
                  <a:pt x="2670" y="1129"/>
                  <a:pt x="2670" y="1129"/>
                </a:cubicBezTo>
                <a:cubicBezTo>
                  <a:pt x="2669" y="1126"/>
                  <a:pt x="2669" y="1126"/>
                  <a:pt x="2669" y="1126"/>
                </a:cubicBezTo>
                <a:cubicBezTo>
                  <a:pt x="2668" y="1125"/>
                  <a:pt x="2668" y="1125"/>
                  <a:pt x="2668" y="1125"/>
                </a:cubicBezTo>
                <a:cubicBezTo>
                  <a:pt x="2669" y="1123"/>
                  <a:pt x="2669" y="1123"/>
                  <a:pt x="2669" y="1123"/>
                </a:cubicBezTo>
                <a:cubicBezTo>
                  <a:pt x="2670" y="1119"/>
                  <a:pt x="2670" y="1119"/>
                  <a:pt x="2670" y="1119"/>
                </a:cubicBezTo>
                <a:cubicBezTo>
                  <a:pt x="2669" y="1118"/>
                  <a:pt x="2669" y="1118"/>
                  <a:pt x="2669" y="1118"/>
                </a:cubicBezTo>
                <a:cubicBezTo>
                  <a:pt x="2667" y="1118"/>
                  <a:pt x="2667" y="1118"/>
                  <a:pt x="2667" y="1118"/>
                </a:cubicBezTo>
                <a:cubicBezTo>
                  <a:pt x="2667" y="1117"/>
                  <a:pt x="2667" y="1117"/>
                  <a:pt x="2667" y="1117"/>
                </a:cubicBezTo>
                <a:cubicBezTo>
                  <a:pt x="2665" y="1117"/>
                  <a:pt x="2665" y="1117"/>
                  <a:pt x="2665" y="1117"/>
                </a:cubicBezTo>
                <a:cubicBezTo>
                  <a:pt x="2664" y="1118"/>
                  <a:pt x="2664" y="1118"/>
                  <a:pt x="2664" y="1118"/>
                </a:cubicBezTo>
                <a:cubicBezTo>
                  <a:pt x="2662" y="1118"/>
                  <a:pt x="2662" y="1118"/>
                  <a:pt x="2662" y="1118"/>
                </a:cubicBezTo>
                <a:cubicBezTo>
                  <a:pt x="2660" y="1117"/>
                  <a:pt x="2660" y="1117"/>
                  <a:pt x="2660" y="1117"/>
                </a:cubicBezTo>
                <a:cubicBezTo>
                  <a:pt x="2658" y="1118"/>
                  <a:pt x="2658" y="1118"/>
                  <a:pt x="2658" y="1118"/>
                </a:cubicBezTo>
                <a:cubicBezTo>
                  <a:pt x="2656" y="1117"/>
                  <a:pt x="2656" y="1117"/>
                  <a:pt x="2656" y="1117"/>
                </a:cubicBezTo>
                <a:cubicBezTo>
                  <a:pt x="2655" y="1115"/>
                  <a:pt x="2655" y="1115"/>
                  <a:pt x="2655" y="1115"/>
                </a:cubicBezTo>
                <a:cubicBezTo>
                  <a:pt x="2654" y="1114"/>
                  <a:pt x="2654" y="1114"/>
                  <a:pt x="2654" y="1114"/>
                </a:cubicBezTo>
                <a:cubicBezTo>
                  <a:pt x="2652" y="1111"/>
                  <a:pt x="2652" y="1111"/>
                  <a:pt x="2652" y="1111"/>
                </a:cubicBezTo>
                <a:cubicBezTo>
                  <a:pt x="2652" y="1108"/>
                  <a:pt x="2652" y="1108"/>
                  <a:pt x="2652" y="1108"/>
                </a:cubicBezTo>
                <a:cubicBezTo>
                  <a:pt x="2650" y="1108"/>
                  <a:pt x="2650" y="1108"/>
                  <a:pt x="2650" y="1108"/>
                </a:cubicBezTo>
                <a:cubicBezTo>
                  <a:pt x="2648" y="1109"/>
                  <a:pt x="2648" y="1109"/>
                  <a:pt x="2648" y="1109"/>
                </a:cubicBezTo>
                <a:cubicBezTo>
                  <a:pt x="2647" y="1107"/>
                  <a:pt x="2647" y="1107"/>
                  <a:pt x="2647" y="1107"/>
                </a:cubicBezTo>
                <a:cubicBezTo>
                  <a:pt x="2645" y="1107"/>
                  <a:pt x="2645" y="1107"/>
                  <a:pt x="2645" y="1107"/>
                </a:cubicBezTo>
                <a:cubicBezTo>
                  <a:pt x="2643" y="1106"/>
                  <a:pt x="2643" y="1106"/>
                  <a:pt x="2643" y="1106"/>
                </a:cubicBezTo>
                <a:cubicBezTo>
                  <a:pt x="2642" y="1105"/>
                  <a:pt x="2642" y="1105"/>
                  <a:pt x="2642" y="1105"/>
                </a:cubicBezTo>
                <a:cubicBezTo>
                  <a:pt x="2640" y="1105"/>
                  <a:pt x="2640" y="1105"/>
                  <a:pt x="2640" y="1105"/>
                </a:cubicBezTo>
                <a:cubicBezTo>
                  <a:pt x="2638" y="1105"/>
                  <a:pt x="2638" y="1105"/>
                  <a:pt x="2638" y="1105"/>
                </a:cubicBezTo>
                <a:cubicBezTo>
                  <a:pt x="2636" y="1102"/>
                  <a:pt x="2636" y="1102"/>
                  <a:pt x="2636" y="1102"/>
                </a:cubicBezTo>
                <a:cubicBezTo>
                  <a:pt x="2634" y="1103"/>
                  <a:pt x="2634" y="1103"/>
                  <a:pt x="2634" y="1103"/>
                </a:cubicBezTo>
                <a:cubicBezTo>
                  <a:pt x="2633" y="1107"/>
                  <a:pt x="2633" y="1107"/>
                  <a:pt x="2633" y="1107"/>
                </a:cubicBezTo>
                <a:cubicBezTo>
                  <a:pt x="2632" y="1108"/>
                  <a:pt x="2632" y="1108"/>
                  <a:pt x="2632" y="1108"/>
                </a:cubicBezTo>
                <a:cubicBezTo>
                  <a:pt x="2627" y="1109"/>
                  <a:pt x="2627" y="1109"/>
                  <a:pt x="2627" y="1109"/>
                </a:cubicBezTo>
                <a:cubicBezTo>
                  <a:pt x="2622" y="1108"/>
                  <a:pt x="2622" y="1108"/>
                  <a:pt x="2622" y="1108"/>
                </a:cubicBezTo>
                <a:cubicBezTo>
                  <a:pt x="2616" y="1108"/>
                  <a:pt x="2616" y="1108"/>
                  <a:pt x="2616" y="1108"/>
                </a:cubicBezTo>
                <a:cubicBezTo>
                  <a:pt x="2612" y="1107"/>
                  <a:pt x="2612" y="1107"/>
                  <a:pt x="2612" y="1107"/>
                </a:cubicBezTo>
                <a:cubicBezTo>
                  <a:pt x="2612" y="1106"/>
                  <a:pt x="2612" y="1106"/>
                  <a:pt x="2612" y="1106"/>
                </a:cubicBezTo>
                <a:cubicBezTo>
                  <a:pt x="2612" y="1104"/>
                  <a:pt x="2612" y="1104"/>
                  <a:pt x="2612" y="1104"/>
                </a:cubicBezTo>
                <a:cubicBezTo>
                  <a:pt x="2611" y="1102"/>
                  <a:pt x="2611" y="1102"/>
                  <a:pt x="2611" y="1102"/>
                </a:cubicBezTo>
                <a:cubicBezTo>
                  <a:pt x="2606" y="1101"/>
                  <a:pt x="2606" y="1101"/>
                  <a:pt x="2606" y="1101"/>
                </a:cubicBezTo>
                <a:cubicBezTo>
                  <a:pt x="2603" y="1100"/>
                  <a:pt x="2603" y="1100"/>
                  <a:pt x="2603" y="1100"/>
                </a:cubicBezTo>
                <a:cubicBezTo>
                  <a:pt x="2601" y="1099"/>
                  <a:pt x="2601" y="1099"/>
                  <a:pt x="2601" y="1099"/>
                </a:cubicBezTo>
                <a:cubicBezTo>
                  <a:pt x="2598" y="1099"/>
                  <a:pt x="2598" y="1099"/>
                  <a:pt x="2598" y="1099"/>
                </a:cubicBezTo>
                <a:cubicBezTo>
                  <a:pt x="2597" y="1100"/>
                  <a:pt x="2597" y="1100"/>
                  <a:pt x="2597" y="1100"/>
                </a:cubicBezTo>
                <a:cubicBezTo>
                  <a:pt x="2596" y="1100"/>
                  <a:pt x="2596" y="1100"/>
                  <a:pt x="2596" y="1100"/>
                </a:cubicBezTo>
                <a:cubicBezTo>
                  <a:pt x="2594" y="1099"/>
                  <a:pt x="2594" y="1099"/>
                  <a:pt x="2594" y="1099"/>
                </a:cubicBezTo>
                <a:cubicBezTo>
                  <a:pt x="2591" y="1099"/>
                  <a:pt x="2591" y="1099"/>
                  <a:pt x="2591" y="1099"/>
                </a:cubicBezTo>
                <a:cubicBezTo>
                  <a:pt x="2589" y="1099"/>
                  <a:pt x="2589" y="1099"/>
                  <a:pt x="2589" y="1099"/>
                </a:cubicBezTo>
                <a:cubicBezTo>
                  <a:pt x="2588" y="1098"/>
                  <a:pt x="2588" y="1098"/>
                  <a:pt x="2588" y="1098"/>
                </a:cubicBezTo>
                <a:cubicBezTo>
                  <a:pt x="2586" y="1100"/>
                  <a:pt x="2586" y="1100"/>
                  <a:pt x="2586" y="1100"/>
                </a:cubicBezTo>
                <a:cubicBezTo>
                  <a:pt x="2586" y="1102"/>
                  <a:pt x="2586" y="1102"/>
                  <a:pt x="2586" y="1102"/>
                </a:cubicBezTo>
                <a:cubicBezTo>
                  <a:pt x="2585" y="1104"/>
                  <a:pt x="2585" y="1104"/>
                  <a:pt x="2585" y="1104"/>
                </a:cubicBezTo>
                <a:cubicBezTo>
                  <a:pt x="2583" y="1105"/>
                  <a:pt x="2583" y="1105"/>
                  <a:pt x="2583" y="1105"/>
                </a:cubicBezTo>
                <a:cubicBezTo>
                  <a:pt x="2583" y="1107"/>
                  <a:pt x="2583" y="1107"/>
                  <a:pt x="2583" y="1107"/>
                </a:cubicBezTo>
                <a:cubicBezTo>
                  <a:pt x="2581" y="1107"/>
                  <a:pt x="2581" y="1107"/>
                  <a:pt x="2581" y="1107"/>
                </a:cubicBezTo>
                <a:cubicBezTo>
                  <a:pt x="2580" y="1106"/>
                  <a:pt x="2580" y="1106"/>
                  <a:pt x="2580" y="1106"/>
                </a:cubicBezTo>
                <a:cubicBezTo>
                  <a:pt x="2580" y="1106"/>
                  <a:pt x="2580" y="1106"/>
                  <a:pt x="2580" y="1106"/>
                </a:cubicBezTo>
                <a:cubicBezTo>
                  <a:pt x="2580" y="1108"/>
                  <a:pt x="2580" y="1108"/>
                  <a:pt x="2580" y="1108"/>
                </a:cubicBezTo>
                <a:cubicBezTo>
                  <a:pt x="2581" y="1108"/>
                  <a:pt x="2581" y="1108"/>
                  <a:pt x="2581" y="1108"/>
                </a:cubicBezTo>
                <a:cubicBezTo>
                  <a:pt x="2585" y="1108"/>
                  <a:pt x="2585" y="1108"/>
                  <a:pt x="2585" y="1108"/>
                </a:cubicBezTo>
                <a:cubicBezTo>
                  <a:pt x="2587" y="1108"/>
                  <a:pt x="2587" y="1108"/>
                  <a:pt x="2587" y="1108"/>
                </a:cubicBezTo>
                <a:cubicBezTo>
                  <a:pt x="2588" y="1109"/>
                  <a:pt x="2588" y="1109"/>
                  <a:pt x="2588" y="1109"/>
                </a:cubicBezTo>
                <a:cubicBezTo>
                  <a:pt x="2590" y="1110"/>
                  <a:pt x="2590" y="1110"/>
                  <a:pt x="2590" y="1110"/>
                </a:cubicBezTo>
                <a:cubicBezTo>
                  <a:pt x="2591" y="1109"/>
                  <a:pt x="2591" y="1109"/>
                  <a:pt x="2591" y="1109"/>
                </a:cubicBezTo>
                <a:cubicBezTo>
                  <a:pt x="2592" y="1110"/>
                  <a:pt x="2592" y="1110"/>
                  <a:pt x="2592" y="1110"/>
                </a:cubicBezTo>
                <a:cubicBezTo>
                  <a:pt x="2591" y="1110"/>
                  <a:pt x="2591" y="1110"/>
                  <a:pt x="2591" y="1110"/>
                </a:cubicBezTo>
                <a:cubicBezTo>
                  <a:pt x="2590" y="1113"/>
                  <a:pt x="2590" y="1113"/>
                  <a:pt x="2590" y="1113"/>
                </a:cubicBezTo>
                <a:cubicBezTo>
                  <a:pt x="2591" y="1114"/>
                  <a:pt x="2591" y="1114"/>
                  <a:pt x="2591" y="1114"/>
                </a:cubicBezTo>
                <a:cubicBezTo>
                  <a:pt x="2594" y="1114"/>
                  <a:pt x="2594" y="1114"/>
                  <a:pt x="2594" y="1114"/>
                </a:cubicBezTo>
                <a:cubicBezTo>
                  <a:pt x="2596" y="1115"/>
                  <a:pt x="2596" y="1115"/>
                  <a:pt x="2596" y="1115"/>
                </a:cubicBezTo>
                <a:cubicBezTo>
                  <a:pt x="2598" y="1114"/>
                  <a:pt x="2598" y="1114"/>
                  <a:pt x="2598" y="1114"/>
                </a:cubicBezTo>
                <a:cubicBezTo>
                  <a:pt x="2599" y="1115"/>
                  <a:pt x="2599" y="1115"/>
                  <a:pt x="2599" y="1115"/>
                </a:cubicBezTo>
                <a:cubicBezTo>
                  <a:pt x="2602" y="1115"/>
                  <a:pt x="2602" y="1115"/>
                  <a:pt x="2602" y="1115"/>
                </a:cubicBezTo>
                <a:cubicBezTo>
                  <a:pt x="2605" y="1117"/>
                  <a:pt x="2605" y="1117"/>
                  <a:pt x="2605" y="1117"/>
                </a:cubicBezTo>
                <a:cubicBezTo>
                  <a:pt x="2610" y="1119"/>
                  <a:pt x="2610" y="1119"/>
                  <a:pt x="2610" y="1119"/>
                </a:cubicBezTo>
                <a:cubicBezTo>
                  <a:pt x="2612" y="1116"/>
                  <a:pt x="2612" y="1116"/>
                  <a:pt x="2612" y="1116"/>
                </a:cubicBezTo>
                <a:cubicBezTo>
                  <a:pt x="2613" y="1116"/>
                  <a:pt x="2613" y="1116"/>
                  <a:pt x="2613" y="1116"/>
                </a:cubicBezTo>
                <a:cubicBezTo>
                  <a:pt x="2615" y="1118"/>
                  <a:pt x="2615" y="1118"/>
                  <a:pt x="2615" y="1118"/>
                </a:cubicBezTo>
                <a:cubicBezTo>
                  <a:pt x="2617" y="1118"/>
                  <a:pt x="2617" y="1118"/>
                  <a:pt x="2617" y="1118"/>
                </a:cubicBezTo>
                <a:cubicBezTo>
                  <a:pt x="2618" y="1117"/>
                  <a:pt x="2618" y="1117"/>
                  <a:pt x="2618" y="1117"/>
                </a:cubicBezTo>
                <a:cubicBezTo>
                  <a:pt x="2619" y="1117"/>
                  <a:pt x="2619" y="1117"/>
                  <a:pt x="2619" y="1117"/>
                </a:cubicBezTo>
                <a:cubicBezTo>
                  <a:pt x="2622" y="1118"/>
                  <a:pt x="2622" y="1118"/>
                  <a:pt x="2622" y="1118"/>
                </a:cubicBezTo>
                <a:cubicBezTo>
                  <a:pt x="2625" y="1118"/>
                  <a:pt x="2625" y="1118"/>
                  <a:pt x="2625" y="1118"/>
                </a:cubicBezTo>
                <a:cubicBezTo>
                  <a:pt x="2630" y="1121"/>
                  <a:pt x="2630" y="1121"/>
                  <a:pt x="2630" y="1121"/>
                </a:cubicBezTo>
                <a:cubicBezTo>
                  <a:pt x="2635" y="1124"/>
                  <a:pt x="2635" y="1124"/>
                  <a:pt x="2635" y="1124"/>
                </a:cubicBezTo>
                <a:cubicBezTo>
                  <a:pt x="2637" y="1122"/>
                  <a:pt x="2637" y="1122"/>
                  <a:pt x="2637" y="1122"/>
                </a:cubicBezTo>
                <a:lnTo>
                  <a:pt x="2641" y="1123"/>
                </a:lnTo>
                <a:close/>
                <a:moveTo>
                  <a:pt x="2642" y="1012"/>
                </a:moveTo>
                <a:cubicBezTo>
                  <a:pt x="2643" y="1011"/>
                  <a:pt x="2643" y="1011"/>
                  <a:pt x="2643" y="1011"/>
                </a:cubicBezTo>
                <a:cubicBezTo>
                  <a:pt x="2643" y="1010"/>
                  <a:pt x="2643" y="1010"/>
                  <a:pt x="2643" y="1010"/>
                </a:cubicBezTo>
                <a:lnTo>
                  <a:pt x="2642" y="1012"/>
                </a:lnTo>
                <a:close/>
                <a:moveTo>
                  <a:pt x="2716" y="766"/>
                </a:moveTo>
                <a:cubicBezTo>
                  <a:pt x="2714" y="770"/>
                  <a:pt x="2714" y="770"/>
                  <a:pt x="2714" y="770"/>
                </a:cubicBezTo>
                <a:cubicBezTo>
                  <a:pt x="2713" y="774"/>
                  <a:pt x="2713" y="774"/>
                  <a:pt x="2713" y="774"/>
                </a:cubicBezTo>
                <a:cubicBezTo>
                  <a:pt x="2712" y="775"/>
                  <a:pt x="2712" y="775"/>
                  <a:pt x="2712" y="775"/>
                </a:cubicBezTo>
                <a:cubicBezTo>
                  <a:pt x="2713" y="776"/>
                  <a:pt x="2713" y="776"/>
                  <a:pt x="2713" y="776"/>
                </a:cubicBezTo>
                <a:cubicBezTo>
                  <a:pt x="2713" y="780"/>
                  <a:pt x="2713" y="780"/>
                  <a:pt x="2713" y="780"/>
                </a:cubicBezTo>
                <a:cubicBezTo>
                  <a:pt x="2713" y="784"/>
                  <a:pt x="2713" y="784"/>
                  <a:pt x="2713" y="784"/>
                </a:cubicBezTo>
                <a:cubicBezTo>
                  <a:pt x="2715" y="784"/>
                  <a:pt x="2715" y="784"/>
                  <a:pt x="2715" y="784"/>
                </a:cubicBezTo>
                <a:cubicBezTo>
                  <a:pt x="2715" y="786"/>
                  <a:pt x="2715" y="786"/>
                  <a:pt x="2715" y="786"/>
                </a:cubicBezTo>
                <a:cubicBezTo>
                  <a:pt x="2714" y="786"/>
                  <a:pt x="2714" y="786"/>
                  <a:pt x="2714" y="786"/>
                </a:cubicBezTo>
                <a:cubicBezTo>
                  <a:pt x="2714" y="787"/>
                  <a:pt x="2714" y="787"/>
                  <a:pt x="2714" y="787"/>
                </a:cubicBezTo>
                <a:cubicBezTo>
                  <a:pt x="2715" y="789"/>
                  <a:pt x="2715" y="789"/>
                  <a:pt x="2715" y="789"/>
                </a:cubicBezTo>
                <a:cubicBezTo>
                  <a:pt x="2716" y="789"/>
                  <a:pt x="2716" y="789"/>
                  <a:pt x="2716" y="789"/>
                </a:cubicBezTo>
                <a:cubicBezTo>
                  <a:pt x="2717" y="790"/>
                  <a:pt x="2717" y="790"/>
                  <a:pt x="2717" y="790"/>
                </a:cubicBezTo>
                <a:cubicBezTo>
                  <a:pt x="2720" y="791"/>
                  <a:pt x="2720" y="791"/>
                  <a:pt x="2720" y="791"/>
                </a:cubicBezTo>
                <a:cubicBezTo>
                  <a:pt x="2721" y="793"/>
                  <a:pt x="2721" y="793"/>
                  <a:pt x="2721" y="793"/>
                </a:cubicBezTo>
                <a:cubicBezTo>
                  <a:pt x="2721" y="796"/>
                  <a:pt x="2721" y="796"/>
                  <a:pt x="2721" y="796"/>
                </a:cubicBezTo>
                <a:cubicBezTo>
                  <a:pt x="2721" y="797"/>
                  <a:pt x="2721" y="797"/>
                  <a:pt x="2721" y="797"/>
                </a:cubicBezTo>
                <a:cubicBezTo>
                  <a:pt x="2723" y="797"/>
                  <a:pt x="2723" y="797"/>
                  <a:pt x="2723" y="797"/>
                </a:cubicBezTo>
                <a:cubicBezTo>
                  <a:pt x="2724" y="797"/>
                  <a:pt x="2724" y="797"/>
                  <a:pt x="2724" y="797"/>
                </a:cubicBezTo>
                <a:cubicBezTo>
                  <a:pt x="2724" y="795"/>
                  <a:pt x="2724" y="795"/>
                  <a:pt x="2724" y="795"/>
                </a:cubicBezTo>
                <a:cubicBezTo>
                  <a:pt x="2724" y="793"/>
                  <a:pt x="2724" y="793"/>
                  <a:pt x="2724" y="793"/>
                </a:cubicBezTo>
                <a:cubicBezTo>
                  <a:pt x="2723" y="790"/>
                  <a:pt x="2723" y="790"/>
                  <a:pt x="2723" y="790"/>
                </a:cubicBezTo>
                <a:cubicBezTo>
                  <a:pt x="2725" y="788"/>
                  <a:pt x="2725" y="788"/>
                  <a:pt x="2725" y="788"/>
                </a:cubicBezTo>
                <a:cubicBezTo>
                  <a:pt x="2727" y="784"/>
                  <a:pt x="2727" y="784"/>
                  <a:pt x="2727" y="784"/>
                </a:cubicBezTo>
                <a:cubicBezTo>
                  <a:pt x="2727" y="781"/>
                  <a:pt x="2727" y="781"/>
                  <a:pt x="2727" y="781"/>
                </a:cubicBezTo>
                <a:cubicBezTo>
                  <a:pt x="2728" y="781"/>
                  <a:pt x="2728" y="781"/>
                  <a:pt x="2728" y="781"/>
                </a:cubicBezTo>
                <a:cubicBezTo>
                  <a:pt x="2727" y="780"/>
                  <a:pt x="2727" y="780"/>
                  <a:pt x="2727" y="780"/>
                </a:cubicBezTo>
                <a:cubicBezTo>
                  <a:pt x="2728" y="776"/>
                  <a:pt x="2728" y="776"/>
                  <a:pt x="2728" y="776"/>
                </a:cubicBezTo>
                <a:cubicBezTo>
                  <a:pt x="2728" y="774"/>
                  <a:pt x="2728" y="774"/>
                  <a:pt x="2728" y="774"/>
                </a:cubicBezTo>
                <a:cubicBezTo>
                  <a:pt x="2727" y="771"/>
                  <a:pt x="2727" y="771"/>
                  <a:pt x="2727" y="771"/>
                </a:cubicBezTo>
                <a:cubicBezTo>
                  <a:pt x="2729" y="769"/>
                  <a:pt x="2729" y="769"/>
                  <a:pt x="2729" y="769"/>
                </a:cubicBezTo>
                <a:cubicBezTo>
                  <a:pt x="2729" y="763"/>
                  <a:pt x="2729" y="763"/>
                  <a:pt x="2729" y="763"/>
                </a:cubicBezTo>
                <a:cubicBezTo>
                  <a:pt x="2730" y="761"/>
                  <a:pt x="2730" y="761"/>
                  <a:pt x="2730" y="761"/>
                </a:cubicBezTo>
                <a:cubicBezTo>
                  <a:pt x="2730" y="761"/>
                  <a:pt x="2730" y="761"/>
                  <a:pt x="2730" y="761"/>
                </a:cubicBezTo>
                <a:cubicBezTo>
                  <a:pt x="2730" y="759"/>
                  <a:pt x="2730" y="759"/>
                  <a:pt x="2730" y="759"/>
                </a:cubicBezTo>
                <a:cubicBezTo>
                  <a:pt x="2728" y="758"/>
                  <a:pt x="2728" y="758"/>
                  <a:pt x="2728" y="758"/>
                </a:cubicBezTo>
                <a:cubicBezTo>
                  <a:pt x="2728" y="758"/>
                  <a:pt x="2728" y="758"/>
                  <a:pt x="2728" y="758"/>
                </a:cubicBezTo>
                <a:cubicBezTo>
                  <a:pt x="2727" y="755"/>
                  <a:pt x="2727" y="755"/>
                  <a:pt x="2727" y="755"/>
                </a:cubicBezTo>
                <a:cubicBezTo>
                  <a:pt x="2724" y="755"/>
                  <a:pt x="2724" y="755"/>
                  <a:pt x="2724" y="755"/>
                </a:cubicBezTo>
                <a:cubicBezTo>
                  <a:pt x="2723" y="755"/>
                  <a:pt x="2723" y="755"/>
                  <a:pt x="2723" y="755"/>
                </a:cubicBezTo>
                <a:cubicBezTo>
                  <a:pt x="2723" y="757"/>
                  <a:pt x="2723" y="757"/>
                  <a:pt x="2723" y="757"/>
                </a:cubicBezTo>
                <a:cubicBezTo>
                  <a:pt x="2721" y="757"/>
                  <a:pt x="2721" y="757"/>
                  <a:pt x="2721" y="757"/>
                </a:cubicBezTo>
                <a:cubicBezTo>
                  <a:pt x="2719" y="760"/>
                  <a:pt x="2719" y="760"/>
                  <a:pt x="2719" y="760"/>
                </a:cubicBezTo>
                <a:cubicBezTo>
                  <a:pt x="2717" y="763"/>
                  <a:pt x="2717" y="763"/>
                  <a:pt x="2717" y="763"/>
                </a:cubicBezTo>
                <a:cubicBezTo>
                  <a:pt x="2718" y="764"/>
                  <a:pt x="2718" y="764"/>
                  <a:pt x="2718" y="764"/>
                </a:cubicBezTo>
                <a:cubicBezTo>
                  <a:pt x="2717" y="766"/>
                  <a:pt x="2717" y="766"/>
                  <a:pt x="2717" y="766"/>
                </a:cubicBezTo>
                <a:lnTo>
                  <a:pt x="2716" y="766"/>
                </a:lnTo>
                <a:close/>
                <a:moveTo>
                  <a:pt x="2556" y="1029"/>
                </a:moveTo>
                <a:cubicBezTo>
                  <a:pt x="2558" y="1030"/>
                  <a:pt x="2558" y="1030"/>
                  <a:pt x="2558" y="1030"/>
                </a:cubicBezTo>
                <a:cubicBezTo>
                  <a:pt x="2559" y="1029"/>
                  <a:pt x="2559" y="1029"/>
                  <a:pt x="2559" y="1029"/>
                </a:cubicBezTo>
                <a:cubicBezTo>
                  <a:pt x="2558" y="1026"/>
                  <a:pt x="2558" y="1026"/>
                  <a:pt x="2558" y="1026"/>
                </a:cubicBezTo>
                <a:cubicBezTo>
                  <a:pt x="2556" y="1025"/>
                  <a:pt x="2556" y="1025"/>
                  <a:pt x="2556" y="1025"/>
                </a:cubicBezTo>
                <a:cubicBezTo>
                  <a:pt x="2553" y="1024"/>
                  <a:pt x="2553" y="1024"/>
                  <a:pt x="2553" y="1024"/>
                </a:cubicBezTo>
                <a:cubicBezTo>
                  <a:pt x="2552" y="1027"/>
                  <a:pt x="2552" y="1027"/>
                  <a:pt x="2552" y="1027"/>
                </a:cubicBezTo>
                <a:cubicBezTo>
                  <a:pt x="2552" y="1029"/>
                  <a:pt x="2552" y="1029"/>
                  <a:pt x="2552" y="1029"/>
                </a:cubicBezTo>
                <a:lnTo>
                  <a:pt x="2556" y="1029"/>
                </a:lnTo>
                <a:close/>
                <a:moveTo>
                  <a:pt x="2569" y="1026"/>
                </a:moveTo>
                <a:cubicBezTo>
                  <a:pt x="2569" y="1024"/>
                  <a:pt x="2569" y="1024"/>
                  <a:pt x="2569" y="1024"/>
                </a:cubicBezTo>
                <a:cubicBezTo>
                  <a:pt x="2569" y="1023"/>
                  <a:pt x="2569" y="1023"/>
                  <a:pt x="2569" y="1023"/>
                </a:cubicBezTo>
                <a:cubicBezTo>
                  <a:pt x="2566" y="1026"/>
                  <a:pt x="2566" y="1026"/>
                  <a:pt x="2566" y="1026"/>
                </a:cubicBezTo>
                <a:lnTo>
                  <a:pt x="2569" y="1026"/>
                </a:lnTo>
                <a:close/>
                <a:moveTo>
                  <a:pt x="2549" y="1021"/>
                </a:moveTo>
                <a:cubicBezTo>
                  <a:pt x="2548" y="1021"/>
                  <a:pt x="2548" y="1021"/>
                  <a:pt x="2548" y="1021"/>
                </a:cubicBezTo>
                <a:cubicBezTo>
                  <a:pt x="2550" y="1025"/>
                  <a:pt x="2550" y="1025"/>
                  <a:pt x="2550" y="1025"/>
                </a:cubicBezTo>
                <a:cubicBezTo>
                  <a:pt x="2551" y="1026"/>
                  <a:pt x="2551" y="1026"/>
                  <a:pt x="2551" y="1026"/>
                </a:cubicBezTo>
                <a:cubicBezTo>
                  <a:pt x="2553" y="1023"/>
                  <a:pt x="2553" y="1023"/>
                  <a:pt x="2553" y="1023"/>
                </a:cubicBezTo>
                <a:cubicBezTo>
                  <a:pt x="2551" y="1022"/>
                  <a:pt x="2551" y="1022"/>
                  <a:pt x="2551" y="1022"/>
                </a:cubicBezTo>
                <a:lnTo>
                  <a:pt x="2549" y="1021"/>
                </a:lnTo>
                <a:close/>
                <a:moveTo>
                  <a:pt x="2542" y="1016"/>
                </a:moveTo>
                <a:cubicBezTo>
                  <a:pt x="2541" y="1016"/>
                  <a:pt x="2541" y="1016"/>
                  <a:pt x="2541" y="1016"/>
                </a:cubicBezTo>
                <a:cubicBezTo>
                  <a:pt x="2542" y="1019"/>
                  <a:pt x="2542" y="1019"/>
                  <a:pt x="2542" y="1019"/>
                </a:cubicBezTo>
                <a:cubicBezTo>
                  <a:pt x="2544" y="1019"/>
                  <a:pt x="2544" y="1019"/>
                  <a:pt x="2544" y="1019"/>
                </a:cubicBezTo>
                <a:cubicBezTo>
                  <a:pt x="2546" y="1017"/>
                  <a:pt x="2546" y="1017"/>
                  <a:pt x="2546" y="1017"/>
                </a:cubicBezTo>
                <a:cubicBezTo>
                  <a:pt x="2544" y="1015"/>
                  <a:pt x="2544" y="1015"/>
                  <a:pt x="2544" y="1015"/>
                </a:cubicBezTo>
                <a:lnTo>
                  <a:pt x="2542" y="1016"/>
                </a:lnTo>
                <a:close/>
                <a:moveTo>
                  <a:pt x="2574" y="1023"/>
                </a:moveTo>
                <a:cubicBezTo>
                  <a:pt x="2573" y="1024"/>
                  <a:pt x="2573" y="1024"/>
                  <a:pt x="2573" y="1024"/>
                </a:cubicBezTo>
                <a:cubicBezTo>
                  <a:pt x="2571" y="1024"/>
                  <a:pt x="2571" y="1024"/>
                  <a:pt x="2571" y="1024"/>
                </a:cubicBezTo>
                <a:cubicBezTo>
                  <a:pt x="2570" y="1026"/>
                  <a:pt x="2570" y="1026"/>
                  <a:pt x="2570" y="1026"/>
                </a:cubicBezTo>
                <a:cubicBezTo>
                  <a:pt x="2573" y="1026"/>
                  <a:pt x="2573" y="1026"/>
                  <a:pt x="2573" y="1026"/>
                </a:cubicBezTo>
                <a:cubicBezTo>
                  <a:pt x="2573" y="1029"/>
                  <a:pt x="2573" y="1029"/>
                  <a:pt x="2573" y="1029"/>
                </a:cubicBezTo>
                <a:cubicBezTo>
                  <a:pt x="2575" y="1029"/>
                  <a:pt x="2575" y="1029"/>
                  <a:pt x="2575" y="1029"/>
                </a:cubicBezTo>
                <a:cubicBezTo>
                  <a:pt x="2575" y="1025"/>
                  <a:pt x="2575" y="1025"/>
                  <a:pt x="2575" y="1025"/>
                </a:cubicBezTo>
                <a:cubicBezTo>
                  <a:pt x="2574" y="1024"/>
                  <a:pt x="2574" y="1024"/>
                  <a:pt x="2574" y="1024"/>
                </a:cubicBezTo>
                <a:cubicBezTo>
                  <a:pt x="2575" y="1023"/>
                  <a:pt x="2575" y="1023"/>
                  <a:pt x="2575" y="1023"/>
                </a:cubicBezTo>
                <a:lnTo>
                  <a:pt x="2574" y="1023"/>
                </a:lnTo>
                <a:close/>
                <a:moveTo>
                  <a:pt x="2521" y="965"/>
                </a:moveTo>
                <a:cubicBezTo>
                  <a:pt x="2521" y="967"/>
                  <a:pt x="2521" y="967"/>
                  <a:pt x="2521" y="967"/>
                </a:cubicBezTo>
                <a:cubicBezTo>
                  <a:pt x="2522" y="967"/>
                  <a:pt x="2522" y="967"/>
                  <a:pt x="2522" y="967"/>
                </a:cubicBezTo>
                <a:cubicBezTo>
                  <a:pt x="2522" y="965"/>
                  <a:pt x="2522" y="965"/>
                  <a:pt x="2522" y="965"/>
                </a:cubicBezTo>
                <a:cubicBezTo>
                  <a:pt x="2521" y="965"/>
                  <a:pt x="2521" y="965"/>
                  <a:pt x="2521" y="965"/>
                </a:cubicBezTo>
                <a:close/>
                <a:moveTo>
                  <a:pt x="2580" y="1105"/>
                </a:moveTo>
                <a:cubicBezTo>
                  <a:pt x="2579" y="1105"/>
                  <a:pt x="2579" y="1105"/>
                  <a:pt x="2579" y="1105"/>
                </a:cubicBezTo>
                <a:cubicBezTo>
                  <a:pt x="2579" y="1106"/>
                  <a:pt x="2579" y="1106"/>
                  <a:pt x="2579" y="1106"/>
                </a:cubicBezTo>
                <a:cubicBezTo>
                  <a:pt x="2580" y="1106"/>
                  <a:pt x="2580" y="1106"/>
                  <a:pt x="2580" y="1106"/>
                </a:cubicBezTo>
                <a:lnTo>
                  <a:pt x="2580" y="1105"/>
                </a:lnTo>
                <a:close/>
                <a:moveTo>
                  <a:pt x="2526" y="977"/>
                </a:moveTo>
                <a:cubicBezTo>
                  <a:pt x="2526" y="979"/>
                  <a:pt x="2526" y="979"/>
                  <a:pt x="2526" y="979"/>
                </a:cubicBezTo>
                <a:cubicBezTo>
                  <a:pt x="2528" y="980"/>
                  <a:pt x="2528" y="980"/>
                  <a:pt x="2528" y="980"/>
                </a:cubicBezTo>
                <a:cubicBezTo>
                  <a:pt x="2528" y="980"/>
                  <a:pt x="2528" y="980"/>
                  <a:pt x="2528" y="980"/>
                </a:cubicBezTo>
                <a:cubicBezTo>
                  <a:pt x="2528" y="978"/>
                  <a:pt x="2528" y="978"/>
                  <a:pt x="2528" y="978"/>
                </a:cubicBezTo>
                <a:cubicBezTo>
                  <a:pt x="2527" y="977"/>
                  <a:pt x="2527" y="977"/>
                  <a:pt x="2527" y="977"/>
                </a:cubicBezTo>
                <a:lnTo>
                  <a:pt x="2526" y="977"/>
                </a:lnTo>
                <a:close/>
                <a:moveTo>
                  <a:pt x="2591" y="1003"/>
                </a:moveTo>
                <a:cubicBezTo>
                  <a:pt x="2590" y="1002"/>
                  <a:pt x="2590" y="1002"/>
                  <a:pt x="2590" y="1002"/>
                </a:cubicBezTo>
                <a:cubicBezTo>
                  <a:pt x="2589" y="1003"/>
                  <a:pt x="2589" y="1003"/>
                  <a:pt x="2589" y="1003"/>
                </a:cubicBezTo>
                <a:lnTo>
                  <a:pt x="2591" y="1003"/>
                </a:lnTo>
                <a:close/>
                <a:moveTo>
                  <a:pt x="2590" y="999"/>
                </a:moveTo>
                <a:cubicBezTo>
                  <a:pt x="2590" y="1001"/>
                  <a:pt x="2590" y="1001"/>
                  <a:pt x="2590" y="1001"/>
                </a:cubicBezTo>
                <a:cubicBezTo>
                  <a:pt x="2591" y="999"/>
                  <a:pt x="2591" y="999"/>
                  <a:pt x="2591" y="999"/>
                </a:cubicBezTo>
                <a:lnTo>
                  <a:pt x="2590" y="999"/>
                </a:lnTo>
                <a:close/>
                <a:moveTo>
                  <a:pt x="2590" y="1007"/>
                </a:moveTo>
                <a:cubicBezTo>
                  <a:pt x="2591" y="1006"/>
                  <a:pt x="2591" y="1006"/>
                  <a:pt x="2591" y="1006"/>
                </a:cubicBezTo>
                <a:cubicBezTo>
                  <a:pt x="2590" y="1005"/>
                  <a:pt x="2590" y="1005"/>
                  <a:pt x="2590" y="1005"/>
                </a:cubicBezTo>
                <a:lnTo>
                  <a:pt x="2590" y="1007"/>
                </a:lnTo>
                <a:close/>
                <a:moveTo>
                  <a:pt x="2592" y="1063"/>
                </a:moveTo>
                <a:cubicBezTo>
                  <a:pt x="2589" y="1061"/>
                  <a:pt x="2589" y="1061"/>
                  <a:pt x="2589" y="1061"/>
                </a:cubicBezTo>
                <a:cubicBezTo>
                  <a:pt x="2589" y="1056"/>
                  <a:pt x="2589" y="1056"/>
                  <a:pt x="2589" y="1056"/>
                </a:cubicBezTo>
                <a:cubicBezTo>
                  <a:pt x="2588" y="1055"/>
                  <a:pt x="2588" y="1055"/>
                  <a:pt x="2588" y="1055"/>
                </a:cubicBezTo>
                <a:cubicBezTo>
                  <a:pt x="2588" y="1054"/>
                  <a:pt x="2588" y="1054"/>
                  <a:pt x="2588" y="1054"/>
                </a:cubicBezTo>
                <a:cubicBezTo>
                  <a:pt x="2586" y="1053"/>
                  <a:pt x="2586" y="1053"/>
                  <a:pt x="2586" y="1053"/>
                </a:cubicBezTo>
                <a:cubicBezTo>
                  <a:pt x="2585" y="1053"/>
                  <a:pt x="2585" y="1053"/>
                  <a:pt x="2585" y="1053"/>
                </a:cubicBezTo>
                <a:cubicBezTo>
                  <a:pt x="2585" y="1055"/>
                  <a:pt x="2585" y="1055"/>
                  <a:pt x="2585" y="1055"/>
                </a:cubicBezTo>
                <a:cubicBezTo>
                  <a:pt x="2586" y="1056"/>
                  <a:pt x="2586" y="1056"/>
                  <a:pt x="2586" y="1056"/>
                </a:cubicBezTo>
                <a:cubicBezTo>
                  <a:pt x="2584" y="1055"/>
                  <a:pt x="2584" y="1055"/>
                  <a:pt x="2584" y="1055"/>
                </a:cubicBezTo>
                <a:cubicBezTo>
                  <a:pt x="2582" y="1054"/>
                  <a:pt x="2582" y="1054"/>
                  <a:pt x="2582" y="1054"/>
                </a:cubicBezTo>
                <a:cubicBezTo>
                  <a:pt x="2582" y="1054"/>
                  <a:pt x="2582" y="1054"/>
                  <a:pt x="2582" y="1054"/>
                </a:cubicBezTo>
                <a:cubicBezTo>
                  <a:pt x="2582" y="1056"/>
                  <a:pt x="2582" y="1056"/>
                  <a:pt x="2582" y="1056"/>
                </a:cubicBezTo>
                <a:cubicBezTo>
                  <a:pt x="2580" y="1058"/>
                  <a:pt x="2580" y="1058"/>
                  <a:pt x="2580" y="1058"/>
                </a:cubicBezTo>
                <a:cubicBezTo>
                  <a:pt x="2581" y="1059"/>
                  <a:pt x="2581" y="1059"/>
                  <a:pt x="2581" y="1059"/>
                </a:cubicBezTo>
                <a:cubicBezTo>
                  <a:pt x="2585" y="1059"/>
                  <a:pt x="2585" y="1059"/>
                  <a:pt x="2585" y="1059"/>
                </a:cubicBezTo>
                <a:cubicBezTo>
                  <a:pt x="2586" y="1060"/>
                  <a:pt x="2586" y="1060"/>
                  <a:pt x="2586" y="1060"/>
                </a:cubicBezTo>
                <a:cubicBezTo>
                  <a:pt x="2586" y="1062"/>
                  <a:pt x="2586" y="1062"/>
                  <a:pt x="2586" y="1062"/>
                </a:cubicBezTo>
                <a:cubicBezTo>
                  <a:pt x="2587" y="1063"/>
                  <a:pt x="2587" y="1063"/>
                  <a:pt x="2587" y="1063"/>
                </a:cubicBezTo>
                <a:cubicBezTo>
                  <a:pt x="2588" y="1066"/>
                  <a:pt x="2588" y="1066"/>
                  <a:pt x="2588" y="1066"/>
                </a:cubicBezTo>
                <a:cubicBezTo>
                  <a:pt x="2590" y="1067"/>
                  <a:pt x="2590" y="1067"/>
                  <a:pt x="2590" y="1067"/>
                </a:cubicBezTo>
                <a:cubicBezTo>
                  <a:pt x="2592" y="1067"/>
                  <a:pt x="2592" y="1067"/>
                  <a:pt x="2592" y="1067"/>
                </a:cubicBezTo>
                <a:cubicBezTo>
                  <a:pt x="2593" y="1069"/>
                  <a:pt x="2593" y="1069"/>
                  <a:pt x="2593" y="1069"/>
                </a:cubicBezTo>
                <a:cubicBezTo>
                  <a:pt x="2594" y="1070"/>
                  <a:pt x="2594" y="1070"/>
                  <a:pt x="2594" y="1070"/>
                </a:cubicBezTo>
                <a:cubicBezTo>
                  <a:pt x="2595" y="1068"/>
                  <a:pt x="2595" y="1068"/>
                  <a:pt x="2595" y="1068"/>
                </a:cubicBezTo>
                <a:cubicBezTo>
                  <a:pt x="2594" y="1066"/>
                  <a:pt x="2594" y="1066"/>
                  <a:pt x="2594" y="1066"/>
                </a:cubicBezTo>
                <a:cubicBezTo>
                  <a:pt x="2595" y="1064"/>
                  <a:pt x="2595" y="1064"/>
                  <a:pt x="2595" y="1064"/>
                </a:cubicBezTo>
                <a:lnTo>
                  <a:pt x="2592" y="1063"/>
                </a:lnTo>
                <a:close/>
                <a:moveTo>
                  <a:pt x="2587" y="1004"/>
                </a:moveTo>
                <a:cubicBezTo>
                  <a:pt x="2585" y="1003"/>
                  <a:pt x="2585" y="1003"/>
                  <a:pt x="2585" y="1003"/>
                </a:cubicBezTo>
                <a:cubicBezTo>
                  <a:pt x="2584" y="1003"/>
                  <a:pt x="2584" y="1003"/>
                  <a:pt x="2584" y="1003"/>
                </a:cubicBezTo>
                <a:cubicBezTo>
                  <a:pt x="2584" y="1005"/>
                  <a:pt x="2584" y="1005"/>
                  <a:pt x="2584" y="1005"/>
                </a:cubicBezTo>
                <a:cubicBezTo>
                  <a:pt x="2585" y="1006"/>
                  <a:pt x="2585" y="1006"/>
                  <a:pt x="2585" y="1006"/>
                </a:cubicBezTo>
                <a:lnTo>
                  <a:pt x="2587" y="1004"/>
                </a:lnTo>
                <a:close/>
                <a:moveTo>
                  <a:pt x="2574" y="1044"/>
                </a:moveTo>
                <a:cubicBezTo>
                  <a:pt x="2574" y="1042"/>
                  <a:pt x="2574" y="1042"/>
                  <a:pt x="2574" y="1042"/>
                </a:cubicBezTo>
                <a:cubicBezTo>
                  <a:pt x="2572" y="1042"/>
                  <a:pt x="2572" y="1042"/>
                  <a:pt x="2572" y="1042"/>
                </a:cubicBezTo>
                <a:cubicBezTo>
                  <a:pt x="2571" y="1043"/>
                  <a:pt x="2571" y="1043"/>
                  <a:pt x="2571" y="1043"/>
                </a:cubicBezTo>
                <a:cubicBezTo>
                  <a:pt x="2573" y="1045"/>
                  <a:pt x="2573" y="1045"/>
                  <a:pt x="2573" y="1045"/>
                </a:cubicBezTo>
                <a:lnTo>
                  <a:pt x="2574" y="1044"/>
                </a:lnTo>
                <a:close/>
                <a:moveTo>
                  <a:pt x="2578" y="1042"/>
                </a:moveTo>
                <a:cubicBezTo>
                  <a:pt x="2578" y="1041"/>
                  <a:pt x="2578" y="1041"/>
                  <a:pt x="2578" y="1041"/>
                </a:cubicBezTo>
                <a:cubicBezTo>
                  <a:pt x="2575" y="1038"/>
                  <a:pt x="2575" y="1038"/>
                  <a:pt x="2575" y="1038"/>
                </a:cubicBezTo>
                <a:cubicBezTo>
                  <a:pt x="2574" y="1038"/>
                  <a:pt x="2574" y="1038"/>
                  <a:pt x="2574" y="1038"/>
                </a:cubicBezTo>
                <a:cubicBezTo>
                  <a:pt x="2573" y="1040"/>
                  <a:pt x="2573" y="1040"/>
                  <a:pt x="2573" y="1040"/>
                </a:cubicBezTo>
                <a:cubicBezTo>
                  <a:pt x="2574" y="1041"/>
                  <a:pt x="2574" y="1041"/>
                  <a:pt x="2574" y="1041"/>
                </a:cubicBezTo>
                <a:cubicBezTo>
                  <a:pt x="2575" y="1040"/>
                  <a:pt x="2575" y="1040"/>
                  <a:pt x="2575" y="1040"/>
                </a:cubicBezTo>
                <a:lnTo>
                  <a:pt x="2578" y="1042"/>
                </a:lnTo>
                <a:close/>
                <a:moveTo>
                  <a:pt x="2764" y="903"/>
                </a:moveTo>
                <a:cubicBezTo>
                  <a:pt x="2765" y="903"/>
                  <a:pt x="2765" y="903"/>
                  <a:pt x="2765" y="903"/>
                </a:cubicBezTo>
                <a:cubicBezTo>
                  <a:pt x="2763" y="901"/>
                  <a:pt x="2763" y="901"/>
                  <a:pt x="2763" y="901"/>
                </a:cubicBezTo>
                <a:cubicBezTo>
                  <a:pt x="2761" y="901"/>
                  <a:pt x="2761" y="901"/>
                  <a:pt x="2761" y="901"/>
                </a:cubicBezTo>
                <a:cubicBezTo>
                  <a:pt x="2762" y="902"/>
                  <a:pt x="2762" y="902"/>
                  <a:pt x="2762" y="902"/>
                </a:cubicBezTo>
                <a:lnTo>
                  <a:pt x="2764" y="903"/>
                </a:lnTo>
                <a:close/>
                <a:moveTo>
                  <a:pt x="1616" y="399"/>
                </a:moveTo>
                <a:cubicBezTo>
                  <a:pt x="1615" y="401"/>
                  <a:pt x="1615" y="401"/>
                  <a:pt x="1615" y="401"/>
                </a:cubicBezTo>
                <a:cubicBezTo>
                  <a:pt x="1617" y="402"/>
                  <a:pt x="1617" y="402"/>
                  <a:pt x="1617" y="402"/>
                </a:cubicBezTo>
                <a:lnTo>
                  <a:pt x="1616" y="399"/>
                </a:lnTo>
                <a:close/>
                <a:moveTo>
                  <a:pt x="1612" y="410"/>
                </a:moveTo>
                <a:cubicBezTo>
                  <a:pt x="1613" y="410"/>
                  <a:pt x="1613" y="410"/>
                  <a:pt x="1613" y="410"/>
                </a:cubicBezTo>
                <a:cubicBezTo>
                  <a:pt x="1614" y="409"/>
                  <a:pt x="1614" y="409"/>
                  <a:pt x="1614" y="409"/>
                </a:cubicBezTo>
                <a:cubicBezTo>
                  <a:pt x="1615" y="409"/>
                  <a:pt x="1615" y="409"/>
                  <a:pt x="1615" y="409"/>
                </a:cubicBezTo>
                <a:cubicBezTo>
                  <a:pt x="1615" y="408"/>
                  <a:pt x="1615" y="408"/>
                  <a:pt x="1615" y="408"/>
                </a:cubicBezTo>
                <a:cubicBezTo>
                  <a:pt x="1613" y="408"/>
                  <a:pt x="1613" y="408"/>
                  <a:pt x="1613" y="408"/>
                </a:cubicBezTo>
                <a:lnTo>
                  <a:pt x="1612" y="410"/>
                </a:lnTo>
                <a:close/>
                <a:moveTo>
                  <a:pt x="1600" y="376"/>
                </a:moveTo>
                <a:cubicBezTo>
                  <a:pt x="1601" y="376"/>
                  <a:pt x="1601" y="376"/>
                  <a:pt x="1601" y="376"/>
                </a:cubicBezTo>
                <a:cubicBezTo>
                  <a:pt x="1603" y="375"/>
                  <a:pt x="1603" y="375"/>
                  <a:pt x="1603" y="375"/>
                </a:cubicBezTo>
                <a:cubicBezTo>
                  <a:pt x="1601" y="375"/>
                  <a:pt x="1601" y="375"/>
                  <a:pt x="1601" y="375"/>
                </a:cubicBezTo>
                <a:lnTo>
                  <a:pt x="1600" y="376"/>
                </a:lnTo>
                <a:close/>
                <a:moveTo>
                  <a:pt x="1604" y="412"/>
                </a:moveTo>
                <a:cubicBezTo>
                  <a:pt x="1603" y="412"/>
                  <a:pt x="1603" y="412"/>
                  <a:pt x="1603" y="412"/>
                </a:cubicBezTo>
                <a:cubicBezTo>
                  <a:pt x="1603" y="413"/>
                  <a:pt x="1603" y="413"/>
                  <a:pt x="1603" y="413"/>
                </a:cubicBezTo>
                <a:cubicBezTo>
                  <a:pt x="1606" y="414"/>
                  <a:pt x="1606" y="414"/>
                  <a:pt x="1606" y="414"/>
                </a:cubicBezTo>
                <a:cubicBezTo>
                  <a:pt x="1609" y="414"/>
                  <a:pt x="1609" y="414"/>
                  <a:pt x="1609" y="414"/>
                </a:cubicBezTo>
                <a:cubicBezTo>
                  <a:pt x="1610" y="413"/>
                  <a:pt x="1610" y="413"/>
                  <a:pt x="1610" y="413"/>
                </a:cubicBezTo>
                <a:cubicBezTo>
                  <a:pt x="1611" y="414"/>
                  <a:pt x="1611" y="414"/>
                  <a:pt x="1611" y="414"/>
                </a:cubicBezTo>
                <a:cubicBezTo>
                  <a:pt x="1611" y="415"/>
                  <a:pt x="1611" y="415"/>
                  <a:pt x="1611" y="415"/>
                </a:cubicBezTo>
                <a:cubicBezTo>
                  <a:pt x="1611" y="413"/>
                  <a:pt x="1611" y="413"/>
                  <a:pt x="1611" y="413"/>
                </a:cubicBezTo>
                <a:cubicBezTo>
                  <a:pt x="1612" y="411"/>
                  <a:pt x="1612" y="411"/>
                  <a:pt x="1612" y="411"/>
                </a:cubicBezTo>
                <a:cubicBezTo>
                  <a:pt x="1612" y="410"/>
                  <a:pt x="1612" y="410"/>
                  <a:pt x="1612" y="410"/>
                </a:cubicBezTo>
                <a:cubicBezTo>
                  <a:pt x="1611" y="410"/>
                  <a:pt x="1611" y="410"/>
                  <a:pt x="1611" y="410"/>
                </a:cubicBezTo>
                <a:cubicBezTo>
                  <a:pt x="1610" y="410"/>
                  <a:pt x="1610" y="410"/>
                  <a:pt x="1610" y="410"/>
                </a:cubicBezTo>
                <a:cubicBezTo>
                  <a:pt x="1609" y="412"/>
                  <a:pt x="1609" y="412"/>
                  <a:pt x="1609" y="412"/>
                </a:cubicBezTo>
                <a:cubicBezTo>
                  <a:pt x="1608" y="412"/>
                  <a:pt x="1608" y="412"/>
                  <a:pt x="1608" y="412"/>
                </a:cubicBezTo>
                <a:cubicBezTo>
                  <a:pt x="1607" y="412"/>
                  <a:pt x="1607" y="412"/>
                  <a:pt x="1607" y="412"/>
                </a:cubicBezTo>
                <a:cubicBezTo>
                  <a:pt x="1605" y="409"/>
                  <a:pt x="1605" y="409"/>
                  <a:pt x="1605" y="409"/>
                </a:cubicBezTo>
                <a:cubicBezTo>
                  <a:pt x="1604" y="410"/>
                  <a:pt x="1604" y="410"/>
                  <a:pt x="1604" y="410"/>
                </a:cubicBezTo>
                <a:cubicBezTo>
                  <a:pt x="1603" y="411"/>
                  <a:pt x="1603" y="411"/>
                  <a:pt x="1603" y="411"/>
                </a:cubicBezTo>
                <a:lnTo>
                  <a:pt x="1604" y="412"/>
                </a:lnTo>
                <a:close/>
                <a:moveTo>
                  <a:pt x="1582" y="384"/>
                </a:moveTo>
                <a:cubicBezTo>
                  <a:pt x="1582" y="386"/>
                  <a:pt x="1582" y="386"/>
                  <a:pt x="1582" y="386"/>
                </a:cubicBezTo>
                <a:cubicBezTo>
                  <a:pt x="1583" y="385"/>
                  <a:pt x="1583" y="385"/>
                  <a:pt x="1583" y="385"/>
                </a:cubicBezTo>
                <a:cubicBezTo>
                  <a:pt x="1585" y="384"/>
                  <a:pt x="1585" y="384"/>
                  <a:pt x="1585" y="384"/>
                </a:cubicBezTo>
                <a:cubicBezTo>
                  <a:pt x="1585" y="382"/>
                  <a:pt x="1585" y="382"/>
                  <a:pt x="1585" y="382"/>
                </a:cubicBezTo>
                <a:cubicBezTo>
                  <a:pt x="1583" y="382"/>
                  <a:pt x="1583" y="382"/>
                  <a:pt x="1583" y="382"/>
                </a:cubicBezTo>
                <a:lnTo>
                  <a:pt x="1582" y="384"/>
                </a:lnTo>
                <a:close/>
                <a:moveTo>
                  <a:pt x="1604" y="401"/>
                </a:moveTo>
                <a:cubicBezTo>
                  <a:pt x="1605" y="402"/>
                  <a:pt x="1605" y="402"/>
                  <a:pt x="1605" y="402"/>
                </a:cubicBezTo>
                <a:cubicBezTo>
                  <a:pt x="1605" y="404"/>
                  <a:pt x="1605" y="404"/>
                  <a:pt x="1605" y="404"/>
                </a:cubicBezTo>
                <a:cubicBezTo>
                  <a:pt x="1606" y="406"/>
                  <a:pt x="1606" y="406"/>
                  <a:pt x="1606" y="406"/>
                </a:cubicBezTo>
                <a:cubicBezTo>
                  <a:pt x="1607" y="406"/>
                  <a:pt x="1607" y="406"/>
                  <a:pt x="1607" y="406"/>
                </a:cubicBezTo>
                <a:cubicBezTo>
                  <a:pt x="1609" y="406"/>
                  <a:pt x="1609" y="406"/>
                  <a:pt x="1609" y="406"/>
                </a:cubicBezTo>
                <a:cubicBezTo>
                  <a:pt x="1610" y="407"/>
                  <a:pt x="1610" y="407"/>
                  <a:pt x="1610" y="407"/>
                </a:cubicBezTo>
                <a:cubicBezTo>
                  <a:pt x="1609" y="408"/>
                  <a:pt x="1609" y="408"/>
                  <a:pt x="1609" y="408"/>
                </a:cubicBezTo>
                <a:cubicBezTo>
                  <a:pt x="1610" y="409"/>
                  <a:pt x="1610" y="409"/>
                  <a:pt x="1610" y="409"/>
                </a:cubicBezTo>
                <a:cubicBezTo>
                  <a:pt x="1611" y="409"/>
                  <a:pt x="1611" y="409"/>
                  <a:pt x="1611" y="409"/>
                </a:cubicBezTo>
                <a:cubicBezTo>
                  <a:pt x="1612" y="408"/>
                  <a:pt x="1612" y="408"/>
                  <a:pt x="1612" y="408"/>
                </a:cubicBezTo>
                <a:cubicBezTo>
                  <a:pt x="1612" y="407"/>
                  <a:pt x="1612" y="407"/>
                  <a:pt x="1612" y="407"/>
                </a:cubicBezTo>
                <a:cubicBezTo>
                  <a:pt x="1614" y="406"/>
                  <a:pt x="1614" y="406"/>
                  <a:pt x="1614" y="406"/>
                </a:cubicBezTo>
                <a:cubicBezTo>
                  <a:pt x="1615" y="405"/>
                  <a:pt x="1615" y="405"/>
                  <a:pt x="1615" y="405"/>
                </a:cubicBezTo>
                <a:cubicBezTo>
                  <a:pt x="1615" y="404"/>
                  <a:pt x="1615" y="404"/>
                  <a:pt x="1615" y="404"/>
                </a:cubicBezTo>
                <a:cubicBezTo>
                  <a:pt x="1613" y="402"/>
                  <a:pt x="1613" y="402"/>
                  <a:pt x="1613" y="402"/>
                </a:cubicBezTo>
                <a:cubicBezTo>
                  <a:pt x="1613" y="402"/>
                  <a:pt x="1613" y="402"/>
                  <a:pt x="1613" y="402"/>
                </a:cubicBezTo>
                <a:cubicBezTo>
                  <a:pt x="1615" y="401"/>
                  <a:pt x="1615" y="401"/>
                  <a:pt x="1615" y="401"/>
                </a:cubicBezTo>
                <a:cubicBezTo>
                  <a:pt x="1616" y="398"/>
                  <a:pt x="1616" y="398"/>
                  <a:pt x="1616" y="398"/>
                </a:cubicBezTo>
                <a:cubicBezTo>
                  <a:pt x="1615" y="396"/>
                  <a:pt x="1615" y="396"/>
                  <a:pt x="1615" y="396"/>
                </a:cubicBezTo>
                <a:cubicBezTo>
                  <a:pt x="1615" y="394"/>
                  <a:pt x="1615" y="394"/>
                  <a:pt x="1615" y="394"/>
                </a:cubicBezTo>
                <a:cubicBezTo>
                  <a:pt x="1612" y="394"/>
                  <a:pt x="1612" y="394"/>
                  <a:pt x="1612" y="394"/>
                </a:cubicBezTo>
                <a:cubicBezTo>
                  <a:pt x="1610" y="395"/>
                  <a:pt x="1610" y="395"/>
                  <a:pt x="1610" y="395"/>
                </a:cubicBezTo>
                <a:cubicBezTo>
                  <a:pt x="1609" y="397"/>
                  <a:pt x="1609" y="397"/>
                  <a:pt x="1609" y="397"/>
                </a:cubicBezTo>
                <a:cubicBezTo>
                  <a:pt x="1610" y="398"/>
                  <a:pt x="1610" y="398"/>
                  <a:pt x="1610" y="398"/>
                </a:cubicBezTo>
                <a:cubicBezTo>
                  <a:pt x="1611" y="399"/>
                  <a:pt x="1611" y="399"/>
                  <a:pt x="1611" y="399"/>
                </a:cubicBezTo>
                <a:cubicBezTo>
                  <a:pt x="1611" y="400"/>
                  <a:pt x="1611" y="400"/>
                  <a:pt x="1611" y="400"/>
                </a:cubicBezTo>
                <a:cubicBezTo>
                  <a:pt x="1610" y="400"/>
                  <a:pt x="1610" y="400"/>
                  <a:pt x="1610" y="400"/>
                </a:cubicBezTo>
                <a:cubicBezTo>
                  <a:pt x="1609" y="400"/>
                  <a:pt x="1609" y="400"/>
                  <a:pt x="1609" y="400"/>
                </a:cubicBezTo>
                <a:cubicBezTo>
                  <a:pt x="1608" y="399"/>
                  <a:pt x="1608" y="399"/>
                  <a:pt x="1608" y="399"/>
                </a:cubicBezTo>
                <a:cubicBezTo>
                  <a:pt x="1608" y="398"/>
                  <a:pt x="1608" y="398"/>
                  <a:pt x="1608" y="398"/>
                </a:cubicBezTo>
                <a:cubicBezTo>
                  <a:pt x="1607" y="397"/>
                  <a:pt x="1607" y="397"/>
                  <a:pt x="1607" y="397"/>
                </a:cubicBezTo>
                <a:cubicBezTo>
                  <a:pt x="1606" y="397"/>
                  <a:pt x="1606" y="397"/>
                  <a:pt x="1606" y="397"/>
                </a:cubicBezTo>
                <a:cubicBezTo>
                  <a:pt x="1605" y="399"/>
                  <a:pt x="1605" y="399"/>
                  <a:pt x="1605" y="399"/>
                </a:cubicBezTo>
                <a:cubicBezTo>
                  <a:pt x="1604" y="399"/>
                  <a:pt x="1604" y="399"/>
                  <a:pt x="1604" y="399"/>
                </a:cubicBezTo>
                <a:lnTo>
                  <a:pt x="1604" y="401"/>
                </a:lnTo>
                <a:close/>
                <a:moveTo>
                  <a:pt x="1606" y="363"/>
                </a:moveTo>
                <a:cubicBezTo>
                  <a:pt x="1604" y="364"/>
                  <a:pt x="1604" y="364"/>
                  <a:pt x="1604" y="364"/>
                </a:cubicBezTo>
                <a:cubicBezTo>
                  <a:pt x="1604" y="365"/>
                  <a:pt x="1604" y="365"/>
                  <a:pt x="1604" y="365"/>
                </a:cubicBezTo>
                <a:cubicBezTo>
                  <a:pt x="1605" y="365"/>
                  <a:pt x="1605" y="365"/>
                  <a:pt x="1605" y="365"/>
                </a:cubicBezTo>
                <a:lnTo>
                  <a:pt x="1606" y="363"/>
                </a:lnTo>
                <a:close/>
                <a:moveTo>
                  <a:pt x="1622" y="416"/>
                </a:moveTo>
                <a:cubicBezTo>
                  <a:pt x="1621" y="418"/>
                  <a:pt x="1621" y="418"/>
                  <a:pt x="1621" y="418"/>
                </a:cubicBezTo>
                <a:cubicBezTo>
                  <a:pt x="1622" y="418"/>
                  <a:pt x="1622" y="418"/>
                  <a:pt x="1622" y="418"/>
                </a:cubicBezTo>
                <a:cubicBezTo>
                  <a:pt x="1624" y="419"/>
                  <a:pt x="1624" y="419"/>
                  <a:pt x="1624" y="419"/>
                </a:cubicBezTo>
                <a:cubicBezTo>
                  <a:pt x="1625" y="417"/>
                  <a:pt x="1625" y="417"/>
                  <a:pt x="1625" y="417"/>
                </a:cubicBezTo>
                <a:cubicBezTo>
                  <a:pt x="1627" y="418"/>
                  <a:pt x="1627" y="418"/>
                  <a:pt x="1627" y="418"/>
                </a:cubicBezTo>
                <a:cubicBezTo>
                  <a:pt x="1627" y="417"/>
                  <a:pt x="1627" y="417"/>
                  <a:pt x="1627" y="417"/>
                </a:cubicBezTo>
                <a:cubicBezTo>
                  <a:pt x="1626" y="415"/>
                  <a:pt x="1626" y="415"/>
                  <a:pt x="1626" y="415"/>
                </a:cubicBezTo>
                <a:cubicBezTo>
                  <a:pt x="1626" y="414"/>
                  <a:pt x="1626" y="414"/>
                  <a:pt x="1626" y="414"/>
                </a:cubicBezTo>
                <a:cubicBezTo>
                  <a:pt x="1625" y="413"/>
                  <a:pt x="1625" y="413"/>
                  <a:pt x="1625" y="413"/>
                </a:cubicBezTo>
                <a:cubicBezTo>
                  <a:pt x="1624" y="414"/>
                  <a:pt x="1624" y="414"/>
                  <a:pt x="1624" y="414"/>
                </a:cubicBezTo>
                <a:cubicBezTo>
                  <a:pt x="1623" y="413"/>
                  <a:pt x="1623" y="413"/>
                  <a:pt x="1623" y="413"/>
                </a:cubicBezTo>
                <a:cubicBezTo>
                  <a:pt x="1622" y="414"/>
                  <a:pt x="1622" y="414"/>
                  <a:pt x="1622" y="414"/>
                </a:cubicBezTo>
                <a:cubicBezTo>
                  <a:pt x="1622" y="415"/>
                  <a:pt x="1622" y="415"/>
                  <a:pt x="1622" y="415"/>
                </a:cubicBezTo>
                <a:cubicBezTo>
                  <a:pt x="1624" y="415"/>
                  <a:pt x="1624" y="415"/>
                  <a:pt x="1624" y="415"/>
                </a:cubicBezTo>
                <a:cubicBezTo>
                  <a:pt x="1623" y="416"/>
                  <a:pt x="1623" y="416"/>
                  <a:pt x="1623" y="416"/>
                </a:cubicBezTo>
                <a:lnTo>
                  <a:pt x="1622" y="416"/>
                </a:lnTo>
                <a:close/>
                <a:moveTo>
                  <a:pt x="1600" y="407"/>
                </a:moveTo>
                <a:cubicBezTo>
                  <a:pt x="1600" y="405"/>
                  <a:pt x="1600" y="405"/>
                  <a:pt x="1600" y="405"/>
                </a:cubicBezTo>
                <a:cubicBezTo>
                  <a:pt x="1599" y="402"/>
                  <a:pt x="1599" y="402"/>
                  <a:pt x="1599" y="402"/>
                </a:cubicBezTo>
                <a:cubicBezTo>
                  <a:pt x="1597" y="402"/>
                  <a:pt x="1597" y="402"/>
                  <a:pt x="1597" y="402"/>
                </a:cubicBezTo>
                <a:cubicBezTo>
                  <a:pt x="1595" y="401"/>
                  <a:pt x="1595" y="401"/>
                  <a:pt x="1595" y="401"/>
                </a:cubicBezTo>
                <a:cubicBezTo>
                  <a:pt x="1592" y="402"/>
                  <a:pt x="1592" y="402"/>
                  <a:pt x="1592" y="402"/>
                </a:cubicBezTo>
                <a:cubicBezTo>
                  <a:pt x="1591" y="404"/>
                  <a:pt x="1591" y="404"/>
                  <a:pt x="1591" y="404"/>
                </a:cubicBezTo>
                <a:cubicBezTo>
                  <a:pt x="1592" y="406"/>
                  <a:pt x="1592" y="406"/>
                  <a:pt x="1592" y="406"/>
                </a:cubicBezTo>
                <a:cubicBezTo>
                  <a:pt x="1594" y="408"/>
                  <a:pt x="1594" y="408"/>
                  <a:pt x="1594" y="408"/>
                </a:cubicBezTo>
                <a:cubicBezTo>
                  <a:pt x="1596" y="409"/>
                  <a:pt x="1596" y="409"/>
                  <a:pt x="1596" y="409"/>
                </a:cubicBezTo>
                <a:cubicBezTo>
                  <a:pt x="1597" y="409"/>
                  <a:pt x="1597" y="409"/>
                  <a:pt x="1597" y="409"/>
                </a:cubicBezTo>
                <a:cubicBezTo>
                  <a:pt x="1599" y="409"/>
                  <a:pt x="1599" y="409"/>
                  <a:pt x="1599" y="409"/>
                </a:cubicBezTo>
                <a:lnTo>
                  <a:pt x="1600" y="407"/>
                </a:lnTo>
                <a:close/>
                <a:moveTo>
                  <a:pt x="1640" y="408"/>
                </a:moveTo>
                <a:cubicBezTo>
                  <a:pt x="1638" y="405"/>
                  <a:pt x="1638" y="405"/>
                  <a:pt x="1638" y="405"/>
                </a:cubicBezTo>
                <a:cubicBezTo>
                  <a:pt x="1636" y="404"/>
                  <a:pt x="1636" y="404"/>
                  <a:pt x="1636" y="404"/>
                </a:cubicBezTo>
                <a:cubicBezTo>
                  <a:pt x="1635" y="406"/>
                  <a:pt x="1635" y="406"/>
                  <a:pt x="1635" y="406"/>
                </a:cubicBezTo>
                <a:cubicBezTo>
                  <a:pt x="1636" y="408"/>
                  <a:pt x="1636" y="408"/>
                  <a:pt x="1636" y="408"/>
                </a:cubicBezTo>
                <a:cubicBezTo>
                  <a:pt x="1639" y="409"/>
                  <a:pt x="1639" y="409"/>
                  <a:pt x="1639" y="409"/>
                </a:cubicBezTo>
                <a:lnTo>
                  <a:pt x="1640" y="408"/>
                </a:lnTo>
                <a:close/>
                <a:moveTo>
                  <a:pt x="1601" y="411"/>
                </a:moveTo>
                <a:cubicBezTo>
                  <a:pt x="1602" y="408"/>
                  <a:pt x="1602" y="408"/>
                  <a:pt x="1602" y="408"/>
                </a:cubicBezTo>
                <a:cubicBezTo>
                  <a:pt x="1602" y="408"/>
                  <a:pt x="1601" y="407"/>
                  <a:pt x="1601" y="407"/>
                </a:cubicBezTo>
                <a:cubicBezTo>
                  <a:pt x="1601" y="410"/>
                  <a:pt x="1601" y="410"/>
                  <a:pt x="1601" y="410"/>
                </a:cubicBezTo>
                <a:cubicBezTo>
                  <a:pt x="1600" y="411"/>
                  <a:pt x="1600" y="411"/>
                  <a:pt x="1600" y="411"/>
                </a:cubicBezTo>
                <a:cubicBezTo>
                  <a:pt x="1600" y="412"/>
                  <a:pt x="1600" y="412"/>
                  <a:pt x="1600" y="412"/>
                </a:cubicBezTo>
                <a:lnTo>
                  <a:pt x="1601" y="411"/>
                </a:lnTo>
                <a:close/>
                <a:moveTo>
                  <a:pt x="1651" y="383"/>
                </a:moveTo>
                <a:cubicBezTo>
                  <a:pt x="1650" y="388"/>
                  <a:pt x="1650" y="388"/>
                  <a:pt x="1650" y="388"/>
                </a:cubicBezTo>
                <a:cubicBezTo>
                  <a:pt x="1651" y="390"/>
                  <a:pt x="1651" y="390"/>
                  <a:pt x="1651" y="390"/>
                </a:cubicBezTo>
                <a:cubicBezTo>
                  <a:pt x="1651" y="392"/>
                  <a:pt x="1651" y="392"/>
                  <a:pt x="1651" y="392"/>
                </a:cubicBezTo>
                <a:cubicBezTo>
                  <a:pt x="1651" y="392"/>
                  <a:pt x="1651" y="392"/>
                  <a:pt x="1651" y="392"/>
                </a:cubicBezTo>
                <a:cubicBezTo>
                  <a:pt x="1652" y="391"/>
                  <a:pt x="1652" y="391"/>
                  <a:pt x="1652" y="391"/>
                </a:cubicBezTo>
                <a:cubicBezTo>
                  <a:pt x="1653" y="387"/>
                  <a:pt x="1653" y="387"/>
                  <a:pt x="1653" y="387"/>
                </a:cubicBezTo>
                <a:cubicBezTo>
                  <a:pt x="1653" y="384"/>
                  <a:pt x="1653" y="384"/>
                  <a:pt x="1653" y="384"/>
                </a:cubicBezTo>
                <a:cubicBezTo>
                  <a:pt x="1655" y="381"/>
                  <a:pt x="1655" y="381"/>
                  <a:pt x="1655" y="381"/>
                </a:cubicBezTo>
                <a:cubicBezTo>
                  <a:pt x="1655" y="378"/>
                  <a:pt x="1655" y="378"/>
                  <a:pt x="1655" y="378"/>
                </a:cubicBezTo>
                <a:cubicBezTo>
                  <a:pt x="1654" y="377"/>
                  <a:pt x="1654" y="377"/>
                  <a:pt x="1654" y="377"/>
                </a:cubicBezTo>
                <a:cubicBezTo>
                  <a:pt x="1653" y="378"/>
                  <a:pt x="1653" y="378"/>
                  <a:pt x="1653" y="378"/>
                </a:cubicBezTo>
                <a:cubicBezTo>
                  <a:pt x="1653" y="379"/>
                  <a:pt x="1653" y="379"/>
                  <a:pt x="1653" y="379"/>
                </a:cubicBezTo>
                <a:cubicBezTo>
                  <a:pt x="1652" y="382"/>
                  <a:pt x="1652" y="382"/>
                  <a:pt x="1652" y="382"/>
                </a:cubicBezTo>
                <a:lnTo>
                  <a:pt x="1651" y="383"/>
                </a:lnTo>
                <a:close/>
                <a:moveTo>
                  <a:pt x="1598" y="412"/>
                </a:moveTo>
                <a:cubicBezTo>
                  <a:pt x="1599" y="411"/>
                  <a:pt x="1599" y="411"/>
                  <a:pt x="1599" y="411"/>
                </a:cubicBezTo>
                <a:cubicBezTo>
                  <a:pt x="1597" y="410"/>
                  <a:pt x="1597" y="410"/>
                  <a:pt x="1597" y="410"/>
                </a:cubicBezTo>
                <a:lnTo>
                  <a:pt x="1598" y="412"/>
                </a:lnTo>
                <a:close/>
                <a:moveTo>
                  <a:pt x="1599" y="398"/>
                </a:moveTo>
                <a:cubicBezTo>
                  <a:pt x="1599" y="395"/>
                  <a:pt x="1599" y="395"/>
                  <a:pt x="1599" y="395"/>
                </a:cubicBezTo>
                <a:cubicBezTo>
                  <a:pt x="1599" y="398"/>
                  <a:pt x="1599" y="398"/>
                  <a:pt x="1599" y="398"/>
                </a:cubicBezTo>
                <a:cubicBezTo>
                  <a:pt x="1598" y="399"/>
                  <a:pt x="1598" y="399"/>
                  <a:pt x="1598" y="399"/>
                </a:cubicBezTo>
                <a:cubicBezTo>
                  <a:pt x="1599" y="399"/>
                  <a:pt x="1599" y="399"/>
                  <a:pt x="1599" y="399"/>
                </a:cubicBezTo>
                <a:lnTo>
                  <a:pt x="1599" y="398"/>
                </a:lnTo>
                <a:close/>
                <a:moveTo>
                  <a:pt x="1545" y="301"/>
                </a:moveTo>
                <a:cubicBezTo>
                  <a:pt x="1546" y="303"/>
                  <a:pt x="1546" y="303"/>
                  <a:pt x="1546" y="303"/>
                </a:cubicBezTo>
                <a:cubicBezTo>
                  <a:pt x="1547" y="302"/>
                  <a:pt x="1547" y="302"/>
                  <a:pt x="1547" y="302"/>
                </a:cubicBezTo>
                <a:lnTo>
                  <a:pt x="1545" y="301"/>
                </a:lnTo>
                <a:close/>
                <a:moveTo>
                  <a:pt x="1546" y="320"/>
                </a:moveTo>
                <a:cubicBezTo>
                  <a:pt x="1545" y="319"/>
                  <a:pt x="1545" y="319"/>
                  <a:pt x="1545" y="319"/>
                </a:cubicBezTo>
                <a:cubicBezTo>
                  <a:pt x="1543" y="320"/>
                  <a:pt x="1543" y="320"/>
                  <a:pt x="1543" y="320"/>
                </a:cubicBezTo>
                <a:cubicBezTo>
                  <a:pt x="1544" y="321"/>
                  <a:pt x="1544" y="321"/>
                  <a:pt x="1544" y="321"/>
                </a:cubicBezTo>
                <a:lnTo>
                  <a:pt x="1546" y="320"/>
                </a:lnTo>
                <a:close/>
                <a:moveTo>
                  <a:pt x="1546" y="330"/>
                </a:moveTo>
                <a:cubicBezTo>
                  <a:pt x="1547" y="328"/>
                  <a:pt x="1547" y="328"/>
                  <a:pt x="1547" y="328"/>
                </a:cubicBezTo>
                <a:cubicBezTo>
                  <a:pt x="1545" y="329"/>
                  <a:pt x="1545" y="329"/>
                  <a:pt x="1545" y="329"/>
                </a:cubicBezTo>
                <a:lnTo>
                  <a:pt x="1546" y="330"/>
                </a:lnTo>
                <a:close/>
                <a:moveTo>
                  <a:pt x="1452" y="382"/>
                </a:moveTo>
                <a:cubicBezTo>
                  <a:pt x="1453" y="383"/>
                  <a:pt x="1453" y="383"/>
                  <a:pt x="1453" y="383"/>
                </a:cubicBezTo>
                <a:cubicBezTo>
                  <a:pt x="1453" y="382"/>
                  <a:pt x="1453" y="382"/>
                  <a:pt x="1453" y="382"/>
                </a:cubicBezTo>
                <a:lnTo>
                  <a:pt x="1452" y="382"/>
                </a:lnTo>
                <a:close/>
                <a:moveTo>
                  <a:pt x="1598" y="369"/>
                </a:moveTo>
                <a:cubicBezTo>
                  <a:pt x="1595" y="372"/>
                  <a:pt x="1595" y="372"/>
                  <a:pt x="1595" y="372"/>
                </a:cubicBezTo>
                <a:cubicBezTo>
                  <a:pt x="1593" y="373"/>
                  <a:pt x="1593" y="373"/>
                  <a:pt x="1593" y="373"/>
                </a:cubicBezTo>
                <a:cubicBezTo>
                  <a:pt x="1591" y="373"/>
                  <a:pt x="1591" y="373"/>
                  <a:pt x="1591" y="373"/>
                </a:cubicBezTo>
                <a:cubicBezTo>
                  <a:pt x="1589" y="375"/>
                  <a:pt x="1589" y="375"/>
                  <a:pt x="1589" y="375"/>
                </a:cubicBezTo>
                <a:cubicBezTo>
                  <a:pt x="1588" y="377"/>
                  <a:pt x="1588" y="377"/>
                  <a:pt x="1588" y="377"/>
                </a:cubicBezTo>
                <a:cubicBezTo>
                  <a:pt x="1586" y="379"/>
                  <a:pt x="1586" y="379"/>
                  <a:pt x="1586" y="379"/>
                </a:cubicBezTo>
                <a:cubicBezTo>
                  <a:pt x="1584" y="379"/>
                  <a:pt x="1584" y="379"/>
                  <a:pt x="1584" y="379"/>
                </a:cubicBezTo>
                <a:cubicBezTo>
                  <a:pt x="1582" y="381"/>
                  <a:pt x="1582" y="381"/>
                  <a:pt x="1582" y="381"/>
                </a:cubicBezTo>
                <a:cubicBezTo>
                  <a:pt x="1581" y="380"/>
                  <a:pt x="1581" y="380"/>
                  <a:pt x="1581" y="380"/>
                </a:cubicBezTo>
                <a:cubicBezTo>
                  <a:pt x="1580" y="380"/>
                  <a:pt x="1580" y="380"/>
                  <a:pt x="1580" y="380"/>
                </a:cubicBezTo>
                <a:cubicBezTo>
                  <a:pt x="1579" y="383"/>
                  <a:pt x="1579" y="383"/>
                  <a:pt x="1579" y="383"/>
                </a:cubicBezTo>
                <a:cubicBezTo>
                  <a:pt x="1577" y="384"/>
                  <a:pt x="1577" y="384"/>
                  <a:pt x="1577" y="384"/>
                </a:cubicBezTo>
                <a:cubicBezTo>
                  <a:pt x="1578" y="385"/>
                  <a:pt x="1578" y="385"/>
                  <a:pt x="1578" y="385"/>
                </a:cubicBezTo>
                <a:cubicBezTo>
                  <a:pt x="1579" y="384"/>
                  <a:pt x="1579" y="384"/>
                  <a:pt x="1579" y="384"/>
                </a:cubicBezTo>
                <a:cubicBezTo>
                  <a:pt x="1581" y="387"/>
                  <a:pt x="1581" y="387"/>
                  <a:pt x="1581" y="387"/>
                </a:cubicBezTo>
                <a:cubicBezTo>
                  <a:pt x="1581" y="384"/>
                  <a:pt x="1581" y="384"/>
                  <a:pt x="1581" y="384"/>
                </a:cubicBezTo>
                <a:cubicBezTo>
                  <a:pt x="1581" y="383"/>
                  <a:pt x="1581" y="383"/>
                  <a:pt x="1581" y="383"/>
                </a:cubicBezTo>
                <a:cubicBezTo>
                  <a:pt x="1585" y="381"/>
                  <a:pt x="1585" y="381"/>
                  <a:pt x="1585" y="381"/>
                </a:cubicBezTo>
                <a:cubicBezTo>
                  <a:pt x="1585" y="381"/>
                  <a:pt x="1585" y="381"/>
                  <a:pt x="1585" y="381"/>
                </a:cubicBezTo>
                <a:cubicBezTo>
                  <a:pt x="1587" y="381"/>
                  <a:pt x="1587" y="381"/>
                  <a:pt x="1587" y="381"/>
                </a:cubicBezTo>
                <a:cubicBezTo>
                  <a:pt x="1589" y="381"/>
                  <a:pt x="1589" y="381"/>
                  <a:pt x="1589" y="381"/>
                </a:cubicBezTo>
                <a:cubicBezTo>
                  <a:pt x="1590" y="381"/>
                  <a:pt x="1590" y="381"/>
                  <a:pt x="1590" y="381"/>
                </a:cubicBezTo>
                <a:cubicBezTo>
                  <a:pt x="1592" y="381"/>
                  <a:pt x="1592" y="381"/>
                  <a:pt x="1592" y="381"/>
                </a:cubicBezTo>
                <a:cubicBezTo>
                  <a:pt x="1594" y="381"/>
                  <a:pt x="1594" y="381"/>
                  <a:pt x="1594" y="381"/>
                </a:cubicBezTo>
                <a:cubicBezTo>
                  <a:pt x="1595" y="381"/>
                  <a:pt x="1595" y="381"/>
                  <a:pt x="1595" y="381"/>
                </a:cubicBezTo>
                <a:cubicBezTo>
                  <a:pt x="1597" y="378"/>
                  <a:pt x="1597" y="378"/>
                  <a:pt x="1597" y="378"/>
                </a:cubicBezTo>
                <a:cubicBezTo>
                  <a:pt x="1597" y="375"/>
                  <a:pt x="1597" y="375"/>
                  <a:pt x="1597" y="375"/>
                </a:cubicBezTo>
                <a:cubicBezTo>
                  <a:pt x="1597" y="375"/>
                  <a:pt x="1597" y="375"/>
                  <a:pt x="1597" y="375"/>
                </a:cubicBezTo>
                <a:cubicBezTo>
                  <a:pt x="1597" y="373"/>
                  <a:pt x="1597" y="373"/>
                  <a:pt x="1597" y="373"/>
                </a:cubicBezTo>
                <a:cubicBezTo>
                  <a:pt x="1598" y="370"/>
                  <a:pt x="1598" y="370"/>
                  <a:pt x="1598" y="370"/>
                </a:cubicBezTo>
                <a:lnTo>
                  <a:pt x="1598" y="369"/>
                </a:lnTo>
                <a:close/>
                <a:moveTo>
                  <a:pt x="1547" y="306"/>
                </a:moveTo>
                <a:cubicBezTo>
                  <a:pt x="1544" y="304"/>
                  <a:pt x="1544" y="304"/>
                  <a:pt x="1544" y="304"/>
                </a:cubicBezTo>
                <a:cubicBezTo>
                  <a:pt x="1545" y="306"/>
                  <a:pt x="1545" y="306"/>
                  <a:pt x="1545" y="306"/>
                </a:cubicBezTo>
                <a:lnTo>
                  <a:pt x="1547" y="306"/>
                </a:lnTo>
                <a:close/>
                <a:moveTo>
                  <a:pt x="1541" y="455"/>
                </a:moveTo>
                <a:cubicBezTo>
                  <a:pt x="1541" y="455"/>
                  <a:pt x="1541" y="455"/>
                  <a:pt x="1541" y="455"/>
                </a:cubicBezTo>
                <a:cubicBezTo>
                  <a:pt x="1542" y="455"/>
                  <a:pt x="1542" y="455"/>
                  <a:pt x="1542" y="455"/>
                </a:cubicBezTo>
                <a:cubicBezTo>
                  <a:pt x="1542" y="455"/>
                  <a:pt x="1542" y="455"/>
                  <a:pt x="1542" y="455"/>
                </a:cubicBezTo>
                <a:cubicBezTo>
                  <a:pt x="1541" y="454"/>
                  <a:pt x="1541" y="454"/>
                  <a:pt x="1541" y="454"/>
                </a:cubicBezTo>
                <a:cubicBezTo>
                  <a:pt x="1539" y="454"/>
                  <a:pt x="1539" y="454"/>
                  <a:pt x="1539" y="454"/>
                </a:cubicBezTo>
                <a:cubicBezTo>
                  <a:pt x="1539" y="455"/>
                  <a:pt x="1539" y="455"/>
                  <a:pt x="1539" y="455"/>
                </a:cubicBezTo>
                <a:lnTo>
                  <a:pt x="1541" y="455"/>
                </a:lnTo>
                <a:close/>
                <a:moveTo>
                  <a:pt x="1549" y="334"/>
                </a:moveTo>
                <a:cubicBezTo>
                  <a:pt x="1550" y="332"/>
                  <a:pt x="1550" y="332"/>
                  <a:pt x="1550" y="332"/>
                </a:cubicBezTo>
                <a:cubicBezTo>
                  <a:pt x="1548" y="333"/>
                  <a:pt x="1548" y="333"/>
                  <a:pt x="1548" y="333"/>
                </a:cubicBezTo>
                <a:lnTo>
                  <a:pt x="1549" y="334"/>
                </a:lnTo>
                <a:close/>
                <a:moveTo>
                  <a:pt x="1545" y="323"/>
                </a:moveTo>
                <a:cubicBezTo>
                  <a:pt x="1546" y="324"/>
                  <a:pt x="1546" y="324"/>
                  <a:pt x="1546" y="324"/>
                </a:cubicBezTo>
                <a:cubicBezTo>
                  <a:pt x="1546" y="324"/>
                  <a:pt x="1546" y="322"/>
                  <a:pt x="1546" y="322"/>
                </a:cubicBezTo>
                <a:lnTo>
                  <a:pt x="1545" y="323"/>
                </a:lnTo>
                <a:close/>
                <a:moveTo>
                  <a:pt x="1548" y="337"/>
                </a:moveTo>
                <a:cubicBezTo>
                  <a:pt x="1550" y="339"/>
                  <a:pt x="1550" y="339"/>
                  <a:pt x="1550" y="339"/>
                </a:cubicBezTo>
                <a:cubicBezTo>
                  <a:pt x="1550" y="338"/>
                  <a:pt x="1550" y="338"/>
                  <a:pt x="1550" y="338"/>
                </a:cubicBezTo>
                <a:cubicBezTo>
                  <a:pt x="1549" y="337"/>
                  <a:pt x="1549" y="337"/>
                  <a:pt x="1549" y="337"/>
                </a:cubicBezTo>
                <a:cubicBezTo>
                  <a:pt x="1549" y="337"/>
                  <a:pt x="1548" y="337"/>
                  <a:pt x="1548" y="337"/>
                </a:cubicBezTo>
                <a:close/>
                <a:moveTo>
                  <a:pt x="1551" y="333"/>
                </a:moveTo>
                <a:cubicBezTo>
                  <a:pt x="1551" y="335"/>
                  <a:pt x="1551" y="335"/>
                  <a:pt x="1551" y="335"/>
                </a:cubicBezTo>
                <a:cubicBezTo>
                  <a:pt x="1551" y="335"/>
                  <a:pt x="1551" y="335"/>
                  <a:pt x="1551" y="335"/>
                </a:cubicBezTo>
                <a:lnTo>
                  <a:pt x="1551" y="333"/>
                </a:lnTo>
                <a:close/>
                <a:moveTo>
                  <a:pt x="1550" y="332"/>
                </a:moveTo>
                <a:cubicBezTo>
                  <a:pt x="1551" y="330"/>
                  <a:pt x="1551" y="330"/>
                  <a:pt x="1551" y="330"/>
                </a:cubicBezTo>
                <a:cubicBezTo>
                  <a:pt x="1551" y="330"/>
                  <a:pt x="1549" y="328"/>
                  <a:pt x="1549" y="328"/>
                </a:cubicBezTo>
                <a:lnTo>
                  <a:pt x="1550" y="332"/>
                </a:lnTo>
                <a:close/>
                <a:moveTo>
                  <a:pt x="1540" y="457"/>
                </a:moveTo>
                <a:cubicBezTo>
                  <a:pt x="1541" y="456"/>
                  <a:pt x="1541" y="456"/>
                  <a:pt x="1541" y="456"/>
                </a:cubicBezTo>
                <a:cubicBezTo>
                  <a:pt x="1540" y="455"/>
                  <a:pt x="1540" y="455"/>
                  <a:pt x="1540" y="455"/>
                </a:cubicBezTo>
                <a:cubicBezTo>
                  <a:pt x="1538" y="456"/>
                  <a:pt x="1538" y="456"/>
                  <a:pt x="1538" y="456"/>
                </a:cubicBezTo>
                <a:cubicBezTo>
                  <a:pt x="1539" y="456"/>
                  <a:pt x="1539" y="456"/>
                  <a:pt x="1539" y="456"/>
                </a:cubicBezTo>
                <a:lnTo>
                  <a:pt x="1540" y="457"/>
                </a:lnTo>
                <a:close/>
                <a:moveTo>
                  <a:pt x="1753" y="326"/>
                </a:moveTo>
                <a:cubicBezTo>
                  <a:pt x="1751" y="325"/>
                  <a:pt x="1751" y="325"/>
                  <a:pt x="1751" y="325"/>
                </a:cubicBezTo>
                <a:cubicBezTo>
                  <a:pt x="1751" y="325"/>
                  <a:pt x="1750" y="326"/>
                  <a:pt x="1750" y="326"/>
                </a:cubicBezTo>
                <a:cubicBezTo>
                  <a:pt x="1752" y="327"/>
                  <a:pt x="1752" y="327"/>
                  <a:pt x="1752" y="327"/>
                </a:cubicBezTo>
                <a:lnTo>
                  <a:pt x="1753" y="326"/>
                </a:lnTo>
                <a:close/>
                <a:moveTo>
                  <a:pt x="1551" y="297"/>
                </a:moveTo>
                <a:cubicBezTo>
                  <a:pt x="1549" y="299"/>
                  <a:pt x="1549" y="299"/>
                  <a:pt x="1549" y="299"/>
                </a:cubicBezTo>
                <a:cubicBezTo>
                  <a:pt x="1551" y="298"/>
                  <a:pt x="1551" y="298"/>
                  <a:pt x="1551" y="298"/>
                </a:cubicBezTo>
                <a:lnTo>
                  <a:pt x="1551" y="297"/>
                </a:lnTo>
                <a:close/>
                <a:moveTo>
                  <a:pt x="1553" y="348"/>
                </a:moveTo>
                <a:cubicBezTo>
                  <a:pt x="1552" y="350"/>
                  <a:pt x="1552" y="350"/>
                  <a:pt x="1552" y="350"/>
                </a:cubicBezTo>
                <a:cubicBezTo>
                  <a:pt x="1554" y="349"/>
                  <a:pt x="1554" y="349"/>
                  <a:pt x="1554" y="349"/>
                </a:cubicBezTo>
                <a:lnTo>
                  <a:pt x="1553" y="348"/>
                </a:lnTo>
                <a:close/>
                <a:moveTo>
                  <a:pt x="1708" y="348"/>
                </a:moveTo>
                <a:cubicBezTo>
                  <a:pt x="1706" y="348"/>
                  <a:pt x="1706" y="348"/>
                  <a:pt x="1706" y="348"/>
                </a:cubicBezTo>
                <a:cubicBezTo>
                  <a:pt x="1706" y="349"/>
                  <a:pt x="1706" y="349"/>
                  <a:pt x="1706" y="349"/>
                </a:cubicBezTo>
                <a:cubicBezTo>
                  <a:pt x="1708" y="349"/>
                  <a:pt x="1708" y="349"/>
                  <a:pt x="1708" y="349"/>
                </a:cubicBezTo>
                <a:lnTo>
                  <a:pt x="1708" y="348"/>
                </a:lnTo>
                <a:close/>
                <a:moveTo>
                  <a:pt x="1702" y="354"/>
                </a:moveTo>
                <a:cubicBezTo>
                  <a:pt x="1701" y="354"/>
                  <a:pt x="1701" y="354"/>
                  <a:pt x="1701" y="354"/>
                </a:cubicBezTo>
                <a:cubicBezTo>
                  <a:pt x="1700" y="355"/>
                  <a:pt x="1700" y="355"/>
                  <a:pt x="1700" y="355"/>
                </a:cubicBezTo>
                <a:cubicBezTo>
                  <a:pt x="1699" y="355"/>
                  <a:pt x="1699" y="355"/>
                  <a:pt x="1699" y="355"/>
                </a:cubicBezTo>
                <a:cubicBezTo>
                  <a:pt x="1698" y="357"/>
                  <a:pt x="1698" y="357"/>
                  <a:pt x="1698" y="357"/>
                </a:cubicBezTo>
                <a:cubicBezTo>
                  <a:pt x="1698" y="356"/>
                  <a:pt x="1698" y="356"/>
                  <a:pt x="1698" y="356"/>
                </a:cubicBezTo>
                <a:cubicBezTo>
                  <a:pt x="1697" y="355"/>
                  <a:pt x="1697" y="355"/>
                  <a:pt x="1697" y="355"/>
                </a:cubicBezTo>
                <a:cubicBezTo>
                  <a:pt x="1697" y="356"/>
                  <a:pt x="1697" y="356"/>
                  <a:pt x="1697" y="356"/>
                </a:cubicBezTo>
                <a:cubicBezTo>
                  <a:pt x="1696" y="357"/>
                  <a:pt x="1696" y="357"/>
                  <a:pt x="1696" y="357"/>
                </a:cubicBezTo>
                <a:cubicBezTo>
                  <a:pt x="1697" y="357"/>
                  <a:pt x="1697" y="357"/>
                  <a:pt x="1697" y="357"/>
                </a:cubicBezTo>
                <a:cubicBezTo>
                  <a:pt x="1697" y="358"/>
                  <a:pt x="1697" y="358"/>
                  <a:pt x="1697" y="358"/>
                </a:cubicBezTo>
                <a:cubicBezTo>
                  <a:pt x="1696" y="359"/>
                  <a:pt x="1696" y="359"/>
                  <a:pt x="1696" y="359"/>
                </a:cubicBezTo>
                <a:cubicBezTo>
                  <a:pt x="1696" y="360"/>
                  <a:pt x="1696" y="360"/>
                  <a:pt x="1696" y="360"/>
                </a:cubicBezTo>
                <a:cubicBezTo>
                  <a:pt x="1698" y="360"/>
                  <a:pt x="1698" y="360"/>
                  <a:pt x="1698" y="360"/>
                </a:cubicBezTo>
                <a:cubicBezTo>
                  <a:pt x="1699" y="362"/>
                  <a:pt x="1699" y="362"/>
                  <a:pt x="1699" y="362"/>
                </a:cubicBezTo>
                <a:cubicBezTo>
                  <a:pt x="1699" y="363"/>
                  <a:pt x="1699" y="363"/>
                  <a:pt x="1699" y="363"/>
                </a:cubicBezTo>
                <a:cubicBezTo>
                  <a:pt x="1698" y="363"/>
                  <a:pt x="1698" y="363"/>
                  <a:pt x="1698" y="363"/>
                </a:cubicBezTo>
                <a:cubicBezTo>
                  <a:pt x="1697" y="366"/>
                  <a:pt x="1697" y="366"/>
                  <a:pt x="1697" y="366"/>
                </a:cubicBezTo>
                <a:cubicBezTo>
                  <a:pt x="1698" y="366"/>
                  <a:pt x="1698" y="366"/>
                  <a:pt x="1698" y="366"/>
                </a:cubicBezTo>
                <a:cubicBezTo>
                  <a:pt x="1700" y="365"/>
                  <a:pt x="1700" y="365"/>
                  <a:pt x="1700" y="365"/>
                </a:cubicBezTo>
                <a:cubicBezTo>
                  <a:pt x="1700" y="364"/>
                  <a:pt x="1700" y="364"/>
                  <a:pt x="1700" y="364"/>
                </a:cubicBezTo>
                <a:cubicBezTo>
                  <a:pt x="1701" y="361"/>
                  <a:pt x="1701" y="361"/>
                  <a:pt x="1701" y="361"/>
                </a:cubicBezTo>
                <a:cubicBezTo>
                  <a:pt x="1704" y="360"/>
                  <a:pt x="1704" y="360"/>
                  <a:pt x="1704" y="360"/>
                </a:cubicBezTo>
                <a:cubicBezTo>
                  <a:pt x="1705" y="359"/>
                  <a:pt x="1705" y="359"/>
                  <a:pt x="1705" y="359"/>
                </a:cubicBezTo>
                <a:cubicBezTo>
                  <a:pt x="1706" y="357"/>
                  <a:pt x="1706" y="357"/>
                  <a:pt x="1706" y="357"/>
                </a:cubicBezTo>
                <a:cubicBezTo>
                  <a:pt x="1708" y="357"/>
                  <a:pt x="1708" y="357"/>
                  <a:pt x="1708" y="357"/>
                </a:cubicBezTo>
                <a:cubicBezTo>
                  <a:pt x="1708" y="357"/>
                  <a:pt x="1708" y="357"/>
                  <a:pt x="1708" y="357"/>
                </a:cubicBezTo>
                <a:cubicBezTo>
                  <a:pt x="1708" y="356"/>
                  <a:pt x="1708" y="356"/>
                  <a:pt x="1708" y="356"/>
                </a:cubicBezTo>
                <a:cubicBezTo>
                  <a:pt x="1707" y="356"/>
                  <a:pt x="1707" y="356"/>
                  <a:pt x="1707" y="356"/>
                </a:cubicBezTo>
                <a:cubicBezTo>
                  <a:pt x="1705" y="355"/>
                  <a:pt x="1705" y="355"/>
                  <a:pt x="1705" y="355"/>
                </a:cubicBezTo>
                <a:lnTo>
                  <a:pt x="1702" y="354"/>
                </a:lnTo>
                <a:close/>
                <a:moveTo>
                  <a:pt x="1695" y="328"/>
                </a:moveTo>
                <a:cubicBezTo>
                  <a:pt x="1697" y="328"/>
                  <a:pt x="1697" y="328"/>
                  <a:pt x="1697" y="328"/>
                </a:cubicBezTo>
                <a:cubicBezTo>
                  <a:pt x="1698" y="327"/>
                  <a:pt x="1698" y="327"/>
                  <a:pt x="1698" y="327"/>
                </a:cubicBezTo>
                <a:cubicBezTo>
                  <a:pt x="1699" y="326"/>
                  <a:pt x="1699" y="326"/>
                  <a:pt x="1699" y="326"/>
                </a:cubicBezTo>
                <a:cubicBezTo>
                  <a:pt x="1696" y="326"/>
                  <a:pt x="1696" y="326"/>
                  <a:pt x="1696" y="326"/>
                </a:cubicBezTo>
                <a:lnTo>
                  <a:pt x="1695" y="328"/>
                </a:lnTo>
                <a:close/>
                <a:moveTo>
                  <a:pt x="1712" y="245"/>
                </a:moveTo>
                <a:cubicBezTo>
                  <a:pt x="1709" y="245"/>
                  <a:pt x="1709" y="245"/>
                  <a:pt x="1709" y="245"/>
                </a:cubicBezTo>
                <a:cubicBezTo>
                  <a:pt x="1707" y="246"/>
                  <a:pt x="1707" y="246"/>
                  <a:pt x="1707" y="246"/>
                </a:cubicBezTo>
                <a:cubicBezTo>
                  <a:pt x="1708" y="248"/>
                  <a:pt x="1708" y="248"/>
                  <a:pt x="1708" y="248"/>
                </a:cubicBezTo>
                <a:cubicBezTo>
                  <a:pt x="1710" y="248"/>
                  <a:pt x="1710" y="248"/>
                  <a:pt x="1710" y="248"/>
                </a:cubicBezTo>
                <a:cubicBezTo>
                  <a:pt x="1711" y="247"/>
                  <a:pt x="1711" y="247"/>
                  <a:pt x="1711" y="247"/>
                </a:cubicBezTo>
                <a:cubicBezTo>
                  <a:pt x="1710" y="246"/>
                  <a:pt x="1710" y="246"/>
                  <a:pt x="1710" y="246"/>
                </a:cubicBezTo>
                <a:cubicBezTo>
                  <a:pt x="1712" y="246"/>
                  <a:pt x="1712" y="246"/>
                  <a:pt x="1712" y="246"/>
                </a:cubicBezTo>
                <a:lnTo>
                  <a:pt x="1712" y="245"/>
                </a:lnTo>
                <a:close/>
                <a:moveTo>
                  <a:pt x="1578" y="274"/>
                </a:moveTo>
                <a:cubicBezTo>
                  <a:pt x="1576" y="273"/>
                  <a:pt x="1576" y="273"/>
                  <a:pt x="1576" y="273"/>
                </a:cubicBezTo>
                <a:cubicBezTo>
                  <a:pt x="1573" y="275"/>
                  <a:pt x="1573" y="275"/>
                  <a:pt x="1573" y="275"/>
                </a:cubicBezTo>
                <a:cubicBezTo>
                  <a:pt x="1576" y="275"/>
                  <a:pt x="1576" y="275"/>
                  <a:pt x="1576" y="275"/>
                </a:cubicBezTo>
                <a:lnTo>
                  <a:pt x="1578" y="274"/>
                </a:lnTo>
                <a:close/>
                <a:moveTo>
                  <a:pt x="1555" y="297"/>
                </a:moveTo>
                <a:cubicBezTo>
                  <a:pt x="1554" y="296"/>
                  <a:pt x="1554" y="296"/>
                  <a:pt x="1554" y="296"/>
                </a:cubicBezTo>
                <a:cubicBezTo>
                  <a:pt x="1553" y="296"/>
                  <a:pt x="1553" y="296"/>
                  <a:pt x="1553" y="296"/>
                </a:cubicBezTo>
                <a:cubicBezTo>
                  <a:pt x="1553" y="298"/>
                  <a:pt x="1553" y="298"/>
                  <a:pt x="1553" y="298"/>
                </a:cubicBezTo>
                <a:lnTo>
                  <a:pt x="1555" y="297"/>
                </a:lnTo>
                <a:close/>
                <a:moveTo>
                  <a:pt x="1577" y="277"/>
                </a:moveTo>
                <a:cubicBezTo>
                  <a:pt x="1575" y="277"/>
                  <a:pt x="1575" y="277"/>
                  <a:pt x="1575" y="277"/>
                </a:cubicBezTo>
                <a:cubicBezTo>
                  <a:pt x="1574" y="279"/>
                  <a:pt x="1574" y="279"/>
                  <a:pt x="1574" y="279"/>
                </a:cubicBezTo>
                <a:cubicBezTo>
                  <a:pt x="1575" y="279"/>
                  <a:pt x="1575" y="279"/>
                  <a:pt x="1575" y="279"/>
                </a:cubicBezTo>
                <a:cubicBezTo>
                  <a:pt x="1576" y="279"/>
                  <a:pt x="1576" y="279"/>
                  <a:pt x="1576" y="279"/>
                </a:cubicBezTo>
                <a:cubicBezTo>
                  <a:pt x="1579" y="279"/>
                  <a:pt x="1579" y="279"/>
                  <a:pt x="1579" y="279"/>
                </a:cubicBezTo>
                <a:cubicBezTo>
                  <a:pt x="1580" y="277"/>
                  <a:pt x="1580" y="277"/>
                  <a:pt x="1580" y="277"/>
                </a:cubicBezTo>
                <a:cubicBezTo>
                  <a:pt x="1579" y="276"/>
                  <a:pt x="1579" y="276"/>
                  <a:pt x="1579" y="276"/>
                </a:cubicBezTo>
                <a:cubicBezTo>
                  <a:pt x="1577" y="276"/>
                  <a:pt x="1577" y="276"/>
                  <a:pt x="1577" y="276"/>
                </a:cubicBezTo>
                <a:lnTo>
                  <a:pt x="1577" y="277"/>
                </a:lnTo>
                <a:close/>
                <a:moveTo>
                  <a:pt x="1571" y="280"/>
                </a:moveTo>
                <a:cubicBezTo>
                  <a:pt x="1571" y="278"/>
                  <a:pt x="1571" y="278"/>
                  <a:pt x="1571" y="278"/>
                </a:cubicBezTo>
                <a:cubicBezTo>
                  <a:pt x="1568" y="278"/>
                  <a:pt x="1568" y="278"/>
                  <a:pt x="1568" y="278"/>
                </a:cubicBezTo>
                <a:cubicBezTo>
                  <a:pt x="1570" y="281"/>
                  <a:pt x="1570" y="281"/>
                  <a:pt x="1570" y="281"/>
                </a:cubicBezTo>
                <a:cubicBezTo>
                  <a:pt x="1570" y="281"/>
                  <a:pt x="1571" y="280"/>
                  <a:pt x="1571" y="280"/>
                </a:cubicBezTo>
                <a:close/>
                <a:moveTo>
                  <a:pt x="1666" y="379"/>
                </a:moveTo>
                <a:cubicBezTo>
                  <a:pt x="1667" y="378"/>
                  <a:pt x="1667" y="378"/>
                  <a:pt x="1667" y="378"/>
                </a:cubicBezTo>
                <a:cubicBezTo>
                  <a:pt x="1666" y="380"/>
                  <a:pt x="1666" y="380"/>
                  <a:pt x="1666" y="380"/>
                </a:cubicBezTo>
                <a:cubicBezTo>
                  <a:pt x="1665" y="382"/>
                  <a:pt x="1665" y="382"/>
                  <a:pt x="1665" y="382"/>
                </a:cubicBezTo>
                <a:cubicBezTo>
                  <a:pt x="1665" y="382"/>
                  <a:pt x="1665" y="382"/>
                  <a:pt x="1665" y="382"/>
                </a:cubicBezTo>
                <a:cubicBezTo>
                  <a:pt x="1668" y="382"/>
                  <a:pt x="1668" y="382"/>
                  <a:pt x="1668" y="382"/>
                </a:cubicBezTo>
                <a:cubicBezTo>
                  <a:pt x="1668" y="381"/>
                  <a:pt x="1668" y="381"/>
                  <a:pt x="1668" y="381"/>
                </a:cubicBezTo>
                <a:cubicBezTo>
                  <a:pt x="1668" y="380"/>
                  <a:pt x="1668" y="380"/>
                  <a:pt x="1668" y="380"/>
                </a:cubicBezTo>
                <a:cubicBezTo>
                  <a:pt x="1668" y="379"/>
                  <a:pt x="1668" y="379"/>
                  <a:pt x="1668" y="379"/>
                </a:cubicBezTo>
                <a:cubicBezTo>
                  <a:pt x="1670" y="377"/>
                  <a:pt x="1670" y="377"/>
                  <a:pt x="1670" y="377"/>
                </a:cubicBezTo>
                <a:cubicBezTo>
                  <a:pt x="1671" y="376"/>
                  <a:pt x="1671" y="376"/>
                  <a:pt x="1671" y="376"/>
                </a:cubicBezTo>
                <a:cubicBezTo>
                  <a:pt x="1672" y="374"/>
                  <a:pt x="1672" y="374"/>
                  <a:pt x="1672" y="374"/>
                </a:cubicBezTo>
                <a:cubicBezTo>
                  <a:pt x="1672" y="373"/>
                  <a:pt x="1672" y="373"/>
                  <a:pt x="1672" y="373"/>
                </a:cubicBezTo>
                <a:cubicBezTo>
                  <a:pt x="1670" y="372"/>
                  <a:pt x="1670" y="372"/>
                  <a:pt x="1670" y="372"/>
                </a:cubicBezTo>
                <a:cubicBezTo>
                  <a:pt x="1671" y="370"/>
                  <a:pt x="1671" y="370"/>
                  <a:pt x="1671" y="370"/>
                </a:cubicBezTo>
                <a:cubicBezTo>
                  <a:pt x="1671" y="369"/>
                  <a:pt x="1671" y="369"/>
                  <a:pt x="1671" y="369"/>
                </a:cubicBezTo>
                <a:cubicBezTo>
                  <a:pt x="1672" y="368"/>
                  <a:pt x="1672" y="368"/>
                  <a:pt x="1672" y="368"/>
                </a:cubicBezTo>
                <a:cubicBezTo>
                  <a:pt x="1671" y="367"/>
                  <a:pt x="1671" y="367"/>
                  <a:pt x="1671" y="367"/>
                </a:cubicBezTo>
                <a:cubicBezTo>
                  <a:pt x="1670" y="368"/>
                  <a:pt x="1670" y="368"/>
                  <a:pt x="1670" y="368"/>
                </a:cubicBezTo>
                <a:cubicBezTo>
                  <a:pt x="1668" y="368"/>
                  <a:pt x="1668" y="368"/>
                  <a:pt x="1668" y="368"/>
                </a:cubicBezTo>
                <a:cubicBezTo>
                  <a:pt x="1666" y="370"/>
                  <a:pt x="1666" y="370"/>
                  <a:pt x="1666" y="370"/>
                </a:cubicBezTo>
                <a:cubicBezTo>
                  <a:pt x="1666" y="372"/>
                  <a:pt x="1666" y="372"/>
                  <a:pt x="1666" y="372"/>
                </a:cubicBezTo>
                <a:cubicBezTo>
                  <a:pt x="1664" y="373"/>
                  <a:pt x="1664" y="373"/>
                  <a:pt x="1664" y="373"/>
                </a:cubicBezTo>
                <a:cubicBezTo>
                  <a:pt x="1665" y="375"/>
                  <a:pt x="1665" y="375"/>
                  <a:pt x="1665" y="375"/>
                </a:cubicBezTo>
                <a:cubicBezTo>
                  <a:pt x="1664" y="376"/>
                  <a:pt x="1664" y="376"/>
                  <a:pt x="1664" y="376"/>
                </a:cubicBezTo>
                <a:lnTo>
                  <a:pt x="1666" y="379"/>
                </a:lnTo>
                <a:close/>
                <a:moveTo>
                  <a:pt x="1572" y="284"/>
                </a:moveTo>
                <a:cubicBezTo>
                  <a:pt x="1573" y="283"/>
                  <a:pt x="1573" y="283"/>
                  <a:pt x="1573" y="283"/>
                </a:cubicBezTo>
                <a:cubicBezTo>
                  <a:pt x="1572" y="281"/>
                  <a:pt x="1572" y="281"/>
                  <a:pt x="1572" y="281"/>
                </a:cubicBezTo>
                <a:cubicBezTo>
                  <a:pt x="1572" y="281"/>
                  <a:pt x="1571" y="283"/>
                  <a:pt x="1571" y="283"/>
                </a:cubicBezTo>
                <a:lnTo>
                  <a:pt x="1572" y="284"/>
                </a:lnTo>
                <a:close/>
                <a:moveTo>
                  <a:pt x="1706" y="354"/>
                </a:moveTo>
                <a:cubicBezTo>
                  <a:pt x="1709" y="356"/>
                  <a:pt x="1709" y="356"/>
                  <a:pt x="1709" y="356"/>
                </a:cubicBezTo>
                <a:cubicBezTo>
                  <a:pt x="1710" y="355"/>
                  <a:pt x="1710" y="355"/>
                  <a:pt x="1710" y="355"/>
                </a:cubicBezTo>
                <a:cubicBezTo>
                  <a:pt x="1709" y="353"/>
                  <a:pt x="1709" y="353"/>
                  <a:pt x="1709" y="353"/>
                </a:cubicBezTo>
                <a:cubicBezTo>
                  <a:pt x="1706" y="353"/>
                  <a:pt x="1706" y="353"/>
                  <a:pt x="1706" y="353"/>
                </a:cubicBezTo>
                <a:lnTo>
                  <a:pt x="1706" y="354"/>
                </a:lnTo>
                <a:close/>
                <a:moveTo>
                  <a:pt x="1672" y="357"/>
                </a:moveTo>
                <a:cubicBezTo>
                  <a:pt x="1672" y="359"/>
                  <a:pt x="1672" y="359"/>
                  <a:pt x="1672" y="359"/>
                </a:cubicBezTo>
                <a:cubicBezTo>
                  <a:pt x="1674" y="358"/>
                  <a:pt x="1674" y="358"/>
                  <a:pt x="1674" y="358"/>
                </a:cubicBezTo>
                <a:cubicBezTo>
                  <a:pt x="1672" y="357"/>
                  <a:pt x="1672" y="357"/>
                  <a:pt x="1672" y="357"/>
                </a:cubicBezTo>
                <a:close/>
                <a:moveTo>
                  <a:pt x="1681" y="279"/>
                </a:moveTo>
                <a:cubicBezTo>
                  <a:pt x="1682" y="280"/>
                  <a:pt x="1682" y="280"/>
                  <a:pt x="1682" y="280"/>
                </a:cubicBezTo>
                <a:cubicBezTo>
                  <a:pt x="1684" y="279"/>
                  <a:pt x="1684" y="279"/>
                  <a:pt x="1684" y="279"/>
                </a:cubicBezTo>
                <a:cubicBezTo>
                  <a:pt x="1684" y="278"/>
                  <a:pt x="1684" y="278"/>
                  <a:pt x="1684" y="278"/>
                </a:cubicBezTo>
                <a:cubicBezTo>
                  <a:pt x="1683" y="278"/>
                  <a:pt x="1683" y="278"/>
                  <a:pt x="1683" y="278"/>
                </a:cubicBezTo>
                <a:cubicBezTo>
                  <a:pt x="1681" y="277"/>
                  <a:pt x="1681" y="277"/>
                  <a:pt x="1681" y="277"/>
                </a:cubicBezTo>
                <a:lnTo>
                  <a:pt x="1681" y="279"/>
                </a:lnTo>
                <a:close/>
                <a:moveTo>
                  <a:pt x="1672" y="367"/>
                </a:moveTo>
                <a:cubicBezTo>
                  <a:pt x="1673" y="368"/>
                  <a:pt x="1673" y="368"/>
                  <a:pt x="1673" y="368"/>
                </a:cubicBezTo>
                <a:cubicBezTo>
                  <a:pt x="1674" y="367"/>
                  <a:pt x="1674" y="367"/>
                  <a:pt x="1674" y="367"/>
                </a:cubicBezTo>
                <a:cubicBezTo>
                  <a:pt x="1676" y="366"/>
                  <a:pt x="1676" y="366"/>
                  <a:pt x="1676" y="366"/>
                </a:cubicBezTo>
                <a:cubicBezTo>
                  <a:pt x="1676" y="366"/>
                  <a:pt x="1676" y="366"/>
                  <a:pt x="1676" y="366"/>
                </a:cubicBezTo>
                <a:cubicBezTo>
                  <a:pt x="1673" y="366"/>
                  <a:pt x="1673" y="366"/>
                  <a:pt x="1673" y="366"/>
                </a:cubicBezTo>
                <a:lnTo>
                  <a:pt x="1672" y="367"/>
                </a:lnTo>
                <a:close/>
                <a:moveTo>
                  <a:pt x="1665" y="347"/>
                </a:moveTo>
                <a:cubicBezTo>
                  <a:pt x="1665" y="344"/>
                  <a:pt x="1665" y="344"/>
                  <a:pt x="1665" y="344"/>
                </a:cubicBezTo>
                <a:cubicBezTo>
                  <a:pt x="1667" y="342"/>
                  <a:pt x="1667" y="342"/>
                  <a:pt x="1667" y="342"/>
                </a:cubicBezTo>
                <a:cubicBezTo>
                  <a:pt x="1667" y="341"/>
                  <a:pt x="1667" y="341"/>
                  <a:pt x="1667" y="341"/>
                </a:cubicBezTo>
                <a:cubicBezTo>
                  <a:pt x="1665" y="341"/>
                  <a:pt x="1665" y="341"/>
                  <a:pt x="1665" y="341"/>
                </a:cubicBezTo>
                <a:cubicBezTo>
                  <a:pt x="1663" y="343"/>
                  <a:pt x="1663" y="343"/>
                  <a:pt x="1663" y="343"/>
                </a:cubicBezTo>
                <a:cubicBezTo>
                  <a:pt x="1664" y="346"/>
                  <a:pt x="1664" y="346"/>
                  <a:pt x="1664" y="346"/>
                </a:cubicBezTo>
                <a:lnTo>
                  <a:pt x="1665" y="347"/>
                </a:lnTo>
                <a:close/>
                <a:moveTo>
                  <a:pt x="1673" y="327"/>
                </a:moveTo>
                <a:cubicBezTo>
                  <a:pt x="1673" y="328"/>
                  <a:pt x="1673" y="328"/>
                  <a:pt x="1673" y="328"/>
                </a:cubicBezTo>
                <a:cubicBezTo>
                  <a:pt x="1674" y="329"/>
                  <a:pt x="1674" y="329"/>
                  <a:pt x="1674" y="329"/>
                </a:cubicBezTo>
                <a:cubicBezTo>
                  <a:pt x="1675" y="330"/>
                  <a:pt x="1675" y="330"/>
                  <a:pt x="1675" y="330"/>
                </a:cubicBezTo>
                <a:cubicBezTo>
                  <a:pt x="1677" y="331"/>
                  <a:pt x="1677" y="331"/>
                  <a:pt x="1677" y="331"/>
                </a:cubicBezTo>
                <a:cubicBezTo>
                  <a:pt x="1679" y="332"/>
                  <a:pt x="1679" y="332"/>
                  <a:pt x="1679" y="332"/>
                </a:cubicBezTo>
                <a:cubicBezTo>
                  <a:pt x="1680" y="331"/>
                  <a:pt x="1680" y="331"/>
                  <a:pt x="1680" y="331"/>
                </a:cubicBezTo>
                <a:cubicBezTo>
                  <a:pt x="1680" y="330"/>
                  <a:pt x="1680" y="330"/>
                  <a:pt x="1680" y="330"/>
                </a:cubicBezTo>
                <a:cubicBezTo>
                  <a:pt x="1678" y="330"/>
                  <a:pt x="1678" y="330"/>
                  <a:pt x="1678" y="330"/>
                </a:cubicBezTo>
                <a:cubicBezTo>
                  <a:pt x="1677" y="328"/>
                  <a:pt x="1677" y="328"/>
                  <a:pt x="1677" y="328"/>
                </a:cubicBezTo>
                <a:cubicBezTo>
                  <a:pt x="1678" y="327"/>
                  <a:pt x="1678" y="327"/>
                  <a:pt x="1678" y="327"/>
                </a:cubicBezTo>
                <a:cubicBezTo>
                  <a:pt x="1679" y="328"/>
                  <a:pt x="1679" y="328"/>
                  <a:pt x="1679" y="328"/>
                </a:cubicBezTo>
                <a:cubicBezTo>
                  <a:pt x="1679" y="326"/>
                  <a:pt x="1679" y="326"/>
                  <a:pt x="1679" y="326"/>
                </a:cubicBezTo>
                <a:cubicBezTo>
                  <a:pt x="1676" y="324"/>
                  <a:pt x="1676" y="324"/>
                  <a:pt x="1676" y="324"/>
                </a:cubicBezTo>
                <a:cubicBezTo>
                  <a:pt x="1675" y="324"/>
                  <a:pt x="1675" y="324"/>
                  <a:pt x="1675" y="324"/>
                </a:cubicBezTo>
                <a:cubicBezTo>
                  <a:pt x="1675" y="326"/>
                  <a:pt x="1675" y="326"/>
                  <a:pt x="1675" y="326"/>
                </a:cubicBezTo>
                <a:cubicBezTo>
                  <a:pt x="1676" y="327"/>
                  <a:pt x="1676" y="327"/>
                  <a:pt x="1676" y="327"/>
                </a:cubicBezTo>
                <a:cubicBezTo>
                  <a:pt x="1676" y="328"/>
                  <a:pt x="1676" y="328"/>
                  <a:pt x="1676" y="328"/>
                </a:cubicBezTo>
                <a:lnTo>
                  <a:pt x="1673" y="327"/>
                </a:lnTo>
                <a:close/>
                <a:moveTo>
                  <a:pt x="1684" y="276"/>
                </a:moveTo>
                <a:cubicBezTo>
                  <a:pt x="1682" y="275"/>
                  <a:pt x="1682" y="275"/>
                  <a:pt x="1682" y="275"/>
                </a:cubicBezTo>
                <a:cubicBezTo>
                  <a:pt x="1682" y="276"/>
                  <a:pt x="1682" y="276"/>
                  <a:pt x="1682" y="276"/>
                </a:cubicBezTo>
                <a:cubicBezTo>
                  <a:pt x="1683" y="277"/>
                  <a:pt x="1683" y="277"/>
                  <a:pt x="1683" y="277"/>
                </a:cubicBezTo>
                <a:lnTo>
                  <a:pt x="1684" y="276"/>
                </a:lnTo>
                <a:close/>
                <a:moveTo>
                  <a:pt x="1687" y="324"/>
                </a:moveTo>
                <a:cubicBezTo>
                  <a:pt x="1687" y="324"/>
                  <a:pt x="1688" y="325"/>
                  <a:pt x="1688" y="325"/>
                </a:cubicBezTo>
                <a:cubicBezTo>
                  <a:pt x="1689" y="324"/>
                  <a:pt x="1689" y="324"/>
                  <a:pt x="1689" y="324"/>
                </a:cubicBezTo>
                <a:lnTo>
                  <a:pt x="1687" y="324"/>
                </a:lnTo>
                <a:close/>
                <a:moveTo>
                  <a:pt x="1703" y="332"/>
                </a:moveTo>
                <a:cubicBezTo>
                  <a:pt x="1702" y="331"/>
                  <a:pt x="1702" y="331"/>
                  <a:pt x="1702" y="331"/>
                </a:cubicBezTo>
                <a:cubicBezTo>
                  <a:pt x="1702" y="332"/>
                  <a:pt x="1702" y="332"/>
                  <a:pt x="1702" y="332"/>
                </a:cubicBezTo>
                <a:cubicBezTo>
                  <a:pt x="1701" y="332"/>
                  <a:pt x="1701" y="332"/>
                  <a:pt x="1701" y="332"/>
                </a:cubicBezTo>
                <a:cubicBezTo>
                  <a:pt x="1701" y="333"/>
                  <a:pt x="1701" y="333"/>
                  <a:pt x="1701" y="333"/>
                </a:cubicBezTo>
                <a:lnTo>
                  <a:pt x="1703" y="332"/>
                </a:lnTo>
                <a:close/>
                <a:moveTo>
                  <a:pt x="1699" y="330"/>
                </a:moveTo>
                <a:cubicBezTo>
                  <a:pt x="1700" y="330"/>
                  <a:pt x="1700" y="330"/>
                  <a:pt x="1700" y="330"/>
                </a:cubicBezTo>
                <a:cubicBezTo>
                  <a:pt x="1700" y="330"/>
                  <a:pt x="1700" y="328"/>
                  <a:pt x="1700" y="328"/>
                </a:cubicBezTo>
                <a:lnTo>
                  <a:pt x="1699" y="330"/>
                </a:lnTo>
                <a:close/>
                <a:moveTo>
                  <a:pt x="1693" y="325"/>
                </a:moveTo>
                <a:cubicBezTo>
                  <a:pt x="1691" y="323"/>
                  <a:pt x="1691" y="323"/>
                  <a:pt x="1691" y="323"/>
                </a:cubicBezTo>
                <a:cubicBezTo>
                  <a:pt x="1691" y="325"/>
                  <a:pt x="1691" y="325"/>
                  <a:pt x="1691" y="325"/>
                </a:cubicBezTo>
                <a:cubicBezTo>
                  <a:pt x="1692" y="326"/>
                  <a:pt x="1692" y="326"/>
                  <a:pt x="1692" y="326"/>
                </a:cubicBezTo>
                <a:lnTo>
                  <a:pt x="1693" y="325"/>
                </a:lnTo>
                <a:close/>
                <a:moveTo>
                  <a:pt x="1698" y="352"/>
                </a:moveTo>
                <a:cubicBezTo>
                  <a:pt x="1700" y="351"/>
                  <a:pt x="1700" y="351"/>
                  <a:pt x="1700" y="351"/>
                </a:cubicBezTo>
                <a:cubicBezTo>
                  <a:pt x="1701" y="351"/>
                  <a:pt x="1701" y="351"/>
                  <a:pt x="1701" y="351"/>
                </a:cubicBezTo>
                <a:cubicBezTo>
                  <a:pt x="1703" y="353"/>
                  <a:pt x="1703" y="353"/>
                  <a:pt x="1703" y="353"/>
                </a:cubicBezTo>
                <a:cubicBezTo>
                  <a:pt x="1703" y="351"/>
                  <a:pt x="1703" y="351"/>
                  <a:pt x="1703" y="351"/>
                </a:cubicBezTo>
                <a:cubicBezTo>
                  <a:pt x="1705" y="350"/>
                  <a:pt x="1705" y="350"/>
                  <a:pt x="1705" y="350"/>
                </a:cubicBezTo>
                <a:cubicBezTo>
                  <a:pt x="1706" y="351"/>
                  <a:pt x="1706" y="351"/>
                  <a:pt x="1706" y="351"/>
                </a:cubicBezTo>
                <a:cubicBezTo>
                  <a:pt x="1705" y="349"/>
                  <a:pt x="1705" y="349"/>
                  <a:pt x="1705" y="349"/>
                </a:cubicBezTo>
                <a:cubicBezTo>
                  <a:pt x="1703" y="349"/>
                  <a:pt x="1703" y="349"/>
                  <a:pt x="1703" y="349"/>
                </a:cubicBezTo>
                <a:cubicBezTo>
                  <a:pt x="1703" y="348"/>
                  <a:pt x="1703" y="348"/>
                  <a:pt x="1703" y="348"/>
                </a:cubicBezTo>
                <a:cubicBezTo>
                  <a:pt x="1701" y="347"/>
                  <a:pt x="1701" y="347"/>
                  <a:pt x="1701" y="347"/>
                </a:cubicBezTo>
                <a:cubicBezTo>
                  <a:pt x="1701" y="348"/>
                  <a:pt x="1701" y="348"/>
                  <a:pt x="1701" y="348"/>
                </a:cubicBezTo>
                <a:cubicBezTo>
                  <a:pt x="1700" y="349"/>
                  <a:pt x="1700" y="349"/>
                  <a:pt x="1700" y="349"/>
                </a:cubicBezTo>
                <a:cubicBezTo>
                  <a:pt x="1697" y="351"/>
                  <a:pt x="1697" y="351"/>
                  <a:pt x="1697" y="351"/>
                </a:cubicBezTo>
                <a:lnTo>
                  <a:pt x="1698" y="352"/>
                </a:lnTo>
                <a:close/>
                <a:moveTo>
                  <a:pt x="1655" y="629"/>
                </a:moveTo>
                <a:cubicBezTo>
                  <a:pt x="1656" y="627"/>
                  <a:pt x="1656" y="627"/>
                  <a:pt x="1656" y="627"/>
                </a:cubicBezTo>
                <a:cubicBezTo>
                  <a:pt x="1654" y="625"/>
                  <a:pt x="1654" y="625"/>
                  <a:pt x="1654" y="625"/>
                </a:cubicBezTo>
                <a:cubicBezTo>
                  <a:pt x="1652" y="627"/>
                  <a:pt x="1652" y="627"/>
                  <a:pt x="1652" y="627"/>
                </a:cubicBezTo>
                <a:cubicBezTo>
                  <a:pt x="1650" y="627"/>
                  <a:pt x="1650" y="627"/>
                  <a:pt x="1650" y="627"/>
                </a:cubicBezTo>
                <a:cubicBezTo>
                  <a:pt x="1648" y="626"/>
                  <a:pt x="1648" y="626"/>
                  <a:pt x="1648" y="626"/>
                </a:cubicBezTo>
                <a:cubicBezTo>
                  <a:pt x="1646" y="628"/>
                  <a:pt x="1646" y="628"/>
                  <a:pt x="1646" y="628"/>
                </a:cubicBezTo>
                <a:cubicBezTo>
                  <a:pt x="1642" y="628"/>
                  <a:pt x="1642" y="628"/>
                  <a:pt x="1642" y="628"/>
                </a:cubicBezTo>
                <a:cubicBezTo>
                  <a:pt x="1638" y="629"/>
                  <a:pt x="1638" y="629"/>
                  <a:pt x="1638" y="629"/>
                </a:cubicBezTo>
                <a:cubicBezTo>
                  <a:pt x="1635" y="628"/>
                  <a:pt x="1635" y="628"/>
                  <a:pt x="1635" y="628"/>
                </a:cubicBezTo>
                <a:cubicBezTo>
                  <a:pt x="1633" y="627"/>
                  <a:pt x="1633" y="627"/>
                  <a:pt x="1633" y="627"/>
                </a:cubicBezTo>
                <a:cubicBezTo>
                  <a:pt x="1631" y="627"/>
                  <a:pt x="1631" y="627"/>
                  <a:pt x="1631" y="627"/>
                </a:cubicBezTo>
                <a:cubicBezTo>
                  <a:pt x="1630" y="628"/>
                  <a:pt x="1630" y="628"/>
                  <a:pt x="1630" y="628"/>
                </a:cubicBezTo>
                <a:cubicBezTo>
                  <a:pt x="1629" y="627"/>
                  <a:pt x="1629" y="627"/>
                  <a:pt x="1629" y="627"/>
                </a:cubicBezTo>
                <a:cubicBezTo>
                  <a:pt x="1627" y="629"/>
                  <a:pt x="1627" y="629"/>
                  <a:pt x="1627" y="629"/>
                </a:cubicBezTo>
                <a:cubicBezTo>
                  <a:pt x="1626" y="632"/>
                  <a:pt x="1626" y="632"/>
                  <a:pt x="1626" y="632"/>
                </a:cubicBezTo>
                <a:cubicBezTo>
                  <a:pt x="1628" y="634"/>
                  <a:pt x="1628" y="634"/>
                  <a:pt x="1628" y="634"/>
                </a:cubicBezTo>
                <a:cubicBezTo>
                  <a:pt x="1631" y="633"/>
                  <a:pt x="1631" y="633"/>
                  <a:pt x="1631" y="633"/>
                </a:cubicBezTo>
                <a:cubicBezTo>
                  <a:pt x="1634" y="636"/>
                  <a:pt x="1634" y="636"/>
                  <a:pt x="1634" y="636"/>
                </a:cubicBezTo>
                <a:cubicBezTo>
                  <a:pt x="1636" y="637"/>
                  <a:pt x="1636" y="637"/>
                  <a:pt x="1636" y="637"/>
                </a:cubicBezTo>
                <a:cubicBezTo>
                  <a:pt x="1638" y="639"/>
                  <a:pt x="1638" y="639"/>
                  <a:pt x="1638" y="639"/>
                </a:cubicBezTo>
                <a:cubicBezTo>
                  <a:pt x="1643" y="640"/>
                  <a:pt x="1643" y="640"/>
                  <a:pt x="1643" y="640"/>
                </a:cubicBezTo>
                <a:cubicBezTo>
                  <a:pt x="1644" y="640"/>
                  <a:pt x="1644" y="640"/>
                  <a:pt x="1644" y="640"/>
                </a:cubicBezTo>
                <a:cubicBezTo>
                  <a:pt x="1646" y="641"/>
                  <a:pt x="1646" y="641"/>
                  <a:pt x="1646" y="641"/>
                </a:cubicBezTo>
                <a:cubicBezTo>
                  <a:pt x="1646" y="643"/>
                  <a:pt x="1646" y="643"/>
                  <a:pt x="1646" y="643"/>
                </a:cubicBezTo>
                <a:cubicBezTo>
                  <a:pt x="1651" y="645"/>
                  <a:pt x="1651" y="645"/>
                  <a:pt x="1651" y="645"/>
                </a:cubicBezTo>
                <a:cubicBezTo>
                  <a:pt x="1653" y="644"/>
                  <a:pt x="1653" y="644"/>
                  <a:pt x="1653" y="644"/>
                </a:cubicBezTo>
                <a:cubicBezTo>
                  <a:pt x="1653" y="642"/>
                  <a:pt x="1653" y="642"/>
                  <a:pt x="1653" y="642"/>
                </a:cubicBezTo>
                <a:cubicBezTo>
                  <a:pt x="1654" y="641"/>
                  <a:pt x="1654" y="641"/>
                  <a:pt x="1654" y="641"/>
                </a:cubicBezTo>
                <a:cubicBezTo>
                  <a:pt x="1653" y="638"/>
                  <a:pt x="1653" y="638"/>
                  <a:pt x="1653" y="638"/>
                </a:cubicBezTo>
                <a:cubicBezTo>
                  <a:pt x="1652" y="636"/>
                  <a:pt x="1652" y="636"/>
                  <a:pt x="1652" y="636"/>
                </a:cubicBezTo>
                <a:cubicBezTo>
                  <a:pt x="1653" y="631"/>
                  <a:pt x="1653" y="631"/>
                  <a:pt x="1653" y="631"/>
                </a:cubicBezTo>
                <a:lnTo>
                  <a:pt x="1655" y="629"/>
                </a:lnTo>
                <a:close/>
                <a:moveTo>
                  <a:pt x="1728" y="616"/>
                </a:moveTo>
                <a:cubicBezTo>
                  <a:pt x="1726" y="617"/>
                  <a:pt x="1726" y="617"/>
                  <a:pt x="1726" y="617"/>
                </a:cubicBezTo>
                <a:cubicBezTo>
                  <a:pt x="1727" y="617"/>
                  <a:pt x="1727" y="617"/>
                  <a:pt x="1727" y="617"/>
                </a:cubicBezTo>
                <a:cubicBezTo>
                  <a:pt x="1729" y="617"/>
                  <a:pt x="1729" y="617"/>
                  <a:pt x="1729" y="617"/>
                </a:cubicBezTo>
                <a:cubicBezTo>
                  <a:pt x="1730" y="618"/>
                  <a:pt x="1730" y="618"/>
                  <a:pt x="1730" y="618"/>
                </a:cubicBezTo>
                <a:cubicBezTo>
                  <a:pt x="1730" y="619"/>
                  <a:pt x="1730" y="619"/>
                  <a:pt x="1730" y="619"/>
                </a:cubicBezTo>
                <a:cubicBezTo>
                  <a:pt x="1731" y="619"/>
                  <a:pt x="1731" y="619"/>
                  <a:pt x="1731" y="619"/>
                </a:cubicBezTo>
                <a:cubicBezTo>
                  <a:pt x="1732" y="620"/>
                  <a:pt x="1732" y="620"/>
                  <a:pt x="1732" y="620"/>
                </a:cubicBezTo>
                <a:cubicBezTo>
                  <a:pt x="1733" y="621"/>
                  <a:pt x="1733" y="621"/>
                  <a:pt x="1733" y="621"/>
                </a:cubicBezTo>
                <a:cubicBezTo>
                  <a:pt x="1734" y="622"/>
                  <a:pt x="1734" y="622"/>
                  <a:pt x="1734" y="622"/>
                </a:cubicBezTo>
                <a:cubicBezTo>
                  <a:pt x="1736" y="623"/>
                  <a:pt x="1736" y="623"/>
                  <a:pt x="1736" y="623"/>
                </a:cubicBezTo>
                <a:cubicBezTo>
                  <a:pt x="1737" y="623"/>
                  <a:pt x="1737" y="623"/>
                  <a:pt x="1737" y="623"/>
                </a:cubicBezTo>
                <a:cubicBezTo>
                  <a:pt x="1738" y="624"/>
                  <a:pt x="1738" y="624"/>
                  <a:pt x="1738" y="624"/>
                </a:cubicBezTo>
                <a:cubicBezTo>
                  <a:pt x="1739" y="626"/>
                  <a:pt x="1739" y="626"/>
                  <a:pt x="1739" y="626"/>
                </a:cubicBezTo>
                <a:cubicBezTo>
                  <a:pt x="1740" y="626"/>
                  <a:pt x="1740" y="626"/>
                  <a:pt x="1740" y="626"/>
                </a:cubicBezTo>
                <a:cubicBezTo>
                  <a:pt x="1739" y="627"/>
                  <a:pt x="1739" y="627"/>
                  <a:pt x="1739" y="627"/>
                </a:cubicBezTo>
                <a:cubicBezTo>
                  <a:pt x="1740" y="628"/>
                  <a:pt x="1740" y="628"/>
                  <a:pt x="1740" y="628"/>
                </a:cubicBezTo>
                <a:cubicBezTo>
                  <a:pt x="1741" y="629"/>
                  <a:pt x="1741" y="629"/>
                  <a:pt x="1741" y="629"/>
                </a:cubicBezTo>
                <a:cubicBezTo>
                  <a:pt x="1742" y="629"/>
                  <a:pt x="1742" y="629"/>
                  <a:pt x="1742" y="629"/>
                </a:cubicBezTo>
                <a:cubicBezTo>
                  <a:pt x="1743" y="629"/>
                  <a:pt x="1743" y="629"/>
                  <a:pt x="1743" y="629"/>
                </a:cubicBezTo>
                <a:cubicBezTo>
                  <a:pt x="1744" y="627"/>
                  <a:pt x="1744" y="627"/>
                  <a:pt x="1744" y="627"/>
                </a:cubicBezTo>
                <a:cubicBezTo>
                  <a:pt x="1742" y="627"/>
                  <a:pt x="1742" y="627"/>
                  <a:pt x="1742" y="627"/>
                </a:cubicBezTo>
                <a:cubicBezTo>
                  <a:pt x="1742" y="628"/>
                  <a:pt x="1742" y="628"/>
                  <a:pt x="1742" y="628"/>
                </a:cubicBezTo>
                <a:cubicBezTo>
                  <a:pt x="1740" y="626"/>
                  <a:pt x="1740" y="626"/>
                  <a:pt x="1740" y="626"/>
                </a:cubicBezTo>
                <a:cubicBezTo>
                  <a:pt x="1740" y="625"/>
                  <a:pt x="1740" y="625"/>
                  <a:pt x="1740" y="625"/>
                </a:cubicBezTo>
                <a:cubicBezTo>
                  <a:pt x="1740" y="624"/>
                  <a:pt x="1740" y="624"/>
                  <a:pt x="1740" y="624"/>
                </a:cubicBezTo>
                <a:cubicBezTo>
                  <a:pt x="1740" y="623"/>
                  <a:pt x="1740" y="623"/>
                  <a:pt x="1740" y="623"/>
                </a:cubicBezTo>
                <a:cubicBezTo>
                  <a:pt x="1739" y="621"/>
                  <a:pt x="1739" y="621"/>
                  <a:pt x="1739" y="621"/>
                </a:cubicBezTo>
                <a:cubicBezTo>
                  <a:pt x="1737" y="619"/>
                  <a:pt x="1737" y="619"/>
                  <a:pt x="1737" y="619"/>
                </a:cubicBezTo>
                <a:cubicBezTo>
                  <a:pt x="1737" y="619"/>
                  <a:pt x="1737" y="619"/>
                  <a:pt x="1737" y="619"/>
                </a:cubicBezTo>
                <a:cubicBezTo>
                  <a:pt x="1735" y="619"/>
                  <a:pt x="1735" y="619"/>
                  <a:pt x="1735" y="619"/>
                </a:cubicBezTo>
                <a:cubicBezTo>
                  <a:pt x="1735" y="619"/>
                  <a:pt x="1735" y="619"/>
                  <a:pt x="1735" y="619"/>
                </a:cubicBezTo>
                <a:cubicBezTo>
                  <a:pt x="1733" y="618"/>
                  <a:pt x="1733" y="618"/>
                  <a:pt x="1733" y="618"/>
                </a:cubicBezTo>
                <a:cubicBezTo>
                  <a:pt x="1732" y="617"/>
                  <a:pt x="1732" y="617"/>
                  <a:pt x="1732" y="617"/>
                </a:cubicBezTo>
                <a:cubicBezTo>
                  <a:pt x="1730" y="616"/>
                  <a:pt x="1730" y="616"/>
                  <a:pt x="1730" y="616"/>
                </a:cubicBezTo>
                <a:lnTo>
                  <a:pt x="1728" y="616"/>
                </a:lnTo>
                <a:close/>
                <a:moveTo>
                  <a:pt x="1736" y="656"/>
                </a:moveTo>
                <a:cubicBezTo>
                  <a:pt x="1736" y="658"/>
                  <a:pt x="1736" y="658"/>
                  <a:pt x="1736" y="658"/>
                </a:cubicBezTo>
                <a:cubicBezTo>
                  <a:pt x="1736" y="659"/>
                  <a:pt x="1736" y="659"/>
                  <a:pt x="1736" y="659"/>
                </a:cubicBezTo>
                <a:cubicBezTo>
                  <a:pt x="1736" y="661"/>
                  <a:pt x="1736" y="661"/>
                  <a:pt x="1736" y="661"/>
                </a:cubicBezTo>
                <a:cubicBezTo>
                  <a:pt x="1737" y="661"/>
                  <a:pt x="1737" y="661"/>
                  <a:pt x="1737" y="661"/>
                </a:cubicBezTo>
                <a:cubicBezTo>
                  <a:pt x="1741" y="661"/>
                  <a:pt x="1741" y="661"/>
                  <a:pt x="1741" y="661"/>
                </a:cubicBezTo>
                <a:cubicBezTo>
                  <a:pt x="1742" y="661"/>
                  <a:pt x="1742" y="661"/>
                  <a:pt x="1742" y="661"/>
                </a:cubicBezTo>
                <a:cubicBezTo>
                  <a:pt x="1743" y="661"/>
                  <a:pt x="1743" y="661"/>
                  <a:pt x="1743" y="661"/>
                </a:cubicBezTo>
                <a:cubicBezTo>
                  <a:pt x="1745" y="661"/>
                  <a:pt x="1745" y="661"/>
                  <a:pt x="1745" y="661"/>
                </a:cubicBezTo>
                <a:cubicBezTo>
                  <a:pt x="1747" y="663"/>
                  <a:pt x="1747" y="663"/>
                  <a:pt x="1747" y="663"/>
                </a:cubicBezTo>
                <a:cubicBezTo>
                  <a:pt x="1748" y="664"/>
                  <a:pt x="1748" y="664"/>
                  <a:pt x="1748" y="664"/>
                </a:cubicBezTo>
                <a:cubicBezTo>
                  <a:pt x="1750" y="664"/>
                  <a:pt x="1750" y="664"/>
                  <a:pt x="1750" y="664"/>
                </a:cubicBezTo>
                <a:cubicBezTo>
                  <a:pt x="1752" y="662"/>
                  <a:pt x="1752" y="662"/>
                  <a:pt x="1752" y="662"/>
                </a:cubicBezTo>
                <a:cubicBezTo>
                  <a:pt x="1755" y="663"/>
                  <a:pt x="1755" y="663"/>
                  <a:pt x="1755" y="663"/>
                </a:cubicBezTo>
                <a:cubicBezTo>
                  <a:pt x="1758" y="663"/>
                  <a:pt x="1758" y="663"/>
                  <a:pt x="1758" y="663"/>
                </a:cubicBezTo>
                <a:cubicBezTo>
                  <a:pt x="1761" y="663"/>
                  <a:pt x="1761" y="663"/>
                  <a:pt x="1761" y="663"/>
                </a:cubicBezTo>
                <a:cubicBezTo>
                  <a:pt x="1762" y="662"/>
                  <a:pt x="1762" y="662"/>
                  <a:pt x="1762" y="662"/>
                </a:cubicBezTo>
                <a:cubicBezTo>
                  <a:pt x="1763" y="660"/>
                  <a:pt x="1763" y="660"/>
                  <a:pt x="1763" y="660"/>
                </a:cubicBezTo>
                <a:cubicBezTo>
                  <a:pt x="1763" y="659"/>
                  <a:pt x="1763" y="659"/>
                  <a:pt x="1763" y="659"/>
                </a:cubicBezTo>
                <a:cubicBezTo>
                  <a:pt x="1763" y="658"/>
                  <a:pt x="1763" y="658"/>
                  <a:pt x="1763" y="658"/>
                </a:cubicBezTo>
                <a:cubicBezTo>
                  <a:pt x="1762" y="659"/>
                  <a:pt x="1762" y="659"/>
                  <a:pt x="1762" y="659"/>
                </a:cubicBezTo>
                <a:cubicBezTo>
                  <a:pt x="1762" y="660"/>
                  <a:pt x="1762" y="660"/>
                  <a:pt x="1762" y="660"/>
                </a:cubicBezTo>
                <a:cubicBezTo>
                  <a:pt x="1761" y="661"/>
                  <a:pt x="1761" y="661"/>
                  <a:pt x="1761" y="661"/>
                </a:cubicBezTo>
                <a:cubicBezTo>
                  <a:pt x="1760" y="660"/>
                  <a:pt x="1760" y="660"/>
                  <a:pt x="1760" y="660"/>
                </a:cubicBezTo>
                <a:cubicBezTo>
                  <a:pt x="1759" y="660"/>
                  <a:pt x="1759" y="660"/>
                  <a:pt x="1759" y="660"/>
                </a:cubicBezTo>
                <a:cubicBezTo>
                  <a:pt x="1758" y="660"/>
                  <a:pt x="1758" y="660"/>
                  <a:pt x="1758" y="660"/>
                </a:cubicBezTo>
                <a:cubicBezTo>
                  <a:pt x="1758" y="659"/>
                  <a:pt x="1758" y="659"/>
                  <a:pt x="1758" y="659"/>
                </a:cubicBezTo>
                <a:cubicBezTo>
                  <a:pt x="1758" y="658"/>
                  <a:pt x="1758" y="658"/>
                  <a:pt x="1758" y="658"/>
                </a:cubicBezTo>
                <a:cubicBezTo>
                  <a:pt x="1757" y="658"/>
                  <a:pt x="1757" y="658"/>
                  <a:pt x="1757" y="658"/>
                </a:cubicBezTo>
                <a:cubicBezTo>
                  <a:pt x="1754" y="658"/>
                  <a:pt x="1754" y="658"/>
                  <a:pt x="1754" y="658"/>
                </a:cubicBezTo>
                <a:cubicBezTo>
                  <a:pt x="1752" y="657"/>
                  <a:pt x="1752" y="657"/>
                  <a:pt x="1752" y="657"/>
                </a:cubicBezTo>
                <a:cubicBezTo>
                  <a:pt x="1749" y="657"/>
                  <a:pt x="1749" y="657"/>
                  <a:pt x="1749" y="657"/>
                </a:cubicBezTo>
                <a:cubicBezTo>
                  <a:pt x="1746" y="658"/>
                  <a:pt x="1746" y="658"/>
                  <a:pt x="1746" y="658"/>
                </a:cubicBezTo>
                <a:cubicBezTo>
                  <a:pt x="1745" y="659"/>
                  <a:pt x="1745" y="659"/>
                  <a:pt x="1745" y="659"/>
                </a:cubicBezTo>
                <a:cubicBezTo>
                  <a:pt x="1743" y="658"/>
                  <a:pt x="1743" y="658"/>
                  <a:pt x="1743" y="658"/>
                </a:cubicBezTo>
                <a:cubicBezTo>
                  <a:pt x="1742" y="657"/>
                  <a:pt x="1742" y="657"/>
                  <a:pt x="1742" y="657"/>
                </a:cubicBezTo>
                <a:cubicBezTo>
                  <a:pt x="1741" y="657"/>
                  <a:pt x="1741" y="657"/>
                  <a:pt x="1741" y="657"/>
                </a:cubicBezTo>
                <a:cubicBezTo>
                  <a:pt x="1742" y="657"/>
                  <a:pt x="1742" y="657"/>
                  <a:pt x="1742" y="657"/>
                </a:cubicBezTo>
                <a:cubicBezTo>
                  <a:pt x="1741" y="655"/>
                  <a:pt x="1741" y="655"/>
                  <a:pt x="1741" y="655"/>
                </a:cubicBezTo>
                <a:cubicBezTo>
                  <a:pt x="1740" y="656"/>
                  <a:pt x="1740" y="656"/>
                  <a:pt x="1740" y="656"/>
                </a:cubicBezTo>
                <a:cubicBezTo>
                  <a:pt x="1740" y="656"/>
                  <a:pt x="1740" y="656"/>
                  <a:pt x="1740" y="656"/>
                </a:cubicBezTo>
                <a:cubicBezTo>
                  <a:pt x="1741" y="656"/>
                  <a:pt x="1741" y="656"/>
                  <a:pt x="1741" y="656"/>
                </a:cubicBezTo>
                <a:cubicBezTo>
                  <a:pt x="1740" y="657"/>
                  <a:pt x="1740" y="657"/>
                  <a:pt x="1740" y="657"/>
                </a:cubicBezTo>
                <a:cubicBezTo>
                  <a:pt x="1738" y="657"/>
                  <a:pt x="1738" y="657"/>
                  <a:pt x="1738" y="657"/>
                </a:cubicBezTo>
                <a:cubicBezTo>
                  <a:pt x="1738" y="656"/>
                  <a:pt x="1738" y="656"/>
                  <a:pt x="1738" y="656"/>
                </a:cubicBezTo>
                <a:cubicBezTo>
                  <a:pt x="1738" y="655"/>
                  <a:pt x="1738" y="655"/>
                  <a:pt x="1738" y="655"/>
                </a:cubicBezTo>
                <a:cubicBezTo>
                  <a:pt x="1737" y="656"/>
                  <a:pt x="1737" y="656"/>
                  <a:pt x="1737" y="656"/>
                </a:cubicBezTo>
                <a:cubicBezTo>
                  <a:pt x="1738" y="657"/>
                  <a:pt x="1738" y="657"/>
                  <a:pt x="1738" y="657"/>
                </a:cubicBezTo>
                <a:cubicBezTo>
                  <a:pt x="1737" y="658"/>
                  <a:pt x="1737" y="658"/>
                  <a:pt x="1737" y="658"/>
                </a:cubicBezTo>
                <a:lnTo>
                  <a:pt x="1736" y="656"/>
                </a:lnTo>
                <a:close/>
                <a:moveTo>
                  <a:pt x="1735" y="615"/>
                </a:moveTo>
                <a:cubicBezTo>
                  <a:pt x="1734" y="614"/>
                  <a:pt x="1734" y="614"/>
                  <a:pt x="1734" y="614"/>
                </a:cubicBezTo>
                <a:cubicBezTo>
                  <a:pt x="1733" y="613"/>
                  <a:pt x="1733" y="613"/>
                  <a:pt x="1733" y="613"/>
                </a:cubicBezTo>
                <a:cubicBezTo>
                  <a:pt x="1733" y="614"/>
                  <a:pt x="1733" y="614"/>
                  <a:pt x="1733" y="614"/>
                </a:cubicBezTo>
                <a:cubicBezTo>
                  <a:pt x="1734" y="616"/>
                  <a:pt x="1734" y="616"/>
                  <a:pt x="1734" y="616"/>
                </a:cubicBezTo>
                <a:lnTo>
                  <a:pt x="1735" y="615"/>
                </a:lnTo>
                <a:close/>
                <a:moveTo>
                  <a:pt x="1705" y="630"/>
                </a:moveTo>
                <a:cubicBezTo>
                  <a:pt x="1705" y="631"/>
                  <a:pt x="1705" y="631"/>
                  <a:pt x="1705" y="631"/>
                </a:cubicBezTo>
                <a:cubicBezTo>
                  <a:pt x="1706" y="632"/>
                  <a:pt x="1706" y="632"/>
                  <a:pt x="1706" y="632"/>
                </a:cubicBezTo>
                <a:cubicBezTo>
                  <a:pt x="1707" y="633"/>
                  <a:pt x="1707" y="633"/>
                  <a:pt x="1707" y="633"/>
                </a:cubicBezTo>
                <a:cubicBezTo>
                  <a:pt x="1708" y="632"/>
                  <a:pt x="1708" y="632"/>
                  <a:pt x="1708" y="632"/>
                </a:cubicBezTo>
                <a:cubicBezTo>
                  <a:pt x="1709" y="632"/>
                  <a:pt x="1709" y="632"/>
                  <a:pt x="1709" y="632"/>
                </a:cubicBezTo>
                <a:cubicBezTo>
                  <a:pt x="1708" y="631"/>
                  <a:pt x="1708" y="631"/>
                  <a:pt x="1708" y="631"/>
                </a:cubicBezTo>
                <a:cubicBezTo>
                  <a:pt x="1707" y="630"/>
                  <a:pt x="1707" y="630"/>
                  <a:pt x="1707" y="630"/>
                </a:cubicBezTo>
                <a:cubicBezTo>
                  <a:pt x="1706" y="630"/>
                  <a:pt x="1706" y="630"/>
                  <a:pt x="1706" y="630"/>
                </a:cubicBezTo>
                <a:lnTo>
                  <a:pt x="1705" y="630"/>
                </a:lnTo>
                <a:close/>
                <a:moveTo>
                  <a:pt x="1729" y="645"/>
                </a:moveTo>
                <a:cubicBezTo>
                  <a:pt x="1729" y="646"/>
                  <a:pt x="1729" y="646"/>
                  <a:pt x="1729" y="646"/>
                </a:cubicBezTo>
                <a:cubicBezTo>
                  <a:pt x="1729" y="646"/>
                  <a:pt x="1729" y="646"/>
                  <a:pt x="1729" y="646"/>
                </a:cubicBezTo>
                <a:lnTo>
                  <a:pt x="1729" y="645"/>
                </a:lnTo>
                <a:close/>
                <a:moveTo>
                  <a:pt x="1729" y="649"/>
                </a:moveTo>
                <a:cubicBezTo>
                  <a:pt x="1729" y="650"/>
                  <a:pt x="1729" y="650"/>
                  <a:pt x="1729" y="650"/>
                </a:cubicBezTo>
                <a:cubicBezTo>
                  <a:pt x="1730" y="651"/>
                  <a:pt x="1730" y="651"/>
                  <a:pt x="1730" y="651"/>
                </a:cubicBezTo>
                <a:cubicBezTo>
                  <a:pt x="1731" y="649"/>
                  <a:pt x="1731" y="649"/>
                  <a:pt x="1731" y="649"/>
                </a:cubicBezTo>
                <a:cubicBezTo>
                  <a:pt x="1730" y="648"/>
                  <a:pt x="1730" y="648"/>
                  <a:pt x="1730" y="648"/>
                </a:cubicBezTo>
                <a:cubicBezTo>
                  <a:pt x="1729" y="647"/>
                  <a:pt x="1729" y="647"/>
                  <a:pt x="1729" y="647"/>
                </a:cubicBezTo>
                <a:cubicBezTo>
                  <a:pt x="1729" y="647"/>
                  <a:pt x="1729" y="647"/>
                  <a:pt x="1729" y="647"/>
                </a:cubicBezTo>
                <a:cubicBezTo>
                  <a:pt x="1728" y="648"/>
                  <a:pt x="1728" y="648"/>
                  <a:pt x="1728" y="648"/>
                </a:cubicBezTo>
                <a:lnTo>
                  <a:pt x="1729" y="649"/>
                </a:lnTo>
                <a:close/>
                <a:moveTo>
                  <a:pt x="1731" y="613"/>
                </a:moveTo>
                <a:cubicBezTo>
                  <a:pt x="1731" y="614"/>
                  <a:pt x="1731" y="614"/>
                  <a:pt x="1731" y="614"/>
                </a:cubicBezTo>
                <a:cubicBezTo>
                  <a:pt x="1731" y="615"/>
                  <a:pt x="1731" y="615"/>
                  <a:pt x="1731" y="615"/>
                </a:cubicBezTo>
                <a:cubicBezTo>
                  <a:pt x="1732" y="614"/>
                  <a:pt x="1732" y="614"/>
                  <a:pt x="1732" y="614"/>
                </a:cubicBezTo>
                <a:lnTo>
                  <a:pt x="1731" y="613"/>
                </a:lnTo>
                <a:close/>
                <a:moveTo>
                  <a:pt x="1753" y="641"/>
                </a:moveTo>
                <a:cubicBezTo>
                  <a:pt x="1754" y="641"/>
                  <a:pt x="1754" y="641"/>
                  <a:pt x="1754" y="641"/>
                </a:cubicBezTo>
                <a:cubicBezTo>
                  <a:pt x="1755" y="639"/>
                  <a:pt x="1755" y="639"/>
                  <a:pt x="1755" y="639"/>
                </a:cubicBezTo>
                <a:cubicBezTo>
                  <a:pt x="1755" y="638"/>
                  <a:pt x="1755" y="638"/>
                  <a:pt x="1755" y="638"/>
                </a:cubicBezTo>
                <a:cubicBezTo>
                  <a:pt x="1754" y="638"/>
                  <a:pt x="1754" y="638"/>
                  <a:pt x="1754" y="638"/>
                </a:cubicBezTo>
                <a:cubicBezTo>
                  <a:pt x="1752" y="639"/>
                  <a:pt x="1752" y="639"/>
                  <a:pt x="1752" y="639"/>
                </a:cubicBezTo>
                <a:lnTo>
                  <a:pt x="1753" y="641"/>
                </a:lnTo>
                <a:close/>
                <a:moveTo>
                  <a:pt x="1752" y="636"/>
                </a:moveTo>
                <a:cubicBezTo>
                  <a:pt x="1753" y="636"/>
                  <a:pt x="1753" y="636"/>
                  <a:pt x="1753" y="636"/>
                </a:cubicBezTo>
                <a:cubicBezTo>
                  <a:pt x="1752" y="635"/>
                  <a:pt x="1752" y="635"/>
                  <a:pt x="1752" y="635"/>
                </a:cubicBezTo>
                <a:lnTo>
                  <a:pt x="1752" y="636"/>
                </a:lnTo>
                <a:close/>
                <a:moveTo>
                  <a:pt x="1761" y="611"/>
                </a:moveTo>
                <a:cubicBezTo>
                  <a:pt x="1759" y="611"/>
                  <a:pt x="1759" y="611"/>
                  <a:pt x="1759" y="611"/>
                </a:cubicBezTo>
                <a:cubicBezTo>
                  <a:pt x="1758" y="612"/>
                  <a:pt x="1758" y="612"/>
                  <a:pt x="1758" y="612"/>
                </a:cubicBezTo>
                <a:cubicBezTo>
                  <a:pt x="1755" y="612"/>
                  <a:pt x="1755" y="612"/>
                  <a:pt x="1755" y="612"/>
                </a:cubicBezTo>
                <a:cubicBezTo>
                  <a:pt x="1755" y="614"/>
                  <a:pt x="1755" y="614"/>
                  <a:pt x="1755" y="614"/>
                </a:cubicBezTo>
                <a:cubicBezTo>
                  <a:pt x="1756" y="615"/>
                  <a:pt x="1756" y="615"/>
                  <a:pt x="1756" y="615"/>
                </a:cubicBezTo>
                <a:cubicBezTo>
                  <a:pt x="1757" y="615"/>
                  <a:pt x="1757" y="615"/>
                  <a:pt x="1757" y="615"/>
                </a:cubicBezTo>
                <a:cubicBezTo>
                  <a:pt x="1758" y="615"/>
                  <a:pt x="1758" y="615"/>
                  <a:pt x="1758" y="615"/>
                </a:cubicBezTo>
                <a:cubicBezTo>
                  <a:pt x="1758" y="614"/>
                  <a:pt x="1758" y="614"/>
                  <a:pt x="1758" y="614"/>
                </a:cubicBezTo>
                <a:cubicBezTo>
                  <a:pt x="1758" y="613"/>
                  <a:pt x="1758" y="613"/>
                  <a:pt x="1758" y="613"/>
                </a:cubicBezTo>
                <a:cubicBezTo>
                  <a:pt x="1760" y="613"/>
                  <a:pt x="1760" y="613"/>
                  <a:pt x="1760" y="613"/>
                </a:cubicBezTo>
                <a:cubicBezTo>
                  <a:pt x="1760" y="614"/>
                  <a:pt x="1760" y="614"/>
                  <a:pt x="1760" y="614"/>
                </a:cubicBezTo>
                <a:cubicBezTo>
                  <a:pt x="1759" y="615"/>
                  <a:pt x="1759" y="615"/>
                  <a:pt x="1759" y="615"/>
                </a:cubicBezTo>
                <a:cubicBezTo>
                  <a:pt x="1758" y="615"/>
                  <a:pt x="1758" y="615"/>
                  <a:pt x="1758" y="615"/>
                </a:cubicBezTo>
                <a:cubicBezTo>
                  <a:pt x="1760" y="616"/>
                  <a:pt x="1760" y="616"/>
                  <a:pt x="1760" y="616"/>
                </a:cubicBezTo>
                <a:cubicBezTo>
                  <a:pt x="1762" y="616"/>
                  <a:pt x="1762" y="616"/>
                  <a:pt x="1762" y="616"/>
                </a:cubicBezTo>
                <a:cubicBezTo>
                  <a:pt x="1762" y="614"/>
                  <a:pt x="1762" y="614"/>
                  <a:pt x="1762" y="614"/>
                </a:cubicBezTo>
                <a:cubicBezTo>
                  <a:pt x="1761" y="612"/>
                  <a:pt x="1761" y="612"/>
                  <a:pt x="1761" y="612"/>
                </a:cubicBezTo>
                <a:cubicBezTo>
                  <a:pt x="1761" y="612"/>
                  <a:pt x="1761" y="612"/>
                  <a:pt x="1761" y="612"/>
                </a:cubicBezTo>
                <a:cubicBezTo>
                  <a:pt x="1761" y="611"/>
                  <a:pt x="1761" y="611"/>
                  <a:pt x="1761" y="611"/>
                </a:cubicBezTo>
                <a:close/>
                <a:moveTo>
                  <a:pt x="1754" y="599"/>
                </a:moveTo>
                <a:cubicBezTo>
                  <a:pt x="1753" y="599"/>
                  <a:pt x="1753" y="599"/>
                  <a:pt x="1753" y="599"/>
                </a:cubicBezTo>
                <a:cubicBezTo>
                  <a:pt x="1752" y="600"/>
                  <a:pt x="1752" y="600"/>
                  <a:pt x="1752" y="600"/>
                </a:cubicBezTo>
                <a:cubicBezTo>
                  <a:pt x="1754" y="600"/>
                  <a:pt x="1754" y="600"/>
                  <a:pt x="1754" y="600"/>
                </a:cubicBezTo>
                <a:cubicBezTo>
                  <a:pt x="1756" y="600"/>
                  <a:pt x="1756" y="600"/>
                  <a:pt x="1756" y="600"/>
                </a:cubicBezTo>
                <a:cubicBezTo>
                  <a:pt x="1756" y="599"/>
                  <a:pt x="1756" y="599"/>
                  <a:pt x="1756" y="599"/>
                </a:cubicBezTo>
                <a:cubicBezTo>
                  <a:pt x="1755" y="598"/>
                  <a:pt x="1755" y="598"/>
                  <a:pt x="1755" y="598"/>
                </a:cubicBezTo>
                <a:lnTo>
                  <a:pt x="1754" y="599"/>
                </a:lnTo>
                <a:close/>
                <a:moveTo>
                  <a:pt x="1760" y="634"/>
                </a:moveTo>
                <a:cubicBezTo>
                  <a:pt x="1760" y="633"/>
                  <a:pt x="1760" y="633"/>
                  <a:pt x="1760" y="633"/>
                </a:cubicBezTo>
                <a:cubicBezTo>
                  <a:pt x="1758" y="633"/>
                  <a:pt x="1758" y="633"/>
                  <a:pt x="1758" y="633"/>
                </a:cubicBezTo>
                <a:cubicBezTo>
                  <a:pt x="1758" y="634"/>
                  <a:pt x="1758" y="634"/>
                  <a:pt x="1758" y="634"/>
                </a:cubicBezTo>
                <a:cubicBezTo>
                  <a:pt x="1759" y="635"/>
                  <a:pt x="1759" y="635"/>
                  <a:pt x="1759" y="635"/>
                </a:cubicBezTo>
                <a:lnTo>
                  <a:pt x="1760" y="634"/>
                </a:lnTo>
                <a:close/>
                <a:moveTo>
                  <a:pt x="1753" y="596"/>
                </a:moveTo>
                <a:cubicBezTo>
                  <a:pt x="1751" y="596"/>
                  <a:pt x="1751" y="596"/>
                  <a:pt x="1751" y="596"/>
                </a:cubicBezTo>
                <a:cubicBezTo>
                  <a:pt x="1751" y="597"/>
                  <a:pt x="1751" y="597"/>
                  <a:pt x="1751" y="597"/>
                </a:cubicBezTo>
                <a:cubicBezTo>
                  <a:pt x="1753" y="597"/>
                  <a:pt x="1753" y="597"/>
                  <a:pt x="1753" y="597"/>
                </a:cubicBezTo>
                <a:cubicBezTo>
                  <a:pt x="1754" y="597"/>
                  <a:pt x="1754" y="597"/>
                  <a:pt x="1754" y="597"/>
                </a:cubicBezTo>
                <a:cubicBezTo>
                  <a:pt x="1754" y="596"/>
                  <a:pt x="1754" y="596"/>
                  <a:pt x="1754" y="596"/>
                </a:cubicBezTo>
                <a:lnTo>
                  <a:pt x="1753" y="596"/>
                </a:lnTo>
                <a:close/>
                <a:moveTo>
                  <a:pt x="1756" y="625"/>
                </a:moveTo>
                <a:cubicBezTo>
                  <a:pt x="1757" y="626"/>
                  <a:pt x="1757" y="626"/>
                  <a:pt x="1757" y="626"/>
                </a:cubicBezTo>
                <a:cubicBezTo>
                  <a:pt x="1759" y="625"/>
                  <a:pt x="1759" y="625"/>
                  <a:pt x="1759" y="625"/>
                </a:cubicBezTo>
                <a:cubicBezTo>
                  <a:pt x="1759" y="623"/>
                  <a:pt x="1759" y="623"/>
                  <a:pt x="1759" y="623"/>
                </a:cubicBezTo>
                <a:cubicBezTo>
                  <a:pt x="1759" y="621"/>
                  <a:pt x="1759" y="621"/>
                  <a:pt x="1759" y="621"/>
                </a:cubicBezTo>
                <a:cubicBezTo>
                  <a:pt x="1758" y="621"/>
                  <a:pt x="1758" y="621"/>
                  <a:pt x="1758" y="621"/>
                </a:cubicBezTo>
                <a:cubicBezTo>
                  <a:pt x="1757" y="620"/>
                  <a:pt x="1757" y="620"/>
                  <a:pt x="1757" y="620"/>
                </a:cubicBezTo>
                <a:cubicBezTo>
                  <a:pt x="1756" y="621"/>
                  <a:pt x="1756" y="621"/>
                  <a:pt x="1756" y="621"/>
                </a:cubicBezTo>
                <a:cubicBezTo>
                  <a:pt x="1756" y="621"/>
                  <a:pt x="1756" y="621"/>
                  <a:pt x="1756" y="621"/>
                </a:cubicBezTo>
                <a:cubicBezTo>
                  <a:pt x="1757" y="622"/>
                  <a:pt x="1757" y="622"/>
                  <a:pt x="1757" y="622"/>
                </a:cubicBezTo>
                <a:cubicBezTo>
                  <a:pt x="1757" y="624"/>
                  <a:pt x="1757" y="624"/>
                  <a:pt x="1757" y="624"/>
                </a:cubicBezTo>
                <a:cubicBezTo>
                  <a:pt x="1756" y="624"/>
                  <a:pt x="1756" y="624"/>
                  <a:pt x="1756" y="624"/>
                </a:cubicBezTo>
                <a:lnTo>
                  <a:pt x="1756" y="625"/>
                </a:lnTo>
                <a:close/>
                <a:moveTo>
                  <a:pt x="1584" y="590"/>
                </a:moveTo>
                <a:cubicBezTo>
                  <a:pt x="1584" y="589"/>
                  <a:pt x="1584" y="589"/>
                  <a:pt x="1584" y="589"/>
                </a:cubicBezTo>
                <a:cubicBezTo>
                  <a:pt x="1585" y="588"/>
                  <a:pt x="1585" y="588"/>
                  <a:pt x="1585" y="588"/>
                </a:cubicBezTo>
                <a:cubicBezTo>
                  <a:pt x="1584" y="588"/>
                  <a:pt x="1584" y="588"/>
                  <a:pt x="1584" y="588"/>
                </a:cubicBezTo>
                <a:cubicBezTo>
                  <a:pt x="1584" y="589"/>
                  <a:pt x="1584" y="589"/>
                  <a:pt x="1584" y="589"/>
                </a:cubicBezTo>
                <a:cubicBezTo>
                  <a:pt x="1583" y="589"/>
                  <a:pt x="1583" y="589"/>
                  <a:pt x="1583" y="589"/>
                </a:cubicBezTo>
                <a:cubicBezTo>
                  <a:pt x="1583" y="590"/>
                  <a:pt x="1583" y="590"/>
                  <a:pt x="1583" y="590"/>
                </a:cubicBezTo>
                <a:lnTo>
                  <a:pt x="1584" y="590"/>
                </a:lnTo>
                <a:close/>
                <a:moveTo>
                  <a:pt x="1585" y="575"/>
                </a:moveTo>
                <a:cubicBezTo>
                  <a:pt x="1586" y="577"/>
                  <a:pt x="1586" y="577"/>
                  <a:pt x="1586" y="577"/>
                </a:cubicBezTo>
                <a:cubicBezTo>
                  <a:pt x="1587" y="578"/>
                  <a:pt x="1587" y="578"/>
                  <a:pt x="1587" y="578"/>
                </a:cubicBezTo>
                <a:cubicBezTo>
                  <a:pt x="1587" y="578"/>
                  <a:pt x="1587" y="578"/>
                  <a:pt x="1587" y="578"/>
                </a:cubicBezTo>
                <a:cubicBezTo>
                  <a:pt x="1587" y="579"/>
                  <a:pt x="1587" y="579"/>
                  <a:pt x="1587" y="579"/>
                </a:cubicBezTo>
                <a:cubicBezTo>
                  <a:pt x="1587" y="580"/>
                  <a:pt x="1587" y="580"/>
                  <a:pt x="1587" y="580"/>
                </a:cubicBezTo>
                <a:cubicBezTo>
                  <a:pt x="1589" y="581"/>
                  <a:pt x="1589" y="581"/>
                  <a:pt x="1589" y="581"/>
                </a:cubicBezTo>
                <a:cubicBezTo>
                  <a:pt x="1588" y="582"/>
                  <a:pt x="1588" y="582"/>
                  <a:pt x="1588" y="582"/>
                </a:cubicBezTo>
                <a:cubicBezTo>
                  <a:pt x="1589" y="582"/>
                  <a:pt x="1589" y="582"/>
                  <a:pt x="1589" y="582"/>
                </a:cubicBezTo>
                <a:cubicBezTo>
                  <a:pt x="1590" y="583"/>
                  <a:pt x="1590" y="583"/>
                  <a:pt x="1590" y="583"/>
                </a:cubicBezTo>
                <a:cubicBezTo>
                  <a:pt x="1589" y="583"/>
                  <a:pt x="1589" y="583"/>
                  <a:pt x="1589" y="583"/>
                </a:cubicBezTo>
                <a:cubicBezTo>
                  <a:pt x="1588" y="584"/>
                  <a:pt x="1588" y="584"/>
                  <a:pt x="1588" y="584"/>
                </a:cubicBezTo>
                <a:cubicBezTo>
                  <a:pt x="1589" y="585"/>
                  <a:pt x="1589" y="585"/>
                  <a:pt x="1589" y="585"/>
                </a:cubicBezTo>
                <a:cubicBezTo>
                  <a:pt x="1592" y="586"/>
                  <a:pt x="1592" y="586"/>
                  <a:pt x="1592" y="586"/>
                </a:cubicBezTo>
                <a:cubicBezTo>
                  <a:pt x="1594" y="585"/>
                  <a:pt x="1594" y="585"/>
                  <a:pt x="1594" y="585"/>
                </a:cubicBezTo>
                <a:cubicBezTo>
                  <a:pt x="1595" y="582"/>
                  <a:pt x="1595" y="582"/>
                  <a:pt x="1595" y="582"/>
                </a:cubicBezTo>
                <a:cubicBezTo>
                  <a:pt x="1595" y="579"/>
                  <a:pt x="1595" y="579"/>
                  <a:pt x="1595" y="579"/>
                </a:cubicBezTo>
                <a:cubicBezTo>
                  <a:pt x="1596" y="575"/>
                  <a:pt x="1596" y="575"/>
                  <a:pt x="1596" y="575"/>
                </a:cubicBezTo>
                <a:cubicBezTo>
                  <a:pt x="1595" y="571"/>
                  <a:pt x="1595" y="571"/>
                  <a:pt x="1595" y="571"/>
                </a:cubicBezTo>
                <a:cubicBezTo>
                  <a:pt x="1595" y="568"/>
                  <a:pt x="1595" y="568"/>
                  <a:pt x="1595" y="568"/>
                </a:cubicBezTo>
                <a:cubicBezTo>
                  <a:pt x="1595" y="565"/>
                  <a:pt x="1595" y="565"/>
                  <a:pt x="1595" y="565"/>
                </a:cubicBezTo>
                <a:cubicBezTo>
                  <a:pt x="1594" y="565"/>
                  <a:pt x="1594" y="565"/>
                  <a:pt x="1594" y="565"/>
                </a:cubicBezTo>
                <a:cubicBezTo>
                  <a:pt x="1593" y="567"/>
                  <a:pt x="1593" y="567"/>
                  <a:pt x="1593" y="567"/>
                </a:cubicBezTo>
                <a:cubicBezTo>
                  <a:pt x="1594" y="568"/>
                  <a:pt x="1594" y="568"/>
                  <a:pt x="1594" y="568"/>
                </a:cubicBezTo>
                <a:cubicBezTo>
                  <a:pt x="1594" y="570"/>
                  <a:pt x="1594" y="570"/>
                  <a:pt x="1594" y="570"/>
                </a:cubicBezTo>
                <a:cubicBezTo>
                  <a:pt x="1593" y="570"/>
                  <a:pt x="1593" y="570"/>
                  <a:pt x="1593" y="570"/>
                </a:cubicBezTo>
                <a:cubicBezTo>
                  <a:pt x="1592" y="569"/>
                  <a:pt x="1592" y="569"/>
                  <a:pt x="1592" y="569"/>
                </a:cubicBezTo>
                <a:cubicBezTo>
                  <a:pt x="1590" y="570"/>
                  <a:pt x="1590" y="570"/>
                  <a:pt x="1590" y="570"/>
                </a:cubicBezTo>
                <a:cubicBezTo>
                  <a:pt x="1587" y="571"/>
                  <a:pt x="1587" y="571"/>
                  <a:pt x="1587" y="571"/>
                </a:cubicBezTo>
                <a:cubicBezTo>
                  <a:pt x="1586" y="573"/>
                  <a:pt x="1586" y="573"/>
                  <a:pt x="1586" y="573"/>
                </a:cubicBezTo>
                <a:cubicBezTo>
                  <a:pt x="1587" y="575"/>
                  <a:pt x="1587" y="575"/>
                  <a:pt x="1587" y="575"/>
                </a:cubicBezTo>
                <a:cubicBezTo>
                  <a:pt x="1587" y="575"/>
                  <a:pt x="1587" y="575"/>
                  <a:pt x="1587" y="575"/>
                </a:cubicBezTo>
                <a:lnTo>
                  <a:pt x="1585" y="575"/>
                </a:lnTo>
                <a:close/>
                <a:moveTo>
                  <a:pt x="1585" y="597"/>
                </a:moveTo>
                <a:cubicBezTo>
                  <a:pt x="1585" y="598"/>
                  <a:pt x="1585" y="598"/>
                  <a:pt x="1585" y="598"/>
                </a:cubicBezTo>
                <a:cubicBezTo>
                  <a:pt x="1586" y="600"/>
                  <a:pt x="1586" y="600"/>
                  <a:pt x="1586" y="600"/>
                </a:cubicBezTo>
                <a:cubicBezTo>
                  <a:pt x="1586" y="602"/>
                  <a:pt x="1586" y="602"/>
                  <a:pt x="1586" y="602"/>
                </a:cubicBezTo>
                <a:cubicBezTo>
                  <a:pt x="1585" y="603"/>
                  <a:pt x="1585" y="603"/>
                  <a:pt x="1585" y="603"/>
                </a:cubicBezTo>
                <a:cubicBezTo>
                  <a:pt x="1585" y="605"/>
                  <a:pt x="1585" y="605"/>
                  <a:pt x="1585" y="605"/>
                </a:cubicBezTo>
                <a:cubicBezTo>
                  <a:pt x="1587" y="605"/>
                  <a:pt x="1587" y="605"/>
                  <a:pt x="1587" y="605"/>
                </a:cubicBezTo>
                <a:cubicBezTo>
                  <a:pt x="1587" y="606"/>
                  <a:pt x="1587" y="606"/>
                  <a:pt x="1587" y="606"/>
                </a:cubicBezTo>
                <a:cubicBezTo>
                  <a:pt x="1586" y="607"/>
                  <a:pt x="1586" y="607"/>
                  <a:pt x="1586" y="607"/>
                </a:cubicBezTo>
                <a:cubicBezTo>
                  <a:pt x="1585" y="611"/>
                  <a:pt x="1585" y="611"/>
                  <a:pt x="1585" y="611"/>
                </a:cubicBezTo>
                <a:cubicBezTo>
                  <a:pt x="1586" y="612"/>
                  <a:pt x="1586" y="612"/>
                  <a:pt x="1586" y="612"/>
                </a:cubicBezTo>
                <a:cubicBezTo>
                  <a:pt x="1587" y="616"/>
                  <a:pt x="1587" y="616"/>
                  <a:pt x="1587" y="616"/>
                </a:cubicBezTo>
                <a:cubicBezTo>
                  <a:pt x="1589" y="618"/>
                  <a:pt x="1589" y="618"/>
                  <a:pt x="1589" y="618"/>
                </a:cubicBezTo>
                <a:cubicBezTo>
                  <a:pt x="1589" y="617"/>
                  <a:pt x="1589" y="617"/>
                  <a:pt x="1589" y="617"/>
                </a:cubicBezTo>
                <a:cubicBezTo>
                  <a:pt x="1590" y="618"/>
                  <a:pt x="1590" y="618"/>
                  <a:pt x="1590" y="618"/>
                </a:cubicBezTo>
                <a:cubicBezTo>
                  <a:pt x="1592" y="617"/>
                  <a:pt x="1592" y="617"/>
                  <a:pt x="1592" y="617"/>
                </a:cubicBezTo>
                <a:cubicBezTo>
                  <a:pt x="1592" y="615"/>
                  <a:pt x="1592" y="615"/>
                  <a:pt x="1592" y="615"/>
                </a:cubicBezTo>
                <a:cubicBezTo>
                  <a:pt x="1593" y="613"/>
                  <a:pt x="1593" y="613"/>
                  <a:pt x="1593" y="613"/>
                </a:cubicBezTo>
                <a:cubicBezTo>
                  <a:pt x="1595" y="614"/>
                  <a:pt x="1595" y="614"/>
                  <a:pt x="1595" y="614"/>
                </a:cubicBezTo>
                <a:cubicBezTo>
                  <a:pt x="1596" y="615"/>
                  <a:pt x="1596" y="615"/>
                  <a:pt x="1596" y="615"/>
                </a:cubicBezTo>
                <a:cubicBezTo>
                  <a:pt x="1597" y="615"/>
                  <a:pt x="1597" y="615"/>
                  <a:pt x="1597" y="615"/>
                </a:cubicBezTo>
                <a:cubicBezTo>
                  <a:pt x="1598" y="613"/>
                  <a:pt x="1598" y="613"/>
                  <a:pt x="1598" y="613"/>
                </a:cubicBezTo>
                <a:cubicBezTo>
                  <a:pt x="1598" y="610"/>
                  <a:pt x="1598" y="610"/>
                  <a:pt x="1598" y="610"/>
                </a:cubicBezTo>
                <a:cubicBezTo>
                  <a:pt x="1598" y="608"/>
                  <a:pt x="1598" y="608"/>
                  <a:pt x="1598" y="608"/>
                </a:cubicBezTo>
                <a:cubicBezTo>
                  <a:pt x="1598" y="604"/>
                  <a:pt x="1598" y="604"/>
                  <a:pt x="1598" y="604"/>
                </a:cubicBezTo>
                <a:cubicBezTo>
                  <a:pt x="1598" y="601"/>
                  <a:pt x="1598" y="601"/>
                  <a:pt x="1598" y="601"/>
                </a:cubicBezTo>
                <a:cubicBezTo>
                  <a:pt x="1596" y="598"/>
                  <a:pt x="1596" y="598"/>
                  <a:pt x="1596" y="598"/>
                </a:cubicBezTo>
                <a:cubicBezTo>
                  <a:pt x="1598" y="597"/>
                  <a:pt x="1598" y="597"/>
                  <a:pt x="1598" y="597"/>
                </a:cubicBezTo>
                <a:cubicBezTo>
                  <a:pt x="1598" y="595"/>
                  <a:pt x="1598" y="595"/>
                  <a:pt x="1598" y="595"/>
                </a:cubicBezTo>
                <a:cubicBezTo>
                  <a:pt x="1598" y="593"/>
                  <a:pt x="1598" y="593"/>
                  <a:pt x="1598" y="593"/>
                </a:cubicBezTo>
                <a:cubicBezTo>
                  <a:pt x="1597" y="592"/>
                  <a:pt x="1597" y="592"/>
                  <a:pt x="1597" y="592"/>
                </a:cubicBezTo>
                <a:cubicBezTo>
                  <a:pt x="1595" y="589"/>
                  <a:pt x="1595" y="589"/>
                  <a:pt x="1595" y="589"/>
                </a:cubicBezTo>
                <a:cubicBezTo>
                  <a:pt x="1594" y="590"/>
                  <a:pt x="1594" y="590"/>
                  <a:pt x="1594" y="590"/>
                </a:cubicBezTo>
                <a:cubicBezTo>
                  <a:pt x="1593" y="588"/>
                  <a:pt x="1593" y="588"/>
                  <a:pt x="1593" y="588"/>
                </a:cubicBezTo>
                <a:cubicBezTo>
                  <a:pt x="1591" y="588"/>
                  <a:pt x="1591" y="588"/>
                  <a:pt x="1591" y="588"/>
                </a:cubicBezTo>
                <a:cubicBezTo>
                  <a:pt x="1587" y="593"/>
                  <a:pt x="1587" y="593"/>
                  <a:pt x="1587" y="593"/>
                </a:cubicBezTo>
                <a:cubicBezTo>
                  <a:pt x="1586" y="593"/>
                  <a:pt x="1586" y="593"/>
                  <a:pt x="1586" y="593"/>
                </a:cubicBezTo>
                <a:cubicBezTo>
                  <a:pt x="1583" y="592"/>
                  <a:pt x="1583" y="592"/>
                  <a:pt x="1583" y="592"/>
                </a:cubicBezTo>
                <a:cubicBezTo>
                  <a:pt x="1583" y="594"/>
                  <a:pt x="1583" y="594"/>
                  <a:pt x="1583" y="594"/>
                </a:cubicBezTo>
                <a:cubicBezTo>
                  <a:pt x="1583" y="595"/>
                  <a:pt x="1583" y="595"/>
                  <a:pt x="1583" y="595"/>
                </a:cubicBezTo>
                <a:lnTo>
                  <a:pt x="1585" y="597"/>
                </a:lnTo>
                <a:close/>
                <a:moveTo>
                  <a:pt x="1448" y="367"/>
                </a:moveTo>
                <a:cubicBezTo>
                  <a:pt x="1447" y="368"/>
                  <a:pt x="1447" y="368"/>
                  <a:pt x="1447" y="368"/>
                </a:cubicBezTo>
                <a:cubicBezTo>
                  <a:pt x="1446" y="369"/>
                  <a:pt x="1446" y="369"/>
                  <a:pt x="1446" y="369"/>
                </a:cubicBezTo>
                <a:cubicBezTo>
                  <a:pt x="1446" y="369"/>
                  <a:pt x="1446" y="369"/>
                  <a:pt x="1446" y="369"/>
                </a:cubicBezTo>
                <a:cubicBezTo>
                  <a:pt x="1447" y="370"/>
                  <a:pt x="1447" y="370"/>
                  <a:pt x="1447" y="370"/>
                </a:cubicBezTo>
                <a:cubicBezTo>
                  <a:pt x="1449" y="368"/>
                  <a:pt x="1449" y="368"/>
                  <a:pt x="1449" y="368"/>
                </a:cubicBezTo>
                <a:lnTo>
                  <a:pt x="1448" y="367"/>
                </a:lnTo>
                <a:close/>
                <a:moveTo>
                  <a:pt x="1605" y="569"/>
                </a:moveTo>
                <a:cubicBezTo>
                  <a:pt x="1605" y="568"/>
                  <a:pt x="1605" y="568"/>
                  <a:pt x="1605" y="568"/>
                </a:cubicBezTo>
                <a:cubicBezTo>
                  <a:pt x="1604" y="567"/>
                  <a:pt x="1604" y="567"/>
                  <a:pt x="1604" y="567"/>
                </a:cubicBezTo>
                <a:cubicBezTo>
                  <a:pt x="1603" y="567"/>
                  <a:pt x="1603" y="567"/>
                  <a:pt x="1603" y="567"/>
                </a:cubicBezTo>
                <a:cubicBezTo>
                  <a:pt x="1601" y="568"/>
                  <a:pt x="1601" y="568"/>
                  <a:pt x="1601" y="568"/>
                </a:cubicBezTo>
                <a:cubicBezTo>
                  <a:pt x="1600" y="569"/>
                  <a:pt x="1600" y="569"/>
                  <a:pt x="1600" y="569"/>
                </a:cubicBezTo>
                <a:cubicBezTo>
                  <a:pt x="1601" y="569"/>
                  <a:pt x="1601" y="569"/>
                  <a:pt x="1601" y="569"/>
                </a:cubicBezTo>
                <a:cubicBezTo>
                  <a:pt x="1603" y="569"/>
                  <a:pt x="1603" y="569"/>
                  <a:pt x="1603" y="569"/>
                </a:cubicBezTo>
                <a:lnTo>
                  <a:pt x="1605" y="569"/>
                </a:lnTo>
                <a:close/>
                <a:moveTo>
                  <a:pt x="1446" y="389"/>
                </a:moveTo>
                <a:cubicBezTo>
                  <a:pt x="1448" y="387"/>
                  <a:pt x="1448" y="387"/>
                  <a:pt x="1448" y="387"/>
                </a:cubicBezTo>
                <a:cubicBezTo>
                  <a:pt x="1446" y="387"/>
                  <a:pt x="1446" y="387"/>
                  <a:pt x="1446" y="387"/>
                </a:cubicBezTo>
                <a:lnTo>
                  <a:pt x="1446" y="389"/>
                </a:lnTo>
                <a:close/>
                <a:moveTo>
                  <a:pt x="1705" y="621"/>
                </a:moveTo>
                <a:cubicBezTo>
                  <a:pt x="1706" y="620"/>
                  <a:pt x="1706" y="620"/>
                  <a:pt x="1706" y="620"/>
                </a:cubicBezTo>
                <a:cubicBezTo>
                  <a:pt x="1706" y="618"/>
                  <a:pt x="1706" y="618"/>
                  <a:pt x="1706" y="618"/>
                </a:cubicBezTo>
                <a:cubicBezTo>
                  <a:pt x="1705" y="619"/>
                  <a:pt x="1705" y="619"/>
                  <a:pt x="1705" y="619"/>
                </a:cubicBezTo>
                <a:cubicBezTo>
                  <a:pt x="1704" y="620"/>
                  <a:pt x="1704" y="620"/>
                  <a:pt x="1704" y="620"/>
                </a:cubicBezTo>
                <a:cubicBezTo>
                  <a:pt x="1704" y="621"/>
                  <a:pt x="1704" y="621"/>
                  <a:pt x="1704" y="621"/>
                </a:cubicBezTo>
                <a:cubicBezTo>
                  <a:pt x="1705" y="621"/>
                  <a:pt x="1705" y="621"/>
                  <a:pt x="1705" y="621"/>
                </a:cubicBezTo>
                <a:close/>
                <a:moveTo>
                  <a:pt x="1696" y="606"/>
                </a:moveTo>
                <a:cubicBezTo>
                  <a:pt x="1694" y="607"/>
                  <a:pt x="1694" y="607"/>
                  <a:pt x="1694" y="607"/>
                </a:cubicBezTo>
                <a:cubicBezTo>
                  <a:pt x="1694" y="608"/>
                  <a:pt x="1694" y="608"/>
                  <a:pt x="1694" y="608"/>
                </a:cubicBezTo>
                <a:cubicBezTo>
                  <a:pt x="1695" y="608"/>
                  <a:pt x="1695" y="608"/>
                  <a:pt x="1695" y="608"/>
                </a:cubicBezTo>
                <a:cubicBezTo>
                  <a:pt x="1695" y="609"/>
                  <a:pt x="1695" y="609"/>
                  <a:pt x="1695" y="609"/>
                </a:cubicBezTo>
                <a:cubicBezTo>
                  <a:pt x="1697" y="611"/>
                  <a:pt x="1697" y="611"/>
                  <a:pt x="1697" y="611"/>
                </a:cubicBezTo>
                <a:cubicBezTo>
                  <a:pt x="1699" y="611"/>
                  <a:pt x="1699" y="611"/>
                  <a:pt x="1699" y="611"/>
                </a:cubicBezTo>
                <a:cubicBezTo>
                  <a:pt x="1699" y="611"/>
                  <a:pt x="1699" y="611"/>
                  <a:pt x="1699" y="611"/>
                </a:cubicBezTo>
                <a:cubicBezTo>
                  <a:pt x="1699" y="610"/>
                  <a:pt x="1699" y="610"/>
                  <a:pt x="1699" y="610"/>
                </a:cubicBezTo>
                <a:cubicBezTo>
                  <a:pt x="1697" y="610"/>
                  <a:pt x="1697" y="610"/>
                  <a:pt x="1697" y="610"/>
                </a:cubicBezTo>
                <a:cubicBezTo>
                  <a:pt x="1696" y="608"/>
                  <a:pt x="1696" y="608"/>
                  <a:pt x="1696" y="608"/>
                </a:cubicBezTo>
                <a:cubicBezTo>
                  <a:pt x="1696" y="606"/>
                  <a:pt x="1696" y="606"/>
                  <a:pt x="1696" y="606"/>
                </a:cubicBezTo>
                <a:close/>
                <a:moveTo>
                  <a:pt x="1702" y="624"/>
                </a:moveTo>
                <a:cubicBezTo>
                  <a:pt x="1702" y="626"/>
                  <a:pt x="1702" y="626"/>
                  <a:pt x="1702" y="626"/>
                </a:cubicBezTo>
                <a:cubicBezTo>
                  <a:pt x="1703" y="627"/>
                  <a:pt x="1703" y="627"/>
                  <a:pt x="1703" y="627"/>
                </a:cubicBezTo>
                <a:cubicBezTo>
                  <a:pt x="1704" y="627"/>
                  <a:pt x="1704" y="627"/>
                  <a:pt x="1704" y="627"/>
                </a:cubicBezTo>
                <a:cubicBezTo>
                  <a:pt x="1704" y="626"/>
                  <a:pt x="1704" y="626"/>
                  <a:pt x="1704" y="626"/>
                </a:cubicBezTo>
                <a:cubicBezTo>
                  <a:pt x="1704" y="626"/>
                  <a:pt x="1704" y="626"/>
                  <a:pt x="1704" y="626"/>
                </a:cubicBezTo>
                <a:cubicBezTo>
                  <a:pt x="1704" y="627"/>
                  <a:pt x="1704" y="627"/>
                  <a:pt x="1704" y="627"/>
                </a:cubicBezTo>
                <a:cubicBezTo>
                  <a:pt x="1706" y="628"/>
                  <a:pt x="1706" y="628"/>
                  <a:pt x="1706" y="628"/>
                </a:cubicBezTo>
                <a:cubicBezTo>
                  <a:pt x="1707" y="628"/>
                  <a:pt x="1707" y="628"/>
                  <a:pt x="1707" y="628"/>
                </a:cubicBezTo>
                <a:cubicBezTo>
                  <a:pt x="1707" y="627"/>
                  <a:pt x="1707" y="627"/>
                  <a:pt x="1707" y="627"/>
                </a:cubicBezTo>
                <a:cubicBezTo>
                  <a:pt x="1707" y="627"/>
                  <a:pt x="1707" y="627"/>
                  <a:pt x="1707" y="627"/>
                </a:cubicBezTo>
                <a:cubicBezTo>
                  <a:pt x="1707" y="626"/>
                  <a:pt x="1707" y="626"/>
                  <a:pt x="1707" y="626"/>
                </a:cubicBezTo>
                <a:cubicBezTo>
                  <a:pt x="1706" y="625"/>
                  <a:pt x="1706" y="625"/>
                  <a:pt x="1706" y="625"/>
                </a:cubicBezTo>
                <a:cubicBezTo>
                  <a:pt x="1706" y="624"/>
                  <a:pt x="1706" y="624"/>
                  <a:pt x="1706" y="624"/>
                </a:cubicBezTo>
                <a:cubicBezTo>
                  <a:pt x="1706" y="623"/>
                  <a:pt x="1706" y="623"/>
                  <a:pt x="1706" y="623"/>
                </a:cubicBezTo>
                <a:cubicBezTo>
                  <a:pt x="1704" y="622"/>
                  <a:pt x="1704" y="622"/>
                  <a:pt x="1704" y="622"/>
                </a:cubicBezTo>
                <a:cubicBezTo>
                  <a:pt x="1704" y="624"/>
                  <a:pt x="1704" y="624"/>
                  <a:pt x="1704" y="624"/>
                </a:cubicBezTo>
                <a:cubicBezTo>
                  <a:pt x="1704" y="624"/>
                  <a:pt x="1704" y="624"/>
                  <a:pt x="1704" y="624"/>
                </a:cubicBezTo>
                <a:lnTo>
                  <a:pt x="1702" y="624"/>
                </a:lnTo>
                <a:close/>
                <a:moveTo>
                  <a:pt x="1609" y="574"/>
                </a:moveTo>
                <a:cubicBezTo>
                  <a:pt x="1610" y="574"/>
                  <a:pt x="1610" y="574"/>
                  <a:pt x="1610" y="574"/>
                </a:cubicBezTo>
                <a:cubicBezTo>
                  <a:pt x="1610" y="574"/>
                  <a:pt x="1610" y="574"/>
                  <a:pt x="1610" y="574"/>
                </a:cubicBezTo>
                <a:lnTo>
                  <a:pt x="1609" y="574"/>
                </a:lnTo>
                <a:close/>
                <a:moveTo>
                  <a:pt x="1645" y="549"/>
                </a:moveTo>
                <a:cubicBezTo>
                  <a:pt x="1643" y="549"/>
                  <a:pt x="1643" y="549"/>
                  <a:pt x="1643" y="549"/>
                </a:cubicBezTo>
                <a:cubicBezTo>
                  <a:pt x="1645" y="551"/>
                  <a:pt x="1645" y="551"/>
                  <a:pt x="1645" y="551"/>
                </a:cubicBezTo>
                <a:lnTo>
                  <a:pt x="1645" y="549"/>
                </a:lnTo>
                <a:close/>
                <a:moveTo>
                  <a:pt x="1603" y="249"/>
                </a:moveTo>
                <a:cubicBezTo>
                  <a:pt x="1601" y="249"/>
                  <a:pt x="1601" y="249"/>
                  <a:pt x="1601" y="249"/>
                </a:cubicBezTo>
                <a:cubicBezTo>
                  <a:pt x="1600" y="251"/>
                  <a:pt x="1600" y="251"/>
                  <a:pt x="1600" y="251"/>
                </a:cubicBezTo>
                <a:cubicBezTo>
                  <a:pt x="1601" y="251"/>
                  <a:pt x="1601" y="251"/>
                  <a:pt x="1601" y="251"/>
                </a:cubicBezTo>
                <a:lnTo>
                  <a:pt x="1603" y="249"/>
                </a:lnTo>
                <a:close/>
                <a:moveTo>
                  <a:pt x="1611" y="677"/>
                </a:moveTo>
                <a:cubicBezTo>
                  <a:pt x="1611" y="677"/>
                  <a:pt x="1611" y="677"/>
                  <a:pt x="1611" y="677"/>
                </a:cubicBezTo>
                <a:cubicBezTo>
                  <a:pt x="1612" y="679"/>
                  <a:pt x="1612" y="679"/>
                  <a:pt x="1612" y="679"/>
                </a:cubicBezTo>
                <a:cubicBezTo>
                  <a:pt x="1614" y="678"/>
                  <a:pt x="1614" y="678"/>
                  <a:pt x="1614" y="678"/>
                </a:cubicBezTo>
                <a:cubicBezTo>
                  <a:pt x="1613" y="677"/>
                  <a:pt x="1613" y="677"/>
                  <a:pt x="1613" y="677"/>
                </a:cubicBezTo>
                <a:lnTo>
                  <a:pt x="1611" y="677"/>
                </a:lnTo>
                <a:close/>
                <a:moveTo>
                  <a:pt x="1669" y="567"/>
                </a:moveTo>
                <a:cubicBezTo>
                  <a:pt x="1667" y="566"/>
                  <a:pt x="1667" y="566"/>
                  <a:pt x="1667" y="566"/>
                </a:cubicBezTo>
                <a:cubicBezTo>
                  <a:pt x="1667" y="566"/>
                  <a:pt x="1664" y="566"/>
                  <a:pt x="1664" y="566"/>
                </a:cubicBezTo>
                <a:cubicBezTo>
                  <a:pt x="1666" y="567"/>
                  <a:pt x="1666" y="567"/>
                  <a:pt x="1666" y="567"/>
                </a:cubicBezTo>
                <a:lnTo>
                  <a:pt x="1669" y="567"/>
                </a:lnTo>
                <a:close/>
                <a:moveTo>
                  <a:pt x="1665" y="565"/>
                </a:moveTo>
                <a:cubicBezTo>
                  <a:pt x="1667" y="564"/>
                  <a:pt x="1667" y="564"/>
                  <a:pt x="1667" y="564"/>
                </a:cubicBezTo>
                <a:cubicBezTo>
                  <a:pt x="1662" y="564"/>
                  <a:pt x="1662" y="564"/>
                  <a:pt x="1662" y="564"/>
                </a:cubicBezTo>
                <a:lnTo>
                  <a:pt x="1665" y="565"/>
                </a:lnTo>
                <a:close/>
                <a:moveTo>
                  <a:pt x="1667" y="562"/>
                </a:moveTo>
                <a:cubicBezTo>
                  <a:pt x="1666" y="562"/>
                  <a:pt x="1666" y="562"/>
                  <a:pt x="1666" y="562"/>
                </a:cubicBezTo>
                <a:cubicBezTo>
                  <a:pt x="1662" y="562"/>
                  <a:pt x="1662" y="562"/>
                  <a:pt x="1662" y="562"/>
                </a:cubicBezTo>
                <a:cubicBezTo>
                  <a:pt x="1663" y="563"/>
                  <a:pt x="1663" y="563"/>
                  <a:pt x="1663" y="563"/>
                </a:cubicBezTo>
                <a:cubicBezTo>
                  <a:pt x="1665" y="563"/>
                  <a:pt x="1665" y="563"/>
                  <a:pt x="1665" y="563"/>
                </a:cubicBezTo>
                <a:lnTo>
                  <a:pt x="1667" y="562"/>
                </a:lnTo>
                <a:close/>
                <a:moveTo>
                  <a:pt x="1843" y="656"/>
                </a:moveTo>
                <a:cubicBezTo>
                  <a:pt x="1844" y="655"/>
                  <a:pt x="1844" y="655"/>
                  <a:pt x="1844" y="655"/>
                </a:cubicBezTo>
                <a:cubicBezTo>
                  <a:pt x="1844" y="654"/>
                  <a:pt x="1844" y="654"/>
                  <a:pt x="1844" y="654"/>
                </a:cubicBezTo>
                <a:cubicBezTo>
                  <a:pt x="1843" y="654"/>
                  <a:pt x="1843" y="654"/>
                  <a:pt x="1843" y="654"/>
                </a:cubicBezTo>
                <a:cubicBezTo>
                  <a:pt x="1839" y="656"/>
                  <a:pt x="1839" y="656"/>
                  <a:pt x="1839" y="656"/>
                </a:cubicBezTo>
                <a:cubicBezTo>
                  <a:pt x="1835" y="658"/>
                  <a:pt x="1835" y="658"/>
                  <a:pt x="1835" y="658"/>
                </a:cubicBezTo>
                <a:cubicBezTo>
                  <a:pt x="1832" y="658"/>
                  <a:pt x="1832" y="658"/>
                  <a:pt x="1832" y="658"/>
                </a:cubicBezTo>
                <a:cubicBezTo>
                  <a:pt x="1830" y="657"/>
                  <a:pt x="1830" y="657"/>
                  <a:pt x="1830" y="657"/>
                </a:cubicBezTo>
                <a:cubicBezTo>
                  <a:pt x="1828" y="657"/>
                  <a:pt x="1828" y="657"/>
                  <a:pt x="1828" y="657"/>
                </a:cubicBezTo>
                <a:cubicBezTo>
                  <a:pt x="1828" y="658"/>
                  <a:pt x="1828" y="658"/>
                  <a:pt x="1828" y="658"/>
                </a:cubicBezTo>
                <a:cubicBezTo>
                  <a:pt x="1828" y="660"/>
                  <a:pt x="1828" y="660"/>
                  <a:pt x="1828" y="660"/>
                </a:cubicBezTo>
                <a:cubicBezTo>
                  <a:pt x="1826" y="660"/>
                  <a:pt x="1826" y="660"/>
                  <a:pt x="1826" y="660"/>
                </a:cubicBezTo>
                <a:cubicBezTo>
                  <a:pt x="1824" y="659"/>
                  <a:pt x="1824" y="659"/>
                  <a:pt x="1824" y="659"/>
                </a:cubicBezTo>
                <a:cubicBezTo>
                  <a:pt x="1823" y="661"/>
                  <a:pt x="1823" y="661"/>
                  <a:pt x="1823" y="661"/>
                </a:cubicBezTo>
                <a:cubicBezTo>
                  <a:pt x="1822" y="661"/>
                  <a:pt x="1822" y="661"/>
                  <a:pt x="1822" y="661"/>
                </a:cubicBezTo>
                <a:cubicBezTo>
                  <a:pt x="1822" y="663"/>
                  <a:pt x="1822" y="663"/>
                  <a:pt x="1822" y="663"/>
                </a:cubicBezTo>
                <a:cubicBezTo>
                  <a:pt x="1823" y="665"/>
                  <a:pt x="1823" y="665"/>
                  <a:pt x="1823" y="665"/>
                </a:cubicBezTo>
                <a:cubicBezTo>
                  <a:pt x="1826" y="667"/>
                  <a:pt x="1826" y="667"/>
                  <a:pt x="1826" y="667"/>
                </a:cubicBezTo>
                <a:cubicBezTo>
                  <a:pt x="1828" y="667"/>
                  <a:pt x="1828" y="667"/>
                  <a:pt x="1828" y="667"/>
                </a:cubicBezTo>
                <a:cubicBezTo>
                  <a:pt x="1829" y="667"/>
                  <a:pt x="1829" y="667"/>
                  <a:pt x="1829" y="667"/>
                </a:cubicBezTo>
                <a:cubicBezTo>
                  <a:pt x="1831" y="666"/>
                  <a:pt x="1831" y="666"/>
                  <a:pt x="1831" y="666"/>
                </a:cubicBezTo>
                <a:cubicBezTo>
                  <a:pt x="1833" y="666"/>
                  <a:pt x="1833" y="666"/>
                  <a:pt x="1833" y="666"/>
                </a:cubicBezTo>
                <a:cubicBezTo>
                  <a:pt x="1835" y="664"/>
                  <a:pt x="1835" y="664"/>
                  <a:pt x="1835" y="664"/>
                </a:cubicBezTo>
                <a:cubicBezTo>
                  <a:pt x="1837" y="663"/>
                  <a:pt x="1837" y="663"/>
                  <a:pt x="1837" y="663"/>
                </a:cubicBezTo>
                <a:cubicBezTo>
                  <a:pt x="1839" y="663"/>
                  <a:pt x="1839" y="663"/>
                  <a:pt x="1839" y="663"/>
                </a:cubicBezTo>
                <a:cubicBezTo>
                  <a:pt x="1839" y="661"/>
                  <a:pt x="1839" y="661"/>
                  <a:pt x="1839" y="661"/>
                </a:cubicBezTo>
                <a:cubicBezTo>
                  <a:pt x="1839" y="660"/>
                  <a:pt x="1839" y="660"/>
                  <a:pt x="1839" y="660"/>
                </a:cubicBezTo>
                <a:cubicBezTo>
                  <a:pt x="1841" y="657"/>
                  <a:pt x="1841" y="657"/>
                  <a:pt x="1841" y="657"/>
                </a:cubicBezTo>
                <a:lnTo>
                  <a:pt x="1843" y="656"/>
                </a:lnTo>
                <a:close/>
                <a:moveTo>
                  <a:pt x="1776" y="644"/>
                </a:moveTo>
                <a:cubicBezTo>
                  <a:pt x="1775" y="645"/>
                  <a:pt x="1775" y="645"/>
                  <a:pt x="1775" y="645"/>
                </a:cubicBezTo>
                <a:cubicBezTo>
                  <a:pt x="1776" y="645"/>
                  <a:pt x="1776" y="645"/>
                  <a:pt x="1776" y="645"/>
                </a:cubicBezTo>
                <a:cubicBezTo>
                  <a:pt x="1777" y="645"/>
                  <a:pt x="1777" y="645"/>
                  <a:pt x="1777" y="645"/>
                </a:cubicBezTo>
                <a:cubicBezTo>
                  <a:pt x="1776" y="644"/>
                  <a:pt x="1776" y="644"/>
                  <a:pt x="1776" y="644"/>
                </a:cubicBezTo>
                <a:close/>
                <a:moveTo>
                  <a:pt x="1749" y="634"/>
                </a:moveTo>
                <a:cubicBezTo>
                  <a:pt x="1750" y="634"/>
                  <a:pt x="1750" y="634"/>
                  <a:pt x="1750" y="634"/>
                </a:cubicBezTo>
                <a:cubicBezTo>
                  <a:pt x="1751" y="635"/>
                  <a:pt x="1751" y="635"/>
                  <a:pt x="1751" y="635"/>
                </a:cubicBezTo>
                <a:cubicBezTo>
                  <a:pt x="1751" y="634"/>
                  <a:pt x="1751" y="634"/>
                  <a:pt x="1751" y="634"/>
                </a:cubicBezTo>
                <a:cubicBezTo>
                  <a:pt x="1750" y="633"/>
                  <a:pt x="1750" y="633"/>
                  <a:pt x="1750" y="633"/>
                </a:cubicBezTo>
                <a:lnTo>
                  <a:pt x="1749" y="634"/>
                </a:lnTo>
                <a:close/>
                <a:moveTo>
                  <a:pt x="1649" y="556"/>
                </a:moveTo>
                <a:cubicBezTo>
                  <a:pt x="1648" y="554"/>
                  <a:pt x="1648" y="554"/>
                  <a:pt x="1648" y="554"/>
                </a:cubicBezTo>
                <a:cubicBezTo>
                  <a:pt x="1646" y="552"/>
                  <a:pt x="1646" y="552"/>
                  <a:pt x="1646" y="552"/>
                </a:cubicBezTo>
                <a:lnTo>
                  <a:pt x="1649" y="556"/>
                </a:lnTo>
                <a:close/>
                <a:moveTo>
                  <a:pt x="1642" y="539"/>
                </a:moveTo>
                <a:cubicBezTo>
                  <a:pt x="1641" y="539"/>
                  <a:pt x="1641" y="540"/>
                  <a:pt x="1641" y="540"/>
                </a:cubicBezTo>
                <a:cubicBezTo>
                  <a:pt x="1641" y="543"/>
                  <a:pt x="1641" y="543"/>
                  <a:pt x="1641" y="543"/>
                </a:cubicBezTo>
                <a:cubicBezTo>
                  <a:pt x="1642" y="543"/>
                  <a:pt x="1642" y="543"/>
                  <a:pt x="1642" y="543"/>
                </a:cubicBezTo>
                <a:cubicBezTo>
                  <a:pt x="1643" y="544"/>
                  <a:pt x="1643" y="544"/>
                  <a:pt x="1643" y="544"/>
                </a:cubicBezTo>
                <a:cubicBezTo>
                  <a:pt x="1645" y="544"/>
                  <a:pt x="1645" y="544"/>
                  <a:pt x="1645" y="544"/>
                </a:cubicBezTo>
                <a:lnTo>
                  <a:pt x="1642" y="539"/>
                </a:lnTo>
                <a:close/>
                <a:moveTo>
                  <a:pt x="1650" y="551"/>
                </a:moveTo>
                <a:cubicBezTo>
                  <a:pt x="1648" y="549"/>
                  <a:pt x="1648" y="549"/>
                  <a:pt x="1648" y="549"/>
                </a:cubicBezTo>
                <a:cubicBezTo>
                  <a:pt x="1647" y="549"/>
                  <a:pt x="1647" y="549"/>
                  <a:pt x="1647" y="549"/>
                </a:cubicBezTo>
                <a:cubicBezTo>
                  <a:pt x="1649" y="551"/>
                  <a:pt x="1649" y="551"/>
                  <a:pt x="1649" y="551"/>
                </a:cubicBezTo>
                <a:lnTo>
                  <a:pt x="1650" y="551"/>
                </a:lnTo>
                <a:close/>
                <a:moveTo>
                  <a:pt x="1643" y="548"/>
                </a:moveTo>
                <a:cubicBezTo>
                  <a:pt x="1643" y="548"/>
                  <a:pt x="1643" y="548"/>
                  <a:pt x="1643" y="548"/>
                </a:cubicBezTo>
                <a:cubicBezTo>
                  <a:pt x="1642" y="545"/>
                  <a:pt x="1642" y="545"/>
                  <a:pt x="1642" y="545"/>
                </a:cubicBezTo>
                <a:cubicBezTo>
                  <a:pt x="1640" y="543"/>
                  <a:pt x="1640" y="543"/>
                  <a:pt x="1640" y="543"/>
                </a:cubicBezTo>
                <a:cubicBezTo>
                  <a:pt x="1641" y="545"/>
                  <a:pt x="1641" y="545"/>
                  <a:pt x="1641" y="545"/>
                </a:cubicBezTo>
                <a:cubicBezTo>
                  <a:pt x="1641" y="546"/>
                  <a:pt x="1641" y="546"/>
                  <a:pt x="1641" y="546"/>
                </a:cubicBezTo>
                <a:lnTo>
                  <a:pt x="1643" y="548"/>
                </a:lnTo>
                <a:close/>
                <a:moveTo>
                  <a:pt x="1646" y="546"/>
                </a:moveTo>
                <a:cubicBezTo>
                  <a:pt x="1646" y="547"/>
                  <a:pt x="1646" y="547"/>
                  <a:pt x="1646" y="547"/>
                </a:cubicBezTo>
                <a:cubicBezTo>
                  <a:pt x="1647" y="548"/>
                  <a:pt x="1647" y="548"/>
                  <a:pt x="1647" y="548"/>
                </a:cubicBezTo>
                <a:lnTo>
                  <a:pt x="1646" y="546"/>
                </a:lnTo>
                <a:close/>
                <a:moveTo>
                  <a:pt x="1771" y="653"/>
                </a:moveTo>
                <a:cubicBezTo>
                  <a:pt x="1771" y="652"/>
                  <a:pt x="1771" y="652"/>
                  <a:pt x="1771" y="652"/>
                </a:cubicBezTo>
                <a:cubicBezTo>
                  <a:pt x="1771" y="653"/>
                  <a:pt x="1771" y="653"/>
                  <a:pt x="1771" y="653"/>
                </a:cubicBezTo>
                <a:cubicBezTo>
                  <a:pt x="1771" y="654"/>
                  <a:pt x="1771" y="654"/>
                  <a:pt x="1771" y="654"/>
                </a:cubicBezTo>
                <a:lnTo>
                  <a:pt x="1771" y="653"/>
                </a:lnTo>
                <a:close/>
                <a:moveTo>
                  <a:pt x="1781" y="648"/>
                </a:moveTo>
                <a:cubicBezTo>
                  <a:pt x="1781" y="647"/>
                  <a:pt x="1781" y="647"/>
                  <a:pt x="1781" y="647"/>
                </a:cubicBezTo>
                <a:cubicBezTo>
                  <a:pt x="1781" y="646"/>
                  <a:pt x="1781" y="646"/>
                  <a:pt x="1781" y="646"/>
                </a:cubicBezTo>
                <a:cubicBezTo>
                  <a:pt x="1780" y="647"/>
                  <a:pt x="1780" y="647"/>
                  <a:pt x="1780" y="647"/>
                </a:cubicBezTo>
                <a:cubicBezTo>
                  <a:pt x="1778" y="648"/>
                  <a:pt x="1778" y="648"/>
                  <a:pt x="1778" y="648"/>
                </a:cubicBezTo>
                <a:cubicBezTo>
                  <a:pt x="1776" y="649"/>
                  <a:pt x="1776" y="649"/>
                  <a:pt x="1776" y="649"/>
                </a:cubicBezTo>
                <a:cubicBezTo>
                  <a:pt x="1775" y="651"/>
                  <a:pt x="1775" y="651"/>
                  <a:pt x="1775" y="651"/>
                </a:cubicBezTo>
                <a:cubicBezTo>
                  <a:pt x="1776" y="651"/>
                  <a:pt x="1776" y="651"/>
                  <a:pt x="1776" y="651"/>
                </a:cubicBezTo>
                <a:cubicBezTo>
                  <a:pt x="1775" y="652"/>
                  <a:pt x="1775" y="652"/>
                  <a:pt x="1775" y="652"/>
                </a:cubicBezTo>
                <a:cubicBezTo>
                  <a:pt x="1776" y="653"/>
                  <a:pt x="1776" y="653"/>
                  <a:pt x="1776" y="653"/>
                </a:cubicBezTo>
                <a:cubicBezTo>
                  <a:pt x="1777" y="653"/>
                  <a:pt x="1777" y="653"/>
                  <a:pt x="1777" y="653"/>
                </a:cubicBezTo>
                <a:cubicBezTo>
                  <a:pt x="1778" y="651"/>
                  <a:pt x="1778" y="651"/>
                  <a:pt x="1778" y="651"/>
                </a:cubicBezTo>
                <a:cubicBezTo>
                  <a:pt x="1779" y="650"/>
                  <a:pt x="1779" y="650"/>
                  <a:pt x="1779" y="650"/>
                </a:cubicBezTo>
                <a:cubicBezTo>
                  <a:pt x="1780" y="650"/>
                  <a:pt x="1780" y="650"/>
                  <a:pt x="1780" y="650"/>
                </a:cubicBezTo>
                <a:cubicBezTo>
                  <a:pt x="1780" y="650"/>
                  <a:pt x="1780" y="650"/>
                  <a:pt x="1780" y="650"/>
                </a:cubicBezTo>
                <a:cubicBezTo>
                  <a:pt x="1780" y="649"/>
                  <a:pt x="1780" y="649"/>
                  <a:pt x="1780" y="649"/>
                </a:cubicBezTo>
                <a:lnTo>
                  <a:pt x="1781" y="648"/>
                </a:lnTo>
                <a:close/>
                <a:moveTo>
                  <a:pt x="1744" y="640"/>
                </a:moveTo>
                <a:cubicBezTo>
                  <a:pt x="1744" y="638"/>
                  <a:pt x="1744" y="638"/>
                  <a:pt x="1744" y="638"/>
                </a:cubicBezTo>
                <a:cubicBezTo>
                  <a:pt x="1743" y="639"/>
                  <a:pt x="1743" y="639"/>
                  <a:pt x="1743" y="639"/>
                </a:cubicBezTo>
                <a:lnTo>
                  <a:pt x="1744" y="640"/>
                </a:lnTo>
                <a:close/>
                <a:moveTo>
                  <a:pt x="1744" y="617"/>
                </a:moveTo>
                <a:cubicBezTo>
                  <a:pt x="1743" y="616"/>
                  <a:pt x="1743" y="616"/>
                  <a:pt x="1743" y="616"/>
                </a:cubicBezTo>
                <a:cubicBezTo>
                  <a:pt x="1742" y="616"/>
                  <a:pt x="1742" y="616"/>
                  <a:pt x="1742" y="616"/>
                </a:cubicBezTo>
                <a:cubicBezTo>
                  <a:pt x="1743" y="618"/>
                  <a:pt x="1743" y="618"/>
                  <a:pt x="1743" y="618"/>
                </a:cubicBezTo>
                <a:cubicBezTo>
                  <a:pt x="1744" y="618"/>
                  <a:pt x="1744" y="618"/>
                  <a:pt x="1744" y="618"/>
                </a:cubicBezTo>
                <a:cubicBezTo>
                  <a:pt x="1744" y="619"/>
                  <a:pt x="1744" y="619"/>
                  <a:pt x="1744" y="619"/>
                </a:cubicBezTo>
                <a:cubicBezTo>
                  <a:pt x="1745" y="619"/>
                  <a:pt x="1745" y="619"/>
                  <a:pt x="1745" y="619"/>
                </a:cubicBezTo>
                <a:cubicBezTo>
                  <a:pt x="1745" y="617"/>
                  <a:pt x="1745" y="617"/>
                  <a:pt x="1745" y="617"/>
                </a:cubicBezTo>
                <a:lnTo>
                  <a:pt x="1744" y="617"/>
                </a:lnTo>
                <a:close/>
                <a:moveTo>
                  <a:pt x="1742" y="637"/>
                </a:moveTo>
                <a:cubicBezTo>
                  <a:pt x="1742" y="637"/>
                  <a:pt x="1743" y="637"/>
                  <a:pt x="1743" y="637"/>
                </a:cubicBezTo>
                <a:cubicBezTo>
                  <a:pt x="1743" y="636"/>
                  <a:pt x="1743" y="636"/>
                  <a:pt x="1743" y="636"/>
                </a:cubicBezTo>
                <a:cubicBezTo>
                  <a:pt x="1742" y="636"/>
                  <a:pt x="1742" y="636"/>
                  <a:pt x="1742" y="636"/>
                </a:cubicBezTo>
                <a:lnTo>
                  <a:pt x="1742" y="637"/>
                </a:lnTo>
                <a:close/>
                <a:moveTo>
                  <a:pt x="1745" y="630"/>
                </a:moveTo>
                <a:cubicBezTo>
                  <a:pt x="1745" y="630"/>
                  <a:pt x="1745" y="630"/>
                  <a:pt x="1745" y="630"/>
                </a:cubicBezTo>
                <a:cubicBezTo>
                  <a:pt x="1745" y="631"/>
                  <a:pt x="1745" y="631"/>
                  <a:pt x="1745" y="631"/>
                </a:cubicBezTo>
                <a:cubicBezTo>
                  <a:pt x="1748" y="633"/>
                  <a:pt x="1748" y="633"/>
                  <a:pt x="1748" y="633"/>
                </a:cubicBezTo>
                <a:cubicBezTo>
                  <a:pt x="1748" y="633"/>
                  <a:pt x="1748" y="633"/>
                  <a:pt x="1748" y="633"/>
                </a:cubicBezTo>
                <a:cubicBezTo>
                  <a:pt x="1748" y="632"/>
                  <a:pt x="1748" y="632"/>
                  <a:pt x="1748" y="632"/>
                </a:cubicBezTo>
                <a:cubicBezTo>
                  <a:pt x="1747" y="631"/>
                  <a:pt x="1747" y="631"/>
                  <a:pt x="1747" y="631"/>
                </a:cubicBezTo>
                <a:cubicBezTo>
                  <a:pt x="1746" y="629"/>
                  <a:pt x="1746" y="629"/>
                  <a:pt x="1746" y="629"/>
                </a:cubicBezTo>
                <a:lnTo>
                  <a:pt x="1745" y="630"/>
                </a:lnTo>
                <a:close/>
                <a:moveTo>
                  <a:pt x="1749" y="602"/>
                </a:moveTo>
                <a:cubicBezTo>
                  <a:pt x="1748" y="602"/>
                  <a:pt x="1748" y="602"/>
                  <a:pt x="1748" y="602"/>
                </a:cubicBezTo>
                <a:cubicBezTo>
                  <a:pt x="1747" y="602"/>
                  <a:pt x="1747" y="602"/>
                  <a:pt x="1747" y="602"/>
                </a:cubicBezTo>
                <a:cubicBezTo>
                  <a:pt x="1746" y="603"/>
                  <a:pt x="1746" y="603"/>
                  <a:pt x="1746" y="603"/>
                </a:cubicBezTo>
                <a:cubicBezTo>
                  <a:pt x="1746" y="604"/>
                  <a:pt x="1746" y="604"/>
                  <a:pt x="1746" y="604"/>
                </a:cubicBezTo>
                <a:cubicBezTo>
                  <a:pt x="1747" y="605"/>
                  <a:pt x="1747" y="605"/>
                  <a:pt x="1747" y="605"/>
                </a:cubicBezTo>
                <a:cubicBezTo>
                  <a:pt x="1748" y="605"/>
                  <a:pt x="1748" y="605"/>
                  <a:pt x="1748" y="605"/>
                </a:cubicBezTo>
                <a:cubicBezTo>
                  <a:pt x="1749" y="605"/>
                  <a:pt x="1749" y="605"/>
                  <a:pt x="1749" y="605"/>
                </a:cubicBezTo>
                <a:cubicBezTo>
                  <a:pt x="1750" y="603"/>
                  <a:pt x="1750" y="603"/>
                  <a:pt x="1750" y="603"/>
                </a:cubicBezTo>
                <a:cubicBezTo>
                  <a:pt x="1751" y="602"/>
                  <a:pt x="1751" y="602"/>
                  <a:pt x="1751" y="602"/>
                </a:cubicBezTo>
                <a:cubicBezTo>
                  <a:pt x="1750" y="602"/>
                  <a:pt x="1750" y="602"/>
                  <a:pt x="1750" y="602"/>
                </a:cubicBezTo>
                <a:lnTo>
                  <a:pt x="1749" y="602"/>
                </a:lnTo>
                <a:close/>
                <a:moveTo>
                  <a:pt x="1750" y="640"/>
                </a:moveTo>
                <a:cubicBezTo>
                  <a:pt x="1751" y="641"/>
                  <a:pt x="1751" y="641"/>
                  <a:pt x="1751" y="641"/>
                </a:cubicBezTo>
                <a:cubicBezTo>
                  <a:pt x="1751" y="640"/>
                  <a:pt x="1751" y="640"/>
                  <a:pt x="1751" y="640"/>
                </a:cubicBezTo>
                <a:cubicBezTo>
                  <a:pt x="1751" y="639"/>
                  <a:pt x="1751" y="639"/>
                  <a:pt x="1751" y="639"/>
                </a:cubicBezTo>
                <a:cubicBezTo>
                  <a:pt x="1750" y="639"/>
                  <a:pt x="1750" y="639"/>
                  <a:pt x="1750" y="639"/>
                </a:cubicBezTo>
                <a:lnTo>
                  <a:pt x="1750" y="640"/>
                </a:lnTo>
                <a:close/>
                <a:moveTo>
                  <a:pt x="1744" y="645"/>
                </a:moveTo>
                <a:cubicBezTo>
                  <a:pt x="1744" y="644"/>
                  <a:pt x="1744" y="644"/>
                  <a:pt x="1744" y="644"/>
                </a:cubicBezTo>
                <a:cubicBezTo>
                  <a:pt x="1743" y="644"/>
                  <a:pt x="1743" y="644"/>
                  <a:pt x="1743" y="644"/>
                </a:cubicBezTo>
                <a:cubicBezTo>
                  <a:pt x="1742" y="645"/>
                  <a:pt x="1742" y="645"/>
                  <a:pt x="1742" y="645"/>
                </a:cubicBezTo>
                <a:cubicBezTo>
                  <a:pt x="1743" y="645"/>
                  <a:pt x="1743" y="645"/>
                  <a:pt x="1743" y="645"/>
                </a:cubicBezTo>
                <a:lnTo>
                  <a:pt x="1744" y="645"/>
                </a:lnTo>
                <a:close/>
                <a:moveTo>
                  <a:pt x="1741" y="634"/>
                </a:moveTo>
                <a:cubicBezTo>
                  <a:pt x="1741" y="635"/>
                  <a:pt x="1741" y="635"/>
                  <a:pt x="1741" y="635"/>
                </a:cubicBezTo>
                <a:cubicBezTo>
                  <a:pt x="1742" y="634"/>
                  <a:pt x="1742" y="634"/>
                  <a:pt x="1742" y="634"/>
                </a:cubicBezTo>
                <a:cubicBezTo>
                  <a:pt x="1742" y="633"/>
                  <a:pt x="1742" y="633"/>
                  <a:pt x="1742" y="633"/>
                </a:cubicBezTo>
                <a:lnTo>
                  <a:pt x="1741" y="634"/>
                </a:lnTo>
                <a:close/>
                <a:moveTo>
                  <a:pt x="1764" y="632"/>
                </a:moveTo>
                <a:cubicBezTo>
                  <a:pt x="1765" y="633"/>
                  <a:pt x="1765" y="633"/>
                  <a:pt x="1765" y="633"/>
                </a:cubicBezTo>
                <a:cubicBezTo>
                  <a:pt x="1766" y="633"/>
                  <a:pt x="1766" y="633"/>
                  <a:pt x="1766" y="633"/>
                </a:cubicBezTo>
                <a:cubicBezTo>
                  <a:pt x="1766" y="632"/>
                  <a:pt x="1766" y="632"/>
                  <a:pt x="1766" y="632"/>
                </a:cubicBezTo>
                <a:cubicBezTo>
                  <a:pt x="1767" y="632"/>
                  <a:pt x="1767" y="632"/>
                  <a:pt x="1767" y="632"/>
                </a:cubicBezTo>
                <a:cubicBezTo>
                  <a:pt x="1767" y="631"/>
                  <a:pt x="1767" y="631"/>
                  <a:pt x="1767" y="631"/>
                </a:cubicBezTo>
                <a:cubicBezTo>
                  <a:pt x="1767" y="631"/>
                  <a:pt x="1767" y="631"/>
                  <a:pt x="1767" y="631"/>
                </a:cubicBezTo>
                <a:cubicBezTo>
                  <a:pt x="1766" y="631"/>
                  <a:pt x="1766" y="631"/>
                  <a:pt x="1766" y="631"/>
                </a:cubicBezTo>
                <a:cubicBezTo>
                  <a:pt x="1765" y="630"/>
                  <a:pt x="1765" y="630"/>
                  <a:pt x="1765" y="630"/>
                </a:cubicBezTo>
                <a:cubicBezTo>
                  <a:pt x="1764" y="630"/>
                  <a:pt x="1764" y="630"/>
                  <a:pt x="1764" y="630"/>
                </a:cubicBezTo>
                <a:cubicBezTo>
                  <a:pt x="1762" y="632"/>
                  <a:pt x="1762" y="632"/>
                  <a:pt x="1762" y="632"/>
                </a:cubicBezTo>
                <a:cubicBezTo>
                  <a:pt x="1762" y="632"/>
                  <a:pt x="1762" y="632"/>
                  <a:pt x="1762" y="632"/>
                </a:cubicBezTo>
                <a:cubicBezTo>
                  <a:pt x="1763" y="632"/>
                  <a:pt x="1763" y="632"/>
                  <a:pt x="1763" y="632"/>
                </a:cubicBezTo>
                <a:lnTo>
                  <a:pt x="1764" y="632"/>
                </a:lnTo>
                <a:close/>
                <a:moveTo>
                  <a:pt x="1762" y="646"/>
                </a:moveTo>
                <a:cubicBezTo>
                  <a:pt x="1762" y="646"/>
                  <a:pt x="1764" y="645"/>
                  <a:pt x="1764" y="645"/>
                </a:cubicBezTo>
                <a:cubicBezTo>
                  <a:pt x="1764" y="644"/>
                  <a:pt x="1764" y="644"/>
                  <a:pt x="1764" y="644"/>
                </a:cubicBezTo>
                <a:cubicBezTo>
                  <a:pt x="1763" y="644"/>
                  <a:pt x="1763" y="644"/>
                  <a:pt x="1763" y="644"/>
                </a:cubicBezTo>
                <a:cubicBezTo>
                  <a:pt x="1762" y="645"/>
                  <a:pt x="1762" y="645"/>
                  <a:pt x="1762" y="645"/>
                </a:cubicBezTo>
                <a:cubicBezTo>
                  <a:pt x="1761" y="645"/>
                  <a:pt x="1761" y="645"/>
                  <a:pt x="1761" y="645"/>
                </a:cubicBezTo>
                <a:lnTo>
                  <a:pt x="1762" y="646"/>
                </a:lnTo>
                <a:close/>
                <a:moveTo>
                  <a:pt x="1770" y="655"/>
                </a:moveTo>
                <a:cubicBezTo>
                  <a:pt x="1770" y="657"/>
                  <a:pt x="1770" y="657"/>
                  <a:pt x="1770" y="657"/>
                </a:cubicBezTo>
                <a:cubicBezTo>
                  <a:pt x="1771" y="659"/>
                  <a:pt x="1771" y="659"/>
                  <a:pt x="1771" y="659"/>
                </a:cubicBezTo>
                <a:cubicBezTo>
                  <a:pt x="1771" y="658"/>
                  <a:pt x="1771" y="658"/>
                  <a:pt x="1771" y="658"/>
                </a:cubicBezTo>
                <a:cubicBezTo>
                  <a:pt x="1772" y="657"/>
                  <a:pt x="1772" y="657"/>
                  <a:pt x="1772" y="657"/>
                </a:cubicBezTo>
                <a:cubicBezTo>
                  <a:pt x="1771" y="655"/>
                  <a:pt x="1771" y="655"/>
                  <a:pt x="1771" y="655"/>
                </a:cubicBezTo>
                <a:cubicBezTo>
                  <a:pt x="1771" y="654"/>
                  <a:pt x="1771" y="654"/>
                  <a:pt x="1771" y="654"/>
                </a:cubicBezTo>
                <a:lnTo>
                  <a:pt x="1770" y="655"/>
                </a:lnTo>
                <a:close/>
                <a:moveTo>
                  <a:pt x="1742" y="593"/>
                </a:moveTo>
                <a:cubicBezTo>
                  <a:pt x="1742" y="593"/>
                  <a:pt x="1742" y="593"/>
                  <a:pt x="1742" y="593"/>
                </a:cubicBezTo>
                <a:cubicBezTo>
                  <a:pt x="1741" y="595"/>
                  <a:pt x="1741" y="595"/>
                  <a:pt x="1741" y="595"/>
                </a:cubicBezTo>
                <a:cubicBezTo>
                  <a:pt x="1742" y="595"/>
                  <a:pt x="1742" y="595"/>
                  <a:pt x="1742" y="595"/>
                </a:cubicBezTo>
                <a:cubicBezTo>
                  <a:pt x="1743" y="595"/>
                  <a:pt x="1743" y="595"/>
                  <a:pt x="1743" y="595"/>
                </a:cubicBezTo>
                <a:cubicBezTo>
                  <a:pt x="1744" y="595"/>
                  <a:pt x="1744" y="595"/>
                  <a:pt x="1744" y="595"/>
                </a:cubicBezTo>
                <a:cubicBezTo>
                  <a:pt x="1744" y="594"/>
                  <a:pt x="1744" y="594"/>
                  <a:pt x="1744" y="594"/>
                </a:cubicBezTo>
                <a:lnTo>
                  <a:pt x="1742" y="593"/>
                </a:lnTo>
                <a:close/>
                <a:moveTo>
                  <a:pt x="1546" y="327"/>
                </a:moveTo>
                <a:cubicBezTo>
                  <a:pt x="1547" y="326"/>
                  <a:pt x="1547" y="326"/>
                  <a:pt x="1547" y="326"/>
                </a:cubicBezTo>
                <a:cubicBezTo>
                  <a:pt x="1546" y="326"/>
                  <a:pt x="1546" y="326"/>
                  <a:pt x="1546" y="326"/>
                </a:cubicBezTo>
                <a:lnTo>
                  <a:pt x="1546" y="327"/>
                </a:lnTo>
                <a:close/>
                <a:moveTo>
                  <a:pt x="1114" y="318"/>
                </a:moveTo>
                <a:cubicBezTo>
                  <a:pt x="1115" y="317"/>
                  <a:pt x="1115" y="317"/>
                  <a:pt x="1115" y="317"/>
                </a:cubicBezTo>
                <a:cubicBezTo>
                  <a:pt x="1115" y="315"/>
                  <a:pt x="1115" y="315"/>
                  <a:pt x="1115" y="315"/>
                </a:cubicBezTo>
                <a:cubicBezTo>
                  <a:pt x="1114" y="315"/>
                  <a:pt x="1114" y="315"/>
                  <a:pt x="1114" y="315"/>
                </a:cubicBezTo>
                <a:cubicBezTo>
                  <a:pt x="1113" y="316"/>
                  <a:pt x="1113" y="316"/>
                  <a:pt x="1113" y="316"/>
                </a:cubicBezTo>
                <a:cubicBezTo>
                  <a:pt x="1112" y="317"/>
                  <a:pt x="1112" y="317"/>
                  <a:pt x="1112" y="317"/>
                </a:cubicBezTo>
                <a:cubicBezTo>
                  <a:pt x="1113" y="319"/>
                  <a:pt x="1113" y="319"/>
                  <a:pt x="1113" y="319"/>
                </a:cubicBezTo>
                <a:cubicBezTo>
                  <a:pt x="1113" y="319"/>
                  <a:pt x="1113" y="319"/>
                  <a:pt x="1113" y="319"/>
                </a:cubicBezTo>
                <a:lnTo>
                  <a:pt x="1114" y="318"/>
                </a:lnTo>
                <a:close/>
                <a:moveTo>
                  <a:pt x="1137" y="307"/>
                </a:moveTo>
                <a:cubicBezTo>
                  <a:pt x="1137" y="307"/>
                  <a:pt x="1137" y="307"/>
                  <a:pt x="1137" y="307"/>
                </a:cubicBezTo>
                <a:cubicBezTo>
                  <a:pt x="1138" y="308"/>
                  <a:pt x="1138" y="308"/>
                  <a:pt x="1138" y="308"/>
                </a:cubicBezTo>
                <a:cubicBezTo>
                  <a:pt x="1139" y="308"/>
                  <a:pt x="1139" y="308"/>
                  <a:pt x="1139" y="308"/>
                </a:cubicBezTo>
                <a:cubicBezTo>
                  <a:pt x="1138" y="307"/>
                  <a:pt x="1138" y="307"/>
                  <a:pt x="1138" y="307"/>
                </a:cubicBezTo>
                <a:lnTo>
                  <a:pt x="1137" y="307"/>
                </a:lnTo>
                <a:close/>
                <a:moveTo>
                  <a:pt x="1123" y="325"/>
                </a:moveTo>
                <a:cubicBezTo>
                  <a:pt x="1124" y="325"/>
                  <a:pt x="1124" y="325"/>
                  <a:pt x="1124" y="325"/>
                </a:cubicBezTo>
                <a:cubicBezTo>
                  <a:pt x="1125" y="325"/>
                  <a:pt x="1125" y="325"/>
                  <a:pt x="1125" y="325"/>
                </a:cubicBezTo>
                <a:cubicBezTo>
                  <a:pt x="1126" y="325"/>
                  <a:pt x="1126" y="325"/>
                  <a:pt x="1126" y="325"/>
                </a:cubicBezTo>
                <a:cubicBezTo>
                  <a:pt x="1127" y="324"/>
                  <a:pt x="1127" y="324"/>
                  <a:pt x="1127" y="324"/>
                </a:cubicBezTo>
                <a:cubicBezTo>
                  <a:pt x="1126" y="323"/>
                  <a:pt x="1126" y="323"/>
                  <a:pt x="1126" y="323"/>
                </a:cubicBezTo>
                <a:cubicBezTo>
                  <a:pt x="1125" y="323"/>
                  <a:pt x="1125" y="323"/>
                  <a:pt x="1125" y="323"/>
                </a:cubicBezTo>
                <a:lnTo>
                  <a:pt x="1123" y="325"/>
                </a:lnTo>
                <a:close/>
                <a:moveTo>
                  <a:pt x="1128" y="321"/>
                </a:moveTo>
                <a:cubicBezTo>
                  <a:pt x="1130" y="321"/>
                  <a:pt x="1130" y="321"/>
                  <a:pt x="1130" y="321"/>
                </a:cubicBezTo>
                <a:cubicBezTo>
                  <a:pt x="1126" y="319"/>
                  <a:pt x="1126" y="319"/>
                  <a:pt x="1126" y="319"/>
                </a:cubicBezTo>
                <a:cubicBezTo>
                  <a:pt x="1125" y="319"/>
                  <a:pt x="1125" y="319"/>
                  <a:pt x="1125" y="319"/>
                </a:cubicBezTo>
                <a:cubicBezTo>
                  <a:pt x="1125" y="319"/>
                  <a:pt x="1125" y="319"/>
                  <a:pt x="1125" y="319"/>
                </a:cubicBezTo>
                <a:cubicBezTo>
                  <a:pt x="1127" y="321"/>
                  <a:pt x="1127" y="321"/>
                  <a:pt x="1127" y="321"/>
                </a:cubicBezTo>
                <a:lnTo>
                  <a:pt x="1128" y="321"/>
                </a:lnTo>
                <a:close/>
                <a:moveTo>
                  <a:pt x="1147" y="287"/>
                </a:moveTo>
                <a:cubicBezTo>
                  <a:pt x="1147" y="288"/>
                  <a:pt x="1147" y="288"/>
                  <a:pt x="1147" y="288"/>
                </a:cubicBezTo>
                <a:cubicBezTo>
                  <a:pt x="1147" y="287"/>
                  <a:pt x="1147" y="287"/>
                  <a:pt x="1147" y="287"/>
                </a:cubicBezTo>
                <a:close/>
                <a:moveTo>
                  <a:pt x="1148" y="284"/>
                </a:moveTo>
                <a:cubicBezTo>
                  <a:pt x="1148" y="284"/>
                  <a:pt x="1148" y="284"/>
                  <a:pt x="1148" y="284"/>
                </a:cubicBezTo>
                <a:cubicBezTo>
                  <a:pt x="1148" y="285"/>
                  <a:pt x="1148" y="285"/>
                  <a:pt x="1148" y="285"/>
                </a:cubicBezTo>
                <a:cubicBezTo>
                  <a:pt x="1148" y="285"/>
                  <a:pt x="1148" y="285"/>
                  <a:pt x="1148" y="285"/>
                </a:cubicBezTo>
                <a:lnTo>
                  <a:pt x="1148" y="284"/>
                </a:lnTo>
                <a:close/>
                <a:moveTo>
                  <a:pt x="1077" y="244"/>
                </a:moveTo>
                <a:cubicBezTo>
                  <a:pt x="1079" y="243"/>
                  <a:pt x="1079" y="243"/>
                  <a:pt x="1079" y="243"/>
                </a:cubicBezTo>
                <a:cubicBezTo>
                  <a:pt x="1080" y="241"/>
                  <a:pt x="1080" y="241"/>
                  <a:pt x="1080" y="241"/>
                </a:cubicBezTo>
                <a:cubicBezTo>
                  <a:pt x="1079" y="241"/>
                  <a:pt x="1079" y="241"/>
                  <a:pt x="1079" y="241"/>
                </a:cubicBezTo>
                <a:cubicBezTo>
                  <a:pt x="1078" y="242"/>
                  <a:pt x="1078" y="242"/>
                  <a:pt x="1078" y="242"/>
                </a:cubicBezTo>
                <a:cubicBezTo>
                  <a:pt x="1076" y="244"/>
                  <a:pt x="1076" y="244"/>
                  <a:pt x="1076" y="244"/>
                </a:cubicBezTo>
                <a:lnTo>
                  <a:pt x="1077" y="244"/>
                </a:lnTo>
                <a:close/>
                <a:moveTo>
                  <a:pt x="1149" y="281"/>
                </a:moveTo>
                <a:cubicBezTo>
                  <a:pt x="1149" y="282"/>
                  <a:pt x="1149" y="282"/>
                  <a:pt x="1149" y="282"/>
                </a:cubicBezTo>
                <a:cubicBezTo>
                  <a:pt x="1149" y="281"/>
                  <a:pt x="1149" y="281"/>
                  <a:pt x="1149" y="281"/>
                </a:cubicBezTo>
                <a:cubicBezTo>
                  <a:pt x="1150" y="281"/>
                  <a:pt x="1150" y="281"/>
                  <a:pt x="1150" y="281"/>
                </a:cubicBezTo>
                <a:cubicBezTo>
                  <a:pt x="1149" y="281"/>
                  <a:pt x="1149" y="281"/>
                  <a:pt x="1149" y="281"/>
                </a:cubicBezTo>
                <a:close/>
                <a:moveTo>
                  <a:pt x="1077" y="242"/>
                </a:moveTo>
                <a:cubicBezTo>
                  <a:pt x="1078" y="241"/>
                  <a:pt x="1078" y="241"/>
                  <a:pt x="1078" y="241"/>
                </a:cubicBezTo>
                <a:cubicBezTo>
                  <a:pt x="1079" y="240"/>
                  <a:pt x="1079" y="240"/>
                  <a:pt x="1079" y="240"/>
                </a:cubicBezTo>
                <a:cubicBezTo>
                  <a:pt x="1078" y="240"/>
                  <a:pt x="1078" y="240"/>
                  <a:pt x="1078" y="240"/>
                </a:cubicBezTo>
                <a:cubicBezTo>
                  <a:pt x="1076" y="242"/>
                  <a:pt x="1076" y="242"/>
                  <a:pt x="1076" y="242"/>
                </a:cubicBezTo>
                <a:cubicBezTo>
                  <a:pt x="1076" y="242"/>
                  <a:pt x="1076" y="243"/>
                  <a:pt x="1076" y="243"/>
                </a:cubicBezTo>
                <a:lnTo>
                  <a:pt x="1077" y="242"/>
                </a:lnTo>
                <a:close/>
                <a:moveTo>
                  <a:pt x="1068" y="221"/>
                </a:moveTo>
                <a:cubicBezTo>
                  <a:pt x="1067" y="222"/>
                  <a:pt x="1067" y="222"/>
                  <a:pt x="1067" y="222"/>
                </a:cubicBezTo>
                <a:cubicBezTo>
                  <a:pt x="1068" y="223"/>
                  <a:pt x="1068" y="223"/>
                  <a:pt x="1068" y="223"/>
                </a:cubicBezTo>
                <a:cubicBezTo>
                  <a:pt x="1069" y="222"/>
                  <a:pt x="1069" y="222"/>
                  <a:pt x="1069" y="222"/>
                </a:cubicBezTo>
                <a:cubicBezTo>
                  <a:pt x="1069" y="221"/>
                  <a:pt x="1069" y="221"/>
                  <a:pt x="1069" y="221"/>
                </a:cubicBezTo>
                <a:cubicBezTo>
                  <a:pt x="1068" y="221"/>
                  <a:pt x="1068" y="221"/>
                  <a:pt x="1068" y="221"/>
                </a:cubicBezTo>
                <a:close/>
                <a:moveTo>
                  <a:pt x="1091" y="307"/>
                </a:moveTo>
                <a:cubicBezTo>
                  <a:pt x="1092" y="308"/>
                  <a:pt x="1092" y="308"/>
                  <a:pt x="1092" y="308"/>
                </a:cubicBezTo>
                <a:cubicBezTo>
                  <a:pt x="1093" y="307"/>
                  <a:pt x="1093" y="307"/>
                  <a:pt x="1093" y="307"/>
                </a:cubicBezTo>
                <a:cubicBezTo>
                  <a:pt x="1093" y="306"/>
                  <a:pt x="1093" y="306"/>
                  <a:pt x="1093" y="306"/>
                </a:cubicBezTo>
                <a:cubicBezTo>
                  <a:pt x="1091" y="306"/>
                  <a:pt x="1091" y="306"/>
                  <a:pt x="1091" y="306"/>
                </a:cubicBezTo>
                <a:cubicBezTo>
                  <a:pt x="1090" y="306"/>
                  <a:pt x="1090" y="306"/>
                  <a:pt x="1090" y="306"/>
                </a:cubicBezTo>
                <a:cubicBezTo>
                  <a:pt x="1091" y="307"/>
                  <a:pt x="1091" y="307"/>
                  <a:pt x="1091" y="307"/>
                </a:cubicBezTo>
                <a:close/>
                <a:moveTo>
                  <a:pt x="1107" y="306"/>
                </a:moveTo>
                <a:cubicBezTo>
                  <a:pt x="1108" y="305"/>
                  <a:pt x="1108" y="305"/>
                  <a:pt x="1108" y="305"/>
                </a:cubicBezTo>
                <a:cubicBezTo>
                  <a:pt x="1108" y="304"/>
                  <a:pt x="1108" y="304"/>
                  <a:pt x="1108" y="304"/>
                </a:cubicBezTo>
                <a:cubicBezTo>
                  <a:pt x="1106" y="304"/>
                  <a:pt x="1106" y="304"/>
                  <a:pt x="1106" y="304"/>
                </a:cubicBezTo>
                <a:cubicBezTo>
                  <a:pt x="1105" y="305"/>
                  <a:pt x="1105" y="305"/>
                  <a:pt x="1105" y="305"/>
                </a:cubicBezTo>
                <a:cubicBezTo>
                  <a:pt x="1106" y="306"/>
                  <a:pt x="1106" y="306"/>
                  <a:pt x="1106" y="306"/>
                </a:cubicBezTo>
                <a:lnTo>
                  <a:pt x="1107" y="306"/>
                </a:lnTo>
                <a:close/>
                <a:moveTo>
                  <a:pt x="1103" y="305"/>
                </a:moveTo>
                <a:cubicBezTo>
                  <a:pt x="1102" y="304"/>
                  <a:pt x="1102" y="304"/>
                  <a:pt x="1102" y="304"/>
                </a:cubicBezTo>
                <a:cubicBezTo>
                  <a:pt x="1101" y="305"/>
                  <a:pt x="1101" y="305"/>
                  <a:pt x="1101" y="305"/>
                </a:cubicBezTo>
                <a:cubicBezTo>
                  <a:pt x="1102" y="306"/>
                  <a:pt x="1102" y="306"/>
                  <a:pt x="1102" y="306"/>
                </a:cubicBezTo>
                <a:cubicBezTo>
                  <a:pt x="1103" y="306"/>
                  <a:pt x="1103" y="306"/>
                  <a:pt x="1103" y="306"/>
                </a:cubicBezTo>
                <a:lnTo>
                  <a:pt x="1103" y="305"/>
                </a:lnTo>
                <a:close/>
                <a:moveTo>
                  <a:pt x="2157" y="95"/>
                </a:moveTo>
                <a:cubicBezTo>
                  <a:pt x="2158" y="93"/>
                  <a:pt x="2158" y="93"/>
                  <a:pt x="2158" y="93"/>
                </a:cubicBezTo>
                <a:cubicBezTo>
                  <a:pt x="2157" y="88"/>
                  <a:pt x="2157" y="88"/>
                  <a:pt x="2157" y="88"/>
                </a:cubicBezTo>
                <a:cubicBezTo>
                  <a:pt x="2156" y="85"/>
                  <a:pt x="2156" y="85"/>
                  <a:pt x="2156" y="85"/>
                </a:cubicBezTo>
                <a:cubicBezTo>
                  <a:pt x="2155" y="85"/>
                  <a:pt x="2155" y="85"/>
                  <a:pt x="2155" y="85"/>
                </a:cubicBezTo>
                <a:cubicBezTo>
                  <a:pt x="2155" y="89"/>
                  <a:pt x="2155" y="89"/>
                  <a:pt x="2155" y="89"/>
                </a:cubicBezTo>
                <a:cubicBezTo>
                  <a:pt x="2156" y="91"/>
                  <a:pt x="2156" y="91"/>
                  <a:pt x="2156" y="91"/>
                </a:cubicBezTo>
                <a:cubicBezTo>
                  <a:pt x="2156" y="94"/>
                  <a:pt x="2156" y="94"/>
                  <a:pt x="2156" y="94"/>
                </a:cubicBezTo>
                <a:lnTo>
                  <a:pt x="2157" y="95"/>
                </a:lnTo>
                <a:close/>
                <a:moveTo>
                  <a:pt x="1355" y="6"/>
                </a:moveTo>
                <a:cubicBezTo>
                  <a:pt x="1355" y="7"/>
                  <a:pt x="1355" y="7"/>
                  <a:pt x="1355" y="7"/>
                </a:cubicBezTo>
                <a:cubicBezTo>
                  <a:pt x="1356" y="8"/>
                  <a:pt x="1356" y="8"/>
                  <a:pt x="1356" y="8"/>
                </a:cubicBezTo>
                <a:cubicBezTo>
                  <a:pt x="1357" y="8"/>
                  <a:pt x="1357" y="8"/>
                  <a:pt x="1357" y="8"/>
                </a:cubicBezTo>
                <a:cubicBezTo>
                  <a:pt x="1356" y="6"/>
                  <a:pt x="1356" y="6"/>
                  <a:pt x="1356" y="6"/>
                </a:cubicBezTo>
                <a:lnTo>
                  <a:pt x="1355" y="6"/>
                </a:lnTo>
                <a:close/>
                <a:moveTo>
                  <a:pt x="1307" y="143"/>
                </a:moveTo>
                <a:cubicBezTo>
                  <a:pt x="1308" y="143"/>
                  <a:pt x="1308" y="143"/>
                  <a:pt x="1308" y="143"/>
                </a:cubicBezTo>
                <a:cubicBezTo>
                  <a:pt x="1311" y="141"/>
                  <a:pt x="1311" y="141"/>
                  <a:pt x="1311" y="141"/>
                </a:cubicBezTo>
                <a:cubicBezTo>
                  <a:pt x="1311" y="136"/>
                  <a:pt x="1311" y="136"/>
                  <a:pt x="1311" y="136"/>
                </a:cubicBezTo>
                <a:cubicBezTo>
                  <a:pt x="1309" y="134"/>
                  <a:pt x="1309" y="134"/>
                  <a:pt x="1309" y="134"/>
                </a:cubicBezTo>
                <a:cubicBezTo>
                  <a:pt x="1309" y="132"/>
                  <a:pt x="1309" y="132"/>
                  <a:pt x="1309" y="132"/>
                </a:cubicBezTo>
                <a:cubicBezTo>
                  <a:pt x="1307" y="132"/>
                  <a:pt x="1307" y="132"/>
                  <a:pt x="1307" y="132"/>
                </a:cubicBezTo>
                <a:cubicBezTo>
                  <a:pt x="1301" y="135"/>
                  <a:pt x="1301" y="135"/>
                  <a:pt x="1301" y="135"/>
                </a:cubicBezTo>
                <a:cubicBezTo>
                  <a:pt x="1296" y="136"/>
                  <a:pt x="1296" y="136"/>
                  <a:pt x="1296" y="136"/>
                </a:cubicBezTo>
                <a:cubicBezTo>
                  <a:pt x="1294" y="137"/>
                  <a:pt x="1294" y="137"/>
                  <a:pt x="1294" y="137"/>
                </a:cubicBezTo>
                <a:cubicBezTo>
                  <a:pt x="1292" y="138"/>
                  <a:pt x="1292" y="138"/>
                  <a:pt x="1292" y="138"/>
                </a:cubicBezTo>
                <a:cubicBezTo>
                  <a:pt x="1291" y="140"/>
                  <a:pt x="1291" y="140"/>
                  <a:pt x="1291" y="140"/>
                </a:cubicBezTo>
                <a:cubicBezTo>
                  <a:pt x="1289" y="141"/>
                  <a:pt x="1289" y="141"/>
                  <a:pt x="1289" y="141"/>
                </a:cubicBezTo>
                <a:cubicBezTo>
                  <a:pt x="1289" y="142"/>
                  <a:pt x="1289" y="142"/>
                  <a:pt x="1289" y="142"/>
                </a:cubicBezTo>
                <a:cubicBezTo>
                  <a:pt x="1288" y="143"/>
                  <a:pt x="1288" y="143"/>
                  <a:pt x="1288" y="143"/>
                </a:cubicBezTo>
                <a:cubicBezTo>
                  <a:pt x="1288" y="144"/>
                  <a:pt x="1288" y="144"/>
                  <a:pt x="1288" y="144"/>
                </a:cubicBezTo>
                <a:cubicBezTo>
                  <a:pt x="1291" y="144"/>
                  <a:pt x="1291" y="144"/>
                  <a:pt x="1291" y="144"/>
                </a:cubicBezTo>
                <a:cubicBezTo>
                  <a:pt x="1295" y="143"/>
                  <a:pt x="1295" y="143"/>
                  <a:pt x="1295" y="143"/>
                </a:cubicBezTo>
                <a:cubicBezTo>
                  <a:pt x="1299" y="144"/>
                  <a:pt x="1299" y="144"/>
                  <a:pt x="1299" y="144"/>
                </a:cubicBezTo>
                <a:cubicBezTo>
                  <a:pt x="1301" y="143"/>
                  <a:pt x="1301" y="143"/>
                  <a:pt x="1301" y="143"/>
                </a:cubicBezTo>
                <a:cubicBezTo>
                  <a:pt x="1303" y="142"/>
                  <a:pt x="1303" y="142"/>
                  <a:pt x="1303" y="142"/>
                </a:cubicBezTo>
                <a:cubicBezTo>
                  <a:pt x="1305" y="144"/>
                  <a:pt x="1305" y="144"/>
                  <a:pt x="1305" y="144"/>
                </a:cubicBezTo>
                <a:lnTo>
                  <a:pt x="1307" y="143"/>
                </a:lnTo>
                <a:close/>
                <a:moveTo>
                  <a:pt x="1357" y="45"/>
                </a:moveTo>
                <a:cubicBezTo>
                  <a:pt x="1357" y="46"/>
                  <a:pt x="1357" y="46"/>
                  <a:pt x="1357" y="46"/>
                </a:cubicBezTo>
                <a:cubicBezTo>
                  <a:pt x="1357" y="49"/>
                  <a:pt x="1357" y="49"/>
                  <a:pt x="1357" y="49"/>
                </a:cubicBezTo>
                <a:cubicBezTo>
                  <a:pt x="1357" y="51"/>
                  <a:pt x="1357" y="51"/>
                  <a:pt x="1357" y="51"/>
                </a:cubicBezTo>
                <a:cubicBezTo>
                  <a:pt x="1359" y="52"/>
                  <a:pt x="1359" y="52"/>
                  <a:pt x="1359" y="52"/>
                </a:cubicBezTo>
                <a:cubicBezTo>
                  <a:pt x="1360" y="51"/>
                  <a:pt x="1360" y="51"/>
                  <a:pt x="1360" y="51"/>
                </a:cubicBezTo>
                <a:cubicBezTo>
                  <a:pt x="1360" y="50"/>
                  <a:pt x="1360" y="50"/>
                  <a:pt x="1360" y="50"/>
                </a:cubicBezTo>
                <a:cubicBezTo>
                  <a:pt x="1361" y="49"/>
                  <a:pt x="1361" y="49"/>
                  <a:pt x="1361" y="49"/>
                </a:cubicBezTo>
                <a:cubicBezTo>
                  <a:pt x="1361" y="47"/>
                  <a:pt x="1361" y="47"/>
                  <a:pt x="1361" y="47"/>
                </a:cubicBezTo>
                <a:cubicBezTo>
                  <a:pt x="1359" y="45"/>
                  <a:pt x="1359" y="45"/>
                  <a:pt x="1359" y="45"/>
                </a:cubicBezTo>
                <a:lnTo>
                  <a:pt x="1357" y="45"/>
                </a:lnTo>
                <a:close/>
                <a:moveTo>
                  <a:pt x="1359" y="12"/>
                </a:moveTo>
                <a:cubicBezTo>
                  <a:pt x="1360" y="11"/>
                  <a:pt x="1360" y="11"/>
                  <a:pt x="1360" y="11"/>
                </a:cubicBezTo>
                <a:cubicBezTo>
                  <a:pt x="1359" y="10"/>
                  <a:pt x="1359" y="10"/>
                  <a:pt x="1359" y="10"/>
                </a:cubicBezTo>
                <a:cubicBezTo>
                  <a:pt x="1358" y="10"/>
                  <a:pt x="1358" y="10"/>
                  <a:pt x="1358" y="10"/>
                </a:cubicBezTo>
                <a:cubicBezTo>
                  <a:pt x="1357" y="10"/>
                  <a:pt x="1357" y="10"/>
                  <a:pt x="1357" y="10"/>
                </a:cubicBezTo>
                <a:cubicBezTo>
                  <a:pt x="1357" y="12"/>
                  <a:pt x="1357" y="12"/>
                  <a:pt x="1357" y="12"/>
                </a:cubicBezTo>
                <a:cubicBezTo>
                  <a:pt x="1357" y="12"/>
                  <a:pt x="1357" y="12"/>
                  <a:pt x="1357" y="12"/>
                </a:cubicBezTo>
                <a:lnTo>
                  <a:pt x="1359" y="12"/>
                </a:lnTo>
                <a:close/>
                <a:moveTo>
                  <a:pt x="1067" y="219"/>
                </a:moveTo>
                <a:cubicBezTo>
                  <a:pt x="1067" y="220"/>
                  <a:pt x="1067" y="220"/>
                  <a:pt x="1067" y="220"/>
                </a:cubicBezTo>
                <a:cubicBezTo>
                  <a:pt x="1069" y="220"/>
                  <a:pt x="1069" y="220"/>
                  <a:pt x="1069" y="220"/>
                </a:cubicBezTo>
                <a:cubicBezTo>
                  <a:pt x="1069" y="219"/>
                  <a:pt x="1069" y="219"/>
                  <a:pt x="1069" y="219"/>
                </a:cubicBezTo>
                <a:cubicBezTo>
                  <a:pt x="1068" y="218"/>
                  <a:pt x="1068" y="218"/>
                  <a:pt x="1068" y="218"/>
                </a:cubicBezTo>
                <a:lnTo>
                  <a:pt x="1067" y="219"/>
                </a:lnTo>
                <a:close/>
                <a:moveTo>
                  <a:pt x="2161" y="93"/>
                </a:moveTo>
                <a:cubicBezTo>
                  <a:pt x="2160" y="91"/>
                  <a:pt x="2160" y="91"/>
                  <a:pt x="2160" y="91"/>
                </a:cubicBezTo>
                <a:cubicBezTo>
                  <a:pt x="2159" y="91"/>
                  <a:pt x="2159" y="91"/>
                  <a:pt x="2159" y="91"/>
                </a:cubicBezTo>
                <a:cubicBezTo>
                  <a:pt x="2159" y="93"/>
                  <a:pt x="2159" y="93"/>
                  <a:pt x="2159" y="93"/>
                </a:cubicBezTo>
                <a:cubicBezTo>
                  <a:pt x="2160" y="95"/>
                  <a:pt x="2160" y="95"/>
                  <a:pt x="2160" y="95"/>
                </a:cubicBezTo>
                <a:lnTo>
                  <a:pt x="2161" y="93"/>
                </a:lnTo>
                <a:close/>
                <a:moveTo>
                  <a:pt x="1151" y="278"/>
                </a:moveTo>
                <a:cubicBezTo>
                  <a:pt x="1151" y="277"/>
                  <a:pt x="1151" y="277"/>
                  <a:pt x="1151" y="277"/>
                </a:cubicBezTo>
                <a:cubicBezTo>
                  <a:pt x="1149" y="277"/>
                  <a:pt x="1149" y="277"/>
                  <a:pt x="1149" y="277"/>
                </a:cubicBezTo>
                <a:cubicBezTo>
                  <a:pt x="1148" y="276"/>
                  <a:pt x="1148" y="276"/>
                  <a:pt x="1148" y="276"/>
                </a:cubicBezTo>
                <a:cubicBezTo>
                  <a:pt x="1147" y="277"/>
                  <a:pt x="1147" y="277"/>
                  <a:pt x="1147" y="277"/>
                </a:cubicBezTo>
                <a:cubicBezTo>
                  <a:pt x="1147" y="278"/>
                  <a:pt x="1147" y="278"/>
                  <a:pt x="1147" y="278"/>
                </a:cubicBezTo>
                <a:cubicBezTo>
                  <a:pt x="1149" y="278"/>
                  <a:pt x="1149" y="278"/>
                  <a:pt x="1149" y="278"/>
                </a:cubicBezTo>
                <a:cubicBezTo>
                  <a:pt x="1149" y="279"/>
                  <a:pt x="1149" y="279"/>
                  <a:pt x="1149" y="279"/>
                </a:cubicBezTo>
                <a:cubicBezTo>
                  <a:pt x="1151" y="279"/>
                  <a:pt x="1151" y="279"/>
                  <a:pt x="1151" y="279"/>
                </a:cubicBezTo>
                <a:lnTo>
                  <a:pt x="1151" y="278"/>
                </a:lnTo>
                <a:close/>
                <a:moveTo>
                  <a:pt x="1155" y="274"/>
                </a:moveTo>
                <a:cubicBezTo>
                  <a:pt x="1155" y="275"/>
                  <a:pt x="1155" y="275"/>
                  <a:pt x="1155" y="275"/>
                </a:cubicBezTo>
                <a:cubicBezTo>
                  <a:pt x="1156" y="275"/>
                  <a:pt x="1156" y="275"/>
                  <a:pt x="1156" y="275"/>
                </a:cubicBezTo>
                <a:cubicBezTo>
                  <a:pt x="1156" y="273"/>
                  <a:pt x="1156" y="273"/>
                  <a:pt x="1156" y="273"/>
                </a:cubicBezTo>
                <a:lnTo>
                  <a:pt x="1155" y="274"/>
                </a:lnTo>
                <a:close/>
                <a:moveTo>
                  <a:pt x="1159" y="266"/>
                </a:moveTo>
                <a:cubicBezTo>
                  <a:pt x="1158" y="265"/>
                  <a:pt x="1158" y="265"/>
                  <a:pt x="1158" y="265"/>
                </a:cubicBezTo>
                <a:cubicBezTo>
                  <a:pt x="1156" y="264"/>
                  <a:pt x="1156" y="264"/>
                  <a:pt x="1156" y="264"/>
                </a:cubicBezTo>
                <a:cubicBezTo>
                  <a:pt x="1155" y="263"/>
                  <a:pt x="1155" y="263"/>
                  <a:pt x="1155" y="263"/>
                </a:cubicBezTo>
                <a:cubicBezTo>
                  <a:pt x="1155" y="263"/>
                  <a:pt x="1155" y="263"/>
                  <a:pt x="1155" y="263"/>
                </a:cubicBezTo>
                <a:cubicBezTo>
                  <a:pt x="1155" y="264"/>
                  <a:pt x="1155" y="264"/>
                  <a:pt x="1155" y="264"/>
                </a:cubicBezTo>
                <a:cubicBezTo>
                  <a:pt x="1156" y="265"/>
                  <a:pt x="1156" y="265"/>
                  <a:pt x="1156" y="265"/>
                </a:cubicBezTo>
                <a:cubicBezTo>
                  <a:pt x="1158" y="266"/>
                  <a:pt x="1158" y="266"/>
                  <a:pt x="1158" y="266"/>
                </a:cubicBezTo>
                <a:cubicBezTo>
                  <a:pt x="1158" y="267"/>
                  <a:pt x="1158" y="267"/>
                  <a:pt x="1158" y="267"/>
                </a:cubicBezTo>
                <a:lnTo>
                  <a:pt x="1159" y="266"/>
                </a:lnTo>
                <a:close/>
                <a:moveTo>
                  <a:pt x="1311" y="131"/>
                </a:moveTo>
                <a:cubicBezTo>
                  <a:pt x="1310" y="131"/>
                  <a:pt x="1310" y="131"/>
                  <a:pt x="1310" y="131"/>
                </a:cubicBezTo>
                <a:cubicBezTo>
                  <a:pt x="1310" y="131"/>
                  <a:pt x="1310" y="131"/>
                  <a:pt x="1310" y="131"/>
                </a:cubicBezTo>
                <a:cubicBezTo>
                  <a:pt x="1310" y="133"/>
                  <a:pt x="1310" y="133"/>
                  <a:pt x="1310" y="133"/>
                </a:cubicBezTo>
                <a:cubicBezTo>
                  <a:pt x="1311" y="133"/>
                  <a:pt x="1311" y="133"/>
                  <a:pt x="1311" y="133"/>
                </a:cubicBezTo>
                <a:cubicBezTo>
                  <a:pt x="1311" y="133"/>
                  <a:pt x="1311" y="133"/>
                  <a:pt x="1311" y="133"/>
                </a:cubicBezTo>
                <a:lnTo>
                  <a:pt x="1311" y="131"/>
                </a:lnTo>
                <a:close/>
                <a:moveTo>
                  <a:pt x="1293" y="136"/>
                </a:moveTo>
                <a:cubicBezTo>
                  <a:pt x="1294" y="135"/>
                  <a:pt x="1294" y="135"/>
                  <a:pt x="1294" y="135"/>
                </a:cubicBezTo>
                <a:cubicBezTo>
                  <a:pt x="1293" y="136"/>
                  <a:pt x="1293" y="136"/>
                  <a:pt x="1293" y="136"/>
                </a:cubicBezTo>
                <a:cubicBezTo>
                  <a:pt x="1292" y="137"/>
                  <a:pt x="1292" y="137"/>
                  <a:pt x="1292" y="137"/>
                </a:cubicBezTo>
                <a:cubicBezTo>
                  <a:pt x="1292" y="137"/>
                  <a:pt x="1292" y="137"/>
                  <a:pt x="1292" y="137"/>
                </a:cubicBezTo>
                <a:lnTo>
                  <a:pt x="1293" y="136"/>
                </a:lnTo>
                <a:close/>
                <a:moveTo>
                  <a:pt x="1301" y="145"/>
                </a:moveTo>
                <a:cubicBezTo>
                  <a:pt x="1302" y="145"/>
                  <a:pt x="1302" y="145"/>
                  <a:pt x="1302" y="145"/>
                </a:cubicBezTo>
                <a:cubicBezTo>
                  <a:pt x="1303" y="145"/>
                  <a:pt x="1303" y="145"/>
                  <a:pt x="1303" y="145"/>
                </a:cubicBezTo>
                <a:cubicBezTo>
                  <a:pt x="1303" y="144"/>
                  <a:pt x="1303" y="144"/>
                  <a:pt x="1303" y="144"/>
                </a:cubicBezTo>
                <a:cubicBezTo>
                  <a:pt x="1301" y="144"/>
                  <a:pt x="1301" y="144"/>
                  <a:pt x="1301" y="144"/>
                </a:cubicBezTo>
                <a:cubicBezTo>
                  <a:pt x="1301" y="144"/>
                  <a:pt x="1301" y="145"/>
                  <a:pt x="1301" y="145"/>
                </a:cubicBezTo>
                <a:close/>
                <a:moveTo>
                  <a:pt x="1078" y="124"/>
                </a:moveTo>
                <a:cubicBezTo>
                  <a:pt x="1079" y="123"/>
                  <a:pt x="1079" y="123"/>
                  <a:pt x="1079" y="123"/>
                </a:cubicBezTo>
                <a:cubicBezTo>
                  <a:pt x="1077" y="121"/>
                  <a:pt x="1077" y="121"/>
                  <a:pt x="1077" y="121"/>
                </a:cubicBezTo>
                <a:cubicBezTo>
                  <a:pt x="1076" y="121"/>
                  <a:pt x="1076" y="121"/>
                  <a:pt x="1076" y="121"/>
                </a:cubicBezTo>
                <a:cubicBezTo>
                  <a:pt x="1076" y="122"/>
                  <a:pt x="1076" y="122"/>
                  <a:pt x="1076" y="122"/>
                </a:cubicBezTo>
                <a:cubicBezTo>
                  <a:pt x="1077" y="123"/>
                  <a:pt x="1077" y="123"/>
                  <a:pt x="1077" y="123"/>
                </a:cubicBezTo>
                <a:lnTo>
                  <a:pt x="1078" y="124"/>
                </a:lnTo>
                <a:close/>
                <a:moveTo>
                  <a:pt x="1085" y="32"/>
                </a:moveTo>
                <a:cubicBezTo>
                  <a:pt x="1086" y="32"/>
                  <a:pt x="1086" y="32"/>
                  <a:pt x="1086" y="32"/>
                </a:cubicBezTo>
                <a:cubicBezTo>
                  <a:pt x="1086" y="31"/>
                  <a:pt x="1086" y="31"/>
                  <a:pt x="1086" y="31"/>
                </a:cubicBezTo>
                <a:cubicBezTo>
                  <a:pt x="1085" y="31"/>
                  <a:pt x="1085" y="31"/>
                  <a:pt x="1085" y="31"/>
                </a:cubicBezTo>
                <a:lnTo>
                  <a:pt x="1085" y="32"/>
                </a:lnTo>
                <a:close/>
                <a:moveTo>
                  <a:pt x="1089" y="66"/>
                </a:moveTo>
                <a:cubicBezTo>
                  <a:pt x="1088" y="66"/>
                  <a:pt x="1088" y="66"/>
                  <a:pt x="1088" y="66"/>
                </a:cubicBezTo>
                <a:cubicBezTo>
                  <a:pt x="1087" y="67"/>
                  <a:pt x="1087" y="67"/>
                  <a:pt x="1087" y="67"/>
                </a:cubicBezTo>
                <a:cubicBezTo>
                  <a:pt x="1087" y="67"/>
                  <a:pt x="1088" y="68"/>
                  <a:pt x="1088" y="67"/>
                </a:cubicBezTo>
                <a:cubicBezTo>
                  <a:pt x="1089" y="67"/>
                  <a:pt x="1089" y="67"/>
                  <a:pt x="1089" y="67"/>
                </a:cubicBezTo>
                <a:lnTo>
                  <a:pt x="1089" y="66"/>
                </a:lnTo>
                <a:close/>
                <a:moveTo>
                  <a:pt x="1090" y="30"/>
                </a:moveTo>
                <a:cubicBezTo>
                  <a:pt x="1090" y="30"/>
                  <a:pt x="1090" y="30"/>
                  <a:pt x="1090" y="30"/>
                </a:cubicBezTo>
                <a:cubicBezTo>
                  <a:pt x="1091" y="29"/>
                  <a:pt x="1091" y="29"/>
                  <a:pt x="1091" y="29"/>
                </a:cubicBezTo>
                <a:cubicBezTo>
                  <a:pt x="1089" y="27"/>
                  <a:pt x="1089" y="27"/>
                  <a:pt x="1089" y="27"/>
                </a:cubicBezTo>
                <a:cubicBezTo>
                  <a:pt x="1087" y="27"/>
                  <a:pt x="1087" y="27"/>
                  <a:pt x="1087" y="27"/>
                </a:cubicBezTo>
                <a:cubicBezTo>
                  <a:pt x="1086" y="28"/>
                  <a:pt x="1086" y="28"/>
                  <a:pt x="1086" y="28"/>
                </a:cubicBezTo>
                <a:cubicBezTo>
                  <a:pt x="1084" y="26"/>
                  <a:pt x="1084" y="26"/>
                  <a:pt x="1084" y="26"/>
                </a:cubicBezTo>
                <a:cubicBezTo>
                  <a:pt x="1083" y="26"/>
                  <a:pt x="1083" y="26"/>
                  <a:pt x="1083" y="26"/>
                </a:cubicBezTo>
                <a:cubicBezTo>
                  <a:pt x="1082" y="27"/>
                  <a:pt x="1082" y="27"/>
                  <a:pt x="1082" y="27"/>
                </a:cubicBezTo>
                <a:cubicBezTo>
                  <a:pt x="1082" y="28"/>
                  <a:pt x="1082" y="28"/>
                  <a:pt x="1082" y="28"/>
                </a:cubicBezTo>
                <a:cubicBezTo>
                  <a:pt x="1084" y="28"/>
                  <a:pt x="1084" y="28"/>
                  <a:pt x="1084" y="28"/>
                </a:cubicBezTo>
                <a:cubicBezTo>
                  <a:pt x="1085" y="29"/>
                  <a:pt x="1085" y="29"/>
                  <a:pt x="1085" y="29"/>
                </a:cubicBezTo>
                <a:cubicBezTo>
                  <a:pt x="1088" y="29"/>
                  <a:pt x="1088" y="29"/>
                  <a:pt x="1088" y="29"/>
                </a:cubicBezTo>
                <a:lnTo>
                  <a:pt x="1090" y="30"/>
                </a:lnTo>
                <a:close/>
                <a:moveTo>
                  <a:pt x="1085" y="72"/>
                </a:moveTo>
                <a:cubicBezTo>
                  <a:pt x="1084" y="74"/>
                  <a:pt x="1084" y="74"/>
                  <a:pt x="1084" y="74"/>
                </a:cubicBezTo>
                <a:cubicBezTo>
                  <a:pt x="1083" y="74"/>
                  <a:pt x="1083" y="74"/>
                  <a:pt x="1083" y="74"/>
                </a:cubicBezTo>
                <a:cubicBezTo>
                  <a:pt x="1084" y="75"/>
                  <a:pt x="1084" y="75"/>
                  <a:pt x="1084" y="75"/>
                </a:cubicBezTo>
                <a:cubicBezTo>
                  <a:pt x="1084" y="76"/>
                  <a:pt x="1084" y="76"/>
                  <a:pt x="1084" y="76"/>
                </a:cubicBezTo>
                <a:cubicBezTo>
                  <a:pt x="1084" y="76"/>
                  <a:pt x="1084" y="76"/>
                  <a:pt x="1084" y="76"/>
                </a:cubicBezTo>
                <a:cubicBezTo>
                  <a:pt x="1085" y="76"/>
                  <a:pt x="1085" y="76"/>
                  <a:pt x="1085" y="76"/>
                </a:cubicBezTo>
                <a:cubicBezTo>
                  <a:pt x="1088" y="73"/>
                  <a:pt x="1088" y="73"/>
                  <a:pt x="1088" y="73"/>
                </a:cubicBezTo>
                <a:cubicBezTo>
                  <a:pt x="1090" y="72"/>
                  <a:pt x="1090" y="72"/>
                  <a:pt x="1090" y="72"/>
                </a:cubicBezTo>
                <a:cubicBezTo>
                  <a:pt x="1090" y="71"/>
                  <a:pt x="1090" y="71"/>
                  <a:pt x="1090" y="71"/>
                </a:cubicBezTo>
                <a:cubicBezTo>
                  <a:pt x="1088" y="71"/>
                  <a:pt x="1088" y="71"/>
                  <a:pt x="1088" y="71"/>
                </a:cubicBezTo>
                <a:cubicBezTo>
                  <a:pt x="1086" y="72"/>
                  <a:pt x="1086" y="72"/>
                  <a:pt x="1086" y="72"/>
                </a:cubicBezTo>
                <a:lnTo>
                  <a:pt x="1085" y="72"/>
                </a:lnTo>
                <a:close/>
                <a:moveTo>
                  <a:pt x="1102" y="123"/>
                </a:moveTo>
                <a:cubicBezTo>
                  <a:pt x="1103" y="124"/>
                  <a:pt x="1103" y="124"/>
                  <a:pt x="1103" y="124"/>
                </a:cubicBezTo>
                <a:cubicBezTo>
                  <a:pt x="1103" y="123"/>
                  <a:pt x="1103" y="123"/>
                  <a:pt x="1103" y="123"/>
                </a:cubicBezTo>
                <a:cubicBezTo>
                  <a:pt x="1102" y="122"/>
                  <a:pt x="1102" y="122"/>
                  <a:pt x="1102" y="122"/>
                </a:cubicBezTo>
                <a:cubicBezTo>
                  <a:pt x="1102" y="121"/>
                  <a:pt x="1102" y="121"/>
                  <a:pt x="1102" y="121"/>
                </a:cubicBezTo>
                <a:lnTo>
                  <a:pt x="1102" y="123"/>
                </a:lnTo>
                <a:close/>
                <a:moveTo>
                  <a:pt x="1100" y="117"/>
                </a:moveTo>
                <a:cubicBezTo>
                  <a:pt x="1100" y="118"/>
                  <a:pt x="1100" y="118"/>
                  <a:pt x="1100" y="118"/>
                </a:cubicBezTo>
                <a:cubicBezTo>
                  <a:pt x="1102" y="119"/>
                  <a:pt x="1102" y="119"/>
                  <a:pt x="1102" y="119"/>
                </a:cubicBezTo>
                <a:cubicBezTo>
                  <a:pt x="1103" y="119"/>
                  <a:pt x="1103" y="119"/>
                  <a:pt x="1103" y="119"/>
                </a:cubicBezTo>
                <a:cubicBezTo>
                  <a:pt x="1102" y="117"/>
                  <a:pt x="1102" y="117"/>
                  <a:pt x="1102" y="117"/>
                </a:cubicBezTo>
                <a:cubicBezTo>
                  <a:pt x="1102" y="117"/>
                  <a:pt x="1100" y="117"/>
                  <a:pt x="1100" y="117"/>
                </a:cubicBezTo>
                <a:close/>
                <a:moveTo>
                  <a:pt x="1087" y="77"/>
                </a:moveTo>
                <a:cubicBezTo>
                  <a:pt x="1088" y="77"/>
                  <a:pt x="1088" y="77"/>
                  <a:pt x="1088" y="77"/>
                </a:cubicBezTo>
                <a:cubicBezTo>
                  <a:pt x="1087" y="76"/>
                  <a:pt x="1087" y="76"/>
                  <a:pt x="1087" y="76"/>
                </a:cubicBezTo>
                <a:cubicBezTo>
                  <a:pt x="1086" y="77"/>
                  <a:pt x="1086" y="77"/>
                  <a:pt x="1086" y="77"/>
                </a:cubicBezTo>
                <a:lnTo>
                  <a:pt x="1087" y="77"/>
                </a:lnTo>
                <a:close/>
                <a:moveTo>
                  <a:pt x="1084" y="65"/>
                </a:moveTo>
                <a:cubicBezTo>
                  <a:pt x="1085" y="66"/>
                  <a:pt x="1085" y="66"/>
                  <a:pt x="1085" y="66"/>
                </a:cubicBezTo>
                <a:cubicBezTo>
                  <a:pt x="1086" y="66"/>
                  <a:pt x="1086" y="66"/>
                  <a:pt x="1086" y="66"/>
                </a:cubicBezTo>
                <a:cubicBezTo>
                  <a:pt x="1087" y="65"/>
                  <a:pt x="1087" y="65"/>
                  <a:pt x="1087" y="65"/>
                </a:cubicBezTo>
                <a:cubicBezTo>
                  <a:pt x="1086" y="65"/>
                  <a:pt x="1086" y="65"/>
                  <a:pt x="1086" y="65"/>
                </a:cubicBezTo>
                <a:lnTo>
                  <a:pt x="1084" y="65"/>
                </a:lnTo>
                <a:close/>
                <a:moveTo>
                  <a:pt x="1089" y="75"/>
                </a:moveTo>
                <a:cubicBezTo>
                  <a:pt x="1089" y="74"/>
                  <a:pt x="1089" y="74"/>
                  <a:pt x="1089" y="74"/>
                </a:cubicBezTo>
                <a:cubicBezTo>
                  <a:pt x="1088" y="75"/>
                  <a:pt x="1088" y="75"/>
                  <a:pt x="1088" y="75"/>
                </a:cubicBezTo>
                <a:cubicBezTo>
                  <a:pt x="1088" y="75"/>
                  <a:pt x="1088" y="75"/>
                  <a:pt x="1088" y="75"/>
                </a:cubicBezTo>
                <a:lnTo>
                  <a:pt x="1089" y="75"/>
                </a:lnTo>
                <a:close/>
                <a:moveTo>
                  <a:pt x="1086" y="61"/>
                </a:moveTo>
                <a:cubicBezTo>
                  <a:pt x="1085" y="61"/>
                  <a:pt x="1085" y="61"/>
                  <a:pt x="1085" y="61"/>
                </a:cubicBezTo>
                <a:cubicBezTo>
                  <a:pt x="1085" y="62"/>
                  <a:pt x="1085" y="62"/>
                  <a:pt x="1085" y="62"/>
                </a:cubicBezTo>
                <a:cubicBezTo>
                  <a:pt x="1086" y="62"/>
                  <a:pt x="1086" y="62"/>
                  <a:pt x="1086" y="62"/>
                </a:cubicBezTo>
                <a:lnTo>
                  <a:pt x="1086" y="61"/>
                </a:lnTo>
                <a:close/>
                <a:moveTo>
                  <a:pt x="1083" y="77"/>
                </a:moveTo>
                <a:cubicBezTo>
                  <a:pt x="1083" y="78"/>
                  <a:pt x="1083" y="78"/>
                  <a:pt x="1083" y="78"/>
                </a:cubicBezTo>
                <a:cubicBezTo>
                  <a:pt x="1084" y="78"/>
                  <a:pt x="1084" y="78"/>
                  <a:pt x="1084" y="78"/>
                </a:cubicBezTo>
                <a:cubicBezTo>
                  <a:pt x="1085" y="77"/>
                  <a:pt x="1085" y="77"/>
                  <a:pt x="1085" y="77"/>
                </a:cubicBezTo>
                <a:cubicBezTo>
                  <a:pt x="1084" y="77"/>
                  <a:pt x="1084" y="77"/>
                  <a:pt x="1084" y="77"/>
                </a:cubicBezTo>
                <a:lnTo>
                  <a:pt x="1083" y="77"/>
                </a:lnTo>
                <a:close/>
                <a:moveTo>
                  <a:pt x="1095" y="111"/>
                </a:moveTo>
                <a:cubicBezTo>
                  <a:pt x="1096" y="111"/>
                  <a:pt x="1096" y="111"/>
                  <a:pt x="1096" y="111"/>
                </a:cubicBezTo>
                <a:cubicBezTo>
                  <a:pt x="1098" y="111"/>
                  <a:pt x="1098" y="111"/>
                  <a:pt x="1098" y="111"/>
                </a:cubicBezTo>
                <a:cubicBezTo>
                  <a:pt x="1099" y="109"/>
                  <a:pt x="1099" y="109"/>
                  <a:pt x="1099" y="109"/>
                </a:cubicBezTo>
                <a:cubicBezTo>
                  <a:pt x="1099" y="107"/>
                  <a:pt x="1099" y="107"/>
                  <a:pt x="1099" y="107"/>
                </a:cubicBezTo>
                <a:cubicBezTo>
                  <a:pt x="1097" y="107"/>
                  <a:pt x="1097" y="107"/>
                  <a:pt x="1097" y="107"/>
                </a:cubicBezTo>
                <a:cubicBezTo>
                  <a:pt x="1096" y="107"/>
                  <a:pt x="1096" y="107"/>
                  <a:pt x="1096" y="107"/>
                </a:cubicBezTo>
                <a:lnTo>
                  <a:pt x="1095" y="111"/>
                </a:lnTo>
                <a:close/>
                <a:moveTo>
                  <a:pt x="1091" y="171"/>
                </a:moveTo>
                <a:cubicBezTo>
                  <a:pt x="1088" y="171"/>
                  <a:pt x="1088" y="171"/>
                  <a:pt x="1088" y="171"/>
                </a:cubicBezTo>
                <a:cubicBezTo>
                  <a:pt x="1087" y="171"/>
                  <a:pt x="1087" y="171"/>
                  <a:pt x="1087" y="171"/>
                </a:cubicBezTo>
                <a:cubicBezTo>
                  <a:pt x="1087" y="172"/>
                  <a:pt x="1087" y="172"/>
                  <a:pt x="1087" y="172"/>
                </a:cubicBezTo>
                <a:cubicBezTo>
                  <a:pt x="1088" y="173"/>
                  <a:pt x="1088" y="173"/>
                  <a:pt x="1088" y="173"/>
                </a:cubicBezTo>
                <a:cubicBezTo>
                  <a:pt x="1091" y="172"/>
                  <a:pt x="1091" y="172"/>
                  <a:pt x="1091" y="172"/>
                </a:cubicBezTo>
                <a:lnTo>
                  <a:pt x="1091" y="171"/>
                </a:lnTo>
                <a:close/>
                <a:moveTo>
                  <a:pt x="1091" y="163"/>
                </a:moveTo>
                <a:cubicBezTo>
                  <a:pt x="1092" y="162"/>
                  <a:pt x="1092" y="162"/>
                  <a:pt x="1092" y="162"/>
                </a:cubicBezTo>
                <a:cubicBezTo>
                  <a:pt x="1090" y="162"/>
                  <a:pt x="1090" y="162"/>
                  <a:pt x="1090" y="162"/>
                </a:cubicBezTo>
                <a:cubicBezTo>
                  <a:pt x="1088" y="162"/>
                  <a:pt x="1088" y="162"/>
                  <a:pt x="1088" y="162"/>
                </a:cubicBezTo>
                <a:cubicBezTo>
                  <a:pt x="1089" y="163"/>
                  <a:pt x="1089" y="163"/>
                  <a:pt x="1089" y="163"/>
                </a:cubicBezTo>
                <a:lnTo>
                  <a:pt x="1091" y="163"/>
                </a:lnTo>
                <a:close/>
                <a:moveTo>
                  <a:pt x="1099" y="100"/>
                </a:moveTo>
                <a:cubicBezTo>
                  <a:pt x="1097" y="100"/>
                  <a:pt x="1097" y="100"/>
                  <a:pt x="1097" y="100"/>
                </a:cubicBezTo>
                <a:cubicBezTo>
                  <a:pt x="1096" y="99"/>
                  <a:pt x="1096" y="99"/>
                  <a:pt x="1096" y="99"/>
                </a:cubicBezTo>
                <a:cubicBezTo>
                  <a:pt x="1095" y="100"/>
                  <a:pt x="1095" y="100"/>
                  <a:pt x="1095" y="100"/>
                </a:cubicBezTo>
                <a:cubicBezTo>
                  <a:pt x="1094" y="102"/>
                  <a:pt x="1094" y="102"/>
                  <a:pt x="1094" y="102"/>
                </a:cubicBezTo>
                <a:cubicBezTo>
                  <a:pt x="1095" y="103"/>
                  <a:pt x="1095" y="103"/>
                  <a:pt x="1095" y="103"/>
                </a:cubicBezTo>
                <a:cubicBezTo>
                  <a:pt x="1096" y="103"/>
                  <a:pt x="1096" y="103"/>
                  <a:pt x="1096" y="103"/>
                </a:cubicBezTo>
                <a:cubicBezTo>
                  <a:pt x="1098" y="102"/>
                  <a:pt x="1098" y="102"/>
                  <a:pt x="1098" y="102"/>
                </a:cubicBezTo>
                <a:cubicBezTo>
                  <a:pt x="1099" y="101"/>
                  <a:pt x="1099" y="101"/>
                  <a:pt x="1099" y="101"/>
                </a:cubicBezTo>
                <a:lnTo>
                  <a:pt x="1099" y="100"/>
                </a:lnTo>
                <a:close/>
                <a:moveTo>
                  <a:pt x="2155" y="84"/>
                </a:moveTo>
                <a:cubicBezTo>
                  <a:pt x="2155" y="82"/>
                  <a:pt x="2155" y="82"/>
                  <a:pt x="2155" y="82"/>
                </a:cubicBezTo>
                <a:cubicBezTo>
                  <a:pt x="2153" y="81"/>
                  <a:pt x="2153" y="81"/>
                  <a:pt x="2153" y="81"/>
                </a:cubicBezTo>
                <a:cubicBezTo>
                  <a:pt x="2153" y="81"/>
                  <a:pt x="2153" y="81"/>
                  <a:pt x="2153" y="81"/>
                </a:cubicBezTo>
                <a:cubicBezTo>
                  <a:pt x="2154" y="83"/>
                  <a:pt x="2154" y="83"/>
                  <a:pt x="2154" y="83"/>
                </a:cubicBezTo>
                <a:lnTo>
                  <a:pt x="2155" y="84"/>
                </a:lnTo>
                <a:close/>
                <a:moveTo>
                  <a:pt x="1074" y="140"/>
                </a:moveTo>
                <a:cubicBezTo>
                  <a:pt x="1073" y="140"/>
                  <a:pt x="1073" y="140"/>
                  <a:pt x="1073" y="140"/>
                </a:cubicBezTo>
                <a:cubicBezTo>
                  <a:pt x="1074" y="142"/>
                  <a:pt x="1074" y="142"/>
                  <a:pt x="1074" y="142"/>
                </a:cubicBezTo>
                <a:cubicBezTo>
                  <a:pt x="1079" y="143"/>
                  <a:pt x="1079" y="143"/>
                  <a:pt x="1079" y="143"/>
                </a:cubicBezTo>
                <a:cubicBezTo>
                  <a:pt x="1080" y="144"/>
                  <a:pt x="1080" y="144"/>
                  <a:pt x="1080" y="144"/>
                </a:cubicBezTo>
                <a:cubicBezTo>
                  <a:pt x="1081" y="145"/>
                  <a:pt x="1081" y="145"/>
                  <a:pt x="1081" y="145"/>
                </a:cubicBezTo>
                <a:cubicBezTo>
                  <a:pt x="1084" y="143"/>
                  <a:pt x="1084" y="143"/>
                  <a:pt x="1084" y="143"/>
                </a:cubicBezTo>
                <a:cubicBezTo>
                  <a:pt x="1082" y="145"/>
                  <a:pt x="1082" y="145"/>
                  <a:pt x="1082" y="145"/>
                </a:cubicBezTo>
                <a:cubicBezTo>
                  <a:pt x="1080" y="146"/>
                  <a:pt x="1080" y="146"/>
                  <a:pt x="1080" y="146"/>
                </a:cubicBezTo>
                <a:cubicBezTo>
                  <a:pt x="1077" y="144"/>
                  <a:pt x="1077" y="144"/>
                  <a:pt x="1077" y="144"/>
                </a:cubicBezTo>
                <a:cubicBezTo>
                  <a:pt x="1076" y="145"/>
                  <a:pt x="1076" y="145"/>
                  <a:pt x="1076" y="145"/>
                </a:cubicBezTo>
                <a:cubicBezTo>
                  <a:pt x="1076" y="147"/>
                  <a:pt x="1076" y="147"/>
                  <a:pt x="1076" y="147"/>
                </a:cubicBezTo>
                <a:cubicBezTo>
                  <a:pt x="1077" y="147"/>
                  <a:pt x="1077" y="147"/>
                  <a:pt x="1077" y="147"/>
                </a:cubicBezTo>
                <a:cubicBezTo>
                  <a:pt x="1080" y="148"/>
                  <a:pt x="1080" y="148"/>
                  <a:pt x="1080" y="148"/>
                </a:cubicBezTo>
                <a:cubicBezTo>
                  <a:pt x="1081" y="149"/>
                  <a:pt x="1081" y="149"/>
                  <a:pt x="1081" y="149"/>
                </a:cubicBezTo>
                <a:cubicBezTo>
                  <a:pt x="1083" y="150"/>
                  <a:pt x="1083" y="150"/>
                  <a:pt x="1083" y="150"/>
                </a:cubicBezTo>
                <a:cubicBezTo>
                  <a:pt x="1084" y="149"/>
                  <a:pt x="1084" y="149"/>
                  <a:pt x="1084" y="149"/>
                </a:cubicBezTo>
                <a:cubicBezTo>
                  <a:pt x="1089" y="148"/>
                  <a:pt x="1089" y="148"/>
                  <a:pt x="1089" y="148"/>
                </a:cubicBezTo>
                <a:cubicBezTo>
                  <a:pt x="1092" y="148"/>
                  <a:pt x="1092" y="148"/>
                  <a:pt x="1092" y="148"/>
                </a:cubicBezTo>
                <a:cubicBezTo>
                  <a:pt x="1096" y="145"/>
                  <a:pt x="1096" y="145"/>
                  <a:pt x="1096" y="145"/>
                </a:cubicBezTo>
                <a:cubicBezTo>
                  <a:pt x="1095" y="142"/>
                  <a:pt x="1095" y="142"/>
                  <a:pt x="1095" y="142"/>
                </a:cubicBezTo>
                <a:cubicBezTo>
                  <a:pt x="1094" y="139"/>
                  <a:pt x="1094" y="139"/>
                  <a:pt x="1094" y="139"/>
                </a:cubicBezTo>
                <a:cubicBezTo>
                  <a:pt x="1092" y="139"/>
                  <a:pt x="1092" y="139"/>
                  <a:pt x="1092" y="139"/>
                </a:cubicBezTo>
                <a:cubicBezTo>
                  <a:pt x="1090" y="138"/>
                  <a:pt x="1090" y="138"/>
                  <a:pt x="1090" y="138"/>
                </a:cubicBezTo>
                <a:cubicBezTo>
                  <a:pt x="1089" y="133"/>
                  <a:pt x="1089" y="133"/>
                  <a:pt x="1089" y="133"/>
                </a:cubicBezTo>
                <a:cubicBezTo>
                  <a:pt x="1087" y="130"/>
                  <a:pt x="1087" y="130"/>
                  <a:pt x="1087" y="130"/>
                </a:cubicBezTo>
                <a:cubicBezTo>
                  <a:pt x="1084" y="129"/>
                  <a:pt x="1084" y="129"/>
                  <a:pt x="1084" y="129"/>
                </a:cubicBezTo>
                <a:cubicBezTo>
                  <a:pt x="1082" y="127"/>
                  <a:pt x="1082" y="127"/>
                  <a:pt x="1082" y="127"/>
                </a:cubicBezTo>
                <a:cubicBezTo>
                  <a:pt x="1079" y="127"/>
                  <a:pt x="1079" y="127"/>
                  <a:pt x="1079" y="127"/>
                </a:cubicBezTo>
                <a:cubicBezTo>
                  <a:pt x="1077" y="126"/>
                  <a:pt x="1077" y="126"/>
                  <a:pt x="1077" y="126"/>
                </a:cubicBezTo>
                <a:cubicBezTo>
                  <a:pt x="1077" y="127"/>
                  <a:pt x="1077" y="127"/>
                  <a:pt x="1077" y="127"/>
                </a:cubicBezTo>
                <a:cubicBezTo>
                  <a:pt x="1074" y="129"/>
                  <a:pt x="1074" y="129"/>
                  <a:pt x="1074" y="129"/>
                </a:cubicBezTo>
                <a:cubicBezTo>
                  <a:pt x="1074" y="132"/>
                  <a:pt x="1074" y="132"/>
                  <a:pt x="1074" y="132"/>
                </a:cubicBezTo>
                <a:cubicBezTo>
                  <a:pt x="1076" y="133"/>
                  <a:pt x="1076" y="133"/>
                  <a:pt x="1076" y="133"/>
                </a:cubicBezTo>
                <a:cubicBezTo>
                  <a:pt x="1077" y="135"/>
                  <a:pt x="1077" y="135"/>
                  <a:pt x="1077" y="135"/>
                </a:cubicBezTo>
                <a:cubicBezTo>
                  <a:pt x="1075" y="134"/>
                  <a:pt x="1075" y="134"/>
                  <a:pt x="1075" y="134"/>
                </a:cubicBezTo>
                <a:cubicBezTo>
                  <a:pt x="1074" y="134"/>
                  <a:pt x="1074" y="134"/>
                  <a:pt x="1074" y="134"/>
                </a:cubicBezTo>
                <a:cubicBezTo>
                  <a:pt x="1074" y="136"/>
                  <a:pt x="1074" y="136"/>
                  <a:pt x="1074" y="136"/>
                </a:cubicBezTo>
                <a:cubicBezTo>
                  <a:pt x="1073" y="138"/>
                  <a:pt x="1073" y="138"/>
                  <a:pt x="1073" y="138"/>
                </a:cubicBezTo>
                <a:cubicBezTo>
                  <a:pt x="1076" y="139"/>
                  <a:pt x="1076" y="139"/>
                  <a:pt x="1076" y="139"/>
                </a:cubicBezTo>
                <a:lnTo>
                  <a:pt x="1074" y="140"/>
                </a:lnTo>
                <a:close/>
                <a:moveTo>
                  <a:pt x="1071" y="198"/>
                </a:moveTo>
                <a:cubicBezTo>
                  <a:pt x="1072" y="197"/>
                  <a:pt x="1072" y="197"/>
                  <a:pt x="1072" y="197"/>
                </a:cubicBezTo>
                <a:cubicBezTo>
                  <a:pt x="1071" y="196"/>
                  <a:pt x="1071" y="196"/>
                  <a:pt x="1071" y="196"/>
                </a:cubicBezTo>
                <a:cubicBezTo>
                  <a:pt x="1069" y="197"/>
                  <a:pt x="1069" y="197"/>
                  <a:pt x="1069" y="197"/>
                </a:cubicBezTo>
                <a:cubicBezTo>
                  <a:pt x="1069" y="197"/>
                  <a:pt x="1069" y="197"/>
                  <a:pt x="1069" y="197"/>
                </a:cubicBezTo>
                <a:cubicBezTo>
                  <a:pt x="1070" y="198"/>
                  <a:pt x="1070" y="198"/>
                  <a:pt x="1070" y="198"/>
                </a:cubicBezTo>
                <a:lnTo>
                  <a:pt x="1071" y="198"/>
                </a:lnTo>
                <a:close/>
                <a:moveTo>
                  <a:pt x="1070" y="200"/>
                </a:moveTo>
                <a:cubicBezTo>
                  <a:pt x="1071" y="199"/>
                  <a:pt x="1071" y="199"/>
                  <a:pt x="1071" y="199"/>
                </a:cubicBezTo>
                <a:cubicBezTo>
                  <a:pt x="1070" y="198"/>
                  <a:pt x="1070" y="198"/>
                  <a:pt x="1070" y="198"/>
                </a:cubicBezTo>
                <a:cubicBezTo>
                  <a:pt x="1068" y="199"/>
                  <a:pt x="1068" y="199"/>
                  <a:pt x="1068" y="199"/>
                </a:cubicBezTo>
                <a:lnTo>
                  <a:pt x="1070" y="200"/>
                </a:lnTo>
                <a:close/>
                <a:moveTo>
                  <a:pt x="1071" y="180"/>
                </a:moveTo>
                <a:cubicBezTo>
                  <a:pt x="1073" y="179"/>
                  <a:pt x="1073" y="179"/>
                  <a:pt x="1073" y="179"/>
                </a:cubicBezTo>
                <a:cubicBezTo>
                  <a:pt x="1073" y="178"/>
                  <a:pt x="1073" y="178"/>
                  <a:pt x="1073" y="178"/>
                </a:cubicBezTo>
                <a:cubicBezTo>
                  <a:pt x="1072" y="178"/>
                  <a:pt x="1072" y="178"/>
                  <a:pt x="1072" y="178"/>
                </a:cubicBezTo>
                <a:cubicBezTo>
                  <a:pt x="1071" y="179"/>
                  <a:pt x="1071" y="179"/>
                  <a:pt x="1071" y="179"/>
                </a:cubicBezTo>
                <a:cubicBezTo>
                  <a:pt x="1070" y="179"/>
                  <a:pt x="1070" y="179"/>
                  <a:pt x="1070" y="179"/>
                </a:cubicBezTo>
                <a:cubicBezTo>
                  <a:pt x="1071" y="180"/>
                  <a:pt x="1071" y="180"/>
                  <a:pt x="1071" y="180"/>
                </a:cubicBezTo>
                <a:close/>
                <a:moveTo>
                  <a:pt x="1101" y="144"/>
                </a:moveTo>
                <a:cubicBezTo>
                  <a:pt x="1103" y="143"/>
                  <a:pt x="1103" y="143"/>
                  <a:pt x="1103" y="143"/>
                </a:cubicBezTo>
                <a:cubicBezTo>
                  <a:pt x="1103" y="141"/>
                  <a:pt x="1103" y="141"/>
                  <a:pt x="1103" y="141"/>
                </a:cubicBezTo>
                <a:cubicBezTo>
                  <a:pt x="1105" y="139"/>
                  <a:pt x="1105" y="139"/>
                  <a:pt x="1105" y="139"/>
                </a:cubicBezTo>
                <a:cubicBezTo>
                  <a:pt x="1104" y="138"/>
                  <a:pt x="1104" y="138"/>
                  <a:pt x="1104" y="138"/>
                </a:cubicBezTo>
                <a:cubicBezTo>
                  <a:pt x="1103" y="139"/>
                  <a:pt x="1103" y="139"/>
                  <a:pt x="1103" y="139"/>
                </a:cubicBezTo>
                <a:cubicBezTo>
                  <a:pt x="1102" y="139"/>
                  <a:pt x="1102" y="139"/>
                  <a:pt x="1102" y="139"/>
                </a:cubicBezTo>
                <a:cubicBezTo>
                  <a:pt x="1100" y="140"/>
                  <a:pt x="1100" y="140"/>
                  <a:pt x="1100" y="140"/>
                </a:cubicBezTo>
                <a:cubicBezTo>
                  <a:pt x="1100" y="141"/>
                  <a:pt x="1100" y="141"/>
                  <a:pt x="1100" y="141"/>
                </a:cubicBezTo>
                <a:cubicBezTo>
                  <a:pt x="1101" y="140"/>
                  <a:pt x="1101" y="140"/>
                  <a:pt x="1101" y="140"/>
                </a:cubicBezTo>
                <a:cubicBezTo>
                  <a:pt x="1101" y="142"/>
                  <a:pt x="1101" y="142"/>
                  <a:pt x="1101" y="142"/>
                </a:cubicBezTo>
                <a:cubicBezTo>
                  <a:pt x="1101" y="144"/>
                  <a:pt x="1101" y="144"/>
                  <a:pt x="1101" y="144"/>
                </a:cubicBezTo>
                <a:close/>
                <a:moveTo>
                  <a:pt x="1089" y="108"/>
                </a:moveTo>
                <a:cubicBezTo>
                  <a:pt x="1088" y="109"/>
                  <a:pt x="1088" y="109"/>
                  <a:pt x="1088" y="109"/>
                </a:cubicBezTo>
                <a:cubicBezTo>
                  <a:pt x="1089" y="111"/>
                  <a:pt x="1089" y="111"/>
                  <a:pt x="1089" y="111"/>
                </a:cubicBezTo>
                <a:cubicBezTo>
                  <a:pt x="1090" y="112"/>
                  <a:pt x="1090" y="112"/>
                  <a:pt x="1090" y="112"/>
                </a:cubicBezTo>
                <a:cubicBezTo>
                  <a:pt x="1092" y="110"/>
                  <a:pt x="1092" y="110"/>
                  <a:pt x="1092" y="110"/>
                </a:cubicBezTo>
                <a:cubicBezTo>
                  <a:pt x="1091" y="109"/>
                  <a:pt x="1091" y="109"/>
                  <a:pt x="1091" y="109"/>
                </a:cubicBezTo>
                <a:cubicBezTo>
                  <a:pt x="1092" y="106"/>
                  <a:pt x="1092" y="106"/>
                  <a:pt x="1092" y="106"/>
                </a:cubicBezTo>
                <a:lnTo>
                  <a:pt x="1089" y="108"/>
                </a:lnTo>
                <a:close/>
                <a:moveTo>
                  <a:pt x="1067" y="197"/>
                </a:moveTo>
                <a:cubicBezTo>
                  <a:pt x="1066" y="196"/>
                  <a:pt x="1066" y="196"/>
                  <a:pt x="1066" y="196"/>
                </a:cubicBezTo>
                <a:cubicBezTo>
                  <a:pt x="1066" y="196"/>
                  <a:pt x="1066" y="196"/>
                  <a:pt x="1066" y="196"/>
                </a:cubicBezTo>
                <a:cubicBezTo>
                  <a:pt x="1065" y="196"/>
                  <a:pt x="1065" y="196"/>
                  <a:pt x="1065" y="196"/>
                </a:cubicBezTo>
                <a:cubicBezTo>
                  <a:pt x="1066" y="197"/>
                  <a:pt x="1066" y="197"/>
                  <a:pt x="1066" y="197"/>
                </a:cubicBezTo>
                <a:lnTo>
                  <a:pt x="1067" y="197"/>
                </a:lnTo>
                <a:close/>
                <a:moveTo>
                  <a:pt x="1086" y="159"/>
                </a:moveTo>
                <a:cubicBezTo>
                  <a:pt x="1084" y="160"/>
                  <a:pt x="1084" y="160"/>
                  <a:pt x="1084" y="160"/>
                </a:cubicBezTo>
                <a:cubicBezTo>
                  <a:pt x="1084" y="161"/>
                  <a:pt x="1084" y="161"/>
                  <a:pt x="1084" y="161"/>
                </a:cubicBezTo>
                <a:cubicBezTo>
                  <a:pt x="1086" y="162"/>
                  <a:pt x="1086" y="162"/>
                  <a:pt x="1086" y="162"/>
                </a:cubicBezTo>
                <a:cubicBezTo>
                  <a:pt x="1087" y="162"/>
                  <a:pt x="1087" y="162"/>
                  <a:pt x="1087" y="162"/>
                </a:cubicBezTo>
                <a:cubicBezTo>
                  <a:pt x="1089" y="161"/>
                  <a:pt x="1089" y="161"/>
                  <a:pt x="1089" y="161"/>
                </a:cubicBezTo>
                <a:cubicBezTo>
                  <a:pt x="1088" y="160"/>
                  <a:pt x="1088" y="160"/>
                  <a:pt x="1088" y="160"/>
                </a:cubicBezTo>
                <a:lnTo>
                  <a:pt x="1086" y="159"/>
                </a:lnTo>
                <a:close/>
                <a:moveTo>
                  <a:pt x="1080" y="163"/>
                </a:moveTo>
                <a:cubicBezTo>
                  <a:pt x="1080" y="164"/>
                  <a:pt x="1080" y="164"/>
                  <a:pt x="1080" y="164"/>
                </a:cubicBezTo>
                <a:cubicBezTo>
                  <a:pt x="1081" y="164"/>
                  <a:pt x="1081" y="164"/>
                  <a:pt x="1081" y="164"/>
                </a:cubicBezTo>
                <a:cubicBezTo>
                  <a:pt x="1084" y="164"/>
                  <a:pt x="1084" y="164"/>
                  <a:pt x="1084" y="164"/>
                </a:cubicBezTo>
                <a:cubicBezTo>
                  <a:pt x="1083" y="163"/>
                  <a:pt x="1083" y="163"/>
                  <a:pt x="1083" y="163"/>
                </a:cubicBezTo>
                <a:cubicBezTo>
                  <a:pt x="1082" y="162"/>
                  <a:pt x="1082" y="162"/>
                  <a:pt x="1082" y="162"/>
                </a:cubicBezTo>
                <a:lnTo>
                  <a:pt x="1080" y="163"/>
                </a:lnTo>
                <a:close/>
                <a:moveTo>
                  <a:pt x="1638" y="181"/>
                </a:moveTo>
                <a:cubicBezTo>
                  <a:pt x="1639" y="180"/>
                  <a:pt x="1639" y="180"/>
                  <a:pt x="1639" y="180"/>
                </a:cubicBezTo>
                <a:cubicBezTo>
                  <a:pt x="1638" y="178"/>
                  <a:pt x="1638" y="178"/>
                  <a:pt x="1638" y="178"/>
                </a:cubicBezTo>
                <a:lnTo>
                  <a:pt x="1638" y="181"/>
                </a:lnTo>
                <a:close/>
                <a:moveTo>
                  <a:pt x="1654" y="151"/>
                </a:moveTo>
                <a:cubicBezTo>
                  <a:pt x="1652" y="151"/>
                  <a:pt x="1652" y="151"/>
                  <a:pt x="1652" y="151"/>
                </a:cubicBezTo>
                <a:cubicBezTo>
                  <a:pt x="1653" y="153"/>
                  <a:pt x="1653" y="153"/>
                  <a:pt x="1653" y="153"/>
                </a:cubicBezTo>
                <a:lnTo>
                  <a:pt x="1654" y="151"/>
                </a:lnTo>
                <a:close/>
                <a:moveTo>
                  <a:pt x="1657" y="155"/>
                </a:moveTo>
                <a:cubicBezTo>
                  <a:pt x="1659" y="156"/>
                  <a:pt x="1659" y="156"/>
                  <a:pt x="1659" y="156"/>
                </a:cubicBezTo>
                <a:cubicBezTo>
                  <a:pt x="1660" y="155"/>
                  <a:pt x="1660" y="155"/>
                  <a:pt x="1660" y="155"/>
                </a:cubicBezTo>
                <a:cubicBezTo>
                  <a:pt x="1659" y="154"/>
                  <a:pt x="1659" y="154"/>
                  <a:pt x="1659" y="154"/>
                </a:cubicBezTo>
                <a:cubicBezTo>
                  <a:pt x="1658" y="152"/>
                  <a:pt x="1658" y="152"/>
                  <a:pt x="1658" y="152"/>
                </a:cubicBezTo>
                <a:cubicBezTo>
                  <a:pt x="1657" y="149"/>
                  <a:pt x="1657" y="149"/>
                  <a:pt x="1657" y="149"/>
                </a:cubicBezTo>
                <a:cubicBezTo>
                  <a:pt x="1656" y="150"/>
                  <a:pt x="1656" y="150"/>
                  <a:pt x="1656" y="150"/>
                </a:cubicBezTo>
                <a:cubicBezTo>
                  <a:pt x="1657" y="153"/>
                  <a:pt x="1657" y="153"/>
                  <a:pt x="1657" y="153"/>
                </a:cubicBezTo>
                <a:lnTo>
                  <a:pt x="1657" y="155"/>
                </a:lnTo>
                <a:close/>
                <a:moveTo>
                  <a:pt x="1650" y="158"/>
                </a:moveTo>
                <a:cubicBezTo>
                  <a:pt x="1653" y="161"/>
                  <a:pt x="1653" y="161"/>
                  <a:pt x="1653" y="161"/>
                </a:cubicBezTo>
                <a:cubicBezTo>
                  <a:pt x="1654" y="161"/>
                  <a:pt x="1654" y="161"/>
                  <a:pt x="1654" y="161"/>
                </a:cubicBezTo>
                <a:cubicBezTo>
                  <a:pt x="1655" y="160"/>
                  <a:pt x="1655" y="160"/>
                  <a:pt x="1655" y="160"/>
                </a:cubicBezTo>
                <a:cubicBezTo>
                  <a:pt x="1654" y="158"/>
                  <a:pt x="1654" y="158"/>
                  <a:pt x="1654" y="158"/>
                </a:cubicBezTo>
                <a:cubicBezTo>
                  <a:pt x="1656" y="157"/>
                  <a:pt x="1656" y="157"/>
                  <a:pt x="1656" y="157"/>
                </a:cubicBezTo>
                <a:cubicBezTo>
                  <a:pt x="1656" y="156"/>
                  <a:pt x="1656" y="156"/>
                  <a:pt x="1656" y="156"/>
                </a:cubicBezTo>
                <a:cubicBezTo>
                  <a:pt x="1654" y="157"/>
                  <a:pt x="1654" y="157"/>
                  <a:pt x="1654" y="157"/>
                </a:cubicBezTo>
                <a:cubicBezTo>
                  <a:pt x="1653" y="155"/>
                  <a:pt x="1653" y="155"/>
                  <a:pt x="1653" y="155"/>
                </a:cubicBezTo>
                <a:lnTo>
                  <a:pt x="1650" y="158"/>
                </a:lnTo>
                <a:close/>
                <a:moveTo>
                  <a:pt x="1656" y="160"/>
                </a:moveTo>
                <a:cubicBezTo>
                  <a:pt x="1657" y="160"/>
                  <a:pt x="1657" y="160"/>
                  <a:pt x="1657" y="160"/>
                </a:cubicBezTo>
                <a:cubicBezTo>
                  <a:pt x="1656" y="158"/>
                  <a:pt x="1656" y="158"/>
                  <a:pt x="1656" y="158"/>
                </a:cubicBezTo>
                <a:lnTo>
                  <a:pt x="1656" y="160"/>
                </a:lnTo>
                <a:close/>
                <a:moveTo>
                  <a:pt x="1636" y="175"/>
                </a:moveTo>
                <a:cubicBezTo>
                  <a:pt x="1638" y="175"/>
                  <a:pt x="1638" y="175"/>
                  <a:pt x="1638" y="175"/>
                </a:cubicBezTo>
                <a:cubicBezTo>
                  <a:pt x="1638" y="177"/>
                  <a:pt x="1638" y="177"/>
                  <a:pt x="1638" y="177"/>
                </a:cubicBezTo>
                <a:cubicBezTo>
                  <a:pt x="1639" y="177"/>
                  <a:pt x="1639" y="177"/>
                  <a:pt x="1639" y="177"/>
                </a:cubicBezTo>
                <a:cubicBezTo>
                  <a:pt x="1639" y="174"/>
                  <a:pt x="1639" y="174"/>
                  <a:pt x="1639" y="174"/>
                </a:cubicBezTo>
                <a:cubicBezTo>
                  <a:pt x="1642" y="174"/>
                  <a:pt x="1642" y="174"/>
                  <a:pt x="1642" y="174"/>
                </a:cubicBezTo>
                <a:cubicBezTo>
                  <a:pt x="1642" y="173"/>
                  <a:pt x="1642" y="173"/>
                  <a:pt x="1642" y="173"/>
                </a:cubicBezTo>
                <a:cubicBezTo>
                  <a:pt x="1644" y="173"/>
                  <a:pt x="1644" y="173"/>
                  <a:pt x="1644" y="173"/>
                </a:cubicBezTo>
                <a:cubicBezTo>
                  <a:pt x="1644" y="171"/>
                  <a:pt x="1644" y="171"/>
                  <a:pt x="1644" y="171"/>
                </a:cubicBezTo>
                <a:cubicBezTo>
                  <a:pt x="1644" y="170"/>
                  <a:pt x="1644" y="170"/>
                  <a:pt x="1644" y="170"/>
                </a:cubicBezTo>
                <a:cubicBezTo>
                  <a:pt x="1644" y="168"/>
                  <a:pt x="1644" y="168"/>
                  <a:pt x="1644" y="168"/>
                </a:cubicBezTo>
                <a:cubicBezTo>
                  <a:pt x="1642" y="167"/>
                  <a:pt x="1642" y="167"/>
                  <a:pt x="1642" y="167"/>
                </a:cubicBezTo>
                <a:cubicBezTo>
                  <a:pt x="1642" y="166"/>
                  <a:pt x="1642" y="166"/>
                  <a:pt x="1642" y="166"/>
                </a:cubicBezTo>
                <a:cubicBezTo>
                  <a:pt x="1639" y="165"/>
                  <a:pt x="1639" y="165"/>
                  <a:pt x="1639" y="165"/>
                </a:cubicBezTo>
                <a:cubicBezTo>
                  <a:pt x="1640" y="167"/>
                  <a:pt x="1640" y="167"/>
                  <a:pt x="1640" y="167"/>
                </a:cubicBezTo>
                <a:cubicBezTo>
                  <a:pt x="1638" y="166"/>
                  <a:pt x="1638" y="166"/>
                  <a:pt x="1638" y="166"/>
                </a:cubicBezTo>
                <a:cubicBezTo>
                  <a:pt x="1637" y="168"/>
                  <a:pt x="1637" y="168"/>
                  <a:pt x="1637" y="168"/>
                </a:cubicBezTo>
                <a:cubicBezTo>
                  <a:pt x="1639" y="170"/>
                  <a:pt x="1639" y="170"/>
                  <a:pt x="1639" y="170"/>
                </a:cubicBezTo>
                <a:cubicBezTo>
                  <a:pt x="1637" y="170"/>
                  <a:pt x="1637" y="170"/>
                  <a:pt x="1637" y="170"/>
                </a:cubicBezTo>
                <a:cubicBezTo>
                  <a:pt x="1636" y="172"/>
                  <a:pt x="1636" y="172"/>
                  <a:pt x="1636" y="172"/>
                </a:cubicBezTo>
                <a:cubicBezTo>
                  <a:pt x="1638" y="172"/>
                  <a:pt x="1638" y="172"/>
                  <a:pt x="1638" y="172"/>
                </a:cubicBezTo>
                <a:lnTo>
                  <a:pt x="1636" y="175"/>
                </a:lnTo>
                <a:close/>
                <a:moveTo>
                  <a:pt x="1619" y="214"/>
                </a:moveTo>
                <a:cubicBezTo>
                  <a:pt x="1619" y="212"/>
                  <a:pt x="1619" y="212"/>
                  <a:pt x="1619" y="212"/>
                </a:cubicBezTo>
                <a:cubicBezTo>
                  <a:pt x="1618" y="212"/>
                  <a:pt x="1618" y="212"/>
                  <a:pt x="1618" y="212"/>
                </a:cubicBezTo>
                <a:cubicBezTo>
                  <a:pt x="1618" y="213"/>
                  <a:pt x="1618" y="213"/>
                  <a:pt x="1618" y="213"/>
                </a:cubicBezTo>
                <a:lnTo>
                  <a:pt x="1619" y="214"/>
                </a:lnTo>
                <a:close/>
                <a:moveTo>
                  <a:pt x="1622" y="192"/>
                </a:moveTo>
                <a:cubicBezTo>
                  <a:pt x="1622" y="188"/>
                  <a:pt x="1622" y="188"/>
                  <a:pt x="1622" y="188"/>
                </a:cubicBezTo>
                <a:cubicBezTo>
                  <a:pt x="1618" y="190"/>
                  <a:pt x="1618" y="190"/>
                  <a:pt x="1618" y="190"/>
                </a:cubicBezTo>
                <a:cubicBezTo>
                  <a:pt x="1617" y="192"/>
                  <a:pt x="1617" y="192"/>
                  <a:pt x="1617" y="192"/>
                </a:cubicBezTo>
                <a:cubicBezTo>
                  <a:pt x="1620" y="191"/>
                  <a:pt x="1620" y="191"/>
                  <a:pt x="1620" y="191"/>
                </a:cubicBezTo>
                <a:lnTo>
                  <a:pt x="1622" y="192"/>
                </a:lnTo>
                <a:close/>
                <a:moveTo>
                  <a:pt x="1683" y="149"/>
                </a:moveTo>
                <a:cubicBezTo>
                  <a:pt x="1684" y="147"/>
                  <a:pt x="1684" y="147"/>
                  <a:pt x="1684" y="147"/>
                </a:cubicBezTo>
                <a:cubicBezTo>
                  <a:pt x="1685" y="145"/>
                  <a:pt x="1685" y="145"/>
                  <a:pt x="1685" y="145"/>
                </a:cubicBezTo>
                <a:cubicBezTo>
                  <a:pt x="1685" y="143"/>
                  <a:pt x="1685" y="143"/>
                  <a:pt x="1685" y="143"/>
                </a:cubicBezTo>
                <a:cubicBezTo>
                  <a:pt x="1681" y="146"/>
                  <a:pt x="1681" y="146"/>
                  <a:pt x="1681" y="146"/>
                </a:cubicBezTo>
                <a:lnTo>
                  <a:pt x="1683" y="149"/>
                </a:lnTo>
                <a:close/>
                <a:moveTo>
                  <a:pt x="1664" y="156"/>
                </a:moveTo>
                <a:cubicBezTo>
                  <a:pt x="1666" y="158"/>
                  <a:pt x="1666" y="158"/>
                  <a:pt x="1666" y="158"/>
                </a:cubicBezTo>
                <a:cubicBezTo>
                  <a:pt x="1666" y="156"/>
                  <a:pt x="1666" y="156"/>
                  <a:pt x="1666" y="156"/>
                </a:cubicBezTo>
                <a:cubicBezTo>
                  <a:pt x="1665" y="155"/>
                  <a:pt x="1665" y="155"/>
                  <a:pt x="1665" y="155"/>
                </a:cubicBezTo>
                <a:cubicBezTo>
                  <a:pt x="1666" y="153"/>
                  <a:pt x="1666" y="153"/>
                  <a:pt x="1666" y="153"/>
                </a:cubicBezTo>
                <a:cubicBezTo>
                  <a:pt x="1664" y="151"/>
                  <a:pt x="1664" y="151"/>
                  <a:pt x="1664" y="151"/>
                </a:cubicBezTo>
                <a:cubicBezTo>
                  <a:pt x="1663" y="152"/>
                  <a:pt x="1663" y="152"/>
                  <a:pt x="1663" y="152"/>
                </a:cubicBezTo>
                <a:cubicBezTo>
                  <a:pt x="1663" y="156"/>
                  <a:pt x="1663" y="156"/>
                  <a:pt x="1663" y="156"/>
                </a:cubicBezTo>
                <a:lnTo>
                  <a:pt x="1664" y="156"/>
                </a:lnTo>
                <a:close/>
                <a:moveTo>
                  <a:pt x="1648" y="166"/>
                </a:moveTo>
                <a:cubicBezTo>
                  <a:pt x="1651" y="166"/>
                  <a:pt x="1651" y="166"/>
                  <a:pt x="1651" y="166"/>
                </a:cubicBezTo>
                <a:cubicBezTo>
                  <a:pt x="1651" y="164"/>
                  <a:pt x="1651" y="164"/>
                  <a:pt x="1651" y="164"/>
                </a:cubicBezTo>
                <a:cubicBezTo>
                  <a:pt x="1652" y="163"/>
                  <a:pt x="1652" y="163"/>
                  <a:pt x="1652" y="163"/>
                </a:cubicBezTo>
                <a:cubicBezTo>
                  <a:pt x="1651" y="161"/>
                  <a:pt x="1651" y="161"/>
                  <a:pt x="1651" y="161"/>
                </a:cubicBezTo>
                <a:cubicBezTo>
                  <a:pt x="1650" y="162"/>
                  <a:pt x="1650" y="162"/>
                  <a:pt x="1650" y="162"/>
                </a:cubicBezTo>
                <a:cubicBezTo>
                  <a:pt x="1647" y="162"/>
                  <a:pt x="1647" y="162"/>
                  <a:pt x="1647" y="162"/>
                </a:cubicBezTo>
                <a:cubicBezTo>
                  <a:pt x="1647" y="164"/>
                  <a:pt x="1647" y="164"/>
                  <a:pt x="1647" y="164"/>
                </a:cubicBezTo>
                <a:cubicBezTo>
                  <a:pt x="1644" y="164"/>
                  <a:pt x="1644" y="164"/>
                  <a:pt x="1644" y="164"/>
                </a:cubicBezTo>
                <a:cubicBezTo>
                  <a:pt x="1646" y="167"/>
                  <a:pt x="1646" y="167"/>
                  <a:pt x="1646" y="167"/>
                </a:cubicBezTo>
                <a:lnTo>
                  <a:pt x="1648" y="166"/>
                </a:lnTo>
                <a:close/>
                <a:moveTo>
                  <a:pt x="1652" y="154"/>
                </a:moveTo>
                <a:cubicBezTo>
                  <a:pt x="1649" y="154"/>
                  <a:pt x="1649" y="154"/>
                  <a:pt x="1649" y="154"/>
                </a:cubicBezTo>
                <a:cubicBezTo>
                  <a:pt x="1649" y="157"/>
                  <a:pt x="1649" y="157"/>
                  <a:pt x="1649" y="157"/>
                </a:cubicBezTo>
                <a:cubicBezTo>
                  <a:pt x="1649" y="157"/>
                  <a:pt x="1652" y="155"/>
                  <a:pt x="1652" y="155"/>
                </a:cubicBezTo>
                <a:lnTo>
                  <a:pt x="1652" y="154"/>
                </a:lnTo>
                <a:close/>
                <a:moveTo>
                  <a:pt x="1604" y="240"/>
                </a:moveTo>
                <a:cubicBezTo>
                  <a:pt x="1603" y="239"/>
                  <a:pt x="1603" y="239"/>
                  <a:pt x="1603" y="239"/>
                </a:cubicBezTo>
                <a:cubicBezTo>
                  <a:pt x="1603" y="238"/>
                  <a:pt x="1603" y="238"/>
                  <a:pt x="1603" y="238"/>
                </a:cubicBezTo>
                <a:cubicBezTo>
                  <a:pt x="1602" y="240"/>
                  <a:pt x="1602" y="240"/>
                  <a:pt x="1602" y="240"/>
                </a:cubicBezTo>
                <a:cubicBezTo>
                  <a:pt x="1603" y="241"/>
                  <a:pt x="1603" y="241"/>
                  <a:pt x="1603" y="241"/>
                </a:cubicBezTo>
                <a:lnTo>
                  <a:pt x="1604" y="240"/>
                </a:lnTo>
                <a:close/>
                <a:moveTo>
                  <a:pt x="1628" y="176"/>
                </a:moveTo>
                <a:cubicBezTo>
                  <a:pt x="1629" y="174"/>
                  <a:pt x="1629" y="174"/>
                  <a:pt x="1629" y="174"/>
                </a:cubicBezTo>
                <a:cubicBezTo>
                  <a:pt x="1631" y="172"/>
                  <a:pt x="1631" y="172"/>
                  <a:pt x="1631" y="172"/>
                </a:cubicBezTo>
                <a:cubicBezTo>
                  <a:pt x="1630" y="170"/>
                  <a:pt x="1630" y="170"/>
                  <a:pt x="1630" y="170"/>
                </a:cubicBezTo>
                <a:cubicBezTo>
                  <a:pt x="1628" y="171"/>
                  <a:pt x="1628" y="171"/>
                  <a:pt x="1628" y="171"/>
                </a:cubicBezTo>
                <a:cubicBezTo>
                  <a:pt x="1627" y="173"/>
                  <a:pt x="1627" y="173"/>
                  <a:pt x="1627" y="173"/>
                </a:cubicBezTo>
                <a:cubicBezTo>
                  <a:pt x="1625" y="175"/>
                  <a:pt x="1625" y="175"/>
                  <a:pt x="1625" y="175"/>
                </a:cubicBezTo>
                <a:cubicBezTo>
                  <a:pt x="1625" y="178"/>
                  <a:pt x="1625" y="178"/>
                  <a:pt x="1625" y="178"/>
                </a:cubicBezTo>
                <a:cubicBezTo>
                  <a:pt x="1626" y="179"/>
                  <a:pt x="1626" y="179"/>
                  <a:pt x="1626" y="179"/>
                </a:cubicBezTo>
                <a:lnTo>
                  <a:pt x="1628" y="176"/>
                </a:lnTo>
                <a:close/>
                <a:moveTo>
                  <a:pt x="1610" y="195"/>
                </a:moveTo>
                <a:cubicBezTo>
                  <a:pt x="1610" y="196"/>
                  <a:pt x="1610" y="196"/>
                  <a:pt x="1610" y="196"/>
                </a:cubicBezTo>
                <a:cubicBezTo>
                  <a:pt x="1611" y="194"/>
                  <a:pt x="1611" y="194"/>
                  <a:pt x="1611" y="194"/>
                </a:cubicBezTo>
                <a:cubicBezTo>
                  <a:pt x="1610" y="194"/>
                  <a:pt x="1610" y="194"/>
                  <a:pt x="1610" y="194"/>
                </a:cubicBezTo>
                <a:lnTo>
                  <a:pt x="1610" y="195"/>
                </a:lnTo>
                <a:close/>
                <a:moveTo>
                  <a:pt x="1621" y="185"/>
                </a:moveTo>
                <a:cubicBezTo>
                  <a:pt x="1620" y="187"/>
                  <a:pt x="1620" y="187"/>
                  <a:pt x="1620" y="187"/>
                </a:cubicBezTo>
                <a:cubicBezTo>
                  <a:pt x="1622" y="186"/>
                  <a:pt x="1622" y="186"/>
                  <a:pt x="1622" y="186"/>
                </a:cubicBezTo>
                <a:lnTo>
                  <a:pt x="1621" y="185"/>
                </a:lnTo>
                <a:close/>
                <a:moveTo>
                  <a:pt x="1608" y="194"/>
                </a:moveTo>
                <a:cubicBezTo>
                  <a:pt x="1607" y="198"/>
                  <a:pt x="1607" y="198"/>
                  <a:pt x="1607" y="198"/>
                </a:cubicBezTo>
                <a:cubicBezTo>
                  <a:pt x="1607" y="200"/>
                  <a:pt x="1607" y="200"/>
                  <a:pt x="1607" y="200"/>
                </a:cubicBezTo>
                <a:cubicBezTo>
                  <a:pt x="1609" y="197"/>
                  <a:pt x="1609" y="197"/>
                  <a:pt x="1609" y="197"/>
                </a:cubicBezTo>
                <a:lnTo>
                  <a:pt x="1608" y="194"/>
                </a:lnTo>
                <a:close/>
                <a:moveTo>
                  <a:pt x="1607" y="236"/>
                </a:moveTo>
                <a:cubicBezTo>
                  <a:pt x="1609" y="234"/>
                  <a:pt x="1609" y="234"/>
                  <a:pt x="1609" y="234"/>
                </a:cubicBezTo>
                <a:cubicBezTo>
                  <a:pt x="1607" y="234"/>
                  <a:pt x="1607" y="234"/>
                  <a:pt x="1607" y="234"/>
                </a:cubicBezTo>
                <a:cubicBezTo>
                  <a:pt x="1606" y="235"/>
                  <a:pt x="1606" y="235"/>
                  <a:pt x="1606" y="235"/>
                </a:cubicBezTo>
                <a:lnTo>
                  <a:pt x="1607" y="236"/>
                </a:lnTo>
                <a:close/>
                <a:moveTo>
                  <a:pt x="1598" y="255"/>
                </a:moveTo>
                <a:cubicBezTo>
                  <a:pt x="1599" y="255"/>
                  <a:pt x="1599" y="255"/>
                  <a:pt x="1599" y="255"/>
                </a:cubicBezTo>
                <a:cubicBezTo>
                  <a:pt x="1601" y="252"/>
                  <a:pt x="1601" y="252"/>
                  <a:pt x="1601" y="252"/>
                </a:cubicBezTo>
                <a:cubicBezTo>
                  <a:pt x="1600" y="252"/>
                  <a:pt x="1600" y="252"/>
                  <a:pt x="1600" y="252"/>
                </a:cubicBezTo>
                <a:cubicBezTo>
                  <a:pt x="1597" y="253"/>
                  <a:pt x="1597" y="253"/>
                  <a:pt x="1597" y="253"/>
                </a:cubicBezTo>
                <a:cubicBezTo>
                  <a:pt x="1595" y="254"/>
                  <a:pt x="1595" y="254"/>
                  <a:pt x="1595" y="254"/>
                </a:cubicBezTo>
                <a:cubicBezTo>
                  <a:pt x="1597" y="254"/>
                  <a:pt x="1597" y="254"/>
                  <a:pt x="1597" y="254"/>
                </a:cubicBezTo>
                <a:lnTo>
                  <a:pt x="1598" y="255"/>
                </a:lnTo>
                <a:close/>
                <a:moveTo>
                  <a:pt x="1605" y="231"/>
                </a:moveTo>
                <a:cubicBezTo>
                  <a:pt x="1606" y="233"/>
                  <a:pt x="1606" y="233"/>
                  <a:pt x="1606" y="233"/>
                </a:cubicBezTo>
                <a:cubicBezTo>
                  <a:pt x="1607" y="231"/>
                  <a:pt x="1607" y="231"/>
                  <a:pt x="1607" y="231"/>
                </a:cubicBezTo>
                <a:cubicBezTo>
                  <a:pt x="1607" y="229"/>
                  <a:pt x="1607" y="229"/>
                  <a:pt x="1607" y="229"/>
                </a:cubicBezTo>
                <a:lnTo>
                  <a:pt x="1605" y="231"/>
                </a:lnTo>
                <a:close/>
                <a:moveTo>
                  <a:pt x="1606" y="203"/>
                </a:moveTo>
                <a:cubicBezTo>
                  <a:pt x="1606" y="202"/>
                  <a:pt x="1606" y="202"/>
                  <a:pt x="1606" y="202"/>
                </a:cubicBezTo>
                <a:cubicBezTo>
                  <a:pt x="1605" y="204"/>
                  <a:pt x="1605" y="204"/>
                  <a:pt x="1605" y="204"/>
                </a:cubicBezTo>
                <a:cubicBezTo>
                  <a:pt x="1606" y="204"/>
                  <a:pt x="1606" y="204"/>
                  <a:pt x="1606" y="204"/>
                </a:cubicBezTo>
                <a:lnTo>
                  <a:pt x="1606" y="203"/>
                </a:lnTo>
                <a:close/>
                <a:moveTo>
                  <a:pt x="1635" y="179"/>
                </a:moveTo>
                <a:cubicBezTo>
                  <a:pt x="1635" y="178"/>
                  <a:pt x="1635" y="178"/>
                  <a:pt x="1635" y="178"/>
                </a:cubicBezTo>
                <a:cubicBezTo>
                  <a:pt x="1633" y="177"/>
                  <a:pt x="1633" y="177"/>
                  <a:pt x="1633" y="177"/>
                </a:cubicBezTo>
                <a:cubicBezTo>
                  <a:pt x="1631" y="177"/>
                  <a:pt x="1631" y="177"/>
                  <a:pt x="1631" y="177"/>
                </a:cubicBezTo>
                <a:cubicBezTo>
                  <a:pt x="1632" y="178"/>
                  <a:pt x="1632" y="178"/>
                  <a:pt x="1632" y="178"/>
                </a:cubicBezTo>
                <a:lnTo>
                  <a:pt x="1635" y="179"/>
                </a:lnTo>
                <a:close/>
                <a:moveTo>
                  <a:pt x="1678" y="147"/>
                </a:moveTo>
                <a:cubicBezTo>
                  <a:pt x="1677" y="148"/>
                  <a:pt x="1677" y="148"/>
                  <a:pt x="1677" y="148"/>
                </a:cubicBezTo>
                <a:cubicBezTo>
                  <a:pt x="1679" y="149"/>
                  <a:pt x="1679" y="149"/>
                  <a:pt x="1679" y="149"/>
                </a:cubicBezTo>
                <a:cubicBezTo>
                  <a:pt x="1681" y="150"/>
                  <a:pt x="1681" y="150"/>
                  <a:pt x="1681" y="150"/>
                </a:cubicBezTo>
                <a:cubicBezTo>
                  <a:pt x="1681" y="148"/>
                  <a:pt x="1681" y="148"/>
                  <a:pt x="1681" y="148"/>
                </a:cubicBezTo>
                <a:cubicBezTo>
                  <a:pt x="1680" y="147"/>
                  <a:pt x="1680" y="147"/>
                  <a:pt x="1680" y="147"/>
                </a:cubicBezTo>
                <a:lnTo>
                  <a:pt x="1678" y="147"/>
                </a:lnTo>
                <a:close/>
                <a:moveTo>
                  <a:pt x="1624" y="187"/>
                </a:moveTo>
                <a:cubicBezTo>
                  <a:pt x="1624" y="190"/>
                  <a:pt x="1624" y="190"/>
                  <a:pt x="1624" y="190"/>
                </a:cubicBezTo>
                <a:cubicBezTo>
                  <a:pt x="1625" y="190"/>
                  <a:pt x="1625" y="190"/>
                  <a:pt x="1625" y="190"/>
                </a:cubicBezTo>
                <a:cubicBezTo>
                  <a:pt x="1627" y="187"/>
                  <a:pt x="1627" y="187"/>
                  <a:pt x="1627" y="187"/>
                </a:cubicBezTo>
                <a:cubicBezTo>
                  <a:pt x="1627" y="189"/>
                  <a:pt x="1627" y="189"/>
                  <a:pt x="1627" y="189"/>
                </a:cubicBezTo>
                <a:cubicBezTo>
                  <a:pt x="1628" y="189"/>
                  <a:pt x="1628" y="189"/>
                  <a:pt x="1628" y="189"/>
                </a:cubicBezTo>
                <a:cubicBezTo>
                  <a:pt x="1629" y="188"/>
                  <a:pt x="1629" y="188"/>
                  <a:pt x="1629" y="188"/>
                </a:cubicBezTo>
                <a:cubicBezTo>
                  <a:pt x="1631" y="186"/>
                  <a:pt x="1631" y="186"/>
                  <a:pt x="1631" y="186"/>
                </a:cubicBezTo>
                <a:cubicBezTo>
                  <a:pt x="1635" y="183"/>
                  <a:pt x="1635" y="183"/>
                  <a:pt x="1635" y="183"/>
                </a:cubicBezTo>
                <a:cubicBezTo>
                  <a:pt x="1632" y="180"/>
                  <a:pt x="1632" y="180"/>
                  <a:pt x="1632" y="180"/>
                </a:cubicBezTo>
                <a:cubicBezTo>
                  <a:pt x="1631" y="179"/>
                  <a:pt x="1631" y="179"/>
                  <a:pt x="1631" y="179"/>
                </a:cubicBezTo>
                <a:cubicBezTo>
                  <a:pt x="1631" y="180"/>
                  <a:pt x="1631" y="180"/>
                  <a:pt x="1631" y="180"/>
                </a:cubicBezTo>
                <a:cubicBezTo>
                  <a:pt x="1632" y="182"/>
                  <a:pt x="1632" y="182"/>
                  <a:pt x="1632" y="182"/>
                </a:cubicBezTo>
                <a:cubicBezTo>
                  <a:pt x="1629" y="182"/>
                  <a:pt x="1629" y="182"/>
                  <a:pt x="1629" y="182"/>
                </a:cubicBezTo>
                <a:cubicBezTo>
                  <a:pt x="1628" y="185"/>
                  <a:pt x="1628" y="185"/>
                  <a:pt x="1628" y="185"/>
                </a:cubicBezTo>
                <a:cubicBezTo>
                  <a:pt x="1627" y="183"/>
                  <a:pt x="1627" y="183"/>
                  <a:pt x="1627" y="183"/>
                </a:cubicBezTo>
                <a:cubicBezTo>
                  <a:pt x="1628" y="178"/>
                  <a:pt x="1628" y="178"/>
                  <a:pt x="1628" y="178"/>
                </a:cubicBezTo>
                <a:cubicBezTo>
                  <a:pt x="1626" y="181"/>
                  <a:pt x="1626" y="181"/>
                  <a:pt x="1626" y="181"/>
                </a:cubicBezTo>
                <a:cubicBezTo>
                  <a:pt x="1626" y="183"/>
                  <a:pt x="1626" y="183"/>
                  <a:pt x="1626" y="183"/>
                </a:cubicBezTo>
                <a:cubicBezTo>
                  <a:pt x="1625" y="185"/>
                  <a:pt x="1625" y="185"/>
                  <a:pt x="1625" y="185"/>
                </a:cubicBezTo>
                <a:cubicBezTo>
                  <a:pt x="1625" y="187"/>
                  <a:pt x="1625" y="187"/>
                  <a:pt x="1625" y="187"/>
                </a:cubicBezTo>
                <a:lnTo>
                  <a:pt x="1624" y="187"/>
                </a:lnTo>
                <a:close/>
                <a:moveTo>
                  <a:pt x="1622" y="178"/>
                </a:moveTo>
                <a:cubicBezTo>
                  <a:pt x="1622" y="179"/>
                  <a:pt x="1622" y="179"/>
                  <a:pt x="1622" y="179"/>
                </a:cubicBezTo>
                <a:cubicBezTo>
                  <a:pt x="1621" y="181"/>
                  <a:pt x="1621" y="181"/>
                  <a:pt x="1621" y="181"/>
                </a:cubicBezTo>
                <a:cubicBezTo>
                  <a:pt x="1619" y="180"/>
                  <a:pt x="1619" y="180"/>
                  <a:pt x="1619" y="180"/>
                </a:cubicBezTo>
                <a:cubicBezTo>
                  <a:pt x="1618" y="183"/>
                  <a:pt x="1618" y="183"/>
                  <a:pt x="1618" y="183"/>
                </a:cubicBezTo>
                <a:cubicBezTo>
                  <a:pt x="1619" y="184"/>
                  <a:pt x="1619" y="184"/>
                  <a:pt x="1619" y="184"/>
                </a:cubicBezTo>
                <a:cubicBezTo>
                  <a:pt x="1621" y="182"/>
                  <a:pt x="1621" y="182"/>
                  <a:pt x="1621" y="182"/>
                </a:cubicBezTo>
                <a:cubicBezTo>
                  <a:pt x="1623" y="182"/>
                  <a:pt x="1623" y="182"/>
                  <a:pt x="1623" y="182"/>
                </a:cubicBezTo>
                <a:cubicBezTo>
                  <a:pt x="1620" y="184"/>
                  <a:pt x="1620" y="184"/>
                  <a:pt x="1620" y="184"/>
                </a:cubicBezTo>
                <a:cubicBezTo>
                  <a:pt x="1621" y="185"/>
                  <a:pt x="1621" y="185"/>
                  <a:pt x="1621" y="185"/>
                </a:cubicBezTo>
                <a:cubicBezTo>
                  <a:pt x="1624" y="184"/>
                  <a:pt x="1624" y="184"/>
                  <a:pt x="1624" y="184"/>
                </a:cubicBezTo>
                <a:cubicBezTo>
                  <a:pt x="1624" y="180"/>
                  <a:pt x="1624" y="180"/>
                  <a:pt x="1624" y="180"/>
                </a:cubicBezTo>
                <a:cubicBezTo>
                  <a:pt x="1623" y="178"/>
                  <a:pt x="1623" y="178"/>
                  <a:pt x="1623" y="178"/>
                </a:cubicBezTo>
                <a:lnTo>
                  <a:pt x="1622" y="178"/>
                </a:lnTo>
                <a:close/>
                <a:moveTo>
                  <a:pt x="1612" y="196"/>
                </a:moveTo>
                <a:cubicBezTo>
                  <a:pt x="1616" y="193"/>
                  <a:pt x="1616" y="193"/>
                  <a:pt x="1616" y="193"/>
                </a:cubicBezTo>
                <a:cubicBezTo>
                  <a:pt x="1616" y="191"/>
                  <a:pt x="1616" y="191"/>
                  <a:pt x="1616" y="191"/>
                </a:cubicBezTo>
                <a:cubicBezTo>
                  <a:pt x="1613" y="192"/>
                  <a:pt x="1613" y="192"/>
                  <a:pt x="1613" y="192"/>
                </a:cubicBezTo>
                <a:lnTo>
                  <a:pt x="1612" y="196"/>
                </a:lnTo>
                <a:close/>
                <a:moveTo>
                  <a:pt x="2039" y="137"/>
                </a:moveTo>
                <a:cubicBezTo>
                  <a:pt x="2039" y="135"/>
                  <a:pt x="2039" y="135"/>
                  <a:pt x="2039" y="135"/>
                </a:cubicBezTo>
                <a:cubicBezTo>
                  <a:pt x="2038" y="134"/>
                  <a:pt x="2038" y="134"/>
                  <a:pt x="2038" y="134"/>
                </a:cubicBezTo>
                <a:cubicBezTo>
                  <a:pt x="2036" y="135"/>
                  <a:pt x="2036" y="135"/>
                  <a:pt x="2036" y="135"/>
                </a:cubicBezTo>
                <a:cubicBezTo>
                  <a:pt x="2036" y="136"/>
                  <a:pt x="2036" y="136"/>
                  <a:pt x="2036" y="136"/>
                </a:cubicBezTo>
                <a:cubicBezTo>
                  <a:pt x="2036" y="137"/>
                  <a:pt x="2036" y="137"/>
                  <a:pt x="2036" y="137"/>
                </a:cubicBezTo>
                <a:cubicBezTo>
                  <a:pt x="2036" y="137"/>
                  <a:pt x="2036" y="138"/>
                  <a:pt x="2036" y="138"/>
                </a:cubicBezTo>
                <a:cubicBezTo>
                  <a:pt x="2038" y="138"/>
                  <a:pt x="2038" y="138"/>
                  <a:pt x="2038" y="138"/>
                </a:cubicBezTo>
                <a:lnTo>
                  <a:pt x="2039" y="137"/>
                </a:lnTo>
                <a:close/>
                <a:moveTo>
                  <a:pt x="1978" y="150"/>
                </a:moveTo>
                <a:cubicBezTo>
                  <a:pt x="1978" y="150"/>
                  <a:pt x="1979" y="149"/>
                  <a:pt x="1979" y="149"/>
                </a:cubicBezTo>
                <a:cubicBezTo>
                  <a:pt x="1978" y="149"/>
                  <a:pt x="1978" y="149"/>
                  <a:pt x="1978" y="149"/>
                </a:cubicBezTo>
                <a:lnTo>
                  <a:pt x="1978" y="150"/>
                </a:lnTo>
                <a:close/>
                <a:moveTo>
                  <a:pt x="1966" y="131"/>
                </a:moveTo>
                <a:cubicBezTo>
                  <a:pt x="1968" y="133"/>
                  <a:pt x="1968" y="133"/>
                  <a:pt x="1968" y="133"/>
                </a:cubicBezTo>
                <a:cubicBezTo>
                  <a:pt x="1970" y="134"/>
                  <a:pt x="1970" y="134"/>
                  <a:pt x="1970" y="134"/>
                </a:cubicBezTo>
                <a:cubicBezTo>
                  <a:pt x="1970" y="135"/>
                  <a:pt x="1970" y="135"/>
                  <a:pt x="1970" y="135"/>
                </a:cubicBezTo>
                <a:cubicBezTo>
                  <a:pt x="1971" y="132"/>
                  <a:pt x="1971" y="132"/>
                  <a:pt x="1971" y="132"/>
                </a:cubicBezTo>
                <a:cubicBezTo>
                  <a:pt x="1972" y="133"/>
                  <a:pt x="1972" y="133"/>
                  <a:pt x="1972" y="133"/>
                </a:cubicBezTo>
                <a:cubicBezTo>
                  <a:pt x="1974" y="133"/>
                  <a:pt x="1974" y="133"/>
                  <a:pt x="1974" y="133"/>
                </a:cubicBezTo>
                <a:cubicBezTo>
                  <a:pt x="1974" y="133"/>
                  <a:pt x="1974" y="133"/>
                  <a:pt x="1974" y="133"/>
                </a:cubicBezTo>
                <a:cubicBezTo>
                  <a:pt x="1975" y="136"/>
                  <a:pt x="1975" y="136"/>
                  <a:pt x="1975" y="136"/>
                </a:cubicBezTo>
                <a:cubicBezTo>
                  <a:pt x="1975" y="137"/>
                  <a:pt x="1975" y="137"/>
                  <a:pt x="1975" y="137"/>
                </a:cubicBezTo>
                <a:cubicBezTo>
                  <a:pt x="1976" y="138"/>
                  <a:pt x="1976" y="138"/>
                  <a:pt x="1976" y="138"/>
                </a:cubicBezTo>
                <a:cubicBezTo>
                  <a:pt x="1978" y="138"/>
                  <a:pt x="1978" y="138"/>
                  <a:pt x="1978" y="138"/>
                </a:cubicBezTo>
                <a:cubicBezTo>
                  <a:pt x="1979" y="137"/>
                  <a:pt x="1979" y="137"/>
                  <a:pt x="1979" y="137"/>
                </a:cubicBezTo>
                <a:cubicBezTo>
                  <a:pt x="1982" y="138"/>
                  <a:pt x="1982" y="138"/>
                  <a:pt x="1982" y="138"/>
                </a:cubicBezTo>
                <a:cubicBezTo>
                  <a:pt x="1983" y="136"/>
                  <a:pt x="1983" y="136"/>
                  <a:pt x="1983" y="136"/>
                </a:cubicBezTo>
                <a:cubicBezTo>
                  <a:pt x="1982" y="132"/>
                  <a:pt x="1982" y="132"/>
                  <a:pt x="1982" y="132"/>
                </a:cubicBezTo>
                <a:cubicBezTo>
                  <a:pt x="1978" y="130"/>
                  <a:pt x="1978" y="130"/>
                  <a:pt x="1978" y="130"/>
                </a:cubicBezTo>
                <a:cubicBezTo>
                  <a:pt x="1976" y="128"/>
                  <a:pt x="1976" y="128"/>
                  <a:pt x="1976" y="128"/>
                </a:cubicBezTo>
                <a:cubicBezTo>
                  <a:pt x="1974" y="127"/>
                  <a:pt x="1974" y="127"/>
                  <a:pt x="1974" y="127"/>
                </a:cubicBezTo>
                <a:cubicBezTo>
                  <a:pt x="1972" y="125"/>
                  <a:pt x="1972" y="125"/>
                  <a:pt x="1972" y="125"/>
                </a:cubicBezTo>
                <a:cubicBezTo>
                  <a:pt x="1970" y="124"/>
                  <a:pt x="1970" y="124"/>
                  <a:pt x="1970" y="124"/>
                </a:cubicBezTo>
                <a:cubicBezTo>
                  <a:pt x="1969" y="122"/>
                  <a:pt x="1969" y="122"/>
                  <a:pt x="1969" y="122"/>
                </a:cubicBezTo>
                <a:cubicBezTo>
                  <a:pt x="1967" y="121"/>
                  <a:pt x="1967" y="121"/>
                  <a:pt x="1967" y="121"/>
                </a:cubicBezTo>
                <a:cubicBezTo>
                  <a:pt x="1965" y="120"/>
                  <a:pt x="1965" y="120"/>
                  <a:pt x="1965" y="120"/>
                </a:cubicBezTo>
                <a:cubicBezTo>
                  <a:pt x="1964" y="121"/>
                  <a:pt x="1964" y="121"/>
                  <a:pt x="1964" y="121"/>
                </a:cubicBezTo>
                <a:cubicBezTo>
                  <a:pt x="1964" y="122"/>
                  <a:pt x="1964" y="122"/>
                  <a:pt x="1964" y="122"/>
                </a:cubicBezTo>
                <a:cubicBezTo>
                  <a:pt x="1963" y="124"/>
                  <a:pt x="1963" y="124"/>
                  <a:pt x="1963" y="124"/>
                </a:cubicBezTo>
                <a:cubicBezTo>
                  <a:pt x="1964" y="125"/>
                  <a:pt x="1964" y="125"/>
                  <a:pt x="1964" y="125"/>
                </a:cubicBezTo>
                <a:cubicBezTo>
                  <a:pt x="1966" y="126"/>
                  <a:pt x="1966" y="126"/>
                  <a:pt x="1966" y="126"/>
                </a:cubicBezTo>
                <a:cubicBezTo>
                  <a:pt x="1965" y="127"/>
                  <a:pt x="1965" y="127"/>
                  <a:pt x="1965" y="127"/>
                </a:cubicBezTo>
                <a:cubicBezTo>
                  <a:pt x="1964" y="127"/>
                  <a:pt x="1964" y="127"/>
                  <a:pt x="1964" y="127"/>
                </a:cubicBezTo>
                <a:cubicBezTo>
                  <a:pt x="1963" y="126"/>
                  <a:pt x="1963" y="126"/>
                  <a:pt x="1963" y="126"/>
                </a:cubicBezTo>
                <a:cubicBezTo>
                  <a:pt x="1962" y="126"/>
                  <a:pt x="1962" y="126"/>
                  <a:pt x="1962" y="126"/>
                </a:cubicBezTo>
                <a:cubicBezTo>
                  <a:pt x="1963" y="128"/>
                  <a:pt x="1963" y="128"/>
                  <a:pt x="1963" y="128"/>
                </a:cubicBezTo>
                <a:lnTo>
                  <a:pt x="1966" y="131"/>
                </a:lnTo>
                <a:close/>
                <a:moveTo>
                  <a:pt x="1913" y="169"/>
                </a:moveTo>
                <a:cubicBezTo>
                  <a:pt x="1912" y="170"/>
                  <a:pt x="1912" y="170"/>
                  <a:pt x="1912" y="170"/>
                </a:cubicBezTo>
                <a:cubicBezTo>
                  <a:pt x="1913" y="170"/>
                  <a:pt x="1913" y="170"/>
                  <a:pt x="1913" y="170"/>
                </a:cubicBezTo>
                <a:cubicBezTo>
                  <a:pt x="1914" y="169"/>
                  <a:pt x="1914" y="169"/>
                  <a:pt x="1914" y="169"/>
                </a:cubicBezTo>
                <a:cubicBezTo>
                  <a:pt x="1916" y="169"/>
                  <a:pt x="1916" y="169"/>
                  <a:pt x="1916" y="169"/>
                </a:cubicBezTo>
                <a:cubicBezTo>
                  <a:pt x="1917" y="168"/>
                  <a:pt x="1917" y="168"/>
                  <a:pt x="1917" y="168"/>
                </a:cubicBezTo>
                <a:cubicBezTo>
                  <a:pt x="1914" y="168"/>
                  <a:pt x="1914" y="168"/>
                  <a:pt x="1914" y="168"/>
                </a:cubicBezTo>
                <a:lnTo>
                  <a:pt x="1913" y="169"/>
                </a:lnTo>
                <a:close/>
                <a:moveTo>
                  <a:pt x="1972" y="142"/>
                </a:moveTo>
                <a:cubicBezTo>
                  <a:pt x="1971" y="143"/>
                  <a:pt x="1971" y="143"/>
                  <a:pt x="1971" y="143"/>
                </a:cubicBezTo>
                <a:cubicBezTo>
                  <a:pt x="1973" y="145"/>
                  <a:pt x="1973" y="145"/>
                  <a:pt x="1973" y="145"/>
                </a:cubicBezTo>
                <a:cubicBezTo>
                  <a:pt x="1976" y="147"/>
                  <a:pt x="1976" y="147"/>
                  <a:pt x="1976" y="147"/>
                </a:cubicBezTo>
                <a:cubicBezTo>
                  <a:pt x="1976" y="145"/>
                  <a:pt x="1976" y="145"/>
                  <a:pt x="1976" y="145"/>
                </a:cubicBezTo>
                <a:cubicBezTo>
                  <a:pt x="1973" y="143"/>
                  <a:pt x="1973" y="143"/>
                  <a:pt x="1973" y="143"/>
                </a:cubicBezTo>
                <a:lnTo>
                  <a:pt x="1972" y="142"/>
                </a:lnTo>
                <a:close/>
                <a:moveTo>
                  <a:pt x="1890" y="166"/>
                </a:moveTo>
                <a:cubicBezTo>
                  <a:pt x="1890" y="165"/>
                  <a:pt x="1890" y="165"/>
                  <a:pt x="1890" y="165"/>
                </a:cubicBezTo>
                <a:cubicBezTo>
                  <a:pt x="1892" y="166"/>
                  <a:pt x="1892" y="166"/>
                  <a:pt x="1892" y="166"/>
                </a:cubicBezTo>
                <a:cubicBezTo>
                  <a:pt x="1891" y="167"/>
                  <a:pt x="1891" y="167"/>
                  <a:pt x="1891" y="167"/>
                </a:cubicBezTo>
                <a:cubicBezTo>
                  <a:pt x="1893" y="167"/>
                  <a:pt x="1893" y="167"/>
                  <a:pt x="1893" y="167"/>
                </a:cubicBezTo>
                <a:cubicBezTo>
                  <a:pt x="1894" y="166"/>
                  <a:pt x="1894" y="166"/>
                  <a:pt x="1894" y="166"/>
                </a:cubicBezTo>
                <a:cubicBezTo>
                  <a:pt x="1896" y="166"/>
                  <a:pt x="1896" y="166"/>
                  <a:pt x="1896" y="166"/>
                </a:cubicBezTo>
                <a:cubicBezTo>
                  <a:pt x="1899" y="164"/>
                  <a:pt x="1899" y="164"/>
                  <a:pt x="1899" y="164"/>
                </a:cubicBezTo>
                <a:cubicBezTo>
                  <a:pt x="1901" y="161"/>
                  <a:pt x="1901" y="161"/>
                  <a:pt x="1901" y="161"/>
                </a:cubicBezTo>
                <a:cubicBezTo>
                  <a:pt x="1901" y="158"/>
                  <a:pt x="1901" y="158"/>
                  <a:pt x="1901" y="158"/>
                </a:cubicBezTo>
                <a:cubicBezTo>
                  <a:pt x="1902" y="157"/>
                  <a:pt x="1902" y="157"/>
                  <a:pt x="1902" y="157"/>
                </a:cubicBezTo>
                <a:cubicBezTo>
                  <a:pt x="1903" y="158"/>
                  <a:pt x="1903" y="158"/>
                  <a:pt x="1903" y="158"/>
                </a:cubicBezTo>
                <a:cubicBezTo>
                  <a:pt x="1902" y="161"/>
                  <a:pt x="1902" y="161"/>
                  <a:pt x="1902" y="161"/>
                </a:cubicBezTo>
                <a:cubicBezTo>
                  <a:pt x="1904" y="158"/>
                  <a:pt x="1904" y="158"/>
                  <a:pt x="1904" y="158"/>
                </a:cubicBezTo>
                <a:cubicBezTo>
                  <a:pt x="1904" y="156"/>
                  <a:pt x="1904" y="156"/>
                  <a:pt x="1904" y="156"/>
                </a:cubicBezTo>
                <a:cubicBezTo>
                  <a:pt x="1902" y="154"/>
                  <a:pt x="1902" y="154"/>
                  <a:pt x="1902" y="154"/>
                </a:cubicBezTo>
                <a:cubicBezTo>
                  <a:pt x="1895" y="151"/>
                  <a:pt x="1895" y="151"/>
                  <a:pt x="1895" y="151"/>
                </a:cubicBezTo>
                <a:cubicBezTo>
                  <a:pt x="1891" y="150"/>
                  <a:pt x="1891" y="150"/>
                  <a:pt x="1891" y="150"/>
                </a:cubicBezTo>
                <a:cubicBezTo>
                  <a:pt x="1889" y="152"/>
                  <a:pt x="1889" y="152"/>
                  <a:pt x="1889" y="152"/>
                </a:cubicBezTo>
                <a:cubicBezTo>
                  <a:pt x="1888" y="156"/>
                  <a:pt x="1888" y="156"/>
                  <a:pt x="1888" y="156"/>
                </a:cubicBezTo>
                <a:cubicBezTo>
                  <a:pt x="1888" y="161"/>
                  <a:pt x="1888" y="161"/>
                  <a:pt x="1888" y="161"/>
                </a:cubicBezTo>
                <a:cubicBezTo>
                  <a:pt x="1889" y="163"/>
                  <a:pt x="1889" y="163"/>
                  <a:pt x="1889" y="163"/>
                </a:cubicBezTo>
                <a:lnTo>
                  <a:pt x="1890" y="166"/>
                </a:lnTo>
                <a:close/>
                <a:moveTo>
                  <a:pt x="1678" y="145"/>
                </a:moveTo>
                <a:cubicBezTo>
                  <a:pt x="1679" y="145"/>
                  <a:pt x="1679" y="145"/>
                  <a:pt x="1679" y="145"/>
                </a:cubicBezTo>
                <a:cubicBezTo>
                  <a:pt x="1684" y="140"/>
                  <a:pt x="1684" y="140"/>
                  <a:pt x="1684" y="140"/>
                </a:cubicBezTo>
                <a:cubicBezTo>
                  <a:pt x="1684" y="138"/>
                  <a:pt x="1684" y="138"/>
                  <a:pt x="1684" y="138"/>
                </a:cubicBezTo>
                <a:cubicBezTo>
                  <a:pt x="1681" y="141"/>
                  <a:pt x="1681" y="141"/>
                  <a:pt x="1681" y="141"/>
                </a:cubicBezTo>
                <a:cubicBezTo>
                  <a:pt x="1679" y="141"/>
                  <a:pt x="1679" y="141"/>
                  <a:pt x="1679" y="141"/>
                </a:cubicBezTo>
                <a:cubicBezTo>
                  <a:pt x="1678" y="143"/>
                  <a:pt x="1678" y="143"/>
                  <a:pt x="1678" y="143"/>
                </a:cubicBezTo>
                <a:cubicBezTo>
                  <a:pt x="1677" y="141"/>
                  <a:pt x="1677" y="141"/>
                  <a:pt x="1677" y="141"/>
                </a:cubicBezTo>
                <a:cubicBezTo>
                  <a:pt x="1675" y="143"/>
                  <a:pt x="1675" y="143"/>
                  <a:pt x="1675" y="143"/>
                </a:cubicBezTo>
                <a:cubicBezTo>
                  <a:pt x="1674" y="142"/>
                  <a:pt x="1674" y="142"/>
                  <a:pt x="1674" y="142"/>
                </a:cubicBezTo>
                <a:cubicBezTo>
                  <a:pt x="1674" y="144"/>
                  <a:pt x="1674" y="144"/>
                  <a:pt x="1674" y="144"/>
                </a:cubicBezTo>
                <a:lnTo>
                  <a:pt x="1678" y="145"/>
                </a:lnTo>
                <a:close/>
                <a:moveTo>
                  <a:pt x="1969" y="142"/>
                </a:moveTo>
                <a:cubicBezTo>
                  <a:pt x="1969" y="140"/>
                  <a:pt x="1969" y="140"/>
                  <a:pt x="1969" y="140"/>
                </a:cubicBezTo>
                <a:cubicBezTo>
                  <a:pt x="1968" y="140"/>
                  <a:pt x="1968" y="140"/>
                  <a:pt x="1968" y="140"/>
                </a:cubicBezTo>
                <a:cubicBezTo>
                  <a:pt x="1968" y="142"/>
                  <a:pt x="1968" y="142"/>
                  <a:pt x="1968" y="142"/>
                </a:cubicBezTo>
                <a:lnTo>
                  <a:pt x="1969" y="142"/>
                </a:lnTo>
                <a:close/>
                <a:moveTo>
                  <a:pt x="1964" y="159"/>
                </a:moveTo>
                <a:cubicBezTo>
                  <a:pt x="1967" y="158"/>
                  <a:pt x="1967" y="158"/>
                  <a:pt x="1967" y="158"/>
                </a:cubicBezTo>
                <a:cubicBezTo>
                  <a:pt x="1967" y="157"/>
                  <a:pt x="1967" y="157"/>
                  <a:pt x="1967" y="157"/>
                </a:cubicBezTo>
                <a:cubicBezTo>
                  <a:pt x="1966" y="156"/>
                  <a:pt x="1966" y="156"/>
                  <a:pt x="1966" y="156"/>
                </a:cubicBezTo>
                <a:cubicBezTo>
                  <a:pt x="1963" y="158"/>
                  <a:pt x="1963" y="158"/>
                  <a:pt x="1963" y="158"/>
                </a:cubicBezTo>
                <a:cubicBezTo>
                  <a:pt x="1962" y="159"/>
                  <a:pt x="1962" y="159"/>
                  <a:pt x="1962" y="159"/>
                </a:cubicBezTo>
                <a:cubicBezTo>
                  <a:pt x="1963" y="160"/>
                  <a:pt x="1963" y="160"/>
                  <a:pt x="1963" y="160"/>
                </a:cubicBezTo>
                <a:lnTo>
                  <a:pt x="1964" y="159"/>
                </a:lnTo>
                <a:close/>
                <a:moveTo>
                  <a:pt x="2091" y="60"/>
                </a:moveTo>
                <a:cubicBezTo>
                  <a:pt x="2093" y="58"/>
                  <a:pt x="2093" y="58"/>
                  <a:pt x="2093" y="58"/>
                </a:cubicBezTo>
                <a:cubicBezTo>
                  <a:pt x="2095" y="58"/>
                  <a:pt x="2095" y="58"/>
                  <a:pt x="2095" y="58"/>
                </a:cubicBezTo>
                <a:cubicBezTo>
                  <a:pt x="2096" y="56"/>
                  <a:pt x="2096" y="56"/>
                  <a:pt x="2096" y="56"/>
                </a:cubicBezTo>
                <a:cubicBezTo>
                  <a:pt x="2098" y="55"/>
                  <a:pt x="2098" y="55"/>
                  <a:pt x="2098" y="55"/>
                </a:cubicBezTo>
                <a:cubicBezTo>
                  <a:pt x="2099" y="53"/>
                  <a:pt x="2099" y="53"/>
                  <a:pt x="2099" y="53"/>
                </a:cubicBezTo>
                <a:cubicBezTo>
                  <a:pt x="2099" y="51"/>
                  <a:pt x="2099" y="51"/>
                  <a:pt x="2099" y="51"/>
                </a:cubicBezTo>
                <a:cubicBezTo>
                  <a:pt x="2098" y="50"/>
                  <a:pt x="2098" y="50"/>
                  <a:pt x="2098" y="50"/>
                </a:cubicBezTo>
                <a:cubicBezTo>
                  <a:pt x="2096" y="50"/>
                  <a:pt x="2096" y="50"/>
                  <a:pt x="2096" y="50"/>
                </a:cubicBezTo>
                <a:cubicBezTo>
                  <a:pt x="2093" y="51"/>
                  <a:pt x="2093" y="51"/>
                  <a:pt x="2093" y="51"/>
                </a:cubicBezTo>
                <a:cubicBezTo>
                  <a:pt x="2092" y="53"/>
                  <a:pt x="2092" y="53"/>
                  <a:pt x="2092" y="53"/>
                </a:cubicBezTo>
                <a:cubicBezTo>
                  <a:pt x="2092" y="55"/>
                  <a:pt x="2092" y="55"/>
                  <a:pt x="2092" y="55"/>
                </a:cubicBezTo>
                <a:cubicBezTo>
                  <a:pt x="2091" y="56"/>
                  <a:pt x="2091" y="56"/>
                  <a:pt x="2091" y="56"/>
                </a:cubicBezTo>
                <a:cubicBezTo>
                  <a:pt x="2090" y="57"/>
                  <a:pt x="2090" y="57"/>
                  <a:pt x="2090" y="57"/>
                </a:cubicBezTo>
                <a:cubicBezTo>
                  <a:pt x="2089" y="59"/>
                  <a:pt x="2089" y="59"/>
                  <a:pt x="2089" y="59"/>
                </a:cubicBezTo>
                <a:cubicBezTo>
                  <a:pt x="2090" y="60"/>
                  <a:pt x="2090" y="60"/>
                  <a:pt x="2090" y="60"/>
                </a:cubicBezTo>
                <a:lnTo>
                  <a:pt x="2091" y="60"/>
                </a:lnTo>
                <a:close/>
                <a:moveTo>
                  <a:pt x="2077" y="185"/>
                </a:moveTo>
                <a:cubicBezTo>
                  <a:pt x="2075" y="185"/>
                  <a:pt x="2075" y="185"/>
                  <a:pt x="2075" y="185"/>
                </a:cubicBezTo>
                <a:cubicBezTo>
                  <a:pt x="2074" y="185"/>
                  <a:pt x="2074" y="185"/>
                  <a:pt x="2074" y="185"/>
                </a:cubicBezTo>
                <a:cubicBezTo>
                  <a:pt x="2074" y="186"/>
                  <a:pt x="2074" y="186"/>
                  <a:pt x="2074" y="186"/>
                </a:cubicBezTo>
                <a:cubicBezTo>
                  <a:pt x="2075" y="186"/>
                  <a:pt x="2075" y="186"/>
                  <a:pt x="2075" y="186"/>
                </a:cubicBezTo>
                <a:cubicBezTo>
                  <a:pt x="2075" y="187"/>
                  <a:pt x="2075" y="187"/>
                  <a:pt x="2075" y="187"/>
                </a:cubicBezTo>
                <a:cubicBezTo>
                  <a:pt x="2078" y="189"/>
                  <a:pt x="2078" y="189"/>
                  <a:pt x="2078" y="189"/>
                </a:cubicBezTo>
                <a:cubicBezTo>
                  <a:pt x="2080" y="188"/>
                  <a:pt x="2080" y="188"/>
                  <a:pt x="2080" y="188"/>
                </a:cubicBezTo>
                <a:cubicBezTo>
                  <a:pt x="2080" y="187"/>
                  <a:pt x="2080" y="187"/>
                  <a:pt x="2080" y="187"/>
                </a:cubicBezTo>
                <a:cubicBezTo>
                  <a:pt x="2080" y="185"/>
                  <a:pt x="2080" y="185"/>
                  <a:pt x="2080" y="185"/>
                </a:cubicBezTo>
                <a:cubicBezTo>
                  <a:pt x="2078" y="185"/>
                  <a:pt x="2078" y="185"/>
                  <a:pt x="2078" y="185"/>
                </a:cubicBezTo>
                <a:lnTo>
                  <a:pt x="2077" y="185"/>
                </a:lnTo>
                <a:close/>
                <a:moveTo>
                  <a:pt x="2028" y="45"/>
                </a:moveTo>
                <a:cubicBezTo>
                  <a:pt x="2028" y="47"/>
                  <a:pt x="2028" y="47"/>
                  <a:pt x="2028" y="47"/>
                </a:cubicBezTo>
                <a:cubicBezTo>
                  <a:pt x="2028" y="50"/>
                  <a:pt x="2028" y="50"/>
                  <a:pt x="2028" y="50"/>
                </a:cubicBezTo>
                <a:cubicBezTo>
                  <a:pt x="2030" y="52"/>
                  <a:pt x="2030" y="52"/>
                  <a:pt x="2030" y="52"/>
                </a:cubicBezTo>
                <a:cubicBezTo>
                  <a:pt x="2030" y="52"/>
                  <a:pt x="2030" y="52"/>
                  <a:pt x="2030" y="52"/>
                </a:cubicBezTo>
                <a:cubicBezTo>
                  <a:pt x="2030" y="51"/>
                  <a:pt x="2030" y="51"/>
                  <a:pt x="2030" y="51"/>
                </a:cubicBezTo>
                <a:cubicBezTo>
                  <a:pt x="2030" y="49"/>
                  <a:pt x="2030" y="49"/>
                  <a:pt x="2030" y="49"/>
                </a:cubicBezTo>
                <a:cubicBezTo>
                  <a:pt x="2031" y="49"/>
                  <a:pt x="2031" y="49"/>
                  <a:pt x="2031" y="49"/>
                </a:cubicBezTo>
                <a:cubicBezTo>
                  <a:pt x="2032" y="51"/>
                  <a:pt x="2032" y="51"/>
                  <a:pt x="2032" y="51"/>
                </a:cubicBezTo>
                <a:cubicBezTo>
                  <a:pt x="2033" y="51"/>
                  <a:pt x="2033" y="51"/>
                  <a:pt x="2033" y="51"/>
                </a:cubicBezTo>
                <a:cubicBezTo>
                  <a:pt x="2034" y="51"/>
                  <a:pt x="2034" y="51"/>
                  <a:pt x="2034" y="51"/>
                </a:cubicBezTo>
                <a:cubicBezTo>
                  <a:pt x="2036" y="51"/>
                  <a:pt x="2036" y="51"/>
                  <a:pt x="2036" y="51"/>
                </a:cubicBezTo>
                <a:cubicBezTo>
                  <a:pt x="2036" y="49"/>
                  <a:pt x="2036" y="49"/>
                  <a:pt x="2036" y="49"/>
                </a:cubicBezTo>
                <a:cubicBezTo>
                  <a:pt x="2038" y="48"/>
                  <a:pt x="2038" y="48"/>
                  <a:pt x="2038" y="48"/>
                </a:cubicBezTo>
                <a:cubicBezTo>
                  <a:pt x="2040" y="47"/>
                  <a:pt x="2040" y="47"/>
                  <a:pt x="2040" y="47"/>
                </a:cubicBezTo>
                <a:cubicBezTo>
                  <a:pt x="2041" y="46"/>
                  <a:pt x="2041" y="46"/>
                  <a:pt x="2041" y="46"/>
                </a:cubicBezTo>
                <a:cubicBezTo>
                  <a:pt x="2039" y="44"/>
                  <a:pt x="2039" y="44"/>
                  <a:pt x="2039" y="44"/>
                </a:cubicBezTo>
                <a:cubicBezTo>
                  <a:pt x="2037" y="42"/>
                  <a:pt x="2037" y="42"/>
                  <a:pt x="2037" y="42"/>
                </a:cubicBezTo>
                <a:cubicBezTo>
                  <a:pt x="2036" y="41"/>
                  <a:pt x="2036" y="41"/>
                  <a:pt x="2036" y="41"/>
                </a:cubicBezTo>
                <a:cubicBezTo>
                  <a:pt x="2035" y="38"/>
                  <a:pt x="2035" y="38"/>
                  <a:pt x="2035" y="38"/>
                </a:cubicBezTo>
                <a:cubicBezTo>
                  <a:pt x="2033" y="38"/>
                  <a:pt x="2033" y="38"/>
                  <a:pt x="2033" y="38"/>
                </a:cubicBezTo>
                <a:cubicBezTo>
                  <a:pt x="2032" y="38"/>
                  <a:pt x="2032" y="38"/>
                  <a:pt x="2032" y="38"/>
                </a:cubicBezTo>
                <a:cubicBezTo>
                  <a:pt x="2030" y="40"/>
                  <a:pt x="2030" y="40"/>
                  <a:pt x="2030" y="40"/>
                </a:cubicBezTo>
                <a:cubicBezTo>
                  <a:pt x="2029" y="40"/>
                  <a:pt x="2029" y="40"/>
                  <a:pt x="2029" y="40"/>
                </a:cubicBezTo>
                <a:cubicBezTo>
                  <a:pt x="2027" y="42"/>
                  <a:pt x="2027" y="42"/>
                  <a:pt x="2027" y="42"/>
                </a:cubicBezTo>
                <a:cubicBezTo>
                  <a:pt x="2027" y="44"/>
                  <a:pt x="2027" y="44"/>
                  <a:pt x="2027" y="44"/>
                </a:cubicBezTo>
                <a:lnTo>
                  <a:pt x="2028" y="45"/>
                </a:lnTo>
                <a:close/>
                <a:moveTo>
                  <a:pt x="2098" y="44"/>
                </a:moveTo>
                <a:cubicBezTo>
                  <a:pt x="2099" y="45"/>
                  <a:pt x="2099" y="45"/>
                  <a:pt x="2099" y="45"/>
                </a:cubicBezTo>
                <a:cubicBezTo>
                  <a:pt x="2101" y="45"/>
                  <a:pt x="2101" y="45"/>
                  <a:pt x="2101" y="45"/>
                </a:cubicBezTo>
                <a:cubicBezTo>
                  <a:pt x="2103" y="46"/>
                  <a:pt x="2103" y="46"/>
                  <a:pt x="2103" y="46"/>
                </a:cubicBezTo>
                <a:cubicBezTo>
                  <a:pt x="2104" y="45"/>
                  <a:pt x="2104" y="45"/>
                  <a:pt x="2104" y="45"/>
                </a:cubicBezTo>
                <a:cubicBezTo>
                  <a:pt x="2104" y="44"/>
                  <a:pt x="2104" y="44"/>
                  <a:pt x="2104" y="44"/>
                </a:cubicBezTo>
                <a:cubicBezTo>
                  <a:pt x="2103" y="41"/>
                  <a:pt x="2103" y="41"/>
                  <a:pt x="2103" y="41"/>
                </a:cubicBezTo>
                <a:cubicBezTo>
                  <a:pt x="2102" y="38"/>
                  <a:pt x="2102" y="38"/>
                  <a:pt x="2102" y="38"/>
                </a:cubicBezTo>
                <a:cubicBezTo>
                  <a:pt x="2100" y="36"/>
                  <a:pt x="2100" y="36"/>
                  <a:pt x="2100" y="36"/>
                </a:cubicBezTo>
                <a:cubicBezTo>
                  <a:pt x="2099" y="34"/>
                  <a:pt x="2099" y="34"/>
                  <a:pt x="2099" y="34"/>
                </a:cubicBezTo>
                <a:cubicBezTo>
                  <a:pt x="2097" y="37"/>
                  <a:pt x="2097" y="37"/>
                  <a:pt x="2097" y="37"/>
                </a:cubicBezTo>
                <a:cubicBezTo>
                  <a:pt x="2097" y="40"/>
                  <a:pt x="2097" y="40"/>
                  <a:pt x="2097" y="40"/>
                </a:cubicBezTo>
                <a:cubicBezTo>
                  <a:pt x="2096" y="42"/>
                  <a:pt x="2096" y="42"/>
                  <a:pt x="2096" y="42"/>
                </a:cubicBezTo>
                <a:cubicBezTo>
                  <a:pt x="2096" y="44"/>
                  <a:pt x="2096" y="44"/>
                  <a:pt x="2096" y="44"/>
                </a:cubicBezTo>
                <a:lnTo>
                  <a:pt x="2098" y="44"/>
                </a:lnTo>
                <a:close/>
                <a:moveTo>
                  <a:pt x="1938" y="170"/>
                </a:moveTo>
                <a:cubicBezTo>
                  <a:pt x="1939" y="170"/>
                  <a:pt x="1939" y="170"/>
                  <a:pt x="1939" y="170"/>
                </a:cubicBezTo>
                <a:cubicBezTo>
                  <a:pt x="1940" y="169"/>
                  <a:pt x="1940" y="169"/>
                  <a:pt x="1940" y="169"/>
                </a:cubicBezTo>
                <a:cubicBezTo>
                  <a:pt x="1939" y="168"/>
                  <a:pt x="1939" y="168"/>
                  <a:pt x="1939" y="168"/>
                </a:cubicBezTo>
                <a:cubicBezTo>
                  <a:pt x="1938" y="168"/>
                  <a:pt x="1938" y="168"/>
                  <a:pt x="1938" y="168"/>
                </a:cubicBezTo>
                <a:lnTo>
                  <a:pt x="1938" y="170"/>
                </a:lnTo>
                <a:close/>
                <a:moveTo>
                  <a:pt x="1917" y="112"/>
                </a:moveTo>
                <a:cubicBezTo>
                  <a:pt x="1915" y="111"/>
                  <a:pt x="1915" y="111"/>
                  <a:pt x="1915" y="111"/>
                </a:cubicBezTo>
                <a:cubicBezTo>
                  <a:pt x="1915" y="110"/>
                  <a:pt x="1915" y="110"/>
                  <a:pt x="1915" y="110"/>
                </a:cubicBezTo>
                <a:cubicBezTo>
                  <a:pt x="1913" y="109"/>
                  <a:pt x="1913" y="109"/>
                  <a:pt x="1913" y="109"/>
                </a:cubicBezTo>
                <a:cubicBezTo>
                  <a:pt x="1911" y="109"/>
                  <a:pt x="1911" y="109"/>
                  <a:pt x="1911" y="109"/>
                </a:cubicBezTo>
                <a:cubicBezTo>
                  <a:pt x="1909" y="111"/>
                  <a:pt x="1909" y="111"/>
                  <a:pt x="1909" y="111"/>
                </a:cubicBezTo>
                <a:cubicBezTo>
                  <a:pt x="1910" y="112"/>
                  <a:pt x="1910" y="112"/>
                  <a:pt x="1910" y="112"/>
                </a:cubicBezTo>
                <a:cubicBezTo>
                  <a:pt x="1911" y="112"/>
                  <a:pt x="1911" y="112"/>
                  <a:pt x="1911" y="112"/>
                </a:cubicBezTo>
                <a:cubicBezTo>
                  <a:pt x="1912" y="112"/>
                  <a:pt x="1912" y="112"/>
                  <a:pt x="1912" y="112"/>
                </a:cubicBezTo>
                <a:cubicBezTo>
                  <a:pt x="1914" y="113"/>
                  <a:pt x="1914" y="113"/>
                  <a:pt x="1914" y="113"/>
                </a:cubicBezTo>
                <a:cubicBezTo>
                  <a:pt x="1914" y="114"/>
                  <a:pt x="1914" y="114"/>
                  <a:pt x="1914" y="114"/>
                </a:cubicBezTo>
                <a:cubicBezTo>
                  <a:pt x="1915" y="115"/>
                  <a:pt x="1915" y="115"/>
                  <a:pt x="1915" y="115"/>
                </a:cubicBezTo>
                <a:cubicBezTo>
                  <a:pt x="1917" y="117"/>
                  <a:pt x="1917" y="117"/>
                  <a:pt x="1917" y="117"/>
                </a:cubicBezTo>
                <a:cubicBezTo>
                  <a:pt x="1918" y="117"/>
                  <a:pt x="1918" y="117"/>
                  <a:pt x="1918" y="117"/>
                </a:cubicBezTo>
                <a:cubicBezTo>
                  <a:pt x="1918" y="116"/>
                  <a:pt x="1918" y="116"/>
                  <a:pt x="1918" y="116"/>
                </a:cubicBezTo>
                <a:cubicBezTo>
                  <a:pt x="1917" y="115"/>
                  <a:pt x="1917" y="115"/>
                  <a:pt x="1917" y="115"/>
                </a:cubicBezTo>
                <a:cubicBezTo>
                  <a:pt x="1918" y="113"/>
                  <a:pt x="1918" y="113"/>
                  <a:pt x="1918" y="113"/>
                </a:cubicBezTo>
                <a:lnTo>
                  <a:pt x="1917" y="112"/>
                </a:lnTo>
                <a:close/>
                <a:moveTo>
                  <a:pt x="1855" y="210"/>
                </a:moveTo>
                <a:cubicBezTo>
                  <a:pt x="1854" y="209"/>
                  <a:pt x="1854" y="209"/>
                  <a:pt x="1854" y="209"/>
                </a:cubicBezTo>
                <a:cubicBezTo>
                  <a:pt x="1853" y="207"/>
                  <a:pt x="1853" y="207"/>
                  <a:pt x="1853" y="207"/>
                </a:cubicBezTo>
                <a:cubicBezTo>
                  <a:pt x="1852" y="208"/>
                  <a:pt x="1852" y="208"/>
                  <a:pt x="1852" y="208"/>
                </a:cubicBezTo>
                <a:cubicBezTo>
                  <a:pt x="1852" y="209"/>
                  <a:pt x="1852" y="209"/>
                  <a:pt x="1852" y="209"/>
                </a:cubicBezTo>
                <a:cubicBezTo>
                  <a:pt x="1854" y="210"/>
                  <a:pt x="1854" y="210"/>
                  <a:pt x="1854" y="210"/>
                </a:cubicBezTo>
                <a:lnTo>
                  <a:pt x="1855" y="210"/>
                </a:lnTo>
                <a:close/>
                <a:moveTo>
                  <a:pt x="1696" y="131"/>
                </a:moveTo>
                <a:cubicBezTo>
                  <a:pt x="1694" y="131"/>
                  <a:pt x="1694" y="131"/>
                  <a:pt x="1694" y="131"/>
                </a:cubicBezTo>
                <a:cubicBezTo>
                  <a:pt x="1694" y="133"/>
                  <a:pt x="1694" y="133"/>
                  <a:pt x="1694" y="133"/>
                </a:cubicBezTo>
                <a:cubicBezTo>
                  <a:pt x="1695" y="133"/>
                  <a:pt x="1695" y="133"/>
                  <a:pt x="1695" y="133"/>
                </a:cubicBezTo>
                <a:lnTo>
                  <a:pt x="1696" y="131"/>
                </a:lnTo>
                <a:close/>
                <a:moveTo>
                  <a:pt x="1801" y="239"/>
                </a:moveTo>
                <a:cubicBezTo>
                  <a:pt x="1799" y="239"/>
                  <a:pt x="1799" y="239"/>
                  <a:pt x="1799" y="239"/>
                </a:cubicBezTo>
                <a:cubicBezTo>
                  <a:pt x="1798" y="241"/>
                  <a:pt x="1798" y="241"/>
                  <a:pt x="1798" y="241"/>
                </a:cubicBezTo>
                <a:cubicBezTo>
                  <a:pt x="1798" y="242"/>
                  <a:pt x="1798" y="242"/>
                  <a:pt x="1798" y="242"/>
                </a:cubicBezTo>
                <a:cubicBezTo>
                  <a:pt x="1800" y="243"/>
                  <a:pt x="1800" y="243"/>
                  <a:pt x="1800" y="243"/>
                </a:cubicBezTo>
                <a:cubicBezTo>
                  <a:pt x="1800" y="244"/>
                  <a:pt x="1800" y="244"/>
                  <a:pt x="1800" y="244"/>
                </a:cubicBezTo>
                <a:cubicBezTo>
                  <a:pt x="1801" y="244"/>
                  <a:pt x="1801" y="244"/>
                  <a:pt x="1801" y="244"/>
                </a:cubicBezTo>
                <a:cubicBezTo>
                  <a:pt x="1801" y="243"/>
                  <a:pt x="1801" y="243"/>
                  <a:pt x="1801" y="243"/>
                </a:cubicBezTo>
                <a:cubicBezTo>
                  <a:pt x="1800" y="242"/>
                  <a:pt x="1800" y="242"/>
                  <a:pt x="1800" y="242"/>
                </a:cubicBezTo>
                <a:cubicBezTo>
                  <a:pt x="1801" y="241"/>
                  <a:pt x="1801" y="241"/>
                  <a:pt x="1801" y="241"/>
                </a:cubicBezTo>
                <a:lnTo>
                  <a:pt x="1801" y="239"/>
                </a:lnTo>
                <a:close/>
                <a:moveTo>
                  <a:pt x="1690" y="137"/>
                </a:moveTo>
                <a:cubicBezTo>
                  <a:pt x="1691" y="136"/>
                  <a:pt x="1691" y="136"/>
                  <a:pt x="1691" y="136"/>
                </a:cubicBezTo>
                <a:cubicBezTo>
                  <a:pt x="1690" y="135"/>
                  <a:pt x="1690" y="135"/>
                  <a:pt x="1690" y="135"/>
                </a:cubicBezTo>
                <a:cubicBezTo>
                  <a:pt x="1688" y="135"/>
                  <a:pt x="1688" y="135"/>
                  <a:pt x="1688" y="135"/>
                </a:cubicBezTo>
                <a:cubicBezTo>
                  <a:pt x="1689" y="137"/>
                  <a:pt x="1689" y="137"/>
                  <a:pt x="1689" y="137"/>
                </a:cubicBezTo>
                <a:lnTo>
                  <a:pt x="1690" y="137"/>
                </a:lnTo>
                <a:close/>
                <a:moveTo>
                  <a:pt x="1687" y="144"/>
                </a:moveTo>
                <a:cubicBezTo>
                  <a:pt x="1690" y="143"/>
                  <a:pt x="1690" y="143"/>
                  <a:pt x="1690" y="143"/>
                </a:cubicBezTo>
                <a:cubicBezTo>
                  <a:pt x="1690" y="141"/>
                  <a:pt x="1690" y="141"/>
                  <a:pt x="1690" y="141"/>
                </a:cubicBezTo>
                <a:cubicBezTo>
                  <a:pt x="1688" y="140"/>
                  <a:pt x="1688" y="140"/>
                  <a:pt x="1688" y="140"/>
                </a:cubicBezTo>
                <a:cubicBezTo>
                  <a:pt x="1688" y="140"/>
                  <a:pt x="1685" y="141"/>
                  <a:pt x="1685" y="141"/>
                </a:cubicBezTo>
                <a:cubicBezTo>
                  <a:pt x="1687" y="142"/>
                  <a:pt x="1687" y="142"/>
                  <a:pt x="1687" y="142"/>
                </a:cubicBezTo>
                <a:lnTo>
                  <a:pt x="1687" y="144"/>
                </a:lnTo>
                <a:close/>
                <a:moveTo>
                  <a:pt x="1702" y="136"/>
                </a:moveTo>
                <a:cubicBezTo>
                  <a:pt x="1704" y="135"/>
                  <a:pt x="1704" y="135"/>
                  <a:pt x="1704" y="135"/>
                </a:cubicBezTo>
                <a:cubicBezTo>
                  <a:pt x="1705" y="133"/>
                  <a:pt x="1705" y="133"/>
                  <a:pt x="1705" y="133"/>
                </a:cubicBezTo>
                <a:cubicBezTo>
                  <a:pt x="1703" y="133"/>
                  <a:pt x="1703" y="133"/>
                  <a:pt x="1703" y="133"/>
                </a:cubicBezTo>
                <a:cubicBezTo>
                  <a:pt x="1704" y="131"/>
                  <a:pt x="1704" y="131"/>
                  <a:pt x="1704" y="131"/>
                </a:cubicBezTo>
                <a:cubicBezTo>
                  <a:pt x="1703" y="131"/>
                  <a:pt x="1703" y="131"/>
                  <a:pt x="1703" y="131"/>
                </a:cubicBezTo>
                <a:cubicBezTo>
                  <a:pt x="1701" y="130"/>
                  <a:pt x="1701" y="130"/>
                  <a:pt x="1701" y="130"/>
                </a:cubicBezTo>
                <a:cubicBezTo>
                  <a:pt x="1701" y="132"/>
                  <a:pt x="1701" y="132"/>
                  <a:pt x="1701" y="132"/>
                </a:cubicBezTo>
                <a:cubicBezTo>
                  <a:pt x="1700" y="133"/>
                  <a:pt x="1700" y="133"/>
                  <a:pt x="1700" y="133"/>
                </a:cubicBezTo>
                <a:cubicBezTo>
                  <a:pt x="1699" y="132"/>
                  <a:pt x="1699" y="132"/>
                  <a:pt x="1699" y="132"/>
                </a:cubicBezTo>
                <a:cubicBezTo>
                  <a:pt x="1698" y="133"/>
                  <a:pt x="1698" y="133"/>
                  <a:pt x="1698" y="133"/>
                </a:cubicBezTo>
                <a:cubicBezTo>
                  <a:pt x="1698" y="134"/>
                  <a:pt x="1698" y="134"/>
                  <a:pt x="1698" y="134"/>
                </a:cubicBezTo>
                <a:cubicBezTo>
                  <a:pt x="1700" y="134"/>
                  <a:pt x="1700" y="134"/>
                  <a:pt x="1700" y="134"/>
                </a:cubicBezTo>
                <a:lnTo>
                  <a:pt x="1702" y="136"/>
                </a:lnTo>
                <a:close/>
                <a:moveTo>
                  <a:pt x="1945" y="157"/>
                </a:moveTo>
                <a:cubicBezTo>
                  <a:pt x="1944" y="156"/>
                  <a:pt x="1944" y="156"/>
                  <a:pt x="1944" y="156"/>
                </a:cubicBezTo>
                <a:cubicBezTo>
                  <a:pt x="1943" y="157"/>
                  <a:pt x="1943" y="157"/>
                  <a:pt x="1943" y="157"/>
                </a:cubicBezTo>
                <a:cubicBezTo>
                  <a:pt x="1943" y="158"/>
                  <a:pt x="1943" y="158"/>
                  <a:pt x="1943" y="158"/>
                </a:cubicBezTo>
                <a:cubicBezTo>
                  <a:pt x="1944" y="158"/>
                  <a:pt x="1944" y="158"/>
                  <a:pt x="1944" y="158"/>
                </a:cubicBezTo>
                <a:lnTo>
                  <a:pt x="1945" y="157"/>
                </a:lnTo>
                <a:close/>
                <a:moveTo>
                  <a:pt x="1942" y="168"/>
                </a:moveTo>
                <a:cubicBezTo>
                  <a:pt x="1942" y="169"/>
                  <a:pt x="1942" y="169"/>
                  <a:pt x="1942" y="169"/>
                </a:cubicBezTo>
                <a:cubicBezTo>
                  <a:pt x="1942" y="170"/>
                  <a:pt x="1942" y="170"/>
                  <a:pt x="1942" y="170"/>
                </a:cubicBezTo>
                <a:cubicBezTo>
                  <a:pt x="1944" y="168"/>
                  <a:pt x="1944" y="168"/>
                  <a:pt x="1944" y="168"/>
                </a:cubicBezTo>
                <a:cubicBezTo>
                  <a:pt x="1944" y="167"/>
                  <a:pt x="1944" y="167"/>
                  <a:pt x="1944" y="167"/>
                </a:cubicBezTo>
                <a:cubicBezTo>
                  <a:pt x="1942" y="167"/>
                  <a:pt x="1942" y="167"/>
                  <a:pt x="1942" y="167"/>
                </a:cubicBezTo>
                <a:lnTo>
                  <a:pt x="1942" y="168"/>
                </a:lnTo>
                <a:close/>
                <a:moveTo>
                  <a:pt x="1947" y="156"/>
                </a:moveTo>
                <a:cubicBezTo>
                  <a:pt x="1946" y="157"/>
                  <a:pt x="1946" y="157"/>
                  <a:pt x="1946" y="157"/>
                </a:cubicBezTo>
                <a:cubicBezTo>
                  <a:pt x="1947" y="157"/>
                  <a:pt x="1947" y="157"/>
                  <a:pt x="1947" y="157"/>
                </a:cubicBezTo>
                <a:cubicBezTo>
                  <a:pt x="1948" y="158"/>
                  <a:pt x="1948" y="158"/>
                  <a:pt x="1948" y="158"/>
                </a:cubicBezTo>
                <a:cubicBezTo>
                  <a:pt x="1950" y="159"/>
                  <a:pt x="1950" y="159"/>
                  <a:pt x="1950" y="159"/>
                </a:cubicBezTo>
                <a:cubicBezTo>
                  <a:pt x="1949" y="157"/>
                  <a:pt x="1949" y="157"/>
                  <a:pt x="1949" y="157"/>
                </a:cubicBezTo>
                <a:lnTo>
                  <a:pt x="1947" y="156"/>
                </a:lnTo>
                <a:close/>
                <a:moveTo>
                  <a:pt x="1899" y="98"/>
                </a:moveTo>
                <a:cubicBezTo>
                  <a:pt x="1898" y="101"/>
                  <a:pt x="1898" y="101"/>
                  <a:pt x="1898" y="101"/>
                </a:cubicBezTo>
                <a:cubicBezTo>
                  <a:pt x="1899" y="103"/>
                  <a:pt x="1899" y="103"/>
                  <a:pt x="1899" y="103"/>
                </a:cubicBezTo>
                <a:cubicBezTo>
                  <a:pt x="1902" y="105"/>
                  <a:pt x="1902" y="105"/>
                  <a:pt x="1902" y="105"/>
                </a:cubicBezTo>
                <a:cubicBezTo>
                  <a:pt x="1902" y="106"/>
                  <a:pt x="1902" y="106"/>
                  <a:pt x="1902" y="106"/>
                </a:cubicBezTo>
                <a:cubicBezTo>
                  <a:pt x="1904" y="108"/>
                  <a:pt x="1904" y="108"/>
                  <a:pt x="1904" y="108"/>
                </a:cubicBezTo>
                <a:cubicBezTo>
                  <a:pt x="1906" y="109"/>
                  <a:pt x="1906" y="109"/>
                  <a:pt x="1906" y="109"/>
                </a:cubicBezTo>
                <a:cubicBezTo>
                  <a:pt x="1907" y="108"/>
                  <a:pt x="1907" y="108"/>
                  <a:pt x="1907" y="108"/>
                </a:cubicBezTo>
                <a:cubicBezTo>
                  <a:pt x="1909" y="108"/>
                  <a:pt x="1909" y="108"/>
                  <a:pt x="1909" y="108"/>
                </a:cubicBezTo>
                <a:cubicBezTo>
                  <a:pt x="1910" y="105"/>
                  <a:pt x="1910" y="105"/>
                  <a:pt x="1910" y="105"/>
                </a:cubicBezTo>
                <a:cubicBezTo>
                  <a:pt x="1910" y="103"/>
                  <a:pt x="1910" y="103"/>
                  <a:pt x="1910" y="103"/>
                </a:cubicBezTo>
                <a:cubicBezTo>
                  <a:pt x="1910" y="101"/>
                  <a:pt x="1910" y="101"/>
                  <a:pt x="1910" y="101"/>
                </a:cubicBezTo>
                <a:cubicBezTo>
                  <a:pt x="1911" y="99"/>
                  <a:pt x="1911" y="99"/>
                  <a:pt x="1911" y="99"/>
                </a:cubicBezTo>
                <a:cubicBezTo>
                  <a:pt x="1911" y="101"/>
                  <a:pt x="1911" y="101"/>
                  <a:pt x="1911" y="101"/>
                </a:cubicBezTo>
                <a:cubicBezTo>
                  <a:pt x="1910" y="103"/>
                  <a:pt x="1910" y="103"/>
                  <a:pt x="1910" y="103"/>
                </a:cubicBezTo>
                <a:cubicBezTo>
                  <a:pt x="1911" y="104"/>
                  <a:pt x="1911" y="104"/>
                  <a:pt x="1911" y="104"/>
                </a:cubicBezTo>
                <a:cubicBezTo>
                  <a:pt x="1912" y="107"/>
                  <a:pt x="1912" y="107"/>
                  <a:pt x="1912" y="107"/>
                </a:cubicBezTo>
                <a:cubicBezTo>
                  <a:pt x="1913" y="107"/>
                  <a:pt x="1913" y="107"/>
                  <a:pt x="1913" y="107"/>
                </a:cubicBezTo>
                <a:cubicBezTo>
                  <a:pt x="1915" y="106"/>
                  <a:pt x="1915" y="106"/>
                  <a:pt x="1915" y="106"/>
                </a:cubicBezTo>
                <a:cubicBezTo>
                  <a:pt x="1915" y="105"/>
                  <a:pt x="1915" y="105"/>
                  <a:pt x="1915" y="105"/>
                </a:cubicBezTo>
                <a:cubicBezTo>
                  <a:pt x="1916" y="103"/>
                  <a:pt x="1916" y="103"/>
                  <a:pt x="1916" y="103"/>
                </a:cubicBezTo>
                <a:cubicBezTo>
                  <a:pt x="1916" y="104"/>
                  <a:pt x="1916" y="104"/>
                  <a:pt x="1916" y="104"/>
                </a:cubicBezTo>
                <a:cubicBezTo>
                  <a:pt x="1916" y="105"/>
                  <a:pt x="1916" y="105"/>
                  <a:pt x="1916" y="105"/>
                </a:cubicBezTo>
                <a:cubicBezTo>
                  <a:pt x="1916" y="106"/>
                  <a:pt x="1916" y="106"/>
                  <a:pt x="1916" y="106"/>
                </a:cubicBezTo>
                <a:cubicBezTo>
                  <a:pt x="1918" y="109"/>
                  <a:pt x="1918" y="109"/>
                  <a:pt x="1918" y="109"/>
                </a:cubicBezTo>
                <a:cubicBezTo>
                  <a:pt x="1920" y="111"/>
                  <a:pt x="1920" y="111"/>
                  <a:pt x="1920" y="111"/>
                </a:cubicBezTo>
                <a:cubicBezTo>
                  <a:pt x="1922" y="111"/>
                  <a:pt x="1922" y="111"/>
                  <a:pt x="1922" y="111"/>
                </a:cubicBezTo>
                <a:cubicBezTo>
                  <a:pt x="1923" y="110"/>
                  <a:pt x="1923" y="110"/>
                  <a:pt x="1923" y="110"/>
                </a:cubicBezTo>
                <a:cubicBezTo>
                  <a:pt x="1924" y="110"/>
                  <a:pt x="1924" y="110"/>
                  <a:pt x="1924" y="110"/>
                </a:cubicBezTo>
                <a:cubicBezTo>
                  <a:pt x="1924" y="111"/>
                  <a:pt x="1924" y="111"/>
                  <a:pt x="1924" y="111"/>
                </a:cubicBezTo>
                <a:cubicBezTo>
                  <a:pt x="1923" y="111"/>
                  <a:pt x="1923" y="111"/>
                  <a:pt x="1923" y="111"/>
                </a:cubicBezTo>
                <a:cubicBezTo>
                  <a:pt x="1922" y="112"/>
                  <a:pt x="1922" y="112"/>
                  <a:pt x="1922" y="112"/>
                </a:cubicBezTo>
                <a:cubicBezTo>
                  <a:pt x="1921" y="113"/>
                  <a:pt x="1921" y="113"/>
                  <a:pt x="1921" y="113"/>
                </a:cubicBezTo>
                <a:cubicBezTo>
                  <a:pt x="1920" y="114"/>
                  <a:pt x="1920" y="114"/>
                  <a:pt x="1920" y="114"/>
                </a:cubicBezTo>
                <a:cubicBezTo>
                  <a:pt x="1922" y="116"/>
                  <a:pt x="1922" y="116"/>
                  <a:pt x="1922" y="116"/>
                </a:cubicBezTo>
                <a:cubicBezTo>
                  <a:pt x="1922" y="117"/>
                  <a:pt x="1922" y="117"/>
                  <a:pt x="1922" y="117"/>
                </a:cubicBezTo>
                <a:cubicBezTo>
                  <a:pt x="1921" y="118"/>
                  <a:pt x="1921" y="118"/>
                  <a:pt x="1921" y="118"/>
                </a:cubicBezTo>
                <a:cubicBezTo>
                  <a:pt x="1920" y="117"/>
                  <a:pt x="1920" y="117"/>
                  <a:pt x="1920" y="117"/>
                </a:cubicBezTo>
                <a:cubicBezTo>
                  <a:pt x="1920" y="118"/>
                  <a:pt x="1920" y="118"/>
                  <a:pt x="1920" y="118"/>
                </a:cubicBezTo>
                <a:cubicBezTo>
                  <a:pt x="1921" y="119"/>
                  <a:pt x="1921" y="119"/>
                  <a:pt x="1921" y="119"/>
                </a:cubicBezTo>
                <a:cubicBezTo>
                  <a:pt x="1924" y="120"/>
                  <a:pt x="1924" y="120"/>
                  <a:pt x="1924" y="120"/>
                </a:cubicBezTo>
                <a:cubicBezTo>
                  <a:pt x="1926" y="121"/>
                  <a:pt x="1926" y="121"/>
                  <a:pt x="1926" y="121"/>
                </a:cubicBezTo>
                <a:cubicBezTo>
                  <a:pt x="1928" y="120"/>
                  <a:pt x="1928" y="120"/>
                  <a:pt x="1928" y="120"/>
                </a:cubicBezTo>
                <a:cubicBezTo>
                  <a:pt x="1931" y="121"/>
                  <a:pt x="1931" y="121"/>
                  <a:pt x="1931" y="121"/>
                </a:cubicBezTo>
                <a:cubicBezTo>
                  <a:pt x="1930" y="119"/>
                  <a:pt x="1930" y="119"/>
                  <a:pt x="1930" y="119"/>
                </a:cubicBezTo>
                <a:cubicBezTo>
                  <a:pt x="1932" y="120"/>
                  <a:pt x="1932" y="120"/>
                  <a:pt x="1932" y="120"/>
                </a:cubicBezTo>
                <a:cubicBezTo>
                  <a:pt x="1932" y="121"/>
                  <a:pt x="1932" y="121"/>
                  <a:pt x="1932" y="121"/>
                </a:cubicBezTo>
                <a:cubicBezTo>
                  <a:pt x="1933" y="124"/>
                  <a:pt x="1933" y="124"/>
                  <a:pt x="1933" y="124"/>
                </a:cubicBezTo>
                <a:cubicBezTo>
                  <a:pt x="1935" y="125"/>
                  <a:pt x="1935" y="125"/>
                  <a:pt x="1935" y="125"/>
                </a:cubicBezTo>
                <a:cubicBezTo>
                  <a:pt x="1936" y="125"/>
                  <a:pt x="1936" y="125"/>
                  <a:pt x="1936" y="125"/>
                </a:cubicBezTo>
                <a:cubicBezTo>
                  <a:pt x="1937" y="123"/>
                  <a:pt x="1937" y="123"/>
                  <a:pt x="1937" y="123"/>
                </a:cubicBezTo>
                <a:cubicBezTo>
                  <a:pt x="1937" y="121"/>
                  <a:pt x="1937" y="121"/>
                  <a:pt x="1937" y="121"/>
                </a:cubicBezTo>
                <a:cubicBezTo>
                  <a:pt x="1934" y="120"/>
                  <a:pt x="1934" y="120"/>
                  <a:pt x="1934" y="120"/>
                </a:cubicBezTo>
                <a:cubicBezTo>
                  <a:pt x="1933" y="119"/>
                  <a:pt x="1933" y="119"/>
                  <a:pt x="1933" y="119"/>
                </a:cubicBezTo>
                <a:cubicBezTo>
                  <a:pt x="1934" y="119"/>
                  <a:pt x="1934" y="119"/>
                  <a:pt x="1934" y="119"/>
                </a:cubicBezTo>
                <a:cubicBezTo>
                  <a:pt x="1936" y="119"/>
                  <a:pt x="1936" y="119"/>
                  <a:pt x="1936" y="119"/>
                </a:cubicBezTo>
                <a:cubicBezTo>
                  <a:pt x="1938" y="120"/>
                  <a:pt x="1938" y="120"/>
                  <a:pt x="1938" y="120"/>
                </a:cubicBezTo>
                <a:cubicBezTo>
                  <a:pt x="1939" y="122"/>
                  <a:pt x="1939" y="122"/>
                  <a:pt x="1939" y="122"/>
                </a:cubicBezTo>
                <a:cubicBezTo>
                  <a:pt x="1940" y="124"/>
                  <a:pt x="1940" y="124"/>
                  <a:pt x="1940" y="124"/>
                </a:cubicBezTo>
                <a:cubicBezTo>
                  <a:pt x="1940" y="124"/>
                  <a:pt x="1940" y="124"/>
                  <a:pt x="1940" y="124"/>
                </a:cubicBezTo>
                <a:cubicBezTo>
                  <a:pt x="1941" y="122"/>
                  <a:pt x="1941" y="122"/>
                  <a:pt x="1941" y="122"/>
                </a:cubicBezTo>
                <a:cubicBezTo>
                  <a:pt x="1942" y="122"/>
                  <a:pt x="1942" y="122"/>
                  <a:pt x="1942" y="122"/>
                </a:cubicBezTo>
                <a:cubicBezTo>
                  <a:pt x="1943" y="123"/>
                  <a:pt x="1943" y="123"/>
                  <a:pt x="1943" y="123"/>
                </a:cubicBezTo>
                <a:cubicBezTo>
                  <a:pt x="1945" y="125"/>
                  <a:pt x="1945" y="125"/>
                  <a:pt x="1945" y="125"/>
                </a:cubicBezTo>
                <a:cubicBezTo>
                  <a:pt x="1946" y="124"/>
                  <a:pt x="1946" y="124"/>
                  <a:pt x="1946" y="124"/>
                </a:cubicBezTo>
                <a:cubicBezTo>
                  <a:pt x="1946" y="123"/>
                  <a:pt x="1946" y="123"/>
                  <a:pt x="1946" y="123"/>
                </a:cubicBezTo>
                <a:cubicBezTo>
                  <a:pt x="1945" y="122"/>
                  <a:pt x="1945" y="122"/>
                  <a:pt x="1945" y="122"/>
                </a:cubicBezTo>
                <a:cubicBezTo>
                  <a:pt x="1945" y="121"/>
                  <a:pt x="1945" y="121"/>
                  <a:pt x="1945" y="121"/>
                </a:cubicBezTo>
                <a:cubicBezTo>
                  <a:pt x="1946" y="121"/>
                  <a:pt x="1946" y="121"/>
                  <a:pt x="1946" y="121"/>
                </a:cubicBezTo>
                <a:cubicBezTo>
                  <a:pt x="1948" y="122"/>
                  <a:pt x="1948" y="122"/>
                  <a:pt x="1948" y="122"/>
                </a:cubicBezTo>
                <a:cubicBezTo>
                  <a:pt x="1948" y="123"/>
                  <a:pt x="1948" y="123"/>
                  <a:pt x="1948" y="123"/>
                </a:cubicBezTo>
                <a:cubicBezTo>
                  <a:pt x="1949" y="123"/>
                  <a:pt x="1949" y="123"/>
                  <a:pt x="1949" y="123"/>
                </a:cubicBezTo>
                <a:cubicBezTo>
                  <a:pt x="1950" y="125"/>
                  <a:pt x="1950" y="125"/>
                  <a:pt x="1950" y="125"/>
                </a:cubicBezTo>
                <a:cubicBezTo>
                  <a:pt x="1951" y="125"/>
                  <a:pt x="1951" y="125"/>
                  <a:pt x="1951" y="125"/>
                </a:cubicBezTo>
                <a:cubicBezTo>
                  <a:pt x="1952" y="125"/>
                  <a:pt x="1952" y="125"/>
                  <a:pt x="1952" y="125"/>
                </a:cubicBezTo>
                <a:cubicBezTo>
                  <a:pt x="1952" y="123"/>
                  <a:pt x="1952" y="123"/>
                  <a:pt x="1952" y="123"/>
                </a:cubicBezTo>
                <a:cubicBezTo>
                  <a:pt x="1951" y="122"/>
                  <a:pt x="1951" y="122"/>
                  <a:pt x="1951" y="122"/>
                </a:cubicBezTo>
                <a:cubicBezTo>
                  <a:pt x="1950" y="122"/>
                  <a:pt x="1950" y="122"/>
                  <a:pt x="1950" y="122"/>
                </a:cubicBezTo>
                <a:cubicBezTo>
                  <a:pt x="1949" y="121"/>
                  <a:pt x="1949" y="121"/>
                  <a:pt x="1949" y="121"/>
                </a:cubicBezTo>
                <a:cubicBezTo>
                  <a:pt x="1949" y="120"/>
                  <a:pt x="1949" y="120"/>
                  <a:pt x="1949" y="120"/>
                </a:cubicBezTo>
                <a:cubicBezTo>
                  <a:pt x="1950" y="121"/>
                  <a:pt x="1950" y="121"/>
                  <a:pt x="1950" y="121"/>
                </a:cubicBezTo>
                <a:cubicBezTo>
                  <a:pt x="1951" y="121"/>
                  <a:pt x="1951" y="121"/>
                  <a:pt x="1951" y="121"/>
                </a:cubicBezTo>
                <a:cubicBezTo>
                  <a:pt x="1953" y="119"/>
                  <a:pt x="1953" y="119"/>
                  <a:pt x="1953" y="119"/>
                </a:cubicBezTo>
                <a:cubicBezTo>
                  <a:pt x="1953" y="118"/>
                  <a:pt x="1953" y="118"/>
                  <a:pt x="1953" y="118"/>
                </a:cubicBezTo>
                <a:cubicBezTo>
                  <a:pt x="1953" y="117"/>
                  <a:pt x="1953" y="117"/>
                  <a:pt x="1953" y="117"/>
                </a:cubicBezTo>
                <a:cubicBezTo>
                  <a:pt x="1951" y="115"/>
                  <a:pt x="1951" y="115"/>
                  <a:pt x="1951" y="115"/>
                </a:cubicBezTo>
                <a:cubicBezTo>
                  <a:pt x="1950" y="116"/>
                  <a:pt x="1950" y="116"/>
                  <a:pt x="1950" y="116"/>
                </a:cubicBezTo>
                <a:cubicBezTo>
                  <a:pt x="1948" y="115"/>
                  <a:pt x="1948" y="115"/>
                  <a:pt x="1948" y="115"/>
                </a:cubicBezTo>
                <a:cubicBezTo>
                  <a:pt x="1947" y="113"/>
                  <a:pt x="1947" y="113"/>
                  <a:pt x="1947" y="113"/>
                </a:cubicBezTo>
                <a:cubicBezTo>
                  <a:pt x="1945" y="113"/>
                  <a:pt x="1945" y="113"/>
                  <a:pt x="1945" y="113"/>
                </a:cubicBezTo>
                <a:cubicBezTo>
                  <a:pt x="1941" y="110"/>
                  <a:pt x="1941" y="110"/>
                  <a:pt x="1941" y="110"/>
                </a:cubicBezTo>
                <a:cubicBezTo>
                  <a:pt x="1940" y="108"/>
                  <a:pt x="1940" y="108"/>
                  <a:pt x="1940" y="108"/>
                </a:cubicBezTo>
                <a:cubicBezTo>
                  <a:pt x="1938" y="108"/>
                  <a:pt x="1938" y="108"/>
                  <a:pt x="1938" y="108"/>
                </a:cubicBezTo>
                <a:cubicBezTo>
                  <a:pt x="1936" y="103"/>
                  <a:pt x="1936" y="103"/>
                  <a:pt x="1936" y="103"/>
                </a:cubicBezTo>
                <a:cubicBezTo>
                  <a:pt x="1932" y="99"/>
                  <a:pt x="1932" y="99"/>
                  <a:pt x="1932" y="99"/>
                </a:cubicBezTo>
                <a:cubicBezTo>
                  <a:pt x="1931" y="95"/>
                  <a:pt x="1931" y="95"/>
                  <a:pt x="1931" y="95"/>
                </a:cubicBezTo>
                <a:cubicBezTo>
                  <a:pt x="1929" y="92"/>
                  <a:pt x="1929" y="92"/>
                  <a:pt x="1929" y="92"/>
                </a:cubicBezTo>
                <a:cubicBezTo>
                  <a:pt x="1929" y="87"/>
                  <a:pt x="1929" y="87"/>
                  <a:pt x="1929" y="87"/>
                </a:cubicBezTo>
                <a:cubicBezTo>
                  <a:pt x="1927" y="84"/>
                  <a:pt x="1927" y="84"/>
                  <a:pt x="1927" y="84"/>
                </a:cubicBezTo>
                <a:cubicBezTo>
                  <a:pt x="1926" y="78"/>
                  <a:pt x="1926" y="78"/>
                  <a:pt x="1926" y="78"/>
                </a:cubicBezTo>
                <a:cubicBezTo>
                  <a:pt x="1926" y="77"/>
                  <a:pt x="1926" y="77"/>
                  <a:pt x="1926" y="77"/>
                </a:cubicBezTo>
                <a:cubicBezTo>
                  <a:pt x="1927" y="75"/>
                  <a:pt x="1927" y="75"/>
                  <a:pt x="1927" y="75"/>
                </a:cubicBezTo>
                <a:cubicBezTo>
                  <a:pt x="1927" y="74"/>
                  <a:pt x="1927" y="74"/>
                  <a:pt x="1927" y="74"/>
                </a:cubicBezTo>
                <a:cubicBezTo>
                  <a:pt x="1925" y="74"/>
                  <a:pt x="1925" y="74"/>
                  <a:pt x="1925" y="74"/>
                </a:cubicBezTo>
                <a:cubicBezTo>
                  <a:pt x="1923" y="74"/>
                  <a:pt x="1923" y="74"/>
                  <a:pt x="1923" y="74"/>
                </a:cubicBezTo>
                <a:cubicBezTo>
                  <a:pt x="1922" y="73"/>
                  <a:pt x="1922" y="73"/>
                  <a:pt x="1922" y="73"/>
                </a:cubicBezTo>
                <a:cubicBezTo>
                  <a:pt x="1923" y="73"/>
                  <a:pt x="1923" y="73"/>
                  <a:pt x="1923" y="73"/>
                </a:cubicBezTo>
                <a:cubicBezTo>
                  <a:pt x="1925" y="73"/>
                  <a:pt x="1925" y="73"/>
                  <a:pt x="1925" y="73"/>
                </a:cubicBezTo>
                <a:cubicBezTo>
                  <a:pt x="1928" y="72"/>
                  <a:pt x="1928" y="72"/>
                  <a:pt x="1928" y="72"/>
                </a:cubicBezTo>
                <a:cubicBezTo>
                  <a:pt x="1928" y="68"/>
                  <a:pt x="1928" y="68"/>
                  <a:pt x="1928" y="68"/>
                </a:cubicBezTo>
                <a:cubicBezTo>
                  <a:pt x="1928" y="66"/>
                  <a:pt x="1928" y="66"/>
                  <a:pt x="1928" y="66"/>
                </a:cubicBezTo>
                <a:cubicBezTo>
                  <a:pt x="1926" y="66"/>
                  <a:pt x="1926" y="66"/>
                  <a:pt x="1926" y="66"/>
                </a:cubicBezTo>
                <a:cubicBezTo>
                  <a:pt x="1924" y="67"/>
                  <a:pt x="1924" y="67"/>
                  <a:pt x="1924" y="67"/>
                </a:cubicBezTo>
                <a:cubicBezTo>
                  <a:pt x="1925" y="66"/>
                  <a:pt x="1925" y="66"/>
                  <a:pt x="1925" y="66"/>
                </a:cubicBezTo>
                <a:cubicBezTo>
                  <a:pt x="1927" y="65"/>
                  <a:pt x="1927" y="65"/>
                  <a:pt x="1927" y="65"/>
                </a:cubicBezTo>
                <a:cubicBezTo>
                  <a:pt x="1928" y="64"/>
                  <a:pt x="1928" y="64"/>
                  <a:pt x="1928" y="64"/>
                </a:cubicBezTo>
                <a:cubicBezTo>
                  <a:pt x="1927" y="63"/>
                  <a:pt x="1927" y="63"/>
                  <a:pt x="1927" y="63"/>
                </a:cubicBezTo>
                <a:cubicBezTo>
                  <a:pt x="1923" y="63"/>
                  <a:pt x="1923" y="63"/>
                  <a:pt x="1923" y="63"/>
                </a:cubicBezTo>
                <a:cubicBezTo>
                  <a:pt x="1918" y="62"/>
                  <a:pt x="1918" y="62"/>
                  <a:pt x="1918" y="62"/>
                </a:cubicBezTo>
                <a:cubicBezTo>
                  <a:pt x="1917" y="61"/>
                  <a:pt x="1917" y="61"/>
                  <a:pt x="1917" y="61"/>
                </a:cubicBezTo>
                <a:cubicBezTo>
                  <a:pt x="1915" y="61"/>
                  <a:pt x="1915" y="61"/>
                  <a:pt x="1915" y="61"/>
                </a:cubicBezTo>
                <a:cubicBezTo>
                  <a:pt x="1911" y="63"/>
                  <a:pt x="1911" y="63"/>
                  <a:pt x="1911" y="63"/>
                </a:cubicBezTo>
                <a:cubicBezTo>
                  <a:pt x="1908" y="63"/>
                  <a:pt x="1908" y="63"/>
                  <a:pt x="1908" y="63"/>
                </a:cubicBezTo>
                <a:cubicBezTo>
                  <a:pt x="1907" y="64"/>
                  <a:pt x="1907" y="64"/>
                  <a:pt x="1907" y="64"/>
                </a:cubicBezTo>
                <a:cubicBezTo>
                  <a:pt x="1904" y="66"/>
                  <a:pt x="1904" y="66"/>
                  <a:pt x="1904" y="66"/>
                </a:cubicBezTo>
                <a:cubicBezTo>
                  <a:pt x="1904" y="68"/>
                  <a:pt x="1904" y="68"/>
                  <a:pt x="1904" y="68"/>
                </a:cubicBezTo>
                <a:cubicBezTo>
                  <a:pt x="1903" y="70"/>
                  <a:pt x="1903" y="70"/>
                  <a:pt x="1903" y="70"/>
                </a:cubicBezTo>
                <a:cubicBezTo>
                  <a:pt x="1904" y="72"/>
                  <a:pt x="1904" y="72"/>
                  <a:pt x="1904" y="72"/>
                </a:cubicBezTo>
                <a:cubicBezTo>
                  <a:pt x="1905" y="72"/>
                  <a:pt x="1905" y="72"/>
                  <a:pt x="1905" y="72"/>
                </a:cubicBezTo>
                <a:cubicBezTo>
                  <a:pt x="1906" y="73"/>
                  <a:pt x="1906" y="73"/>
                  <a:pt x="1906" y="73"/>
                </a:cubicBezTo>
                <a:cubicBezTo>
                  <a:pt x="1906" y="74"/>
                  <a:pt x="1906" y="74"/>
                  <a:pt x="1906" y="74"/>
                </a:cubicBezTo>
                <a:cubicBezTo>
                  <a:pt x="1904" y="74"/>
                  <a:pt x="1904" y="74"/>
                  <a:pt x="1904" y="74"/>
                </a:cubicBezTo>
                <a:cubicBezTo>
                  <a:pt x="1902" y="74"/>
                  <a:pt x="1902" y="74"/>
                  <a:pt x="1902" y="74"/>
                </a:cubicBezTo>
                <a:cubicBezTo>
                  <a:pt x="1900" y="77"/>
                  <a:pt x="1900" y="77"/>
                  <a:pt x="1900" y="77"/>
                </a:cubicBezTo>
                <a:cubicBezTo>
                  <a:pt x="1900" y="79"/>
                  <a:pt x="1900" y="79"/>
                  <a:pt x="1900" y="79"/>
                </a:cubicBezTo>
                <a:cubicBezTo>
                  <a:pt x="1901" y="81"/>
                  <a:pt x="1901" y="81"/>
                  <a:pt x="1901" y="81"/>
                </a:cubicBezTo>
                <a:cubicBezTo>
                  <a:pt x="1903" y="80"/>
                  <a:pt x="1903" y="80"/>
                  <a:pt x="1903" y="80"/>
                </a:cubicBezTo>
                <a:cubicBezTo>
                  <a:pt x="1905" y="79"/>
                  <a:pt x="1905" y="79"/>
                  <a:pt x="1905" y="79"/>
                </a:cubicBezTo>
                <a:cubicBezTo>
                  <a:pt x="1906" y="80"/>
                  <a:pt x="1906" y="80"/>
                  <a:pt x="1906" y="80"/>
                </a:cubicBezTo>
                <a:cubicBezTo>
                  <a:pt x="1904" y="81"/>
                  <a:pt x="1904" y="81"/>
                  <a:pt x="1904" y="81"/>
                </a:cubicBezTo>
                <a:cubicBezTo>
                  <a:pt x="1903" y="83"/>
                  <a:pt x="1903" y="83"/>
                  <a:pt x="1903" y="83"/>
                </a:cubicBezTo>
                <a:cubicBezTo>
                  <a:pt x="1904" y="83"/>
                  <a:pt x="1904" y="83"/>
                  <a:pt x="1904" y="83"/>
                </a:cubicBezTo>
                <a:cubicBezTo>
                  <a:pt x="1906" y="81"/>
                  <a:pt x="1906" y="81"/>
                  <a:pt x="1906" y="81"/>
                </a:cubicBezTo>
                <a:cubicBezTo>
                  <a:pt x="1907" y="81"/>
                  <a:pt x="1907" y="81"/>
                  <a:pt x="1907" y="81"/>
                </a:cubicBezTo>
                <a:cubicBezTo>
                  <a:pt x="1908" y="82"/>
                  <a:pt x="1908" y="82"/>
                  <a:pt x="1908" y="82"/>
                </a:cubicBezTo>
                <a:cubicBezTo>
                  <a:pt x="1906" y="83"/>
                  <a:pt x="1906" y="83"/>
                  <a:pt x="1906" y="83"/>
                </a:cubicBezTo>
                <a:cubicBezTo>
                  <a:pt x="1906" y="85"/>
                  <a:pt x="1906" y="85"/>
                  <a:pt x="1906" y="85"/>
                </a:cubicBezTo>
                <a:cubicBezTo>
                  <a:pt x="1907" y="86"/>
                  <a:pt x="1907" y="86"/>
                  <a:pt x="1907" y="86"/>
                </a:cubicBezTo>
                <a:cubicBezTo>
                  <a:pt x="1909" y="86"/>
                  <a:pt x="1909" y="86"/>
                  <a:pt x="1909" y="86"/>
                </a:cubicBezTo>
                <a:cubicBezTo>
                  <a:pt x="1908" y="87"/>
                  <a:pt x="1908" y="87"/>
                  <a:pt x="1908" y="87"/>
                </a:cubicBezTo>
                <a:cubicBezTo>
                  <a:pt x="1907" y="87"/>
                  <a:pt x="1907" y="87"/>
                  <a:pt x="1907" y="87"/>
                </a:cubicBezTo>
                <a:cubicBezTo>
                  <a:pt x="1905" y="88"/>
                  <a:pt x="1905" y="88"/>
                  <a:pt x="1905" y="88"/>
                </a:cubicBezTo>
                <a:cubicBezTo>
                  <a:pt x="1905" y="90"/>
                  <a:pt x="1905" y="90"/>
                  <a:pt x="1905" y="90"/>
                </a:cubicBezTo>
                <a:cubicBezTo>
                  <a:pt x="1906" y="92"/>
                  <a:pt x="1906" y="92"/>
                  <a:pt x="1906" y="92"/>
                </a:cubicBezTo>
                <a:cubicBezTo>
                  <a:pt x="1905" y="92"/>
                  <a:pt x="1905" y="92"/>
                  <a:pt x="1905" y="92"/>
                </a:cubicBezTo>
                <a:cubicBezTo>
                  <a:pt x="1904" y="92"/>
                  <a:pt x="1904" y="92"/>
                  <a:pt x="1904" y="92"/>
                </a:cubicBezTo>
                <a:cubicBezTo>
                  <a:pt x="1903" y="92"/>
                  <a:pt x="1903" y="92"/>
                  <a:pt x="1903" y="92"/>
                </a:cubicBezTo>
                <a:cubicBezTo>
                  <a:pt x="1901" y="92"/>
                  <a:pt x="1901" y="92"/>
                  <a:pt x="1901" y="92"/>
                </a:cubicBezTo>
                <a:cubicBezTo>
                  <a:pt x="1900" y="92"/>
                  <a:pt x="1900" y="92"/>
                  <a:pt x="1900" y="92"/>
                </a:cubicBezTo>
                <a:cubicBezTo>
                  <a:pt x="1898" y="94"/>
                  <a:pt x="1898" y="94"/>
                  <a:pt x="1898" y="94"/>
                </a:cubicBezTo>
                <a:cubicBezTo>
                  <a:pt x="1898" y="96"/>
                  <a:pt x="1898" y="96"/>
                  <a:pt x="1898" y="96"/>
                </a:cubicBezTo>
                <a:lnTo>
                  <a:pt x="1899" y="98"/>
                </a:lnTo>
                <a:close/>
                <a:moveTo>
                  <a:pt x="1952" y="157"/>
                </a:moveTo>
                <a:cubicBezTo>
                  <a:pt x="1953" y="158"/>
                  <a:pt x="1953" y="158"/>
                  <a:pt x="1953" y="158"/>
                </a:cubicBezTo>
                <a:cubicBezTo>
                  <a:pt x="1954" y="158"/>
                  <a:pt x="1954" y="158"/>
                  <a:pt x="1954" y="158"/>
                </a:cubicBezTo>
                <a:cubicBezTo>
                  <a:pt x="1955" y="157"/>
                  <a:pt x="1955" y="157"/>
                  <a:pt x="1955" y="157"/>
                </a:cubicBezTo>
                <a:cubicBezTo>
                  <a:pt x="1953" y="157"/>
                  <a:pt x="1953" y="157"/>
                  <a:pt x="1953" y="157"/>
                </a:cubicBezTo>
                <a:lnTo>
                  <a:pt x="1952" y="157"/>
                </a:lnTo>
                <a:close/>
                <a:moveTo>
                  <a:pt x="968" y="126"/>
                </a:moveTo>
                <a:cubicBezTo>
                  <a:pt x="968" y="128"/>
                  <a:pt x="968" y="128"/>
                  <a:pt x="968" y="128"/>
                </a:cubicBezTo>
                <a:cubicBezTo>
                  <a:pt x="968" y="128"/>
                  <a:pt x="968" y="128"/>
                  <a:pt x="968" y="128"/>
                </a:cubicBezTo>
                <a:cubicBezTo>
                  <a:pt x="970" y="128"/>
                  <a:pt x="970" y="128"/>
                  <a:pt x="970" y="128"/>
                </a:cubicBezTo>
                <a:cubicBezTo>
                  <a:pt x="971" y="126"/>
                  <a:pt x="971" y="126"/>
                  <a:pt x="971" y="126"/>
                </a:cubicBezTo>
                <a:cubicBezTo>
                  <a:pt x="971" y="126"/>
                  <a:pt x="971" y="126"/>
                  <a:pt x="971" y="126"/>
                </a:cubicBezTo>
                <a:cubicBezTo>
                  <a:pt x="970" y="126"/>
                  <a:pt x="970" y="126"/>
                  <a:pt x="970" y="126"/>
                </a:cubicBezTo>
                <a:lnTo>
                  <a:pt x="968" y="126"/>
                </a:lnTo>
                <a:close/>
                <a:moveTo>
                  <a:pt x="827" y="254"/>
                </a:moveTo>
                <a:cubicBezTo>
                  <a:pt x="827" y="253"/>
                  <a:pt x="827" y="253"/>
                  <a:pt x="827" y="253"/>
                </a:cubicBezTo>
                <a:cubicBezTo>
                  <a:pt x="827" y="252"/>
                  <a:pt x="827" y="252"/>
                  <a:pt x="827" y="252"/>
                </a:cubicBezTo>
                <a:cubicBezTo>
                  <a:pt x="826" y="251"/>
                  <a:pt x="826" y="251"/>
                  <a:pt x="826" y="251"/>
                </a:cubicBezTo>
                <a:cubicBezTo>
                  <a:pt x="825" y="252"/>
                  <a:pt x="825" y="252"/>
                  <a:pt x="825" y="252"/>
                </a:cubicBezTo>
                <a:cubicBezTo>
                  <a:pt x="824" y="252"/>
                  <a:pt x="824" y="252"/>
                  <a:pt x="824" y="252"/>
                </a:cubicBezTo>
                <a:cubicBezTo>
                  <a:pt x="823" y="250"/>
                  <a:pt x="823" y="250"/>
                  <a:pt x="823" y="250"/>
                </a:cubicBezTo>
                <a:cubicBezTo>
                  <a:pt x="823" y="250"/>
                  <a:pt x="823" y="250"/>
                  <a:pt x="823" y="250"/>
                </a:cubicBezTo>
                <a:cubicBezTo>
                  <a:pt x="822" y="251"/>
                  <a:pt x="822" y="251"/>
                  <a:pt x="822" y="251"/>
                </a:cubicBezTo>
                <a:cubicBezTo>
                  <a:pt x="820" y="253"/>
                  <a:pt x="820" y="253"/>
                  <a:pt x="820" y="253"/>
                </a:cubicBezTo>
                <a:cubicBezTo>
                  <a:pt x="819" y="253"/>
                  <a:pt x="819" y="253"/>
                  <a:pt x="819" y="253"/>
                </a:cubicBezTo>
                <a:cubicBezTo>
                  <a:pt x="818" y="254"/>
                  <a:pt x="818" y="254"/>
                  <a:pt x="818" y="254"/>
                </a:cubicBezTo>
                <a:cubicBezTo>
                  <a:pt x="818" y="256"/>
                  <a:pt x="818" y="256"/>
                  <a:pt x="818" y="256"/>
                </a:cubicBezTo>
                <a:cubicBezTo>
                  <a:pt x="818" y="258"/>
                  <a:pt x="818" y="258"/>
                  <a:pt x="818" y="258"/>
                </a:cubicBezTo>
                <a:cubicBezTo>
                  <a:pt x="817" y="258"/>
                  <a:pt x="817" y="258"/>
                  <a:pt x="817" y="258"/>
                </a:cubicBezTo>
                <a:cubicBezTo>
                  <a:pt x="816" y="260"/>
                  <a:pt x="816" y="260"/>
                  <a:pt x="816" y="260"/>
                </a:cubicBezTo>
                <a:cubicBezTo>
                  <a:pt x="817" y="261"/>
                  <a:pt x="817" y="261"/>
                  <a:pt x="817" y="261"/>
                </a:cubicBezTo>
                <a:cubicBezTo>
                  <a:pt x="816" y="263"/>
                  <a:pt x="816" y="263"/>
                  <a:pt x="816" y="263"/>
                </a:cubicBezTo>
                <a:cubicBezTo>
                  <a:pt x="816" y="263"/>
                  <a:pt x="816" y="263"/>
                  <a:pt x="816" y="263"/>
                </a:cubicBezTo>
                <a:cubicBezTo>
                  <a:pt x="818" y="264"/>
                  <a:pt x="818" y="264"/>
                  <a:pt x="818" y="264"/>
                </a:cubicBezTo>
                <a:cubicBezTo>
                  <a:pt x="818" y="265"/>
                  <a:pt x="818" y="265"/>
                  <a:pt x="818" y="265"/>
                </a:cubicBezTo>
                <a:cubicBezTo>
                  <a:pt x="819" y="265"/>
                  <a:pt x="819" y="265"/>
                  <a:pt x="819" y="265"/>
                </a:cubicBezTo>
                <a:cubicBezTo>
                  <a:pt x="819" y="267"/>
                  <a:pt x="819" y="267"/>
                  <a:pt x="819" y="267"/>
                </a:cubicBezTo>
                <a:cubicBezTo>
                  <a:pt x="820" y="267"/>
                  <a:pt x="820" y="267"/>
                  <a:pt x="820" y="267"/>
                </a:cubicBezTo>
                <a:cubicBezTo>
                  <a:pt x="821" y="266"/>
                  <a:pt x="821" y="266"/>
                  <a:pt x="821" y="266"/>
                </a:cubicBezTo>
                <a:cubicBezTo>
                  <a:pt x="821" y="265"/>
                  <a:pt x="821" y="265"/>
                  <a:pt x="821" y="265"/>
                </a:cubicBezTo>
                <a:cubicBezTo>
                  <a:pt x="822" y="264"/>
                  <a:pt x="822" y="264"/>
                  <a:pt x="822" y="264"/>
                </a:cubicBezTo>
                <a:cubicBezTo>
                  <a:pt x="822" y="263"/>
                  <a:pt x="822" y="263"/>
                  <a:pt x="822" y="263"/>
                </a:cubicBezTo>
                <a:cubicBezTo>
                  <a:pt x="821" y="263"/>
                  <a:pt x="821" y="263"/>
                  <a:pt x="821" y="263"/>
                </a:cubicBezTo>
                <a:cubicBezTo>
                  <a:pt x="822" y="262"/>
                  <a:pt x="822" y="262"/>
                  <a:pt x="822" y="262"/>
                </a:cubicBezTo>
                <a:cubicBezTo>
                  <a:pt x="823" y="261"/>
                  <a:pt x="823" y="261"/>
                  <a:pt x="823" y="261"/>
                </a:cubicBezTo>
                <a:cubicBezTo>
                  <a:pt x="824" y="259"/>
                  <a:pt x="824" y="259"/>
                  <a:pt x="824" y="259"/>
                </a:cubicBezTo>
                <a:cubicBezTo>
                  <a:pt x="825" y="259"/>
                  <a:pt x="825" y="259"/>
                  <a:pt x="825" y="259"/>
                </a:cubicBezTo>
                <a:cubicBezTo>
                  <a:pt x="826" y="258"/>
                  <a:pt x="826" y="258"/>
                  <a:pt x="826" y="258"/>
                </a:cubicBezTo>
                <a:cubicBezTo>
                  <a:pt x="826" y="257"/>
                  <a:pt x="826" y="257"/>
                  <a:pt x="826" y="257"/>
                </a:cubicBezTo>
                <a:cubicBezTo>
                  <a:pt x="826" y="256"/>
                  <a:pt x="826" y="256"/>
                  <a:pt x="826" y="256"/>
                </a:cubicBezTo>
                <a:cubicBezTo>
                  <a:pt x="827" y="255"/>
                  <a:pt x="827" y="255"/>
                  <a:pt x="827" y="255"/>
                </a:cubicBezTo>
                <a:lnTo>
                  <a:pt x="827" y="254"/>
                </a:lnTo>
                <a:close/>
                <a:moveTo>
                  <a:pt x="840" y="250"/>
                </a:moveTo>
                <a:cubicBezTo>
                  <a:pt x="840" y="251"/>
                  <a:pt x="840" y="251"/>
                  <a:pt x="840" y="251"/>
                </a:cubicBezTo>
                <a:cubicBezTo>
                  <a:pt x="842" y="251"/>
                  <a:pt x="842" y="251"/>
                  <a:pt x="842" y="251"/>
                </a:cubicBezTo>
                <a:cubicBezTo>
                  <a:pt x="842" y="251"/>
                  <a:pt x="842" y="250"/>
                  <a:pt x="842" y="250"/>
                </a:cubicBezTo>
                <a:cubicBezTo>
                  <a:pt x="840" y="250"/>
                  <a:pt x="840" y="250"/>
                  <a:pt x="840" y="250"/>
                </a:cubicBezTo>
                <a:close/>
                <a:moveTo>
                  <a:pt x="826" y="225"/>
                </a:moveTo>
                <a:cubicBezTo>
                  <a:pt x="825" y="224"/>
                  <a:pt x="825" y="224"/>
                  <a:pt x="825" y="224"/>
                </a:cubicBezTo>
                <a:cubicBezTo>
                  <a:pt x="827" y="224"/>
                  <a:pt x="827" y="224"/>
                  <a:pt x="827" y="224"/>
                </a:cubicBezTo>
                <a:cubicBezTo>
                  <a:pt x="827" y="223"/>
                  <a:pt x="827" y="223"/>
                  <a:pt x="827" y="223"/>
                </a:cubicBezTo>
                <a:cubicBezTo>
                  <a:pt x="826" y="222"/>
                  <a:pt x="826" y="222"/>
                  <a:pt x="826" y="222"/>
                </a:cubicBezTo>
                <a:cubicBezTo>
                  <a:pt x="825" y="220"/>
                  <a:pt x="825" y="220"/>
                  <a:pt x="825" y="220"/>
                </a:cubicBezTo>
                <a:cubicBezTo>
                  <a:pt x="825" y="221"/>
                  <a:pt x="825" y="221"/>
                  <a:pt x="825" y="221"/>
                </a:cubicBezTo>
                <a:cubicBezTo>
                  <a:pt x="825" y="222"/>
                  <a:pt x="825" y="222"/>
                  <a:pt x="825" y="222"/>
                </a:cubicBezTo>
                <a:cubicBezTo>
                  <a:pt x="824" y="223"/>
                  <a:pt x="824" y="223"/>
                  <a:pt x="824" y="223"/>
                </a:cubicBezTo>
                <a:cubicBezTo>
                  <a:pt x="823" y="222"/>
                  <a:pt x="823" y="222"/>
                  <a:pt x="823" y="222"/>
                </a:cubicBezTo>
                <a:cubicBezTo>
                  <a:pt x="821" y="221"/>
                  <a:pt x="821" y="221"/>
                  <a:pt x="821" y="221"/>
                </a:cubicBezTo>
                <a:cubicBezTo>
                  <a:pt x="821" y="220"/>
                  <a:pt x="821" y="220"/>
                  <a:pt x="821" y="220"/>
                </a:cubicBezTo>
                <a:cubicBezTo>
                  <a:pt x="821" y="220"/>
                  <a:pt x="821" y="220"/>
                  <a:pt x="821" y="220"/>
                </a:cubicBezTo>
                <a:cubicBezTo>
                  <a:pt x="819" y="222"/>
                  <a:pt x="819" y="222"/>
                  <a:pt x="819" y="222"/>
                </a:cubicBezTo>
                <a:cubicBezTo>
                  <a:pt x="816" y="222"/>
                  <a:pt x="816" y="222"/>
                  <a:pt x="816" y="222"/>
                </a:cubicBezTo>
                <a:cubicBezTo>
                  <a:pt x="815" y="221"/>
                  <a:pt x="815" y="221"/>
                  <a:pt x="815" y="221"/>
                </a:cubicBezTo>
                <a:cubicBezTo>
                  <a:pt x="817" y="219"/>
                  <a:pt x="817" y="219"/>
                  <a:pt x="817" y="219"/>
                </a:cubicBezTo>
                <a:cubicBezTo>
                  <a:pt x="818" y="219"/>
                  <a:pt x="818" y="219"/>
                  <a:pt x="818" y="219"/>
                </a:cubicBezTo>
                <a:cubicBezTo>
                  <a:pt x="819" y="218"/>
                  <a:pt x="819" y="218"/>
                  <a:pt x="819" y="218"/>
                </a:cubicBezTo>
                <a:cubicBezTo>
                  <a:pt x="819" y="217"/>
                  <a:pt x="819" y="217"/>
                  <a:pt x="819" y="217"/>
                </a:cubicBezTo>
                <a:cubicBezTo>
                  <a:pt x="819" y="216"/>
                  <a:pt x="819" y="216"/>
                  <a:pt x="819" y="216"/>
                </a:cubicBezTo>
                <a:cubicBezTo>
                  <a:pt x="819" y="214"/>
                  <a:pt x="819" y="214"/>
                  <a:pt x="819" y="214"/>
                </a:cubicBezTo>
                <a:cubicBezTo>
                  <a:pt x="819" y="213"/>
                  <a:pt x="819" y="213"/>
                  <a:pt x="819" y="213"/>
                </a:cubicBezTo>
                <a:cubicBezTo>
                  <a:pt x="819" y="212"/>
                  <a:pt x="819" y="212"/>
                  <a:pt x="819" y="212"/>
                </a:cubicBezTo>
                <a:cubicBezTo>
                  <a:pt x="818" y="211"/>
                  <a:pt x="818" y="211"/>
                  <a:pt x="818" y="211"/>
                </a:cubicBezTo>
                <a:cubicBezTo>
                  <a:pt x="818" y="210"/>
                  <a:pt x="818" y="210"/>
                  <a:pt x="818" y="210"/>
                </a:cubicBezTo>
                <a:cubicBezTo>
                  <a:pt x="815" y="207"/>
                  <a:pt x="815" y="207"/>
                  <a:pt x="815" y="207"/>
                </a:cubicBezTo>
                <a:cubicBezTo>
                  <a:pt x="813" y="206"/>
                  <a:pt x="813" y="206"/>
                  <a:pt x="813" y="206"/>
                </a:cubicBezTo>
                <a:cubicBezTo>
                  <a:pt x="813" y="205"/>
                  <a:pt x="813" y="205"/>
                  <a:pt x="813" y="205"/>
                </a:cubicBezTo>
                <a:cubicBezTo>
                  <a:pt x="812" y="203"/>
                  <a:pt x="812" y="203"/>
                  <a:pt x="812" y="203"/>
                </a:cubicBezTo>
                <a:cubicBezTo>
                  <a:pt x="811" y="203"/>
                  <a:pt x="811" y="203"/>
                  <a:pt x="811" y="203"/>
                </a:cubicBezTo>
                <a:cubicBezTo>
                  <a:pt x="810" y="201"/>
                  <a:pt x="810" y="201"/>
                  <a:pt x="810" y="201"/>
                </a:cubicBezTo>
                <a:cubicBezTo>
                  <a:pt x="811" y="199"/>
                  <a:pt x="811" y="199"/>
                  <a:pt x="811" y="199"/>
                </a:cubicBezTo>
                <a:cubicBezTo>
                  <a:pt x="810" y="197"/>
                  <a:pt x="810" y="197"/>
                  <a:pt x="810" y="197"/>
                </a:cubicBezTo>
                <a:cubicBezTo>
                  <a:pt x="807" y="197"/>
                  <a:pt x="807" y="197"/>
                  <a:pt x="807" y="197"/>
                </a:cubicBezTo>
                <a:cubicBezTo>
                  <a:pt x="804" y="196"/>
                  <a:pt x="804" y="196"/>
                  <a:pt x="804" y="196"/>
                </a:cubicBezTo>
                <a:cubicBezTo>
                  <a:pt x="803" y="194"/>
                  <a:pt x="803" y="194"/>
                  <a:pt x="803" y="194"/>
                </a:cubicBezTo>
                <a:cubicBezTo>
                  <a:pt x="804" y="193"/>
                  <a:pt x="804" y="193"/>
                  <a:pt x="804" y="193"/>
                </a:cubicBezTo>
                <a:cubicBezTo>
                  <a:pt x="804" y="192"/>
                  <a:pt x="804" y="192"/>
                  <a:pt x="804" y="192"/>
                </a:cubicBezTo>
                <a:cubicBezTo>
                  <a:pt x="803" y="191"/>
                  <a:pt x="803" y="191"/>
                  <a:pt x="803" y="191"/>
                </a:cubicBezTo>
                <a:cubicBezTo>
                  <a:pt x="802" y="190"/>
                  <a:pt x="802" y="190"/>
                  <a:pt x="802" y="190"/>
                </a:cubicBezTo>
                <a:cubicBezTo>
                  <a:pt x="801" y="189"/>
                  <a:pt x="801" y="189"/>
                  <a:pt x="801" y="189"/>
                </a:cubicBezTo>
                <a:cubicBezTo>
                  <a:pt x="800" y="192"/>
                  <a:pt x="800" y="192"/>
                  <a:pt x="800" y="192"/>
                </a:cubicBezTo>
                <a:cubicBezTo>
                  <a:pt x="799" y="193"/>
                  <a:pt x="799" y="193"/>
                  <a:pt x="799" y="193"/>
                </a:cubicBezTo>
                <a:cubicBezTo>
                  <a:pt x="798" y="194"/>
                  <a:pt x="798" y="194"/>
                  <a:pt x="798" y="194"/>
                </a:cubicBezTo>
                <a:cubicBezTo>
                  <a:pt x="797" y="194"/>
                  <a:pt x="797" y="194"/>
                  <a:pt x="797" y="194"/>
                </a:cubicBezTo>
                <a:cubicBezTo>
                  <a:pt x="797" y="191"/>
                  <a:pt x="797" y="191"/>
                  <a:pt x="797" y="191"/>
                </a:cubicBezTo>
                <a:cubicBezTo>
                  <a:pt x="797" y="189"/>
                  <a:pt x="797" y="189"/>
                  <a:pt x="797" y="189"/>
                </a:cubicBezTo>
                <a:cubicBezTo>
                  <a:pt x="797" y="188"/>
                  <a:pt x="797" y="188"/>
                  <a:pt x="797" y="188"/>
                </a:cubicBezTo>
                <a:cubicBezTo>
                  <a:pt x="798" y="188"/>
                  <a:pt x="798" y="188"/>
                  <a:pt x="798" y="188"/>
                </a:cubicBezTo>
                <a:cubicBezTo>
                  <a:pt x="799" y="188"/>
                  <a:pt x="799" y="188"/>
                  <a:pt x="799" y="188"/>
                </a:cubicBezTo>
                <a:cubicBezTo>
                  <a:pt x="799" y="187"/>
                  <a:pt x="799" y="187"/>
                  <a:pt x="799" y="187"/>
                </a:cubicBezTo>
                <a:cubicBezTo>
                  <a:pt x="799" y="185"/>
                  <a:pt x="799" y="185"/>
                  <a:pt x="799" y="185"/>
                </a:cubicBezTo>
                <a:cubicBezTo>
                  <a:pt x="799" y="183"/>
                  <a:pt x="799" y="183"/>
                  <a:pt x="799" y="183"/>
                </a:cubicBezTo>
                <a:cubicBezTo>
                  <a:pt x="797" y="184"/>
                  <a:pt x="797" y="184"/>
                  <a:pt x="797" y="184"/>
                </a:cubicBezTo>
                <a:cubicBezTo>
                  <a:pt x="797" y="183"/>
                  <a:pt x="797" y="183"/>
                  <a:pt x="797" y="183"/>
                </a:cubicBezTo>
                <a:cubicBezTo>
                  <a:pt x="798" y="181"/>
                  <a:pt x="798" y="181"/>
                  <a:pt x="798" y="181"/>
                </a:cubicBezTo>
                <a:cubicBezTo>
                  <a:pt x="797" y="180"/>
                  <a:pt x="797" y="180"/>
                  <a:pt x="797" y="180"/>
                </a:cubicBezTo>
                <a:cubicBezTo>
                  <a:pt x="794" y="182"/>
                  <a:pt x="794" y="182"/>
                  <a:pt x="794" y="182"/>
                </a:cubicBezTo>
                <a:cubicBezTo>
                  <a:pt x="792" y="184"/>
                  <a:pt x="792" y="184"/>
                  <a:pt x="792" y="184"/>
                </a:cubicBezTo>
                <a:cubicBezTo>
                  <a:pt x="790" y="187"/>
                  <a:pt x="790" y="187"/>
                  <a:pt x="790" y="187"/>
                </a:cubicBezTo>
                <a:cubicBezTo>
                  <a:pt x="788" y="190"/>
                  <a:pt x="788" y="190"/>
                  <a:pt x="788" y="190"/>
                </a:cubicBezTo>
                <a:cubicBezTo>
                  <a:pt x="788" y="192"/>
                  <a:pt x="788" y="192"/>
                  <a:pt x="788" y="192"/>
                </a:cubicBezTo>
                <a:cubicBezTo>
                  <a:pt x="787" y="193"/>
                  <a:pt x="787" y="193"/>
                  <a:pt x="787" y="193"/>
                </a:cubicBezTo>
                <a:cubicBezTo>
                  <a:pt x="787" y="194"/>
                  <a:pt x="787" y="194"/>
                  <a:pt x="787" y="194"/>
                </a:cubicBezTo>
                <a:cubicBezTo>
                  <a:pt x="785" y="198"/>
                  <a:pt x="785" y="198"/>
                  <a:pt x="785" y="198"/>
                </a:cubicBezTo>
                <a:cubicBezTo>
                  <a:pt x="786" y="199"/>
                  <a:pt x="786" y="199"/>
                  <a:pt x="786" y="199"/>
                </a:cubicBezTo>
                <a:cubicBezTo>
                  <a:pt x="784" y="200"/>
                  <a:pt x="784" y="200"/>
                  <a:pt x="784" y="200"/>
                </a:cubicBezTo>
                <a:cubicBezTo>
                  <a:pt x="784" y="201"/>
                  <a:pt x="784" y="201"/>
                  <a:pt x="784" y="201"/>
                </a:cubicBezTo>
                <a:cubicBezTo>
                  <a:pt x="784" y="203"/>
                  <a:pt x="784" y="203"/>
                  <a:pt x="784" y="203"/>
                </a:cubicBezTo>
                <a:cubicBezTo>
                  <a:pt x="781" y="205"/>
                  <a:pt x="781" y="205"/>
                  <a:pt x="781" y="205"/>
                </a:cubicBezTo>
                <a:cubicBezTo>
                  <a:pt x="780" y="207"/>
                  <a:pt x="780" y="207"/>
                  <a:pt x="780" y="207"/>
                </a:cubicBezTo>
                <a:cubicBezTo>
                  <a:pt x="780" y="210"/>
                  <a:pt x="780" y="210"/>
                  <a:pt x="780" y="210"/>
                </a:cubicBezTo>
                <a:cubicBezTo>
                  <a:pt x="780" y="211"/>
                  <a:pt x="780" y="211"/>
                  <a:pt x="780" y="211"/>
                </a:cubicBezTo>
                <a:cubicBezTo>
                  <a:pt x="780" y="214"/>
                  <a:pt x="780" y="214"/>
                  <a:pt x="780" y="214"/>
                </a:cubicBezTo>
                <a:cubicBezTo>
                  <a:pt x="779" y="215"/>
                  <a:pt x="779" y="215"/>
                  <a:pt x="779" y="215"/>
                </a:cubicBezTo>
                <a:cubicBezTo>
                  <a:pt x="776" y="215"/>
                  <a:pt x="776" y="215"/>
                  <a:pt x="776" y="215"/>
                </a:cubicBezTo>
                <a:cubicBezTo>
                  <a:pt x="773" y="217"/>
                  <a:pt x="773" y="217"/>
                  <a:pt x="773" y="217"/>
                </a:cubicBezTo>
                <a:cubicBezTo>
                  <a:pt x="773" y="218"/>
                  <a:pt x="773" y="218"/>
                  <a:pt x="773" y="218"/>
                </a:cubicBezTo>
                <a:cubicBezTo>
                  <a:pt x="772" y="222"/>
                  <a:pt x="772" y="222"/>
                  <a:pt x="772" y="222"/>
                </a:cubicBezTo>
                <a:cubicBezTo>
                  <a:pt x="772" y="224"/>
                  <a:pt x="772" y="224"/>
                  <a:pt x="772" y="224"/>
                </a:cubicBezTo>
                <a:cubicBezTo>
                  <a:pt x="772" y="224"/>
                  <a:pt x="773" y="224"/>
                  <a:pt x="773" y="224"/>
                </a:cubicBezTo>
                <a:cubicBezTo>
                  <a:pt x="774" y="222"/>
                  <a:pt x="774" y="222"/>
                  <a:pt x="774" y="222"/>
                </a:cubicBezTo>
                <a:cubicBezTo>
                  <a:pt x="775" y="222"/>
                  <a:pt x="775" y="222"/>
                  <a:pt x="775" y="222"/>
                </a:cubicBezTo>
                <a:cubicBezTo>
                  <a:pt x="775" y="222"/>
                  <a:pt x="775" y="222"/>
                  <a:pt x="775" y="222"/>
                </a:cubicBezTo>
                <a:cubicBezTo>
                  <a:pt x="777" y="223"/>
                  <a:pt x="777" y="223"/>
                  <a:pt x="777" y="223"/>
                </a:cubicBezTo>
                <a:cubicBezTo>
                  <a:pt x="778" y="223"/>
                  <a:pt x="778" y="223"/>
                  <a:pt x="778" y="223"/>
                </a:cubicBezTo>
                <a:cubicBezTo>
                  <a:pt x="779" y="223"/>
                  <a:pt x="779" y="223"/>
                  <a:pt x="779" y="223"/>
                </a:cubicBezTo>
                <a:cubicBezTo>
                  <a:pt x="780" y="223"/>
                  <a:pt x="780" y="223"/>
                  <a:pt x="780" y="223"/>
                </a:cubicBezTo>
                <a:cubicBezTo>
                  <a:pt x="781" y="223"/>
                  <a:pt x="781" y="223"/>
                  <a:pt x="781" y="223"/>
                </a:cubicBezTo>
                <a:cubicBezTo>
                  <a:pt x="781" y="225"/>
                  <a:pt x="781" y="225"/>
                  <a:pt x="781" y="225"/>
                </a:cubicBezTo>
                <a:cubicBezTo>
                  <a:pt x="780" y="227"/>
                  <a:pt x="780" y="227"/>
                  <a:pt x="780" y="227"/>
                </a:cubicBezTo>
                <a:cubicBezTo>
                  <a:pt x="780" y="228"/>
                  <a:pt x="780" y="228"/>
                  <a:pt x="780" y="228"/>
                </a:cubicBezTo>
                <a:cubicBezTo>
                  <a:pt x="779" y="230"/>
                  <a:pt x="779" y="230"/>
                  <a:pt x="779" y="230"/>
                </a:cubicBezTo>
                <a:cubicBezTo>
                  <a:pt x="779" y="232"/>
                  <a:pt x="779" y="232"/>
                  <a:pt x="779" y="232"/>
                </a:cubicBezTo>
                <a:cubicBezTo>
                  <a:pt x="779" y="233"/>
                  <a:pt x="779" y="233"/>
                  <a:pt x="779" y="233"/>
                </a:cubicBezTo>
                <a:cubicBezTo>
                  <a:pt x="780" y="233"/>
                  <a:pt x="780" y="233"/>
                  <a:pt x="780" y="233"/>
                </a:cubicBezTo>
                <a:cubicBezTo>
                  <a:pt x="781" y="233"/>
                  <a:pt x="781" y="233"/>
                  <a:pt x="781" y="233"/>
                </a:cubicBezTo>
                <a:cubicBezTo>
                  <a:pt x="783" y="233"/>
                  <a:pt x="783" y="233"/>
                  <a:pt x="783" y="233"/>
                </a:cubicBezTo>
                <a:cubicBezTo>
                  <a:pt x="784" y="233"/>
                  <a:pt x="784" y="233"/>
                  <a:pt x="784" y="233"/>
                </a:cubicBezTo>
                <a:cubicBezTo>
                  <a:pt x="785" y="233"/>
                  <a:pt x="785" y="233"/>
                  <a:pt x="785" y="233"/>
                </a:cubicBezTo>
                <a:cubicBezTo>
                  <a:pt x="786" y="232"/>
                  <a:pt x="786" y="232"/>
                  <a:pt x="786" y="232"/>
                </a:cubicBezTo>
                <a:cubicBezTo>
                  <a:pt x="787" y="231"/>
                  <a:pt x="787" y="231"/>
                  <a:pt x="787" y="231"/>
                </a:cubicBezTo>
                <a:cubicBezTo>
                  <a:pt x="789" y="231"/>
                  <a:pt x="789" y="231"/>
                  <a:pt x="789" y="231"/>
                </a:cubicBezTo>
                <a:cubicBezTo>
                  <a:pt x="790" y="230"/>
                  <a:pt x="790" y="230"/>
                  <a:pt x="790" y="230"/>
                </a:cubicBezTo>
                <a:cubicBezTo>
                  <a:pt x="791" y="227"/>
                  <a:pt x="791" y="227"/>
                  <a:pt x="791" y="227"/>
                </a:cubicBezTo>
                <a:cubicBezTo>
                  <a:pt x="792" y="226"/>
                  <a:pt x="792" y="226"/>
                  <a:pt x="792" y="226"/>
                </a:cubicBezTo>
                <a:cubicBezTo>
                  <a:pt x="793" y="225"/>
                  <a:pt x="793" y="225"/>
                  <a:pt x="793" y="225"/>
                </a:cubicBezTo>
                <a:cubicBezTo>
                  <a:pt x="794" y="225"/>
                  <a:pt x="794" y="225"/>
                  <a:pt x="794" y="225"/>
                </a:cubicBezTo>
                <a:cubicBezTo>
                  <a:pt x="795" y="225"/>
                  <a:pt x="795" y="225"/>
                  <a:pt x="795" y="225"/>
                </a:cubicBezTo>
                <a:cubicBezTo>
                  <a:pt x="796" y="224"/>
                  <a:pt x="796" y="224"/>
                  <a:pt x="796" y="224"/>
                </a:cubicBezTo>
                <a:cubicBezTo>
                  <a:pt x="797" y="224"/>
                  <a:pt x="797" y="224"/>
                  <a:pt x="797" y="224"/>
                </a:cubicBezTo>
                <a:cubicBezTo>
                  <a:pt x="799" y="224"/>
                  <a:pt x="799" y="224"/>
                  <a:pt x="799" y="224"/>
                </a:cubicBezTo>
                <a:cubicBezTo>
                  <a:pt x="799" y="221"/>
                  <a:pt x="799" y="221"/>
                  <a:pt x="799" y="221"/>
                </a:cubicBezTo>
                <a:cubicBezTo>
                  <a:pt x="799" y="219"/>
                  <a:pt x="799" y="219"/>
                  <a:pt x="799" y="219"/>
                </a:cubicBezTo>
                <a:cubicBezTo>
                  <a:pt x="801" y="218"/>
                  <a:pt x="801" y="218"/>
                  <a:pt x="801" y="218"/>
                </a:cubicBezTo>
                <a:cubicBezTo>
                  <a:pt x="802" y="216"/>
                  <a:pt x="802" y="216"/>
                  <a:pt x="802" y="216"/>
                </a:cubicBezTo>
                <a:cubicBezTo>
                  <a:pt x="803" y="216"/>
                  <a:pt x="803" y="216"/>
                  <a:pt x="803" y="216"/>
                </a:cubicBezTo>
                <a:cubicBezTo>
                  <a:pt x="804" y="217"/>
                  <a:pt x="804" y="217"/>
                  <a:pt x="804" y="217"/>
                </a:cubicBezTo>
                <a:cubicBezTo>
                  <a:pt x="805" y="216"/>
                  <a:pt x="805" y="216"/>
                  <a:pt x="805" y="216"/>
                </a:cubicBezTo>
                <a:cubicBezTo>
                  <a:pt x="806" y="216"/>
                  <a:pt x="806" y="216"/>
                  <a:pt x="806" y="216"/>
                </a:cubicBezTo>
                <a:cubicBezTo>
                  <a:pt x="807" y="216"/>
                  <a:pt x="807" y="216"/>
                  <a:pt x="807" y="216"/>
                </a:cubicBezTo>
                <a:cubicBezTo>
                  <a:pt x="807" y="218"/>
                  <a:pt x="807" y="218"/>
                  <a:pt x="807" y="218"/>
                </a:cubicBezTo>
                <a:cubicBezTo>
                  <a:pt x="806" y="219"/>
                  <a:pt x="806" y="219"/>
                  <a:pt x="806" y="219"/>
                </a:cubicBezTo>
                <a:cubicBezTo>
                  <a:pt x="805" y="220"/>
                  <a:pt x="805" y="220"/>
                  <a:pt x="805" y="220"/>
                </a:cubicBezTo>
                <a:cubicBezTo>
                  <a:pt x="807" y="221"/>
                  <a:pt x="807" y="221"/>
                  <a:pt x="807" y="221"/>
                </a:cubicBezTo>
                <a:cubicBezTo>
                  <a:pt x="809" y="221"/>
                  <a:pt x="809" y="221"/>
                  <a:pt x="809" y="221"/>
                </a:cubicBezTo>
                <a:cubicBezTo>
                  <a:pt x="811" y="222"/>
                  <a:pt x="811" y="222"/>
                  <a:pt x="811" y="222"/>
                </a:cubicBezTo>
                <a:cubicBezTo>
                  <a:pt x="811" y="223"/>
                  <a:pt x="811" y="223"/>
                  <a:pt x="811" y="223"/>
                </a:cubicBezTo>
                <a:cubicBezTo>
                  <a:pt x="810" y="225"/>
                  <a:pt x="810" y="225"/>
                  <a:pt x="810" y="225"/>
                </a:cubicBezTo>
                <a:cubicBezTo>
                  <a:pt x="809" y="225"/>
                  <a:pt x="809" y="225"/>
                  <a:pt x="809" y="225"/>
                </a:cubicBezTo>
                <a:cubicBezTo>
                  <a:pt x="809" y="228"/>
                  <a:pt x="809" y="228"/>
                  <a:pt x="809" y="228"/>
                </a:cubicBezTo>
                <a:cubicBezTo>
                  <a:pt x="810" y="228"/>
                  <a:pt x="810" y="228"/>
                  <a:pt x="810" y="228"/>
                </a:cubicBezTo>
                <a:cubicBezTo>
                  <a:pt x="811" y="228"/>
                  <a:pt x="811" y="228"/>
                  <a:pt x="811" y="228"/>
                </a:cubicBezTo>
                <a:cubicBezTo>
                  <a:pt x="812" y="228"/>
                  <a:pt x="812" y="228"/>
                  <a:pt x="812" y="228"/>
                </a:cubicBezTo>
                <a:cubicBezTo>
                  <a:pt x="813" y="228"/>
                  <a:pt x="813" y="228"/>
                  <a:pt x="813" y="228"/>
                </a:cubicBezTo>
                <a:cubicBezTo>
                  <a:pt x="814" y="228"/>
                  <a:pt x="814" y="228"/>
                  <a:pt x="814" y="228"/>
                </a:cubicBezTo>
                <a:cubicBezTo>
                  <a:pt x="814" y="229"/>
                  <a:pt x="814" y="229"/>
                  <a:pt x="814" y="229"/>
                </a:cubicBezTo>
                <a:cubicBezTo>
                  <a:pt x="816" y="229"/>
                  <a:pt x="816" y="229"/>
                  <a:pt x="816" y="229"/>
                </a:cubicBezTo>
                <a:cubicBezTo>
                  <a:pt x="817" y="230"/>
                  <a:pt x="817" y="230"/>
                  <a:pt x="817" y="230"/>
                </a:cubicBezTo>
                <a:cubicBezTo>
                  <a:pt x="818" y="230"/>
                  <a:pt x="818" y="230"/>
                  <a:pt x="818" y="230"/>
                </a:cubicBezTo>
                <a:cubicBezTo>
                  <a:pt x="821" y="232"/>
                  <a:pt x="821" y="232"/>
                  <a:pt x="821" y="232"/>
                </a:cubicBezTo>
                <a:cubicBezTo>
                  <a:pt x="822" y="231"/>
                  <a:pt x="822" y="231"/>
                  <a:pt x="822" y="231"/>
                </a:cubicBezTo>
                <a:cubicBezTo>
                  <a:pt x="823" y="229"/>
                  <a:pt x="823" y="229"/>
                  <a:pt x="823" y="229"/>
                </a:cubicBezTo>
                <a:cubicBezTo>
                  <a:pt x="824" y="229"/>
                  <a:pt x="824" y="229"/>
                  <a:pt x="824" y="229"/>
                </a:cubicBezTo>
                <a:cubicBezTo>
                  <a:pt x="826" y="227"/>
                  <a:pt x="826" y="227"/>
                  <a:pt x="826" y="227"/>
                </a:cubicBezTo>
                <a:cubicBezTo>
                  <a:pt x="827" y="227"/>
                  <a:pt x="827" y="227"/>
                  <a:pt x="827" y="227"/>
                </a:cubicBezTo>
                <a:cubicBezTo>
                  <a:pt x="828" y="226"/>
                  <a:pt x="828" y="226"/>
                  <a:pt x="828" y="226"/>
                </a:cubicBezTo>
                <a:lnTo>
                  <a:pt x="826" y="225"/>
                </a:lnTo>
                <a:close/>
                <a:moveTo>
                  <a:pt x="848" y="236"/>
                </a:moveTo>
                <a:cubicBezTo>
                  <a:pt x="847" y="236"/>
                  <a:pt x="847" y="236"/>
                  <a:pt x="847" y="236"/>
                </a:cubicBezTo>
                <a:cubicBezTo>
                  <a:pt x="845" y="236"/>
                  <a:pt x="845" y="236"/>
                  <a:pt x="845" y="236"/>
                </a:cubicBezTo>
                <a:cubicBezTo>
                  <a:pt x="844" y="235"/>
                  <a:pt x="844" y="235"/>
                  <a:pt x="844" y="235"/>
                </a:cubicBezTo>
                <a:cubicBezTo>
                  <a:pt x="843" y="233"/>
                  <a:pt x="843" y="233"/>
                  <a:pt x="843" y="233"/>
                </a:cubicBezTo>
                <a:cubicBezTo>
                  <a:pt x="842" y="234"/>
                  <a:pt x="842" y="234"/>
                  <a:pt x="842" y="234"/>
                </a:cubicBezTo>
                <a:cubicBezTo>
                  <a:pt x="840" y="234"/>
                  <a:pt x="840" y="234"/>
                  <a:pt x="840" y="234"/>
                </a:cubicBezTo>
                <a:cubicBezTo>
                  <a:pt x="840" y="234"/>
                  <a:pt x="840" y="234"/>
                  <a:pt x="840" y="234"/>
                </a:cubicBezTo>
                <a:cubicBezTo>
                  <a:pt x="839" y="235"/>
                  <a:pt x="839" y="235"/>
                  <a:pt x="839" y="235"/>
                </a:cubicBezTo>
                <a:cubicBezTo>
                  <a:pt x="840" y="236"/>
                  <a:pt x="840" y="236"/>
                  <a:pt x="840" y="236"/>
                </a:cubicBezTo>
                <a:cubicBezTo>
                  <a:pt x="841" y="237"/>
                  <a:pt x="841" y="237"/>
                  <a:pt x="841" y="237"/>
                </a:cubicBezTo>
                <a:cubicBezTo>
                  <a:pt x="842" y="240"/>
                  <a:pt x="842" y="240"/>
                  <a:pt x="842" y="240"/>
                </a:cubicBezTo>
                <a:cubicBezTo>
                  <a:pt x="843" y="240"/>
                  <a:pt x="843" y="240"/>
                  <a:pt x="843" y="240"/>
                </a:cubicBezTo>
                <a:cubicBezTo>
                  <a:pt x="843" y="242"/>
                  <a:pt x="843" y="242"/>
                  <a:pt x="843" y="242"/>
                </a:cubicBezTo>
                <a:cubicBezTo>
                  <a:pt x="844" y="242"/>
                  <a:pt x="844" y="242"/>
                  <a:pt x="844" y="242"/>
                </a:cubicBezTo>
                <a:cubicBezTo>
                  <a:pt x="845" y="242"/>
                  <a:pt x="845" y="242"/>
                  <a:pt x="845" y="242"/>
                </a:cubicBezTo>
                <a:cubicBezTo>
                  <a:pt x="846" y="241"/>
                  <a:pt x="846" y="241"/>
                  <a:pt x="846" y="241"/>
                </a:cubicBezTo>
                <a:cubicBezTo>
                  <a:pt x="847" y="241"/>
                  <a:pt x="847" y="241"/>
                  <a:pt x="847" y="241"/>
                </a:cubicBezTo>
                <a:cubicBezTo>
                  <a:pt x="848" y="241"/>
                  <a:pt x="848" y="241"/>
                  <a:pt x="848" y="241"/>
                </a:cubicBezTo>
                <a:cubicBezTo>
                  <a:pt x="848" y="240"/>
                  <a:pt x="848" y="240"/>
                  <a:pt x="848" y="240"/>
                </a:cubicBezTo>
                <a:cubicBezTo>
                  <a:pt x="848" y="239"/>
                  <a:pt x="848" y="239"/>
                  <a:pt x="848" y="239"/>
                </a:cubicBezTo>
                <a:lnTo>
                  <a:pt x="848" y="236"/>
                </a:lnTo>
                <a:close/>
                <a:moveTo>
                  <a:pt x="789" y="253"/>
                </a:moveTo>
                <a:cubicBezTo>
                  <a:pt x="789" y="253"/>
                  <a:pt x="789" y="254"/>
                  <a:pt x="789" y="254"/>
                </a:cubicBezTo>
                <a:cubicBezTo>
                  <a:pt x="790" y="254"/>
                  <a:pt x="790" y="254"/>
                  <a:pt x="790" y="254"/>
                </a:cubicBezTo>
                <a:cubicBezTo>
                  <a:pt x="792" y="251"/>
                  <a:pt x="792" y="251"/>
                  <a:pt x="792" y="251"/>
                </a:cubicBezTo>
                <a:cubicBezTo>
                  <a:pt x="793" y="251"/>
                  <a:pt x="793" y="251"/>
                  <a:pt x="793" y="251"/>
                </a:cubicBezTo>
                <a:cubicBezTo>
                  <a:pt x="794" y="252"/>
                  <a:pt x="794" y="252"/>
                  <a:pt x="794" y="252"/>
                </a:cubicBezTo>
                <a:cubicBezTo>
                  <a:pt x="794" y="253"/>
                  <a:pt x="794" y="253"/>
                  <a:pt x="794" y="253"/>
                </a:cubicBezTo>
                <a:cubicBezTo>
                  <a:pt x="796" y="253"/>
                  <a:pt x="796" y="253"/>
                  <a:pt x="796" y="253"/>
                </a:cubicBezTo>
                <a:cubicBezTo>
                  <a:pt x="799" y="250"/>
                  <a:pt x="799" y="250"/>
                  <a:pt x="799" y="250"/>
                </a:cubicBezTo>
                <a:cubicBezTo>
                  <a:pt x="800" y="250"/>
                  <a:pt x="800" y="250"/>
                  <a:pt x="800" y="250"/>
                </a:cubicBezTo>
                <a:cubicBezTo>
                  <a:pt x="802" y="249"/>
                  <a:pt x="802" y="249"/>
                  <a:pt x="802" y="249"/>
                </a:cubicBezTo>
                <a:cubicBezTo>
                  <a:pt x="803" y="246"/>
                  <a:pt x="803" y="246"/>
                  <a:pt x="803" y="246"/>
                </a:cubicBezTo>
                <a:cubicBezTo>
                  <a:pt x="805" y="246"/>
                  <a:pt x="805" y="246"/>
                  <a:pt x="805" y="246"/>
                </a:cubicBezTo>
                <a:cubicBezTo>
                  <a:pt x="807" y="245"/>
                  <a:pt x="807" y="245"/>
                  <a:pt x="807" y="245"/>
                </a:cubicBezTo>
                <a:cubicBezTo>
                  <a:pt x="807" y="243"/>
                  <a:pt x="807" y="243"/>
                  <a:pt x="807" y="243"/>
                </a:cubicBezTo>
                <a:cubicBezTo>
                  <a:pt x="809" y="241"/>
                  <a:pt x="809" y="241"/>
                  <a:pt x="809" y="241"/>
                </a:cubicBezTo>
                <a:cubicBezTo>
                  <a:pt x="808" y="241"/>
                  <a:pt x="808" y="241"/>
                  <a:pt x="808" y="241"/>
                </a:cubicBezTo>
                <a:cubicBezTo>
                  <a:pt x="806" y="241"/>
                  <a:pt x="806" y="241"/>
                  <a:pt x="806" y="241"/>
                </a:cubicBezTo>
                <a:cubicBezTo>
                  <a:pt x="806" y="240"/>
                  <a:pt x="806" y="240"/>
                  <a:pt x="806" y="240"/>
                </a:cubicBezTo>
                <a:cubicBezTo>
                  <a:pt x="804" y="240"/>
                  <a:pt x="804" y="240"/>
                  <a:pt x="804" y="240"/>
                </a:cubicBezTo>
                <a:cubicBezTo>
                  <a:pt x="803" y="241"/>
                  <a:pt x="803" y="241"/>
                  <a:pt x="803" y="241"/>
                </a:cubicBezTo>
                <a:cubicBezTo>
                  <a:pt x="802" y="240"/>
                  <a:pt x="802" y="240"/>
                  <a:pt x="802" y="240"/>
                </a:cubicBezTo>
                <a:cubicBezTo>
                  <a:pt x="801" y="241"/>
                  <a:pt x="801" y="241"/>
                  <a:pt x="801" y="241"/>
                </a:cubicBezTo>
                <a:cubicBezTo>
                  <a:pt x="800" y="242"/>
                  <a:pt x="800" y="242"/>
                  <a:pt x="800" y="242"/>
                </a:cubicBezTo>
                <a:cubicBezTo>
                  <a:pt x="798" y="241"/>
                  <a:pt x="798" y="241"/>
                  <a:pt x="798" y="241"/>
                </a:cubicBezTo>
                <a:cubicBezTo>
                  <a:pt x="797" y="240"/>
                  <a:pt x="797" y="240"/>
                  <a:pt x="797" y="240"/>
                </a:cubicBezTo>
                <a:cubicBezTo>
                  <a:pt x="797" y="240"/>
                  <a:pt x="797" y="240"/>
                  <a:pt x="797" y="240"/>
                </a:cubicBezTo>
                <a:cubicBezTo>
                  <a:pt x="795" y="241"/>
                  <a:pt x="795" y="241"/>
                  <a:pt x="795" y="241"/>
                </a:cubicBezTo>
                <a:cubicBezTo>
                  <a:pt x="793" y="243"/>
                  <a:pt x="793" y="243"/>
                  <a:pt x="793" y="243"/>
                </a:cubicBezTo>
                <a:cubicBezTo>
                  <a:pt x="793" y="244"/>
                  <a:pt x="793" y="244"/>
                  <a:pt x="793" y="244"/>
                </a:cubicBezTo>
                <a:cubicBezTo>
                  <a:pt x="792" y="245"/>
                  <a:pt x="792" y="245"/>
                  <a:pt x="792" y="245"/>
                </a:cubicBezTo>
                <a:cubicBezTo>
                  <a:pt x="788" y="246"/>
                  <a:pt x="788" y="246"/>
                  <a:pt x="788" y="246"/>
                </a:cubicBezTo>
                <a:cubicBezTo>
                  <a:pt x="788" y="247"/>
                  <a:pt x="788" y="247"/>
                  <a:pt x="788" y="247"/>
                </a:cubicBezTo>
                <a:cubicBezTo>
                  <a:pt x="789" y="248"/>
                  <a:pt x="789" y="248"/>
                  <a:pt x="789" y="248"/>
                </a:cubicBezTo>
                <a:cubicBezTo>
                  <a:pt x="789" y="250"/>
                  <a:pt x="789" y="250"/>
                  <a:pt x="789" y="250"/>
                </a:cubicBezTo>
                <a:cubicBezTo>
                  <a:pt x="789" y="252"/>
                  <a:pt x="789" y="252"/>
                  <a:pt x="789" y="252"/>
                </a:cubicBezTo>
                <a:lnTo>
                  <a:pt x="789" y="253"/>
                </a:lnTo>
                <a:close/>
                <a:moveTo>
                  <a:pt x="803" y="178"/>
                </a:moveTo>
                <a:cubicBezTo>
                  <a:pt x="802" y="178"/>
                  <a:pt x="802" y="178"/>
                  <a:pt x="802" y="178"/>
                </a:cubicBezTo>
                <a:cubicBezTo>
                  <a:pt x="801" y="180"/>
                  <a:pt x="801" y="180"/>
                  <a:pt x="801" y="180"/>
                </a:cubicBezTo>
                <a:cubicBezTo>
                  <a:pt x="801" y="183"/>
                  <a:pt x="801" y="183"/>
                  <a:pt x="801" y="183"/>
                </a:cubicBezTo>
                <a:cubicBezTo>
                  <a:pt x="801" y="184"/>
                  <a:pt x="801" y="184"/>
                  <a:pt x="801" y="184"/>
                </a:cubicBezTo>
                <a:cubicBezTo>
                  <a:pt x="801" y="185"/>
                  <a:pt x="801" y="185"/>
                  <a:pt x="801" y="185"/>
                </a:cubicBezTo>
                <a:cubicBezTo>
                  <a:pt x="801" y="187"/>
                  <a:pt x="801" y="187"/>
                  <a:pt x="801" y="187"/>
                </a:cubicBezTo>
                <a:cubicBezTo>
                  <a:pt x="802" y="186"/>
                  <a:pt x="802" y="186"/>
                  <a:pt x="802" y="186"/>
                </a:cubicBezTo>
                <a:cubicBezTo>
                  <a:pt x="804" y="183"/>
                  <a:pt x="804" y="183"/>
                  <a:pt x="804" y="183"/>
                </a:cubicBezTo>
                <a:cubicBezTo>
                  <a:pt x="803" y="182"/>
                  <a:pt x="803" y="182"/>
                  <a:pt x="803" y="182"/>
                </a:cubicBezTo>
                <a:cubicBezTo>
                  <a:pt x="803" y="181"/>
                  <a:pt x="803" y="181"/>
                  <a:pt x="803" y="181"/>
                </a:cubicBezTo>
                <a:cubicBezTo>
                  <a:pt x="804" y="180"/>
                  <a:pt x="804" y="180"/>
                  <a:pt x="804" y="180"/>
                </a:cubicBezTo>
                <a:lnTo>
                  <a:pt x="803" y="178"/>
                </a:lnTo>
                <a:close/>
                <a:moveTo>
                  <a:pt x="785" y="103"/>
                </a:moveTo>
                <a:cubicBezTo>
                  <a:pt x="785" y="105"/>
                  <a:pt x="785" y="105"/>
                  <a:pt x="785" y="105"/>
                </a:cubicBezTo>
                <a:cubicBezTo>
                  <a:pt x="786" y="104"/>
                  <a:pt x="786" y="104"/>
                  <a:pt x="786" y="104"/>
                </a:cubicBezTo>
                <a:cubicBezTo>
                  <a:pt x="787" y="104"/>
                  <a:pt x="787" y="104"/>
                  <a:pt x="787" y="104"/>
                </a:cubicBezTo>
                <a:cubicBezTo>
                  <a:pt x="787" y="102"/>
                  <a:pt x="787" y="102"/>
                  <a:pt x="787" y="102"/>
                </a:cubicBezTo>
                <a:cubicBezTo>
                  <a:pt x="786" y="102"/>
                  <a:pt x="786" y="102"/>
                  <a:pt x="786" y="102"/>
                </a:cubicBezTo>
                <a:lnTo>
                  <a:pt x="785" y="103"/>
                </a:lnTo>
                <a:close/>
                <a:moveTo>
                  <a:pt x="419" y="22"/>
                </a:moveTo>
                <a:cubicBezTo>
                  <a:pt x="419" y="20"/>
                  <a:pt x="419" y="20"/>
                  <a:pt x="419" y="20"/>
                </a:cubicBezTo>
                <a:cubicBezTo>
                  <a:pt x="419" y="16"/>
                  <a:pt x="419" y="16"/>
                  <a:pt x="419" y="16"/>
                </a:cubicBezTo>
                <a:cubicBezTo>
                  <a:pt x="417" y="18"/>
                  <a:pt x="417" y="18"/>
                  <a:pt x="417" y="18"/>
                </a:cubicBezTo>
                <a:cubicBezTo>
                  <a:pt x="417" y="20"/>
                  <a:pt x="417" y="20"/>
                  <a:pt x="417" y="20"/>
                </a:cubicBezTo>
                <a:cubicBezTo>
                  <a:pt x="416" y="21"/>
                  <a:pt x="416" y="21"/>
                  <a:pt x="416" y="21"/>
                </a:cubicBezTo>
                <a:cubicBezTo>
                  <a:pt x="417" y="21"/>
                  <a:pt x="417" y="21"/>
                  <a:pt x="417" y="21"/>
                </a:cubicBezTo>
                <a:cubicBezTo>
                  <a:pt x="417" y="21"/>
                  <a:pt x="418" y="22"/>
                  <a:pt x="419" y="22"/>
                </a:cubicBezTo>
                <a:close/>
                <a:moveTo>
                  <a:pt x="784" y="107"/>
                </a:moveTo>
                <a:cubicBezTo>
                  <a:pt x="784" y="106"/>
                  <a:pt x="784" y="106"/>
                  <a:pt x="784" y="106"/>
                </a:cubicBezTo>
                <a:cubicBezTo>
                  <a:pt x="784" y="103"/>
                  <a:pt x="784" y="103"/>
                  <a:pt x="784" y="103"/>
                </a:cubicBezTo>
                <a:cubicBezTo>
                  <a:pt x="783" y="102"/>
                  <a:pt x="783" y="102"/>
                  <a:pt x="783" y="102"/>
                </a:cubicBezTo>
                <a:cubicBezTo>
                  <a:pt x="783" y="103"/>
                  <a:pt x="783" y="103"/>
                  <a:pt x="783" y="103"/>
                </a:cubicBezTo>
                <a:cubicBezTo>
                  <a:pt x="782" y="104"/>
                  <a:pt x="782" y="104"/>
                  <a:pt x="782" y="104"/>
                </a:cubicBezTo>
                <a:cubicBezTo>
                  <a:pt x="783" y="105"/>
                  <a:pt x="783" y="105"/>
                  <a:pt x="783" y="105"/>
                </a:cubicBezTo>
                <a:cubicBezTo>
                  <a:pt x="783" y="106"/>
                  <a:pt x="783" y="106"/>
                  <a:pt x="783" y="106"/>
                </a:cubicBezTo>
                <a:lnTo>
                  <a:pt x="784" y="107"/>
                </a:lnTo>
                <a:close/>
                <a:moveTo>
                  <a:pt x="417" y="29"/>
                </a:moveTo>
                <a:cubicBezTo>
                  <a:pt x="419" y="30"/>
                  <a:pt x="419" y="30"/>
                  <a:pt x="419" y="30"/>
                </a:cubicBezTo>
                <a:cubicBezTo>
                  <a:pt x="422" y="34"/>
                  <a:pt x="422" y="34"/>
                  <a:pt x="422" y="34"/>
                </a:cubicBezTo>
                <a:cubicBezTo>
                  <a:pt x="423" y="32"/>
                  <a:pt x="423" y="32"/>
                  <a:pt x="423" y="32"/>
                </a:cubicBezTo>
                <a:cubicBezTo>
                  <a:pt x="422" y="29"/>
                  <a:pt x="422" y="29"/>
                  <a:pt x="422" y="29"/>
                </a:cubicBezTo>
                <a:cubicBezTo>
                  <a:pt x="422" y="26"/>
                  <a:pt x="422" y="26"/>
                  <a:pt x="422" y="26"/>
                </a:cubicBezTo>
                <a:cubicBezTo>
                  <a:pt x="420" y="26"/>
                  <a:pt x="420" y="26"/>
                  <a:pt x="420" y="26"/>
                </a:cubicBezTo>
                <a:cubicBezTo>
                  <a:pt x="417" y="23"/>
                  <a:pt x="417" y="23"/>
                  <a:pt x="417" y="23"/>
                </a:cubicBezTo>
                <a:cubicBezTo>
                  <a:pt x="416" y="23"/>
                  <a:pt x="416" y="23"/>
                  <a:pt x="416" y="23"/>
                </a:cubicBezTo>
                <a:cubicBezTo>
                  <a:pt x="416" y="25"/>
                  <a:pt x="416" y="25"/>
                  <a:pt x="416" y="25"/>
                </a:cubicBezTo>
                <a:cubicBezTo>
                  <a:pt x="420" y="28"/>
                  <a:pt x="420" y="28"/>
                  <a:pt x="420" y="28"/>
                </a:cubicBezTo>
                <a:cubicBezTo>
                  <a:pt x="417" y="27"/>
                  <a:pt x="417" y="27"/>
                  <a:pt x="417" y="27"/>
                </a:cubicBezTo>
                <a:lnTo>
                  <a:pt x="417" y="29"/>
                </a:lnTo>
                <a:close/>
                <a:moveTo>
                  <a:pt x="812" y="181"/>
                </a:moveTo>
                <a:cubicBezTo>
                  <a:pt x="812" y="179"/>
                  <a:pt x="812" y="179"/>
                  <a:pt x="812" y="179"/>
                </a:cubicBezTo>
                <a:cubicBezTo>
                  <a:pt x="810" y="178"/>
                  <a:pt x="810" y="178"/>
                  <a:pt x="810" y="178"/>
                </a:cubicBezTo>
                <a:cubicBezTo>
                  <a:pt x="809" y="176"/>
                  <a:pt x="809" y="176"/>
                  <a:pt x="809" y="176"/>
                </a:cubicBezTo>
                <a:cubicBezTo>
                  <a:pt x="809" y="177"/>
                  <a:pt x="809" y="177"/>
                  <a:pt x="809" y="177"/>
                </a:cubicBezTo>
                <a:cubicBezTo>
                  <a:pt x="809" y="180"/>
                  <a:pt x="809" y="180"/>
                  <a:pt x="809" y="180"/>
                </a:cubicBezTo>
                <a:cubicBezTo>
                  <a:pt x="810" y="181"/>
                  <a:pt x="810" y="181"/>
                  <a:pt x="810" y="181"/>
                </a:cubicBezTo>
                <a:cubicBezTo>
                  <a:pt x="810" y="183"/>
                  <a:pt x="810" y="183"/>
                  <a:pt x="810" y="183"/>
                </a:cubicBezTo>
                <a:cubicBezTo>
                  <a:pt x="810" y="184"/>
                  <a:pt x="810" y="184"/>
                  <a:pt x="810" y="184"/>
                </a:cubicBezTo>
                <a:cubicBezTo>
                  <a:pt x="812" y="185"/>
                  <a:pt x="812" y="185"/>
                  <a:pt x="812" y="185"/>
                </a:cubicBezTo>
                <a:cubicBezTo>
                  <a:pt x="813" y="186"/>
                  <a:pt x="813" y="186"/>
                  <a:pt x="813" y="186"/>
                </a:cubicBezTo>
                <a:cubicBezTo>
                  <a:pt x="813" y="187"/>
                  <a:pt x="813" y="187"/>
                  <a:pt x="813" y="187"/>
                </a:cubicBezTo>
                <a:cubicBezTo>
                  <a:pt x="814" y="187"/>
                  <a:pt x="814" y="187"/>
                  <a:pt x="814" y="187"/>
                </a:cubicBezTo>
                <a:cubicBezTo>
                  <a:pt x="816" y="187"/>
                  <a:pt x="816" y="187"/>
                  <a:pt x="816" y="187"/>
                </a:cubicBezTo>
                <a:cubicBezTo>
                  <a:pt x="817" y="185"/>
                  <a:pt x="817" y="185"/>
                  <a:pt x="817" y="185"/>
                </a:cubicBezTo>
                <a:cubicBezTo>
                  <a:pt x="815" y="185"/>
                  <a:pt x="815" y="185"/>
                  <a:pt x="815" y="185"/>
                </a:cubicBezTo>
                <a:cubicBezTo>
                  <a:pt x="813" y="184"/>
                  <a:pt x="813" y="184"/>
                  <a:pt x="813" y="184"/>
                </a:cubicBezTo>
                <a:cubicBezTo>
                  <a:pt x="813" y="181"/>
                  <a:pt x="813" y="181"/>
                  <a:pt x="813" y="181"/>
                </a:cubicBezTo>
                <a:lnTo>
                  <a:pt x="812" y="181"/>
                </a:lnTo>
                <a:close/>
                <a:moveTo>
                  <a:pt x="778" y="92"/>
                </a:moveTo>
                <a:cubicBezTo>
                  <a:pt x="779" y="93"/>
                  <a:pt x="779" y="93"/>
                  <a:pt x="779" y="93"/>
                </a:cubicBezTo>
                <a:cubicBezTo>
                  <a:pt x="780" y="92"/>
                  <a:pt x="780" y="92"/>
                  <a:pt x="780" y="92"/>
                </a:cubicBezTo>
                <a:cubicBezTo>
                  <a:pt x="781" y="92"/>
                  <a:pt x="781" y="92"/>
                  <a:pt x="781" y="92"/>
                </a:cubicBezTo>
                <a:cubicBezTo>
                  <a:pt x="781" y="91"/>
                  <a:pt x="781" y="91"/>
                  <a:pt x="781" y="91"/>
                </a:cubicBezTo>
                <a:cubicBezTo>
                  <a:pt x="780" y="91"/>
                  <a:pt x="780" y="91"/>
                  <a:pt x="780" y="91"/>
                </a:cubicBezTo>
                <a:cubicBezTo>
                  <a:pt x="779" y="91"/>
                  <a:pt x="779" y="91"/>
                  <a:pt x="779" y="91"/>
                </a:cubicBezTo>
                <a:lnTo>
                  <a:pt x="778" y="92"/>
                </a:lnTo>
                <a:close/>
                <a:moveTo>
                  <a:pt x="899" y="317"/>
                </a:moveTo>
                <a:cubicBezTo>
                  <a:pt x="899" y="316"/>
                  <a:pt x="899" y="316"/>
                  <a:pt x="899" y="316"/>
                </a:cubicBezTo>
                <a:cubicBezTo>
                  <a:pt x="898" y="318"/>
                  <a:pt x="898" y="318"/>
                  <a:pt x="898" y="318"/>
                </a:cubicBezTo>
                <a:lnTo>
                  <a:pt x="899" y="317"/>
                </a:lnTo>
                <a:close/>
                <a:moveTo>
                  <a:pt x="903" y="920"/>
                </a:moveTo>
                <a:cubicBezTo>
                  <a:pt x="904" y="919"/>
                  <a:pt x="904" y="919"/>
                  <a:pt x="904" y="919"/>
                </a:cubicBezTo>
                <a:cubicBezTo>
                  <a:pt x="901" y="920"/>
                  <a:pt x="901" y="920"/>
                  <a:pt x="901" y="920"/>
                </a:cubicBezTo>
                <a:lnTo>
                  <a:pt x="903" y="920"/>
                </a:lnTo>
                <a:close/>
                <a:moveTo>
                  <a:pt x="900" y="921"/>
                </a:moveTo>
                <a:cubicBezTo>
                  <a:pt x="897" y="923"/>
                  <a:pt x="897" y="923"/>
                  <a:pt x="897" y="923"/>
                </a:cubicBezTo>
                <a:cubicBezTo>
                  <a:pt x="895" y="922"/>
                  <a:pt x="895" y="922"/>
                  <a:pt x="895" y="922"/>
                </a:cubicBezTo>
                <a:cubicBezTo>
                  <a:pt x="893" y="923"/>
                  <a:pt x="893" y="923"/>
                  <a:pt x="893" y="923"/>
                </a:cubicBezTo>
                <a:cubicBezTo>
                  <a:pt x="892" y="924"/>
                  <a:pt x="892" y="924"/>
                  <a:pt x="892" y="924"/>
                </a:cubicBezTo>
                <a:cubicBezTo>
                  <a:pt x="894" y="926"/>
                  <a:pt x="894" y="926"/>
                  <a:pt x="894" y="926"/>
                </a:cubicBezTo>
                <a:cubicBezTo>
                  <a:pt x="894" y="927"/>
                  <a:pt x="894" y="927"/>
                  <a:pt x="894" y="927"/>
                </a:cubicBezTo>
                <a:cubicBezTo>
                  <a:pt x="892" y="929"/>
                  <a:pt x="892" y="929"/>
                  <a:pt x="892" y="929"/>
                </a:cubicBezTo>
                <a:cubicBezTo>
                  <a:pt x="890" y="930"/>
                  <a:pt x="890" y="930"/>
                  <a:pt x="890" y="930"/>
                </a:cubicBezTo>
                <a:cubicBezTo>
                  <a:pt x="892" y="931"/>
                  <a:pt x="892" y="931"/>
                  <a:pt x="892" y="931"/>
                </a:cubicBezTo>
                <a:cubicBezTo>
                  <a:pt x="897" y="930"/>
                  <a:pt x="897" y="930"/>
                  <a:pt x="897" y="930"/>
                </a:cubicBezTo>
                <a:cubicBezTo>
                  <a:pt x="899" y="928"/>
                  <a:pt x="899" y="928"/>
                  <a:pt x="899" y="928"/>
                </a:cubicBezTo>
                <a:cubicBezTo>
                  <a:pt x="899" y="926"/>
                  <a:pt x="899" y="926"/>
                  <a:pt x="899" y="926"/>
                </a:cubicBezTo>
                <a:cubicBezTo>
                  <a:pt x="898" y="924"/>
                  <a:pt x="898" y="924"/>
                  <a:pt x="898" y="924"/>
                </a:cubicBezTo>
                <a:cubicBezTo>
                  <a:pt x="901" y="922"/>
                  <a:pt x="901" y="922"/>
                  <a:pt x="901" y="922"/>
                </a:cubicBezTo>
                <a:lnTo>
                  <a:pt x="900" y="921"/>
                </a:lnTo>
                <a:close/>
                <a:moveTo>
                  <a:pt x="931" y="500"/>
                </a:moveTo>
                <a:cubicBezTo>
                  <a:pt x="931" y="500"/>
                  <a:pt x="931" y="500"/>
                  <a:pt x="931" y="500"/>
                </a:cubicBezTo>
                <a:cubicBezTo>
                  <a:pt x="930" y="500"/>
                  <a:pt x="930" y="500"/>
                  <a:pt x="930" y="500"/>
                </a:cubicBezTo>
                <a:cubicBezTo>
                  <a:pt x="930" y="499"/>
                  <a:pt x="930" y="499"/>
                  <a:pt x="930" y="499"/>
                </a:cubicBezTo>
                <a:cubicBezTo>
                  <a:pt x="931" y="498"/>
                  <a:pt x="931" y="498"/>
                  <a:pt x="931" y="498"/>
                </a:cubicBezTo>
                <a:cubicBezTo>
                  <a:pt x="931" y="497"/>
                  <a:pt x="931" y="497"/>
                  <a:pt x="931" y="497"/>
                </a:cubicBezTo>
                <a:cubicBezTo>
                  <a:pt x="933" y="496"/>
                  <a:pt x="933" y="496"/>
                  <a:pt x="933" y="496"/>
                </a:cubicBezTo>
                <a:cubicBezTo>
                  <a:pt x="933" y="496"/>
                  <a:pt x="933" y="496"/>
                  <a:pt x="933" y="496"/>
                </a:cubicBezTo>
                <a:cubicBezTo>
                  <a:pt x="933" y="496"/>
                  <a:pt x="933" y="496"/>
                  <a:pt x="933" y="496"/>
                </a:cubicBezTo>
                <a:cubicBezTo>
                  <a:pt x="932" y="496"/>
                  <a:pt x="932" y="496"/>
                  <a:pt x="932" y="496"/>
                </a:cubicBezTo>
                <a:cubicBezTo>
                  <a:pt x="931" y="497"/>
                  <a:pt x="931" y="497"/>
                  <a:pt x="931" y="497"/>
                </a:cubicBezTo>
                <a:cubicBezTo>
                  <a:pt x="930" y="499"/>
                  <a:pt x="930" y="499"/>
                  <a:pt x="930" y="499"/>
                </a:cubicBezTo>
                <a:cubicBezTo>
                  <a:pt x="930" y="500"/>
                  <a:pt x="930" y="500"/>
                  <a:pt x="930" y="500"/>
                </a:cubicBezTo>
                <a:lnTo>
                  <a:pt x="931" y="500"/>
                </a:lnTo>
                <a:close/>
                <a:moveTo>
                  <a:pt x="931" y="520"/>
                </a:moveTo>
                <a:cubicBezTo>
                  <a:pt x="934" y="522"/>
                  <a:pt x="934" y="522"/>
                  <a:pt x="934" y="522"/>
                </a:cubicBezTo>
                <a:cubicBezTo>
                  <a:pt x="935" y="523"/>
                  <a:pt x="935" y="523"/>
                  <a:pt x="935" y="523"/>
                </a:cubicBezTo>
                <a:cubicBezTo>
                  <a:pt x="936" y="523"/>
                  <a:pt x="936" y="523"/>
                  <a:pt x="936" y="523"/>
                </a:cubicBezTo>
                <a:cubicBezTo>
                  <a:pt x="936" y="521"/>
                  <a:pt x="936" y="521"/>
                  <a:pt x="936" y="521"/>
                </a:cubicBezTo>
                <a:cubicBezTo>
                  <a:pt x="937" y="521"/>
                  <a:pt x="937" y="521"/>
                  <a:pt x="937" y="521"/>
                </a:cubicBezTo>
                <a:cubicBezTo>
                  <a:pt x="937" y="522"/>
                  <a:pt x="937" y="522"/>
                  <a:pt x="937" y="522"/>
                </a:cubicBezTo>
                <a:cubicBezTo>
                  <a:pt x="939" y="522"/>
                  <a:pt x="939" y="522"/>
                  <a:pt x="939" y="522"/>
                </a:cubicBezTo>
                <a:cubicBezTo>
                  <a:pt x="942" y="519"/>
                  <a:pt x="942" y="519"/>
                  <a:pt x="942" y="519"/>
                </a:cubicBezTo>
                <a:cubicBezTo>
                  <a:pt x="945" y="519"/>
                  <a:pt x="945" y="519"/>
                  <a:pt x="945" y="519"/>
                </a:cubicBezTo>
                <a:cubicBezTo>
                  <a:pt x="946" y="518"/>
                  <a:pt x="946" y="518"/>
                  <a:pt x="946" y="518"/>
                </a:cubicBezTo>
                <a:cubicBezTo>
                  <a:pt x="948" y="517"/>
                  <a:pt x="948" y="517"/>
                  <a:pt x="948" y="517"/>
                </a:cubicBezTo>
                <a:cubicBezTo>
                  <a:pt x="948" y="517"/>
                  <a:pt x="948" y="517"/>
                  <a:pt x="948" y="517"/>
                </a:cubicBezTo>
                <a:cubicBezTo>
                  <a:pt x="947" y="514"/>
                  <a:pt x="947" y="514"/>
                  <a:pt x="947" y="514"/>
                </a:cubicBezTo>
                <a:cubicBezTo>
                  <a:pt x="945" y="514"/>
                  <a:pt x="945" y="514"/>
                  <a:pt x="945" y="514"/>
                </a:cubicBezTo>
                <a:cubicBezTo>
                  <a:pt x="944" y="514"/>
                  <a:pt x="944" y="514"/>
                  <a:pt x="944" y="514"/>
                </a:cubicBezTo>
                <a:cubicBezTo>
                  <a:pt x="944" y="515"/>
                  <a:pt x="944" y="515"/>
                  <a:pt x="944" y="515"/>
                </a:cubicBezTo>
                <a:cubicBezTo>
                  <a:pt x="943" y="516"/>
                  <a:pt x="943" y="516"/>
                  <a:pt x="943" y="516"/>
                </a:cubicBezTo>
                <a:cubicBezTo>
                  <a:pt x="942" y="515"/>
                  <a:pt x="942" y="515"/>
                  <a:pt x="942" y="515"/>
                </a:cubicBezTo>
                <a:cubicBezTo>
                  <a:pt x="943" y="514"/>
                  <a:pt x="943" y="514"/>
                  <a:pt x="943" y="514"/>
                </a:cubicBezTo>
                <a:cubicBezTo>
                  <a:pt x="942" y="513"/>
                  <a:pt x="942" y="513"/>
                  <a:pt x="942" y="513"/>
                </a:cubicBezTo>
                <a:cubicBezTo>
                  <a:pt x="940" y="512"/>
                  <a:pt x="940" y="512"/>
                  <a:pt x="940" y="512"/>
                </a:cubicBezTo>
                <a:cubicBezTo>
                  <a:pt x="941" y="511"/>
                  <a:pt x="941" y="511"/>
                  <a:pt x="941" y="511"/>
                </a:cubicBezTo>
                <a:cubicBezTo>
                  <a:pt x="944" y="507"/>
                  <a:pt x="944" y="507"/>
                  <a:pt x="944" y="507"/>
                </a:cubicBezTo>
                <a:cubicBezTo>
                  <a:pt x="944" y="506"/>
                  <a:pt x="944" y="506"/>
                  <a:pt x="944" y="506"/>
                </a:cubicBezTo>
                <a:cubicBezTo>
                  <a:pt x="942" y="505"/>
                  <a:pt x="942" y="505"/>
                  <a:pt x="942" y="505"/>
                </a:cubicBezTo>
                <a:cubicBezTo>
                  <a:pt x="943" y="504"/>
                  <a:pt x="943" y="504"/>
                  <a:pt x="943" y="504"/>
                </a:cubicBezTo>
                <a:cubicBezTo>
                  <a:pt x="943" y="503"/>
                  <a:pt x="943" y="503"/>
                  <a:pt x="943" y="503"/>
                </a:cubicBezTo>
                <a:cubicBezTo>
                  <a:pt x="941" y="503"/>
                  <a:pt x="941" y="503"/>
                  <a:pt x="941" y="503"/>
                </a:cubicBezTo>
                <a:cubicBezTo>
                  <a:pt x="940" y="505"/>
                  <a:pt x="940" y="505"/>
                  <a:pt x="940" y="505"/>
                </a:cubicBezTo>
                <a:cubicBezTo>
                  <a:pt x="938" y="507"/>
                  <a:pt x="938" y="507"/>
                  <a:pt x="938" y="507"/>
                </a:cubicBezTo>
                <a:cubicBezTo>
                  <a:pt x="937" y="509"/>
                  <a:pt x="937" y="509"/>
                  <a:pt x="937" y="509"/>
                </a:cubicBezTo>
                <a:cubicBezTo>
                  <a:pt x="936" y="510"/>
                  <a:pt x="936" y="510"/>
                  <a:pt x="936" y="510"/>
                </a:cubicBezTo>
                <a:cubicBezTo>
                  <a:pt x="934" y="513"/>
                  <a:pt x="934" y="513"/>
                  <a:pt x="934" y="513"/>
                </a:cubicBezTo>
                <a:cubicBezTo>
                  <a:pt x="931" y="515"/>
                  <a:pt x="931" y="515"/>
                  <a:pt x="931" y="515"/>
                </a:cubicBezTo>
                <a:cubicBezTo>
                  <a:pt x="930" y="516"/>
                  <a:pt x="930" y="516"/>
                  <a:pt x="930" y="516"/>
                </a:cubicBezTo>
                <a:cubicBezTo>
                  <a:pt x="931" y="517"/>
                  <a:pt x="931" y="517"/>
                  <a:pt x="931" y="517"/>
                </a:cubicBezTo>
                <a:lnTo>
                  <a:pt x="931" y="520"/>
                </a:lnTo>
                <a:close/>
                <a:moveTo>
                  <a:pt x="840" y="847"/>
                </a:moveTo>
                <a:cubicBezTo>
                  <a:pt x="844" y="848"/>
                  <a:pt x="844" y="848"/>
                  <a:pt x="844" y="848"/>
                </a:cubicBezTo>
                <a:cubicBezTo>
                  <a:pt x="846" y="848"/>
                  <a:pt x="846" y="848"/>
                  <a:pt x="846" y="848"/>
                </a:cubicBezTo>
                <a:cubicBezTo>
                  <a:pt x="849" y="847"/>
                  <a:pt x="849" y="847"/>
                  <a:pt x="849" y="847"/>
                </a:cubicBezTo>
                <a:cubicBezTo>
                  <a:pt x="851" y="848"/>
                  <a:pt x="851" y="848"/>
                  <a:pt x="851" y="848"/>
                </a:cubicBezTo>
                <a:cubicBezTo>
                  <a:pt x="854" y="846"/>
                  <a:pt x="854" y="846"/>
                  <a:pt x="854" y="846"/>
                </a:cubicBezTo>
                <a:cubicBezTo>
                  <a:pt x="856" y="843"/>
                  <a:pt x="856" y="843"/>
                  <a:pt x="856" y="843"/>
                </a:cubicBezTo>
                <a:cubicBezTo>
                  <a:pt x="855" y="843"/>
                  <a:pt x="855" y="843"/>
                  <a:pt x="855" y="843"/>
                </a:cubicBezTo>
                <a:cubicBezTo>
                  <a:pt x="854" y="842"/>
                  <a:pt x="854" y="842"/>
                  <a:pt x="854" y="842"/>
                </a:cubicBezTo>
                <a:cubicBezTo>
                  <a:pt x="853" y="841"/>
                  <a:pt x="853" y="841"/>
                  <a:pt x="853" y="841"/>
                </a:cubicBezTo>
                <a:cubicBezTo>
                  <a:pt x="849" y="842"/>
                  <a:pt x="849" y="842"/>
                  <a:pt x="849" y="842"/>
                </a:cubicBezTo>
                <a:cubicBezTo>
                  <a:pt x="841" y="841"/>
                  <a:pt x="841" y="841"/>
                  <a:pt x="841" y="841"/>
                </a:cubicBezTo>
                <a:cubicBezTo>
                  <a:pt x="841" y="842"/>
                  <a:pt x="841" y="842"/>
                  <a:pt x="841" y="842"/>
                </a:cubicBezTo>
                <a:cubicBezTo>
                  <a:pt x="839" y="843"/>
                  <a:pt x="839" y="843"/>
                  <a:pt x="839" y="843"/>
                </a:cubicBezTo>
                <a:cubicBezTo>
                  <a:pt x="839" y="845"/>
                  <a:pt x="839" y="845"/>
                  <a:pt x="839" y="845"/>
                </a:cubicBezTo>
                <a:cubicBezTo>
                  <a:pt x="839" y="846"/>
                  <a:pt x="839" y="846"/>
                  <a:pt x="839" y="846"/>
                </a:cubicBezTo>
                <a:lnTo>
                  <a:pt x="840" y="847"/>
                </a:lnTo>
                <a:close/>
                <a:moveTo>
                  <a:pt x="868" y="920"/>
                </a:moveTo>
                <a:cubicBezTo>
                  <a:pt x="867" y="919"/>
                  <a:pt x="867" y="919"/>
                  <a:pt x="867" y="919"/>
                </a:cubicBezTo>
                <a:cubicBezTo>
                  <a:pt x="865" y="921"/>
                  <a:pt x="865" y="921"/>
                  <a:pt x="865" y="921"/>
                </a:cubicBezTo>
                <a:cubicBezTo>
                  <a:pt x="865" y="921"/>
                  <a:pt x="866" y="921"/>
                  <a:pt x="866" y="921"/>
                </a:cubicBezTo>
                <a:cubicBezTo>
                  <a:pt x="868" y="921"/>
                  <a:pt x="868" y="921"/>
                  <a:pt x="868" y="921"/>
                </a:cubicBezTo>
                <a:cubicBezTo>
                  <a:pt x="870" y="921"/>
                  <a:pt x="870" y="921"/>
                  <a:pt x="870" y="921"/>
                </a:cubicBezTo>
                <a:cubicBezTo>
                  <a:pt x="872" y="920"/>
                  <a:pt x="872" y="920"/>
                  <a:pt x="872" y="920"/>
                </a:cubicBezTo>
                <a:cubicBezTo>
                  <a:pt x="871" y="918"/>
                  <a:pt x="871" y="918"/>
                  <a:pt x="871" y="918"/>
                </a:cubicBezTo>
                <a:lnTo>
                  <a:pt x="868" y="920"/>
                </a:lnTo>
                <a:close/>
                <a:moveTo>
                  <a:pt x="420" y="23"/>
                </a:moveTo>
                <a:cubicBezTo>
                  <a:pt x="419" y="23"/>
                  <a:pt x="419" y="23"/>
                  <a:pt x="419" y="23"/>
                </a:cubicBezTo>
                <a:cubicBezTo>
                  <a:pt x="421" y="25"/>
                  <a:pt x="421" y="25"/>
                  <a:pt x="421" y="25"/>
                </a:cubicBezTo>
                <a:cubicBezTo>
                  <a:pt x="424" y="23"/>
                  <a:pt x="424" y="23"/>
                  <a:pt x="424" y="23"/>
                </a:cubicBezTo>
                <a:cubicBezTo>
                  <a:pt x="423" y="22"/>
                  <a:pt x="423" y="22"/>
                  <a:pt x="423" y="22"/>
                </a:cubicBezTo>
                <a:cubicBezTo>
                  <a:pt x="424" y="20"/>
                  <a:pt x="424" y="20"/>
                  <a:pt x="424" y="20"/>
                </a:cubicBezTo>
                <a:cubicBezTo>
                  <a:pt x="425" y="15"/>
                  <a:pt x="425" y="15"/>
                  <a:pt x="425" y="15"/>
                </a:cubicBezTo>
                <a:cubicBezTo>
                  <a:pt x="424" y="13"/>
                  <a:pt x="424" y="13"/>
                  <a:pt x="424" y="13"/>
                </a:cubicBezTo>
                <a:cubicBezTo>
                  <a:pt x="423" y="14"/>
                  <a:pt x="423" y="14"/>
                  <a:pt x="423" y="14"/>
                </a:cubicBezTo>
                <a:cubicBezTo>
                  <a:pt x="422" y="15"/>
                  <a:pt x="422" y="15"/>
                  <a:pt x="422" y="15"/>
                </a:cubicBezTo>
                <a:cubicBezTo>
                  <a:pt x="421" y="14"/>
                  <a:pt x="421" y="14"/>
                  <a:pt x="421" y="14"/>
                </a:cubicBezTo>
                <a:cubicBezTo>
                  <a:pt x="420" y="15"/>
                  <a:pt x="420" y="15"/>
                  <a:pt x="420" y="15"/>
                </a:cubicBezTo>
                <a:cubicBezTo>
                  <a:pt x="420" y="19"/>
                  <a:pt x="420" y="19"/>
                  <a:pt x="420" y="19"/>
                </a:cubicBezTo>
                <a:cubicBezTo>
                  <a:pt x="421" y="21"/>
                  <a:pt x="421" y="21"/>
                  <a:pt x="421" y="21"/>
                </a:cubicBezTo>
                <a:lnTo>
                  <a:pt x="420" y="23"/>
                </a:lnTo>
                <a:close/>
                <a:moveTo>
                  <a:pt x="822" y="178"/>
                </a:moveTo>
                <a:cubicBezTo>
                  <a:pt x="822" y="177"/>
                  <a:pt x="822" y="177"/>
                  <a:pt x="822" y="177"/>
                </a:cubicBezTo>
                <a:cubicBezTo>
                  <a:pt x="821" y="176"/>
                  <a:pt x="821" y="176"/>
                  <a:pt x="821" y="176"/>
                </a:cubicBezTo>
                <a:cubicBezTo>
                  <a:pt x="820" y="176"/>
                  <a:pt x="820" y="176"/>
                  <a:pt x="820" y="176"/>
                </a:cubicBezTo>
                <a:cubicBezTo>
                  <a:pt x="820" y="176"/>
                  <a:pt x="820" y="176"/>
                  <a:pt x="820" y="176"/>
                </a:cubicBezTo>
                <a:cubicBezTo>
                  <a:pt x="821" y="177"/>
                  <a:pt x="821" y="177"/>
                  <a:pt x="821" y="177"/>
                </a:cubicBezTo>
                <a:lnTo>
                  <a:pt x="822" y="178"/>
                </a:lnTo>
                <a:close/>
                <a:moveTo>
                  <a:pt x="900" y="320"/>
                </a:moveTo>
                <a:cubicBezTo>
                  <a:pt x="901" y="318"/>
                  <a:pt x="901" y="318"/>
                  <a:pt x="901" y="318"/>
                </a:cubicBezTo>
                <a:cubicBezTo>
                  <a:pt x="900" y="316"/>
                  <a:pt x="900" y="316"/>
                  <a:pt x="900" y="316"/>
                </a:cubicBezTo>
                <a:cubicBezTo>
                  <a:pt x="899" y="317"/>
                  <a:pt x="899" y="317"/>
                  <a:pt x="899" y="317"/>
                </a:cubicBezTo>
                <a:cubicBezTo>
                  <a:pt x="900" y="319"/>
                  <a:pt x="900" y="319"/>
                  <a:pt x="900" y="319"/>
                </a:cubicBezTo>
                <a:cubicBezTo>
                  <a:pt x="900" y="320"/>
                  <a:pt x="900" y="320"/>
                  <a:pt x="900" y="320"/>
                </a:cubicBezTo>
                <a:close/>
                <a:moveTo>
                  <a:pt x="897" y="317"/>
                </a:moveTo>
                <a:cubicBezTo>
                  <a:pt x="898" y="317"/>
                  <a:pt x="898" y="317"/>
                  <a:pt x="898" y="317"/>
                </a:cubicBezTo>
                <a:cubicBezTo>
                  <a:pt x="898" y="316"/>
                  <a:pt x="898" y="316"/>
                  <a:pt x="898" y="316"/>
                </a:cubicBezTo>
                <a:lnTo>
                  <a:pt x="897" y="317"/>
                </a:lnTo>
                <a:close/>
                <a:moveTo>
                  <a:pt x="929" y="474"/>
                </a:moveTo>
                <a:cubicBezTo>
                  <a:pt x="931" y="475"/>
                  <a:pt x="931" y="475"/>
                  <a:pt x="931" y="475"/>
                </a:cubicBezTo>
                <a:cubicBezTo>
                  <a:pt x="932" y="475"/>
                  <a:pt x="932" y="475"/>
                  <a:pt x="932" y="475"/>
                </a:cubicBezTo>
                <a:cubicBezTo>
                  <a:pt x="934" y="476"/>
                  <a:pt x="934" y="476"/>
                  <a:pt x="934" y="476"/>
                </a:cubicBezTo>
                <a:cubicBezTo>
                  <a:pt x="936" y="475"/>
                  <a:pt x="936" y="475"/>
                  <a:pt x="936" y="475"/>
                </a:cubicBezTo>
                <a:cubicBezTo>
                  <a:pt x="937" y="474"/>
                  <a:pt x="937" y="474"/>
                  <a:pt x="937" y="474"/>
                </a:cubicBezTo>
                <a:cubicBezTo>
                  <a:pt x="936" y="473"/>
                  <a:pt x="936" y="473"/>
                  <a:pt x="936" y="473"/>
                </a:cubicBezTo>
                <a:cubicBezTo>
                  <a:pt x="935" y="472"/>
                  <a:pt x="935" y="472"/>
                  <a:pt x="935" y="472"/>
                </a:cubicBezTo>
                <a:cubicBezTo>
                  <a:pt x="934" y="471"/>
                  <a:pt x="934" y="471"/>
                  <a:pt x="934" y="471"/>
                </a:cubicBezTo>
                <a:cubicBezTo>
                  <a:pt x="933" y="470"/>
                  <a:pt x="933" y="470"/>
                  <a:pt x="933" y="470"/>
                </a:cubicBezTo>
                <a:cubicBezTo>
                  <a:pt x="931" y="469"/>
                  <a:pt x="931" y="469"/>
                  <a:pt x="931" y="469"/>
                </a:cubicBezTo>
                <a:cubicBezTo>
                  <a:pt x="929" y="467"/>
                  <a:pt x="929" y="467"/>
                  <a:pt x="929" y="467"/>
                </a:cubicBezTo>
                <a:cubicBezTo>
                  <a:pt x="928" y="467"/>
                  <a:pt x="928" y="467"/>
                  <a:pt x="928" y="467"/>
                </a:cubicBezTo>
                <a:cubicBezTo>
                  <a:pt x="926" y="465"/>
                  <a:pt x="926" y="465"/>
                  <a:pt x="926" y="465"/>
                </a:cubicBezTo>
                <a:cubicBezTo>
                  <a:pt x="924" y="464"/>
                  <a:pt x="924" y="464"/>
                  <a:pt x="924" y="464"/>
                </a:cubicBezTo>
                <a:cubicBezTo>
                  <a:pt x="921" y="463"/>
                  <a:pt x="921" y="463"/>
                  <a:pt x="921" y="463"/>
                </a:cubicBezTo>
                <a:cubicBezTo>
                  <a:pt x="916" y="462"/>
                  <a:pt x="916" y="462"/>
                  <a:pt x="916" y="462"/>
                </a:cubicBezTo>
                <a:cubicBezTo>
                  <a:pt x="914" y="461"/>
                  <a:pt x="914" y="461"/>
                  <a:pt x="914" y="461"/>
                </a:cubicBezTo>
                <a:cubicBezTo>
                  <a:pt x="912" y="462"/>
                  <a:pt x="912" y="462"/>
                  <a:pt x="912" y="462"/>
                </a:cubicBezTo>
                <a:cubicBezTo>
                  <a:pt x="913" y="464"/>
                  <a:pt x="913" y="464"/>
                  <a:pt x="913" y="464"/>
                </a:cubicBezTo>
                <a:cubicBezTo>
                  <a:pt x="915" y="465"/>
                  <a:pt x="915" y="465"/>
                  <a:pt x="915" y="465"/>
                </a:cubicBezTo>
                <a:cubicBezTo>
                  <a:pt x="919" y="467"/>
                  <a:pt x="919" y="467"/>
                  <a:pt x="919" y="467"/>
                </a:cubicBezTo>
                <a:cubicBezTo>
                  <a:pt x="919" y="469"/>
                  <a:pt x="919" y="469"/>
                  <a:pt x="919" y="469"/>
                </a:cubicBezTo>
                <a:cubicBezTo>
                  <a:pt x="920" y="470"/>
                  <a:pt x="920" y="470"/>
                  <a:pt x="920" y="470"/>
                </a:cubicBezTo>
                <a:cubicBezTo>
                  <a:pt x="921" y="470"/>
                  <a:pt x="921" y="470"/>
                  <a:pt x="921" y="470"/>
                </a:cubicBezTo>
                <a:cubicBezTo>
                  <a:pt x="924" y="473"/>
                  <a:pt x="924" y="473"/>
                  <a:pt x="924" y="473"/>
                </a:cubicBezTo>
                <a:cubicBezTo>
                  <a:pt x="927" y="473"/>
                  <a:pt x="927" y="473"/>
                  <a:pt x="927" y="473"/>
                </a:cubicBezTo>
                <a:lnTo>
                  <a:pt x="929" y="474"/>
                </a:lnTo>
                <a:close/>
                <a:moveTo>
                  <a:pt x="925" y="510"/>
                </a:moveTo>
                <a:cubicBezTo>
                  <a:pt x="926" y="510"/>
                  <a:pt x="926" y="510"/>
                  <a:pt x="926" y="510"/>
                </a:cubicBezTo>
                <a:cubicBezTo>
                  <a:pt x="923" y="510"/>
                  <a:pt x="923" y="510"/>
                  <a:pt x="923" y="510"/>
                </a:cubicBezTo>
                <a:cubicBezTo>
                  <a:pt x="921" y="509"/>
                  <a:pt x="921" y="509"/>
                  <a:pt x="921" y="509"/>
                </a:cubicBezTo>
                <a:cubicBezTo>
                  <a:pt x="920" y="510"/>
                  <a:pt x="920" y="510"/>
                  <a:pt x="920" y="510"/>
                </a:cubicBezTo>
                <a:cubicBezTo>
                  <a:pt x="918" y="510"/>
                  <a:pt x="918" y="510"/>
                  <a:pt x="918" y="510"/>
                </a:cubicBezTo>
                <a:cubicBezTo>
                  <a:pt x="917" y="509"/>
                  <a:pt x="917" y="509"/>
                  <a:pt x="917" y="509"/>
                </a:cubicBezTo>
                <a:cubicBezTo>
                  <a:pt x="915" y="509"/>
                  <a:pt x="915" y="509"/>
                  <a:pt x="915" y="509"/>
                </a:cubicBezTo>
                <a:cubicBezTo>
                  <a:pt x="913" y="507"/>
                  <a:pt x="913" y="507"/>
                  <a:pt x="913" y="507"/>
                </a:cubicBezTo>
                <a:cubicBezTo>
                  <a:pt x="911" y="507"/>
                  <a:pt x="911" y="507"/>
                  <a:pt x="911" y="507"/>
                </a:cubicBezTo>
                <a:cubicBezTo>
                  <a:pt x="911" y="508"/>
                  <a:pt x="911" y="508"/>
                  <a:pt x="911" y="508"/>
                </a:cubicBezTo>
                <a:cubicBezTo>
                  <a:pt x="910" y="507"/>
                  <a:pt x="910" y="507"/>
                  <a:pt x="910" y="507"/>
                </a:cubicBezTo>
                <a:cubicBezTo>
                  <a:pt x="910" y="506"/>
                  <a:pt x="910" y="506"/>
                  <a:pt x="910" y="506"/>
                </a:cubicBezTo>
                <a:cubicBezTo>
                  <a:pt x="909" y="505"/>
                  <a:pt x="909" y="505"/>
                  <a:pt x="909" y="505"/>
                </a:cubicBezTo>
                <a:cubicBezTo>
                  <a:pt x="909" y="504"/>
                  <a:pt x="909" y="504"/>
                  <a:pt x="909" y="504"/>
                </a:cubicBezTo>
                <a:cubicBezTo>
                  <a:pt x="910" y="503"/>
                  <a:pt x="910" y="503"/>
                  <a:pt x="910" y="503"/>
                </a:cubicBezTo>
                <a:cubicBezTo>
                  <a:pt x="910" y="501"/>
                  <a:pt x="910" y="501"/>
                  <a:pt x="910" y="501"/>
                </a:cubicBezTo>
                <a:cubicBezTo>
                  <a:pt x="906" y="504"/>
                  <a:pt x="906" y="504"/>
                  <a:pt x="906" y="504"/>
                </a:cubicBezTo>
                <a:cubicBezTo>
                  <a:pt x="905" y="505"/>
                  <a:pt x="905" y="505"/>
                  <a:pt x="905" y="505"/>
                </a:cubicBezTo>
                <a:cubicBezTo>
                  <a:pt x="906" y="506"/>
                  <a:pt x="906" y="506"/>
                  <a:pt x="906" y="506"/>
                </a:cubicBezTo>
                <a:cubicBezTo>
                  <a:pt x="907" y="506"/>
                  <a:pt x="907" y="506"/>
                  <a:pt x="907" y="506"/>
                </a:cubicBezTo>
                <a:cubicBezTo>
                  <a:pt x="908" y="507"/>
                  <a:pt x="908" y="507"/>
                  <a:pt x="908" y="507"/>
                </a:cubicBezTo>
                <a:cubicBezTo>
                  <a:pt x="908" y="508"/>
                  <a:pt x="908" y="508"/>
                  <a:pt x="908" y="508"/>
                </a:cubicBezTo>
                <a:cubicBezTo>
                  <a:pt x="909" y="509"/>
                  <a:pt x="909" y="509"/>
                  <a:pt x="909" y="509"/>
                </a:cubicBezTo>
                <a:cubicBezTo>
                  <a:pt x="910" y="510"/>
                  <a:pt x="910" y="510"/>
                  <a:pt x="910" y="510"/>
                </a:cubicBezTo>
                <a:cubicBezTo>
                  <a:pt x="910" y="510"/>
                  <a:pt x="910" y="510"/>
                  <a:pt x="910" y="510"/>
                </a:cubicBezTo>
                <a:cubicBezTo>
                  <a:pt x="911" y="511"/>
                  <a:pt x="911" y="511"/>
                  <a:pt x="911" y="511"/>
                </a:cubicBezTo>
                <a:cubicBezTo>
                  <a:pt x="912" y="512"/>
                  <a:pt x="912" y="512"/>
                  <a:pt x="912" y="512"/>
                </a:cubicBezTo>
                <a:cubicBezTo>
                  <a:pt x="913" y="513"/>
                  <a:pt x="913" y="513"/>
                  <a:pt x="913" y="513"/>
                </a:cubicBezTo>
                <a:cubicBezTo>
                  <a:pt x="917" y="513"/>
                  <a:pt x="917" y="513"/>
                  <a:pt x="917" y="513"/>
                </a:cubicBezTo>
                <a:cubicBezTo>
                  <a:pt x="918" y="515"/>
                  <a:pt x="918" y="515"/>
                  <a:pt x="918" y="515"/>
                </a:cubicBezTo>
                <a:cubicBezTo>
                  <a:pt x="920" y="516"/>
                  <a:pt x="920" y="516"/>
                  <a:pt x="920" y="516"/>
                </a:cubicBezTo>
                <a:cubicBezTo>
                  <a:pt x="922" y="516"/>
                  <a:pt x="922" y="516"/>
                  <a:pt x="922" y="516"/>
                </a:cubicBezTo>
                <a:cubicBezTo>
                  <a:pt x="923" y="514"/>
                  <a:pt x="923" y="514"/>
                  <a:pt x="923" y="514"/>
                </a:cubicBezTo>
                <a:cubicBezTo>
                  <a:pt x="922" y="513"/>
                  <a:pt x="922" y="513"/>
                  <a:pt x="922" y="513"/>
                </a:cubicBezTo>
                <a:cubicBezTo>
                  <a:pt x="923" y="511"/>
                  <a:pt x="923" y="511"/>
                  <a:pt x="923" y="511"/>
                </a:cubicBezTo>
                <a:lnTo>
                  <a:pt x="925" y="510"/>
                </a:lnTo>
                <a:close/>
                <a:moveTo>
                  <a:pt x="746" y="96"/>
                </a:moveTo>
                <a:cubicBezTo>
                  <a:pt x="748" y="93"/>
                  <a:pt x="748" y="93"/>
                  <a:pt x="748" y="93"/>
                </a:cubicBezTo>
                <a:cubicBezTo>
                  <a:pt x="747" y="91"/>
                  <a:pt x="747" y="91"/>
                  <a:pt x="747" y="91"/>
                </a:cubicBezTo>
                <a:cubicBezTo>
                  <a:pt x="745" y="90"/>
                  <a:pt x="745" y="90"/>
                  <a:pt x="745" y="90"/>
                </a:cubicBezTo>
                <a:cubicBezTo>
                  <a:pt x="743" y="92"/>
                  <a:pt x="743" y="92"/>
                  <a:pt x="743" y="92"/>
                </a:cubicBezTo>
                <a:cubicBezTo>
                  <a:pt x="742" y="95"/>
                  <a:pt x="742" y="95"/>
                  <a:pt x="742" y="95"/>
                </a:cubicBezTo>
                <a:cubicBezTo>
                  <a:pt x="742" y="96"/>
                  <a:pt x="743" y="96"/>
                  <a:pt x="743" y="96"/>
                </a:cubicBezTo>
                <a:cubicBezTo>
                  <a:pt x="744" y="94"/>
                  <a:pt x="744" y="94"/>
                  <a:pt x="744" y="94"/>
                </a:cubicBezTo>
                <a:cubicBezTo>
                  <a:pt x="744" y="93"/>
                  <a:pt x="744" y="93"/>
                  <a:pt x="744" y="93"/>
                </a:cubicBezTo>
                <a:cubicBezTo>
                  <a:pt x="744" y="95"/>
                  <a:pt x="744" y="95"/>
                  <a:pt x="744" y="95"/>
                </a:cubicBezTo>
                <a:cubicBezTo>
                  <a:pt x="744" y="97"/>
                  <a:pt x="744" y="97"/>
                  <a:pt x="744" y="97"/>
                </a:cubicBezTo>
                <a:lnTo>
                  <a:pt x="746" y="96"/>
                </a:lnTo>
                <a:close/>
                <a:moveTo>
                  <a:pt x="740" y="90"/>
                </a:moveTo>
                <a:cubicBezTo>
                  <a:pt x="740" y="93"/>
                  <a:pt x="740" y="93"/>
                  <a:pt x="740" y="93"/>
                </a:cubicBezTo>
                <a:cubicBezTo>
                  <a:pt x="741" y="93"/>
                  <a:pt x="741" y="93"/>
                  <a:pt x="741" y="93"/>
                </a:cubicBezTo>
                <a:cubicBezTo>
                  <a:pt x="742" y="91"/>
                  <a:pt x="742" y="91"/>
                  <a:pt x="742" y="91"/>
                </a:cubicBezTo>
                <a:cubicBezTo>
                  <a:pt x="741" y="89"/>
                  <a:pt x="741" y="89"/>
                  <a:pt x="741" y="89"/>
                </a:cubicBezTo>
                <a:lnTo>
                  <a:pt x="740" y="90"/>
                </a:lnTo>
                <a:close/>
                <a:moveTo>
                  <a:pt x="718" y="61"/>
                </a:moveTo>
                <a:cubicBezTo>
                  <a:pt x="719" y="61"/>
                  <a:pt x="719" y="61"/>
                  <a:pt x="719" y="61"/>
                </a:cubicBezTo>
                <a:cubicBezTo>
                  <a:pt x="719" y="59"/>
                  <a:pt x="719" y="59"/>
                  <a:pt x="719" y="59"/>
                </a:cubicBezTo>
                <a:cubicBezTo>
                  <a:pt x="720" y="58"/>
                  <a:pt x="720" y="58"/>
                  <a:pt x="720" y="58"/>
                </a:cubicBezTo>
                <a:cubicBezTo>
                  <a:pt x="719" y="57"/>
                  <a:pt x="719" y="57"/>
                  <a:pt x="719" y="57"/>
                </a:cubicBezTo>
                <a:cubicBezTo>
                  <a:pt x="719" y="56"/>
                  <a:pt x="719" y="56"/>
                  <a:pt x="719" y="56"/>
                </a:cubicBezTo>
                <a:cubicBezTo>
                  <a:pt x="718" y="55"/>
                  <a:pt x="718" y="55"/>
                  <a:pt x="718" y="55"/>
                </a:cubicBezTo>
                <a:cubicBezTo>
                  <a:pt x="717" y="56"/>
                  <a:pt x="717" y="56"/>
                  <a:pt x="717" y="56"/>
                </a:cubicBezTo>
                <a:cubicBezTo>
                  <a:pt x="717" y="58"/>
                  <a:pt x="717" y="58"/>
                  <a:pt x="717" y="58"/>
                </a:cubicBezTo>
                <a:cubicBezTo>
                  <a:pt x="717" y="59"/>
                  <a:pt x="717" y="59"/>
                  <a:pt x="717" y="59"/>
                </a:cubicBezTo>
                <a:lnTo>
                  <a:pt x="718" y="61"/>
                </a:lnTo>
                <a:close/>
                <a:moveTo>
                  <a:pt x="712" y="101"/>
                </a:moveTo>
                <a:cubicBezTo>
                  <a:pt x="713" y="100"/>
                  <a:pt x="713" y="100"/>
                  <a:pt x="713" y="100"/>
                </a:cubicBezTo>
                <a:cubicBezTo>
                  <a:pt x="713" y="98"/>
                  <a:pt x="713" y="98"/>
                  <a:pt x="713" y="98"/>
                </a:cubicBezTo>
                <a:cubicBezTo>
                  <a:pt x="714" y="97"/>
                  <a:pt x="714" y="97"/>
                  <a:pt x="714" y="97"/>
                </a:cubicBezTo>
                <a:cubicBezTo>
                  <a:pt x="715" y="99"/>
                  <a:pt x="715" y="99"/>
                  <a:pt x="715" y="99"/>
                </a:cubicBezTo>
                <a:cubicBezTo>
                  <a:pt x="715" y="101"/>
                  <a:pt x="715" y="101"/>
                  <a:pt x="715" y="101"/>
                </a:cubicBezTo>
                <a:cubicBezTo>
                  <a:pt x="717" y="103"/>
                  <a:pt x="717" y="103"/>
                  <a:pt x="717" y="103"/>
                </a:cubicBezTo>
                <a:cubicBezTo>
                  <a:pt x="718" y="101"/>
                  <a:pt x="718" y="101"/>
                  <a:pt x="718" y="101"/>
                </a:cubicBezTo>
                <a:cubicBezTo>
                  <a:pt x="719" y="102"/>
                  <a:pt x="719" y="102"/>
                  <a:pt x="719" y="102"/>
                </a:cubicBezTo>
                <a:cubicBezTo>
                  <a:pt x="718" y="104"/>
                  <a:pt x="718" y="104"/>
                  <a:pt x="718" y="104"/>
                </a:cubicBezTo>
                <a:cubicBezTo>
                  <a:pt x="720" y="107"/>
                  <a:pt x="720" y="107"/>
                  <a:pt x="720" y="107"/>
                </a:cubicBezTo>
                <a:cubicBezTo>
                  <a:pt x="722" y="107"/>
                  <a:pt x="722" y="107"/>
                  <a:pt x="722" y="107"/>
                </a:cubicBezTo>
                <a:cubicBezTo>
                  <a:pt x="723" y="110"/>
                  <a:pt x="723" y="110"/>
                  <a:pt x="723" y="110"/>
                </a:cubicBezTo>
                <a:cubicBezTo>
                  <a:pt x="725" y="112"/>
                  <a:pt x="725" y="112"/>
                  <a:pt x="725" y="112"/>
                </a:cubicBezTo>
                <a:cubicBezTo>
                  <a:pt x="726" y="109"/>
                  <a:pt x="726" y="109"/>
                  <a:pt x="726" y="109"/>
                </a:cubicBezTo>
                <a:cubicBezTo>
                  <a:pt x="726" y="111"/>
                  <a:pt x="726" y="111"/>
                  <a:pt x="726" y="111"/>
                </a:cubicBezTo>
                <a:cubicBezTo>
                  <a:pt x="729" y="113"/>
                  <a:pt x="729" y="113"/>
                  <a:pt x="729" y="113"/>
                </a:cubicBezTo>
                <a:cubicBezTo>
                  <a:pt x="730" y="113"/>
                  <a:pt x="730" y="113"/>
                  <a:pt x="730" y="113"/>
                </a:cubicBezTo>
                <a:cubicBezTo>
                  <a:pt x="732" y="113"/>
                  <a:pt x="732" y="113"/>
                  <a:pt x="732" y="113"/>
                </a:cubicBezTo>
                <a:cubicBezTo>
                  <a:pt x="734" y="111"/>
                  <a:pt x="734" y="111"/>
                  <a:pt x="734" y="111"/>
                </a:cubicBezTo>
                <a:cubicBezTo>
                  <a:pt x="736" y="111"/>
                  <a:pt x="736" y="111"/>
                  <a:pt x="736" y="111"/>
                </a:cubicBezTo>
                <a:cubicBezTo>
                  <a:pt x="738" y="109"/>
                  <a:pt x="738" y="109"/>
                  <a:pt x="738" y="109"/>
                </a:cubicBezTo>
                <a:cubicBezTo>
                  <a:pt x="739" y="111"/>
                  <a:pt x="739" y="111"/>
                  <a:pt x="739" y="111"/>
                </a:cubicBezTo>
                <a:cubicBezTo>
                  <a:pt x="740" y="110"/>
                  <a:pt x="740" y="110"/>
                  <a:pt x="740" y="110"/>
                </a:cubicBezTo>
                <a:cubicBezTo>
                  <a:pt x="743" y="108"/>
                  <a:pt x="743" y="108"/>
                  <a:pt x="743" y="108"/>
                </a:cubicBezTo>
                <a:cubicBezTo>
                  <a:pt x="743" y="106"/>
                  <a:pt x="743" y="106"/>
                  <a:pt x="743" y="106"/>
                </a:cubicBezTo>
                <a:cubicBezTo>
                  <a:pt x="741" y="107"/>
                  <a:pt x="741" y="107"/>
                  <a:pt x="741" y="107"/>
                </a:cubicBezTo>
                <a:cubicBezTo>
                  <a:pt x="740" y="105"/>
                  <a:pt x="740" y="105"/>
                  <a:pt x="740" y="105"/>
                </a:cubicBezTo>
                <a:cubicBezTo>
                  <a:pt x="742" y="101"/>
                  <a:pt x="742" y="101"/>
                  <a:pt x="742" y="101"/>
                </a:cubicBezTo>
                <a:cubicBezTo>
                  <a:pt x="742" y="99"/>
                  <a:pt x="742" y="99"/>
                  <a:pt x="742" y="99"/>
                </a:cubicBezTo>
                <a:cubicBezTo>
                  <a:pt x="740" y="101"/>
                  <a:pt x="740" y="101"/>
                  <a:pt x="740" y="101"/>
                </a:cubicBezTo>
                <a:cubicBezTo>
                  <a:pt x="739" y="104"/>
                  <a:pt x="739" y="104"/>
                  <a:pt x="739" y="104"/>
                </a:cubicBezTo>
                <a:cubicBezTo>
                  <a:pt x="738" y="102"/>
                  <a:pt x="738" y="102"/>
                  <a:pt x="738" y="102"/>
                </a:cubicBezTo>
                <a:cubicBezTo>
                  <a:pt x="740" y="97"/>
                  <a:pt x="740" y="97"/>
                  <a:pt x="740" y="97"/>
                </a:cubicBezTo>
                <a:cubicBezTo>
                  <a:pt x="739" y="90"/>
                  <a:pt x="739" y="90"/>
                  <a:pt x="739" y="90"/>
                </a:cubicBezTo>
                <a:cubicBezTo>
                  <a:pt x="736" y="88"/>
                  <a:pt x="736" y="88"/>
                  <a:pt x="736" y="88"/>
                </a:cubicBezTo>
                <a:cubicBezTo>
                  <a:pt x="736" y="86"/>
                  <a:pt x="736" y="86"/>
                  <a:pt x="736" y="86"/>
                </a:cubicBezTo>
                <a:cubicBezTo>
                  <a:pt x="734" y="86"/>
                  <a:pt x="734" y="86"/>
                  <a:pt x="734" y="86"/>
                </a:cubicBezTo>
                <a:cubicBezTo>
                  <a:pt x="733" y="88"/>
                  <a:pt x="733" y="88"/>
                  <a:pt x="733" y="88"/>
                </a:cubicBezTo>
                <a:cubicBezTo>
                  <a:pt x="733" y="86"/>
                  <a:pt x="733" y="86"/>
                  <a:pt x="733" y="86"/>
                </a:cubicBezTo>
                <a:cubicBezTo>
                  <a:pt x="734" y="85"/>
                  <a:pt x="734" y="85"/>
                  <a:pt x="734" y="85"/>
                </a:cubicBezTo>
                <a:cubicBezTo>
                  <a:pt x="734" y="83"/>
                  <a:pt x="734" y="83"/>
                  <a:pt x="734" y="83"/>
                </a:cubicBezTo>
                <a:cubicBezTo>
                  <a:pt x="734" y="81"/>
                  <a:pt x="734" y="81"/>
                  <a:pt x="734" y="81"/>
                </a:cubicBezTo>
                <a:cubicBezTo>
                  <a:pt x="734" y="79"/>
                  <a:pt x="734" y="79"/>
                  <a:pt x="734" y="79"/>
                </a:cubicBezTo>
                <a:cubicBezTo>
                  <a:pt x="731" y="80"/>
                  <a:pt x="731" y="80"/>
                  <a:pt x="731" y="80"/>
                </a:cubicBezTo>
                <a:cubicBezTo>
                  <a:pt x="728" y="82"/>
                  <a:pt x="728" y="82"/>
                  <a:pt x="728" y="82"/>
                </a:cubicBezTo>
                <a:cubicBezTo>
                  <a:pt x="727" y="86"/>
                  <a:pt x="727" y="86"/>
                  <a:pt x="727" y="86"/>
                </a:cubicBezTo>
                <a:cubicBezTo>
                  <a:pt x="727" y="89"/>
                  <a:pt x="727" y="89"/>
                  <a:pt x="727" y="89"/>
                </a:cubicBezTo>
                <a:cubicBezTo>
                  <a:pt x="726" y="88"/>
                  <a:pt x="726" y="88"/>
                  <a:pt x="726" y="88"/>
                </a:cubicBezTo>
                <a:cubicBezTo>
                  <a:pt x="725" y="85"/>
                  <a:pt x="725" y="85"/>
                  <a:pt x="725" y="85"/>
                </a:cubicBezTo>
                <a:cubicBezTo>
                  <a:pt x="724" y="85"/>
                  <a:pt x="724" y="85"/>
                  <a:pt x="724" y="85"/>
                </a:cubicBezTo>
                <a:cubicBezTo>
                  <a:pt x="724" y="88"/>
                  <a:pt x="724" y="88"/>
                  <a:pt x="724" y="88"/>
                </a:cubicBezTo>
                <a:cubicBezTo>
                  <a:pt x="722" y="88"/>
                  <a:pt x="722" y="88"/>
                  <a:pt x="722" y="88"/>
                </a:cubicBezTo>
                <a:cubicBezTo>
                  <a:pt x="723" y="90"/>
                  <a:pt x="723" y="90"/>
                  <a:pt x="723" y="90"/>
                </a:cubicBezTo>
                <a:cubicBezTo>
                  <a:pt x="722" y="91"/>
                  <a:pt x="722" y="91"/>
                  <a:pt x="722" y="91"/>
                </a:cubicBezTo>
                <a:cubicBezTo>
                  <a:pt x="721" y="91"/>
                  <a:pt x="721" y="91"/>
                  <a:pt x="721" y="91"/>
                </a:cubicBezTo>
                <a:cubicBezTo>
                  <a:pt x="720" y="93"/>
                  <a:pt x="720" y="93"/>
                  <a:pt x="720" y="93"/>
                </a:cubicBezTo>
                <a:cubicBezTo>
                  <a:pt x="716" y="93"/>
                  <a:pt x="716" y="93"/>
                  <a:pt x="716" y="93"/>
                </a:cubicBezTo>
                <a:cubicBezTo>
                  <a:pt x="715" y="93"/>
                  <a:pt x="715" y="93"/>
                  <a:pt x="715" y="93"/>
                </a:cubicBezTo>
                <a:cubicBezTo>
                  <a:pt x="714" y="93"/>
                  <a:pt x="714" y="93"/>
                  <a:pt x="714" y="93"/>
                </a:cubicBezTo>
                <a:cubicBezTo>
                  <a:pt x="709" y="96"/>
                  <a:pt x="709" y="96"/>
                  <a:pt x="709" y="96"/>
                </a:cubicBezTo>
                <a:cubicBezTo>
                  <a:pt x="710" y="98"/>
                  <a:pt x="710" y="98"/>
                  <a:pt x="710" y="98"/>
                </a:cubicBezTo>
                <a:lnTo>
                  <a:pt x="712" y="101"/>
                </a:lnTo>
                <a:close/>
                <a:moveTo>
                  <a:pt x="704" y="118"/>
                </a:moveTo>
                <a:cubicBezTo>
                  <a:pt x="705" y="117"/>
                  <a:pt x="705" y="117"/>
                  <a:pt x="705" y="117"/>
                </a:cubicBezTo>
                <a:cubicBezTo>
                  <a:pt x="705" y="116"/>
                  <a:pt x="705" y="116"/>
                  <a:pt x="705" y="116"/>
                </a:cubicBezTo>
                <a:cubicBezTo>
                  <a:pt x="703" y="116"/>
                  <a:pt x="703" y="116"/>
                  <a:pt x="703" y="116"/>
                </a:cubicBezTo>
                <a:cubicBezTo>
                  <a:pt x="703" y="117"/>
                  <a:pt x="703" y="117"/>
                  <a:pt x="703" y="117"/>
                </a:cubicBezTo>
                <a:lnTo>
                  <a:pt x="704" y="118"/>
                </a:lnTo>
                <a:close/>
                <a:moveTo>
                  <a:pt x="699" y="84"/>
                </a:moveTo>
                <a:cubicBezTo>
                  <a:pt x="699" y="85"/>
                  <a:pt x="699" y="85"/>
                  <a:pt x="699" y="85"/>
                </a:cubicBezTo>
                <a:cubicBezTo>
                  <a:pt x="700" y="86"/>
                  <a:pt x="700" y="86"/>
                  <a:pt x="700" y="86"/>
                </a:cubicBezTo>
                <a:cubicBezTo>
                  <a:pt x="701" y="84"/>
                  <a:pt x="701" y="84"/>
                  <a:pt x="701" y="84"/>
                </a:cubicBezTo>
                <a:cubicBezTo>
                  <a:pt x="701" y="85"/>
                  <a:pt x="701" y="85"/>
                  <a:pt x="701" y="85"/>
                </a:cubicBezTo>
                <a:cubicBezTo>
                  <a:pt x="702" y="83"/>
                  <a:pt x="702" y="83"/>
                  <a:pt x="702" y="83"/>
                </a:cubicBezTo>
                <a:cubicBezTo>
                  <a:pt x="702" y="82"/>
                  <a:pt x="702" y="82"/>
                  <a:pt x="702" y="82"/>
                </a:cubicBezTo>
                <a:cubicBezTo>
                  <a:pt x="701" y="81"/>
                  <a:pt x="701" y="81"/>
                  <a:pt x="701" y="81"/>
                </a:cubicBezTo>
                <a:cubicBezTo>
                  <a:pt x="701" y="80"/>
                  <a:pt x="701" y="80"/>
                  <a:pt x="701" y="80"/>
                </a:cubicBezTo>
                <a:cubicBezTo>
                  <a:pt x="700" y="80"/>
                  <a:pt x="700" y="80"/>
                  <a:pt x="700" y="80"/>
                </a:cubicBezTo>
                <a:cubicBezTo>
                  <a:pt x="700" y="81"/>
                  <a:pt x="700" y="81"/>
                  <a:pt x="700" y="81"/>
                </a:cubicBezTo>
                <a:cubicBezTo>
                  <a:pt x="701" y="83"/>
                  <a:pt x="701" y="83"/>
                  <a:pt x="701" y="83"/>
                </a:cubicBezTo>
                <a:cubicBezTo>
                  <a:pt x="699" y="83"/>
                  <a:pt x="699" y="83"/>
                  <a:pt x="699" y="83"/>
                </a:cubicBezTo>
                <a:lnTo>
                  <a:pt x="699" y="84"/>
                </a:lnTo>
                <a:close/>
                <a:moveTo>
                  <a:pt x="698" y="99"/>
                </a:moveTo>
                <a:cubicBezTo>
                  <a:pt x="699" y="101"/>
                  <a:pt x="699" y="101"/>
                  <a:pt x="699" y="101"/>
                </a:cubicBezTo>
                <a:cubicBezTo>
                  <a:pt x="700" y="100"/>
                  <a:pt x="700" y="100"/>
                  <a:pt x="700" y="100"/>
                </a:cubicBezTo>
                <a:cubicBezTo>
                  <a:pt x="700" y="99"/>
                  <a:pt x="700" y="99"/>
                  <a:pt x="700" y="99"/>
                </a:cubicBezTo>
                <a:cubicBezTo>
                  <a:pt x="702" y="97"/>
                  <a:pt x="702" y="97"/>
                  <a:pt x="702" y="97"/>
                </a:cubicBezTo>
                <a:cubicBezTo>
                  <a:pt x="703" y="95"/>
                  <a:pt x="703" y="95"/>
                  <a:pt x="703" y="95"/>
                </a:cubicBezTo>
                <a:cubicBezTo>
                  <a:pt x="702" y="94"/>
                  <a:pt x="702" y="94"/>
                  <a:pt x="702" y="94"/>
                </a:cubicBezTo>
                <a:cubicBezTo>
                  <a:pt x="702" y="93"/>
                  <a:pt x="702" y="93"/>
                  <a:pt x="702" y="93"/>
                </a:cubicBezTo>
                <a:cubicBezTo>
                  <a:pt x="701" y="92"/>
                  <a:pt x="701" y="92"/>
                  <a:pt x="701" y="92"/>
                </a:cubicBezTo>
                <a:cubicBezTo>
                  <a:pt x="700" y="94"/>
                  <a:pt x="700" y="94"/>
                  <a:pt x="700" y="94"/>
                </a:cubicBezTo>
                <a:cubicBezTo>
                  <a:pt x="700" y="95"/>
                  <a:pt x="700" y="95"/>
                  <a:pt x="700" y="95"/>
                </a:cubicBezTo>
                <a:cubicBezTo>
                  <a:pt x="698" y="98"/>
                  <a:pt x="698" y="98"/>
                  <a:pt x="698" y="98"/>
                </a:cubicBezTo>
                <a:lnTo>
                  <a:pt x="698" y="99"/>
                </a:lnTo>
                <a:close/>
                <a:moveTo>
                  <a:pt x="834" y="572"/>
                </a:moveTo>
                <a:cubicBezTo>
                  <a:pt x="834" y="573"/>
                  <a:pt x="834" y="573"/>
                  <a:pt x="834" y="573"/>
                </a:cubicBezTo>
                <a:cubicBezTo>
                  <a:pt x="833" y="573"/>
                  <a:pt x="833" y="573"/>
                  <a:pt x="833" y="573"/>
                </a:cubicBezTo>
                <a:cubicBezTo>
                  <a:pt x="834" y="574"/>
                  <a:pt x="834" y="574"/>
                  <a:pt x="834" y="574"/>
                </a:cubicBezTo>
                <a:cubicBezTo>
                  <a:pt x="835" y="574"/>
                  <a:pt x="835" y="574"/>
                  <a:pt x="835" y="574"/>
                </a:cubicBezTo>
                <a:cubicBezTo>
                  <a:pt x="836" y="573"/>
                  <a:pt x="836" y="573"/>
                  <a:pt x="836" y="573"/>
                </a:cubicBezTo>
                <a:cubicBezTo>
                  <a:pt x="837" y="573"/>
                  <a:pt x="837" y="573"/>
                  <a:pt x="837" y="573"/>
                </a:cubicBezTo>
                <a:cubicBezTo>
                  <a:pt x="836" y="572"/>
                  <a:pt x="836" y="572"/>
                  <a:pt x="836" y="572"/>
                </a:cubicBezTo>
                <a:lnTo>
                  <a:pt x="834" y="572"/>
                </a:lnTo>
                <a:close/>
                <a:moveTo>
                  <a:pt x="805" y="136"/>
                </a:moveTo>
                <a:cubicBezTo>
                  <a:pt x="806" y="134"/>
                  <a:pt x="806" y="134"/>
                  <a:pt x="806" y="134"/>
                </a:cubicBezTo>
                <a:cubicBezTo>
                  <a:pt x="806" y="132"/>
                  <a:pt x="806" y="132"/>
                  <a:pt x="806" y="132"/>
                </a:cubicBezTo>
                <a:cubicBezTo>
                  <a:pt x="805" y="131"/>
                  <a:pt x="805" y="131"/>
                  <a:pt x="805" y="131"/>
                </a:cubicBezTo>
                <a:cubicBezTo>
                  <a:pt x="804" y="132"/>
                  <a:pt x="804" y="132"/>
                  <a:pt x="804" y="132"/>
                </a:cubicBezTo>
                <a:cubicBezTo>
                  <a:pt x="802" y="134"/>
                  <a:pt x="802" y="134"/>
                  <a:pt x="802" y="134"/>
                </a:cubicBezTo>
                <a:cubicBezTo>
                  <a:pt x="802" y="136"/>
                  <a:pt x="802" y="136"/>
                  <a:pt x="802" y="136"/>
                </a:cubicBezTo>
                <a:cubicBezTo>
                  <a:pt x="801" y="138"/>
                  <a:pt x="801" y="138"/>
                  <a:pt x="801" y="138"/>
                </a:cubicBezTo>
                <a:cubicBezTo>
                  <a:pt x="804" y="138"/>
                  <a:pt x="804" y="138"/>
                  <a:pt x="804" y="138"/>
                </a:cubicBezTo>
                <a:cubicBezTo>
                  <a:pt x="805" y="138"/>
                  <a:pt x="805" y="138"/>
                  <a:pt x="805" y="138"/>
                </a:cubicBezTo>
                <a:lnTo>
                  <a:pt x="805" y="136"/>
                </a:lnTo>
                <a:close/>
                <a:moveTo>
                  <a:pt x="800" y="139"/>
                </a:moveTo>
                <a:cubicBezTo>
                  <a:pt x="800" y="141"/>
                  <a:pt x="800" y="141"/>
                  <a:pt x="800" y="141"/>
                </a:cubicBezTo>
                <a:cubicBezTo>
                  <a:pt x="801" y="141"/>
                  <a:pt x="801" y="141"/>
                  <a:pt x="801" y="141"/>
                </a:cubicBezTo>
                <a:cubicBezTo>
                  <a:pt x="803" y="141"/>
                  <a:pt x="803" y="141"/>
                  <a:pt x="803" y="141"/>
                </a:cubicBezTo>
                <a:cubicBezTo>
                  <a:pt x="804" y="140"/>
                  <a:pt x="804" y="140"/>
                  <a:pt x="804" y="140"/>
                </a:cubicBezTo>
                <a:cubicBezTo>
                  <a:pt x="804" y="139"/>
                  <a:pt x="804" y="139"/>
                  <a:pt x="804" y="139"/>
                </a:cubicBezTo>
                <a:cubicBezTo>
                  <a:pt x="802" y="139"/>
                  <a:pt x="802" y="139"/>
                  <a:pt x="802" y="139"/>
                </a:cubicBezTo>
                <a:lnTo>
                  <a:pt x="800" y="139"/>
                </a:lnTo>
                <a:close/>
                <a:moveTo>
                  <a:pt x="776" y="8"/>
                </a:moveTo>
                <a:cubicBezTo>
                  <a:pt x="777" y="8"/>
                  <a:pt x="777" y="8"/>
                  <a:pt x="777" y="8"/>
                </a:cubicBezTo>
                <a:cubicBezTo>
                  <a:pt x="778" y="6"/>
                  <a:pt x="778" y="6"/>
                  <a:pt x="778" y="6"/>
                </a:cubicBezTo>
                <a:cubicBezTo>
                  <a:pt x="779" y="5"/>
                  <a:pt x="779" y="5"/>
                  <a:pt x="779" y="5"/>
                </a:cubicBezTo>
                <a:cubicBezTo>
                  <a:pt x="778" y="4"/>
                  <a:pt x="778" y="4"/>
                  <a:pt x="778" y="4"/>
                </a:cubicBezTo>
                <a:cubicBezTo>
                  <a:pt x="778" y="2"/>
                  <a:pt x="778" y="2"/>
                  <a:pt x="778" y="2"/>
                </a:cubicBezTo>
                <a:cubicBezTo>
                  <a:pt x="776" y="3"/>
                  <a:pt x="776" y="3"/>
                  <a:pt x="776" y="3"/>
                </a:cubicBezTo>
                <a:cubicBezTo>
                  <a:pt x="776" y="4"/>
                  <a:pt x="776" y="4"/>
                  <a:pt x="776" y="4"/>
                </a:cubicBezTo>
                <a:cubicBezTo>
                  <a:pt x="775" y="5"/>
                  <a:pt x="775" y="5"/>
                  <a:pt x="775" y="5"/>
                </a:cubicBezTo>
                <a:cubicBezTo>
                  <a:pt x="775" y="7"/>
                  <a:pt x="775" y="7"/>
                  <a:pt x="775" y="7"/>
                </a:cubicBezTo>
                <a:lnTo>
                  <a:pt x="776" y="8"/>
                </a:lnTo>
                <a:close/>
                <a:moveTo>
                  <a:pt x="776" y="12"/>
                </a:moveTo>
                <a:cubicBezTo>
                  <a:pt x="777" y="10"/>
                  <a:pt x="777" y="10"/>
                  <a:pt x="777" y="10"/>
                </a:cubicBezTo>
                <a:cubicBezTo>
                  <a:pt x="775" y="10"/>
                  <a:pt x="775" y="10"/>
                  <a:pt x="775" y="10"/>
                </a:cubicBezTo>
                <a:cubicBezTo>
                  <a:pt x="774" y="11"/>
                  <a:pt x="774" y="11"/>
                  <a:pt x="774" y="11"/>
                </a:cubicBezTo>
                <a:cubicBezTo>
                  <a:pt x="773" y="12"/>
                  <a:pt x="773" y="12"/>
                  <a:pt x="773" y="12"/>
                </a:cubicBezTo>
                <a:cubicBezTo>
                  <a:pt x="775" y="13"/>
                  <a:pt x="775" y="13"/>
                  <a:pt x="775" y="13"/>
                </a:cubicBezTo>
                <a:lnTo>
                  <a:pt x="776" y="12"/>
                </a:lnTo>
                <a:close/>
                <a:moveTo>
                  <a:pt x="755" y="49"/>
                </a:moveTo>
                <a:cubicBezTo>
                  <a:pt x="755" y="49"/>
                  <a:pt x="755" y="49"/>
                  <a:pt x="755" y="49"/>
                </a:cubicBezTo>
                <a:cubicBezTo>
                  <a:pt x="756" y="49"/>
                  <a:pt x="756" y="49"/>
                  <a:pt x="756" y="49"/>
                </a:cubicBezTo>
                <a:cubicBezTo>
                  <a:pt x="756" y="47"/>
                  <a:pt x="756" y="47"/>
                  <a:pt x="756" y="47"/>
                </a:cubicBezTo>
                <a:cubicBezTo>
                  <a:pt x="755" y="47"/>
                  <a:pt x="755" y="47"/>
                  <a:pt x="755" y="47"/>
                </a:cubicBezTo>
                <a:lnTo>
                  <a:pt x="755" y="49"/>
                </a:lnTo>
                <a:close/>
                <a:moveTo>
                  <a:pt x="523" y="20"/>
                </a:moveTo>
                <a:cubicBezTo>
                  <a:pt x="523" y="19"/>
                  <a:pt x="523" y="19"/>
                  <a:pt x="523" y="19"/>
                </a:cubicBezTo>
                <a:cubicBezTo>
                  <a:pt x="524" y="19"/>
                  <a:pt x="524" y="19"/>
                  <a:pt x="524" y="19"/>
                </a:cubicBezTo>
                <a:cubicBezTo>
                  <a:pt x="521" y="19"/>
                  <a:pt x="521" y="19"/>
                  <a:pt x="521" y="19"/>
                </a:cubicBezTo>
                <a:cubicBezTo>
                  <a:pt x="520" y="20"/>
                  <a:pt x="520" y="20"/>
                  <a:pt x="520" y="20"/>
                </a:cubicBezTo>
                <a:cubicBezTo>
                  <a:pt x="522" y="21"/>
                  <a:pt x="522" y="21"/>
                  <a:pt x="522" y="21"/>
                </a:cubicBezTo>
                <a:lnTo>
                  <a:pt x="523" y="20"/>
                </a:lnTo>
                <a:close/>
                <a:moveTo>
                  <a:pt x="617" y="103"/>
                </a:moveTo>
                <a:cubicBezTo>
                  <a:pt x="617" y="104"/>
                  <a:pt x="617" y="104"/>
                  <a:pt x="617" y="104"/>
                </a:cubicBezTo>
                <a:cubicBezTo>
                  <a:pt x="617" y="105"/>
                  <a:pt x="617" y="105"/>
                  <a:pt x="617" y="105"/>
                </a:cubicBezTo>
                <a:cubicBezTo>
                  <a:pt x="618" y="105"/>
                  <a:pt x="618" y="105"/>
                  <a:pt x="618" y="105"/>
                </a:cubicBezTo>
                <a:lnTo>
                  <a:pt x="617" y="103"/>
                </a:lnTo>
                <a:close/>
                <a:moveTo>
                  <a:pt x="617" y="106"/>
                </a:moveTo>
                <a:cubicBezTo>
                  <a:pt x="616" y="103"/>
                  <a:pt x="616" y="103"/>
                  <a:pt x="616" y="103"/>
                </a:cubicBezTo>
                <a:cubicBezTo>
                  <a:pt x="615" y="104"/>
                  <a:pt x="615" y="104"/>
                  <a:pt x="615" y="104"/>
                </a:cubicBezTo>
                <a:cubicBezTo>
                  <a:pt x="616" y="105"/>
                  <a:pt x="616" y="105"/>
                  <a:pt x="616" y="105"/>
                </a:cubicBezTo>
                <a:lnTo>
                  <a:pt x="617" y="106"/>
                </a:lnTo>
                <a:close/>
                <a:moveTo>
                  <a:pt x="432" y="5"/>
                </a:moveTo>
                <a:cubicBezTo>
                  <a:pt x="431" y="5"/>
                  <a:pt x="431" y="5"/>
                  <a:pt x="431" y="5"/>
                </a:cubicBezTo>
                <a:cubicBezTo>
                  <a:pt x="431" y="5"/>
                  <a:pt x="430" y="6"/>
                  <a:pt x="430" y="6"/>
                </a:cubicBezTo>
                <a:cubicBezTo>
                  <a:pt x="431" y="7"/>
                  <a:pt x="431" y="7"/>
                  <a:pt x="431" y="7"/>
                </a:cubicBezTo>
                <a:lnTo>
                  <a:pt x="432" y="5"/>
                </a:lnTo>
                <a:close/>
                <a:moveTo>
                  <a:pt x="616" y="97"/>
                </a:moveTo>
                <a:cubicBezTo>
                  <a:pt x="615" y="97"/>
                  <a:pt x="615" y="97"/>
                  <a:pt x="615" y="97"/>
                </a:cubicBezTo>
                <a:cubicBezTo>
                  <a:pt x="614" y="98"/>
                  <a:pt x="614" y="98"/>
                  <a:pt x="614" y="98"/>
                </a:cubicBezTo>
                <a:cubicBezTo>
                  <a:pt x="616" y="98"/>
                  <a:pt x="616" y="98"/>
                  <a:pt x="616" y="98"/>
                </a:cubicBezTo>
                <a:lnTo>
                  <a:pt x="616" y="97"/>
                </a:lnTo>
                <a:close/>
                <a:moveTo>
                  <a:pt x="431" y="9"/>
                </a:moveTo>
                <a:cubicBezTo>
                  <a:pt x="430" y="8"/>
                  <a:pt x="430" y="8"/>
                  <a:pt x="430" y="8"/>
                </a:cubicBezTo>
                <a:cubicBezTo>
                  <a:pt x="429" y="9"/>
                  <a:pt x="429" y="9"/>
                  <a:pt x="429" y="9"/>
                </a:cubicBezTo>
                <a:cubicBezTo>
                  <a:pt x="430" y="10"/>
                  <a:pt x="430" y="10"/>
                  <a:pt x="430" y="10"/>
                </a:cubicBezTo>
                <a:lnTo>
                  <a:pt x="431" y="9"/>
                </a:lnTo>
                <a:close/>
                <a:moveTo>
                  <a:pt x="425" y="23"/>
                </a:moveTo>
                <a:cubicBezTo>
                  <a:pt x="427" y="23"/>
                  <a:pt x="427" y="23"/>
                  <a:pt x="427" y="23"/>
                </a:cubicBezTo>
                <a:cubicBezTo>
                  <a:pt x="429" y="21"/>
                  <a:pt x="429" y="21"/>
                  <a:pt x="429" y="21"/>
                </a:cubicBezTo>
                <a:cubicBezTo>
                  <a:pt x="430" y="21"/>
                  <a:pt x="430" y="21"/>
                  <a:pt x="430" y="21"/>
                </a:cubicBezTo>
                <a:cubicBezTo>
                  <a:pt x="437" y="16"/>
                  <a:pt x="437" y="16"/>
                  <a:pt x="437" y="16"/>
                </a:cubicBezTo>
                <a:cubicBezTo>
                  <a:pt x="440" y="14"/>
                  <a:pt x="440" y="14"/>
                  <a:pt x="440" y="14"/>
                </a:cubicBezTo>
                <a:cubicBezTo>
                  <a:pt x="441" y="12"/>
                  <a:pt x="441" y="12"/>
                  <a:pt x="441" y="12"/>
                </a:cubicBezTo>
                <a:cubicBezTo>
                  <a:pt x="440" y="12"/>
                  <a:pt x="440" y="12"/>
                  <a:pt x="440" y="12"/>
                </a:cubicBezTo>
                <a:cubicBezTo>
                  <a:pt x="439" y="11"/>
                  <a:pt x="439" y="11"/>
                  <a:pt x="439" y="11"/>
                </a:cubicBezTo>
                <a:cubicBezTo>
                  <a:pt x="439" y="8"/>
                  <a:pt x="439" y="8"/>
                  <a:pt x="439" y="8"/>
                </a:cubicBezTo>
                <a:cubicBezTo>
                  <a:pt x="437" y="8"/>
                  <a:pt x="437" y="8"/>
                  <a:pt x="437" y="8"/>
                </a:cubicBezTo>
                <a:cubicBezTo>
                  <a:pt x="436" y="11"/>
                  <a:pt x="436" y="11"/>
                  <a:pt x="436" y="11"/>
                </a:cubicBezTo>
                <a:cubicBezTo>
                  <a:pt x="434" y="11"/>
                  <a:pt x="434" y="11"/>
                  <a:pt x="434" y="11"/>
                </a:cubicBezTo>
                <a:cubicBezTo>
                  <a:pt x="434" y="13"/>
                  <a:pt x="434" y="13"/>
                  <a:pt x="434" y="13"/>
                </a:cubicBezTo>
                <a:cubicBezTo>
                  <a:pt x="433" y="13"/>
                  <a:pt x="433" y="13"/>
                  <a:pt x="433" y="13"/>
                </a:cubicBezTo>
                <a:cubicBezTo>
                  <a:pt x="432" y="14"/>
                  <a:pt x="432" y="14"/>
                  <a:pt x="432" y="14"/>
                </a:cubicBezTo>
                <a:cubicBezTo>
                  <a:pt x="431" y="15"/>
                  <a:pt x="431" y="15"/>
                  <a:pt x="431" y="15"/>
                </a:cubicBezTo>
                <a:cubicBezTo>
                  <a:pt x="430" y="14"/>
                  <a:pt x="430" y="14"/>
                  <a:pt x="430" y="14"/>
                </a:cubicBezTo>
                <a:cubicBezTo>
                  <a:pt x="431" y="12"/>
                  <a:pt x="431" y="12"/>
                  <a:pt x="431" y="12"/>
                </a:cubicBezTo>
                <a:cubicBezTo>
                  <a:pt x="430" y="11"/>
                  <a:pt x="430" y="11"/>
                  <a:pt x="430" y="11"/>
                </a:cubicBezTo>
                <a:cubicBezTo>
                  <a:pt x="429" y="13"/>
                  <a:pt x="429" y="13"/>
                  <a:pt x="429" y="13"/>
                </a:cubicBezTo>
                <a:cubicBezTo>
                  <a:pt x="428" y="12"/>
                  <a:pt x="428" y="12"/>
                  <a:pt x="428" y="12"/>
                </a:cubicBezTo>
                <a:cubicBezTo>
                  <a:pt x="427" y="15"/>
                  <a:pt x="427" y="15"/>
                  <a:pt x="427" y="15"/>
                </a:cubicBezTo>
                <a:cubicBezTo>
                  <a:pt x="426" y="16"/>
                  <a:pt x="426" y="16"/>
                  <a:pt x="426" y="16"/>
                </a:cubicBezTo>
                <a:cubicBezTo>
                  <a:pt x="426" y="19"/>
                  <a:pt x="426" y="19"/>
                  <a:pt x="426" y="19"/>
                </a:cubicBezTo>
                <a:cubicBezTo>
                  <a:pt x="425" y="21"/>
                  <a:pt x="425" y="21"/>
                  <a:pt x="425" y="21"/>
                </a:cubicBezTo>
                <a:lnTo>
                  <a:pt x="425" y="23"/>
                </a:lnTo>
                <a:close/>
                <a:moveTo>
                  <a:pt x="693" y="77"/>
                </a:moveTo>
                <a:cubicBezTo>
                  <a:pt x="693" y="77"/>
                  <a:pt x="693" y="77"/>
                  <a:pt x="693" y="77"/>
                </a:cubicBezTo>
                <a:cubicBezTo>
                  <a:pt x="694" y="76"/>
                  <a:pt x="694" y="76"/>
                  <a:pt x="694" y="76"/>
                </a:cubicBezTo>
                <a:cubicBezTo>
                  <a:pt x="693" y="75"/>
                  <a:pt x="693" y="75"/>
                  <a:pt x="693" y="75"/>
                </a:cubicBezTo>
                <a:cubicBezTo>
                  <a:pt x="693" y="76"/>
                  <a:pt x="693" y="76"/>
                  <a:pt x="693" y="76"/>
                </a:cubicBezTo>
                <a:lnTo>
                  <a:pt x="693" y="77"/>
                </a:lnTo>
                <a:close/>
                <a:moveTo>
                  <a:pt x="684" y="96"/>
                </a:moveTo>
                <a:cubicBezTo>
                  <a:pt x="682" y="97"/>
                  <a:pt x="682" y="97"/>
                  <a:pt x="682" y="97"/>
                </a:cubicBezTo>
                <a:cubicBezTo>
                  <a:pt x="682" y="98"/>
                  <a:pt x="682" y="98"/>
                  <a:pt x="682" y="98"/>
                </a:cubicBezTo>
                <a:cubicBezTo>
                  <a:pt x="680" y="98"/>
                  <a:pt x="680" y="98"/>
                  <a:pt x="680" y="98"/>
                </a:cubicBezTo>
                <a:cubicBezTo>
                  <a:pt x="680" y="99"/>
                  <a:pt x="680" y="99"/>
                  <a:pt x="680" y="99"/>
                </a:cubicBezTo>
                <a:cubicBezTo>
                  <a:pt x="681" y="100"/>
                  <a:pt x="681" y="100"/>
                  <a:pt x="681" y="100"/>
                </a:cubicBezTo>
                <a:cubicBezTo>
                  <a:pt x="682" y="101"/>
                  <a:pt x="682" y="101"/>
                  <a:pt x="682" y="101"/>
                </a:cubicBezTo>
                <a:cubicBezTo>
                  <a:pt x="684" y="100"/>
                  <a:pt x="684" y="100"/>
                  <a:pt x="684" y="100"/>
                </a:cubicBezTo>
                <a:cubicBezTo>
                  <a:pt x="684" y="99"/>
                  <a:pt x="684" y="99"/>
                  <a:pt x="684" y="99"/>
                </a:cubicBezTo>
                <a:cubicBezTo>
                  <a:pt x="684" y="98"/>
                  <a:pt x="684" y="98"/>
                  <a:pt x="684" y="98"/>
                </a:cubicBezTo>
                <a:cubicBezTo>
                  <a:pt x="684" y="97"/>
                  <a:pt x="684" y="97"/>
                  <a:pt x="684" y="97"/>
                </a:cubicBezTo>
                <a:lnTo>
                  <a:pt x="684" y="96"/>
                </a:lnTo>
                <a:close/>
                <a:moveTo>
                  <a:pt x="706" y="93"/>
                </a:moveTo>
                <a:cubicBezTo>
                  <a:pt x="707" y="92"/>
                  <a:pt x="707" y="92"/>
                  <a:pt x="707" y="92"/>
                </a:cubicBezTo>
                <a:cubicBezTo>
                  <a:pt x="706" y="90"/>
                  <a:pt x="706" y="90"/>
                  <a:pt x="706" y="90"/>
                </a:cubicBezTo>
                <a:cubicBezTo>
                  <a:pt x="705" y="90"/>
                  <a:pt x="705" y="90"/>
                  <a:pt x="705" y="90"/>
                </a:cubicBezTo>
                <a:cubicBezTo>
                  <a:pt x="704" y="93"/>
                  <a:pt x="704" y="93"/>
                  <a:pt x="704" y="93"/>
                </a:cubicBezTo>
                <a:cubicBezTo>
                  <a:pt x="704" y="94"/>
                  <a:pt x="704" y="94"/>
                  <a:pt x="704" y="94"/>
                </a:cubicBezTo>
                <a:cubicBezTo>
                  <a:pt x="705" y="95"/>
                  <a:pt x="705" y="95"/>
                  <a:pt x="705" y="95"/>
                </a:cubicBezTo>
                <a:cubicBezTo>
                  <a:pt x="705" y="95"/>
                  <a:pt x="706" y="95"/>
                  <a:pt x="706" y="95"/>
                </a:cubicBezTo>
                <a:lnTo>
                  <a:pt x="706" y="93"/>
                </a:lnTo>
                <a:close/>
                <a:moveTo>
                  <a:pt x="620" y="117"/>
                </a:moveTo>
                <a:cubicBezTo>
                  <a:pt x="620" y="116"/>
                  <a:pt x="620" y="116"/>
                  <a:pt x="620" y="116"/>
                </a:cubicBezTo>
                <a:cubicBezTo>
                  <a:pt x="619" y="115"/>
                  <a:pt x="619" y="115"/>
                  <a:pt x="619" y="115"/>
                </a:cubicBezTo>
                <a:cubicBezTo>
                  <a:pt x="618" y="117"/>
                  <a:pt x="618" y="117"/>
                  <a:pt x="618" y="117"/>
                </a:cubicBezTo>
                <a:cubicBezTo>
                  <a:pt x="618" y="118"/>
                  <a:pt x="618" y="118"/>
                  <a:pt x="618" y="118"/>
                </a:cubicBezTo>
                <a:cubicBezTo>
                  <a:pt x="617" y="119"/>
                  <a:pt x="617" y="119"/>
                  <a:pt x="617" y="119"/>
                </a:cubicBezTo>
                <a:cubicBezTo>
                  <a:pt x="618" y="123"/>
                  <a:pt x="618" y="123"/>
                  <a:pt x="618" y="123"/>
                </a:cubicBezTo>
                <a:cubicBezTo>
                  <a:pt x="619" y="122"/>
                  <a:pt x="619" y="122"/>
                  <a:pt x="619" y="122"/>
                </a:cubicBezTo>
                <a:cubicBezTo>
                  <a:pt x="619" y="121"/>
                  <a:pt x="619" y="121"/>
                  <a:pt x="619" y="121"/>
                </a:cubicBezTo>
                <a:cubicBezTo>
                  <a:pt x="620" y="120"/>
                  <a:pt x="620" y="120"/>
                  <a:pt x="620" y="120"/>
                </a:cubicBezTo>
                <a:cubicBezTo>
                  <a:pt x="620" y="119"/>
                  <a:pt x="620" y="119"/>
                  <a:pt x="620" y="119"/>
                </a:cubicBezTo>
                <a:cubicBezTo>
                  <a:pt x="620" y="118"/>
                  <a:pt x="620" y="118"/>
                  <a:pt x="620" y="118"/>
                </a:cubicBezTo>
                <a:lnTo>
                  <a:pt x="620" y="117"/>
                </a:lnTo>
                <a:close/>
                <a:moveTo>
                  <a:pt x="623" y="94"/>
                </a:moveTo>
                <a:cubicBezTo>
                  <a:pt x="622" y="94"/>
                  <a:pt x="622" y="94"/>
                  <a:pt x="622" y="94"/>
                </a:cubicBezTo>
                <a:cubicBezTo>
                  <a:pt x="621" y="95"/>
                  <a:pt x="621" y="95"/>
                  <a:pt x="621" y="95"/>
                </a:cubicBezTo>
                <a:cubicBezTo>
                  <a:pt x="621" y="95"/>
                  <a:pt x="622" y="95"/>
                  <a:pt x="622" y="95"/>
                </a:cubicBezTo>
                <a:lnTo>
                  <a:pt x="623" y="94"/>
                </a:lnTo>
                <a:close/>
                <a:moveTo>
                  <a:pt x="623" y="110"/>
                </a:moveTo>
                <a:cubicBezTo>
                  <a:pt x="622" y="111"/>
                  <a:pt x="622" y="111"/>
                  <a:pt x="622" y="111"/>
                </a:cubicBezTo>
                <a:cubicBezTo>
                  <a:pt x="621" y="110"/>
                  <a:pt x="621" y="110"/>
                  <a:pt x="621" y="110"/>
                </a:cubicBezTo>
                <a:cubicBezTo>
                  <a:pt x="620" y="111"/>
                  <a:pt x="620" y="111"/>
                  <a:pt x="620" y="111"/>
                </a:cubicBezTo>
                <a:cubicBezTo>
                  <a:pt x="621" y="113"/>
                  <a:pt x="621" y="113"/>
                  <a:pt x="621" y="113"/>
                </a:cubicBezTo>
                <a:cubicBezTo>
                  <a:pt x="622" y="113"/>
                  <a:pt x="622" y="113"/>
                  <a:pt x="622" y="113"/>
                </a:cubicBezTo>
                <a:cubicBezTo>
                  <a:pt x="623" y="112"/>
                  <a:pt x="623" y="112"/>
                  <a:pt x="623" y="112"/>
                </a:cubicBezTo>
                <a:cubicBezTo>
                  <a:pt x="623" y="111"/>
                  <a:pt x="623" y="111"/>
                  <a:pt x="623" y="111"/>
                </a:cubicBezTo>
                <a:cubicBezTo>
                  <a:pt x="624" y="110"/>
                  <a:pt x="624" y="110"/>
                  <a:pt x="624" y="110"/>
                </a:cubicBezTo>
                <a:lnTo>
                  <a:pt x="623" y="110"/>
                </a:lnTo>
                <a:close/>
                <a:moveTo>
                  <a:pt x="98" y="89"/>
                </a:moveTo>
                <a:cubicBezTo>
                  <a:pt x="99" y="90"/>
                  <a:pt x="99" y="90"/>
                  <a:pt x="99" y="90"/>
                </a:cubicBezTo>
                <a:cubicBezTo>
                  <a:pt x="99" y="91"/>
                  <a:pt x="99" y="91"/>
                  <a:pt x="99" y="91"/>
                </a:cubicBezTo>
                <a:cubicBezTo>
                  <a:pt x="99" y="91"/>
                  <a:pt x="98" y="92"/>
                  <a:pt x="98" y="92"/>
                </a:cubicBezTo>
                <a:cubicBezTo>
                  <a:pt x="100" y="93"/>
                  <a:pt x="100" y="93"/>
                  <a:pt x="100" y="93"/>
                </a:cubicBezTo>
                <a:cubicBezTo>
                  <a:pt x="104" y="89"/>
                  <a:pt x="104" y="89"/>
                  <a:pt x="104" y="89"/>
                </a:cubicBezTo>
                <a:cubicBezTo>
                  <a:pt x="106" y="88"/>
                  <a:pt x="106" y="88"/>
                  <a:pt x="106" y="88"/>
                </a:cubicBezTo>
                <a:cubicBezTo>
                  <a:pt x="106" y="87"/>
                  <a:pt x="106" y="87"/>
                  <a:pt x="106" y="87"/>
                </a:cubicBezTo>
                <a:cubicBezTo>
                  <a:pt x="102" y="84"/>
                  <a:pt x="102" y="84"/>
                  <a:pt x="102" y="84"/>
                </a:cubicBezTo>
                <a:cubicBezTo>
                  <a:pt x="98" y="85"/>
                  <a:pt x="98" y="85"/>
                  <a:pt x="98" y="85"/>
                </a:cubicBezTo>
                <a:cubicBezTo>
                  <a:pt x="97" y="86"/>
                  <a:pt x="97" y="86"/>
                  <a:pt x="97" y="86"/>
                </a:cubicBezTo>
                <a:cubicBezTo>
                  <a:pt x="98" y="87"/>
                  <a:pt x="98" y="87"/>
                  <a:pt x="98" y="87"/>
                </a:cubicBezTo>
                <a:lnTo>
                  <a:pt x="98" y="89"/>
                </a:lnTo>
                <a:close/>
                <a:moveTo>
                  <a:pt x="806" y="1535"/>
                </a:moveTo>
                <a:cubicBezTo>
                  <a:pt x="806" y="1536"/>
                  <a:pt x="806" y="1536"/>
                  <a:pt x="806" y="1536"/>
                </a:cubicBezTo>
                <a:cubicBezTo>
                  <a:pt x="807" y="1536"/>
                  <a:pt x="807" y="1536"/>
                  <a:pt x="807" y="1536"/>
                </a:cubicBezTo>
                <a:cubicBezTo>
                  <a:pt x="809" y="1536"/>
                  <a:pt x="809" y="1536"/>
                  <a:pt x="809" y="1536"/>
                </a:cubicBezTo>
                <a:cubicBezTo>
                  <a:pt x="809" y="1535"/>
                  <a:pt x="809" y="1535"/>
                  <a:pt x="809" y="1535"/>
                </a:cubicBezTo>
                <a:cubicBezTo>
                  <a:pt x="808" y="1534"/>
                  <a:pt x="808" y="1534"/>
                  <a:pt x="808" y="1534"/>
                </a:cubicBezTo>
                <a:cubicBezTo>
                  <a:pt x="807" y="1534"/>
                  <a:pt x="807" y="1534"/>
                  <a:pt x="807" y="1534"/>
                </a:cubicBezTo>
                <a:lnTo>
                  <a:pt x="806" y="1535"/>
                </a:lnTo>
                <a:close/>
                <a:moveTo>
                  <a:pt x="812" y="1555"/>
                </a:moveTo>
                <a:cubicBezTo>
                  <a:pt x="811" y="1553"/>
                  <a:pt x="811" y="1553"/>
                  <a:pt x="811" y="1553"/>
                </a:cubicBezTo>
                <a:cubicBezTo>
                  <a:pt x="809" y="1553"/>
                  <a:pt x="809" y="1553"/>
                  <a:pt x="809" y="1553"/>
                </a:cubicBezTo>
                <a:cubicBezTo>
                  <a:pt x="809" y="1552"/>
                  <a:pt x="809" y="1552"/>
                  <a:pt x="809" y="1552"/>
                </a:cubicBezTo>
                <a:cubicBezTo>
                  <a:pt x="808" y="1553"/>
                  <a:pt x="808" y="1553"/>
                  <a:pt x="808" y="1553"/>
                </a:cubicBezTo>
                <a:cubicBezTo>
                  <a:pt x="810" y="1555"/>
                  <a:pt x="810" y="1555"/>
                  <a:pt x="810" y="1555"/>
                </a:cubicBezTo>
                <a:lnTo>
                  <a:pt x="812" y="1555"/>
                </a:lnTo>
                <a:close/>
                <a:moveTo>
                  <a:pt x="809" y="1543"/>
                </a:moveTo>
                <a:cubicBezTo>
                  <a:pt x="809" y="1542"/>
                  <a:pt x="809" y="1542"/>
                  <a:pt x="809" y="1542"/>
                </a:cubicBezTo>
                <a:cubicBezTo>
                  <a:pt x="812" y="1542"/>
                  <a:pt x="812" y="1542"/>
                  <a:pt x="812" y="1542"/>
                </a:cubicBezTo>
                <a:cubicBezTo>
                  <a:pt x="813" y="1541"/>
                  <a:pt x="813" y="1541"/>
                  <a:pt x="813" y="1541"/>
                </a:cubicBezTo>
                <a:cubicBezTo>
                  <a:pt x="808" y="1541"/>
                  <a:pt x="808" y="1541"/>
                  <a:pt x="808" y="1541"/>
                </a:cubicBezTo>
                <a:cubicBezTo>
                  <a:pt x="808" y="1542"/>
                  <a:pt x="808" y="1542"/>
                  <a:pt x="808" y="1542"/>
                </a:cubicBezTo>
                <a:cubicBezTo>
                  <a:pt x="808" y="1542"/>
                  <a:pt x="809" y="1543"/>
                  <a:pt x="809" y="1543"/>
                </a:cubicBezTo>
                <a:close/>
                <a:moveTo>
                  <a:pt x="813" y="1540"/>
                </a:moveTo>
                <a:cubicBezTo>
                  <a:pt x="815" y="1540"/>
                  <a:pt x="815" y="1540"/>
                  <a:pt x="815" y="1540"/>
                </a:cubicBezTo>
                <a:cubicBezTo>
                  <a:pt x="814" y="1538"/>
                  <a:pt x="814" y="1538"/>
                  <a:pt x="814" y="1538"/>
                </a:cubicBezTo>
                <a:lnTo>
                  <a:pt x="813" y="1540"/>
                </a:lnTo>
                <a:close/>
                <a:moveTo>
                  <a:pt x="802" y="1528"/>
                </a:moveTo>
                <a:cubicBezTo>
                  <a:pt x="803" y="1529"/>
                  <a:pt x="803" y="1529"/>
                  <a:pt x="803" y="1529"/>
                </a:cubicBezTo>
                <a:cubicBezTo>
                  <a:pt x="805" y="1528"/>
                  <a:pt x="805" y="1528"/>
                  <a:pt x="805" y="1528"/>
                </a:cubicBezTo>
                <a:cubicBezTo>
                  <a:pt x="804" y="1527"/>
                  <a:pt x="804" y="1527"/>
                  <a:pt x="804" y="1527"/>
                </a:cubicBezTo>
                <a:cubicBezTo>
                  <a:pt x="802" y="1527"/>
                  <a:pt x="802" y="1527"/>
                  <a:pt x="802" y="1527"/>
                </a:cubicBezTo>
                <a:lnTo>
                  <a:pt x="802" y="1528"/>
                </a:lnTo>
                <a:close/>
                <a:moveTo>
                  <a:pt x="811" y="1530"/>
                </a:moveTo>
                <a:cubicBezTo>
                  <a:pt x="813" y="1531"/>
                  <a:pt x="813" y="1531"/>
                  <a:pt x="813" y="1531"/>
                </a:cubicBezTo>
                <a:cubicBezTo>
                  <a:pt x="813" y="1533"/>
                  <a:pt x="813" y="1533"/>
                  <a:pt x="813" y="1533"/>
                </a:cubicBezTo>
                <a:cubicBezTo>
                  <a:pt x="814" y="1532"/>
                  <a:pt x="814" y="1532"/>
                  <a:pt x="814" y="1532"/>
                </a:cubicBezTo>
                <a:cubicBezTo>
                  <a:pt x="814" y="1530"/>
                  <a:pt x="814" y="1530"/>
                  <a:pt x="814" y="1530"/>
                </a:cubicBezTo>
                <a:cubicBezTo>
                  <a:pt x="813" y="1529"/>
                  <a:pt x="813" y="1529"/>
                  <a:pt x="813" y="1529"/>
                </a:cubicBezTo>
                <a:lnTo>
                  <a:pt x="811" y="1530"/>
                </a:lnTo>
                <a:close/>
                <a:moveTo>
                  <a:pt x="808" y="1529"/>
                </a:moveTo>
                <a:cubicBezTo>
                  <a:pt x="809" y="1530"/>
                  <a:pt x="809" y="1530"/>
                  <a:pt x="809" y="1530"/>
                </a:cubicBezTo>
                <a:cubicBezTo>
                  <a:pt x="811" y="1529"/>
                  <a:pt x="811" y="1529"/>
                  <a:pt x="811" y="1529"/>
                </a:cubicBezTo>
                <a:cubicBezTo>
                  <a:pt x="808" y="1528"/>
                  <a:pt x="808" y="1528"/>
                  <a:pt x="808" y="1528"/>
                </a:cubicBezTo>
                <a:lnTo>
                  <a:pt x="808" y="1529"/>
                </a:lnTo>
                <a:close/>
                <a:moveTo>
                  <a:pt x="813" y="1544"/>
                </a:moveTo>
                <a:cubicBezTo>
                  <a:pt x="811" y="1545"/>
                  <a:pt x="811" y="1545"/>
                  <a:pt x="811" y="1545"/>
                </a:cubicBezTo>
                <a:cubicBezTo>
                  <a:pt x="809" y="1545"/>
                  <a:pt x="809" y="1545"/>
                  <a:pt x="809" y="1545"/>
                </a:cubicBezTo>
                <a:cubicBezTo>
                  <a:pt x="810" y="1546"/>
                  <a:pt x="810" y="1546"/>
                  <a:pt x="810" y="1546"/>
                </a:cubicBezTo>
                <a:cubicBezTo>
                  <a:pt x="813" y="1546"/>
                  <a:pt x="813" y="1546"/>
                  <a:pt x="813" y="1546"/>
                </a:cubicBezTo>
                <a:lnTo>
                  <a:pt x="813" y="1544"/>
                </a:lnTo>
                <a:close/>
                <a:moveTo>
                  <a:pt x="811" y="1550"/>
                </a:moveTo>
                <a:cubicBezTo>
                  <a:pt x="810" y="1550"/>
                  <a:pt x="810" y="1550"/>
                  <a:pt x="810" y="1550"/>
                </a:cubicBezTo>
                <a:cubicBezTo>
                  <a:pt x="811" y="1552"/>
                  <a:pt x="811" y="1552"/>
                  <a:pt x="811" y="1552"/>
                </a:cubicBezTo>
                <a:lnTo>
                  <a:pt x="811" y="1550"/>
                </a:lnTo>
                <a:close/>
                <a:moveTo>
                  <a:pt x="813" y="1539"/>
                </a:moveTo>
                <a:cubicBezTo>
                  <a:pt x="813" y="1536"/>
                  <a:pt x="813" y="1536"/>
                  <a:pt x="813" y="1536"/>
                </a:cubicBezTo>
                <a:cubicBezTo>
                  <a:pt x="811" y="1537"/>
                  <a:pt x="811" y="1537"/>
                  <a:pt x="811" y="1537"/>
                </a:cubicBezTo>
                <a:lnTo>
                  <a:pt x="813" y="1539"/>
                </a:lnTo>
                <a:close/>
                <a:moveTo>
                  <a:pt x="827" y="845"/>
                </a:moveTo>
                <a:cubicBezTo>
                  <a:pt x="826" y="844"/>
                  <a:pt x="826" y="844"/>
                  <a:pt x="826" y="844"/>
                </a:cubicBezTo>
                <a:cubicBezTo>
                  <a:pt x="825" y="844"/>
                  <a:pt x="825" y="844"/>
                  <a:pt x="825" y="844"/>
                </a:cubicBezTo>
                <a:cubicBezTo>
                  <a:pt x="826" y="846"/>
                  <a:pt x="826" y="846"/>
                  <a:pt x="826" y="846"/>
                </a:cubicBezTo>
                <a:cubicBezTo>
                  <a:pt x="827" y="846"/>
                  <a:pt x="827" y="846"/>
                  <a:pt x="827" y="846"/>
                </a:cubicBezTo>
                <a:cubicBezTo>
                  <a:pt x="828" y="845"/>
                  <a:pt x="828" y="845"/>
                  <a:pt x="828" y="845"/>
                </a:cubicBezTo>
                <a:lnTo>
                  <a:pt x="827" y="845"/>
                </a:lnTo>
                <a:close/>
                <a:moveTo>
                  <a:pt x="803" y="1540"/>
                </a:moveTo>
                <a:cubicBezTo>
                  <a:pt x="804" y="1541"/>
                  <a:pt x="804" y="1541"/>
                  <a:pt x="804" y="1541"/>
                </a:cubicBezTo>
                <a:cubicBezTo>
                  <a:pt x="805" y="1540"/>
                  <a:pt x="805" y="1540"/>
                  <a:pt x="805" y="1540"/>
                </a:cubicBezTo>
                <a:cubicBezTo>
                  <a:pt x="804" y="1539"/>
                  <a:pt x="804" y="1539"/>
                  <a:pt x="804" y="1539"/>
                </a:cubicBezTo>
                <a:lnTo>
                  <a:pt x="803" y="1540"/>
                </a:lnTo>
                <a:close/>
                <a:moveTo>
                  <a:pt x="705" y="1064"/>
                </a:moveTo>
                <a:cubicBezTo>
                  <a:pt x="703" y="1065"/>
                  <a:pt x="703" y="1065"/>
                  <a:pt x="703" y="1065"/>
                </a:cubicBezTo>
                <a:cubicBezTo>
                  <a:pt x="702" y="1067"/>
                  <a:pt x="702" y="1067"/>
                  <a:pt x="702" y="1067"/>
                </a:cubicBezTo>
                <a:cubicBezTo>
                  <a:pt x="702" y="1068"/>
                  <a:pt x="702" y="1068"/>
                  <a:pt x="702" y="1068"/>
                </a:cubicBezTo>
                <a:cubicBezTo>
                  <a:pt x="703" y="1069"/>
                  <a:pt x="703" y="1069"/>
                  <a:pt x="703" y="1069"/>
                </a:cubicBezTo>
                <a:cubicBezTo>
                  <a:pt x="704" y="1068"/>
                  <a:pt x="704" y="1068"/>
                  <a:pt x="704" y="1068"/>
                </a:cubicBezTo>
                <a:cubicBezTo>
                  <a:pt x="705" y="1067"/>
                  <a:pt x="705" y="1067"/>
                  <a:pt x="705" y="1067"/>
                </a:cubicBezTo>
                <a:cubicBezTo>
                  <a:pt x="705" y="1066"/>
                  <a:pt x="705" y="1066"/>
                  <a:pt x="705" y="1066"/>
                </a:cubicBezTo>
                <a:cubicBezTo>
                  <a:pt x="705" y="1064"/>
                  <a:pt x="705" y="1064"/>
                  <a:pt x="705" y="1064"/>
                </a:cubicBezTo>
                <a:close/>
                <a:moveTo>
                  <a:pt x="83" y="191"/>
                </a:moveTo>
                <a:cubicBezTo>
                  <a:pt x="81" y="191"/>
                  <a:pt x="81" y="191"/>
                  <a:pt x="81" y="191"/>
                </a:cubicBezTo>
                <a:cubicBezTo>
                  <a:pt x="82" y="192"/>
                  <a:pt x="82" y="192"/>
                  <a:pt x="82" y="192"/>
                </a:cubicBezTo>
                <a:cubicBezTo>
                  <a:pt x="83" y="192"/>
                  <a:pt x="83" y="192"/>
                  <a:pt x="83" y="192"/>
                </a:cubicBezTo>
                <a:lnTo>
                  <a:pt x="83" y="191"/>
                </a:lnTo>
                <a:close/>
                <a:moveTo>
                  <a:pt x="175" y="174"/>
                </a:moveTo>
                <a:cubicBezTo>
                  <a:pt x="174" y="174"/>
                  <a:pt x="174" y="174"/>
                  <a:pt x="174" y="174"/>
                </a:cubicBezTo>
                <a:cubicBezTo>
                  <a:pt x="171" y="177"/>
                  <a:pt x="171" y="177"/>
                  <a:pt x="171" y="177"/>
                </a:cubicBezTo>
                <a:cubicBezTo>
                  <a:pt x="173" y="177"/>
                  <a:pt x="173" y="177"/>
                  <a:pt x="173" y="177"/>
                </a:cubicBezTo>
                <a:cubicBezTo>
                  <a:pt x="175" y="175"/>
                  <a:pt x="175" y="175"/>
                  <a:pt x="175" y="175"/>
                </a:cubicBezTo>
                <a:lnTo>
                  <a:pt x="175" y="174"/>
                </a:lnTo>
                <a:close/>
                <a:moveTo>
                  <a:pt x="79" y="192"/>
                </a:moveTo>
                <a:cubicBezTo>
                  <a:pt x="81" y="189"/>
                  <a:pt x="81" y="189"/>
                  <a:pt x="81" y="189"/>
                </a:cubicBezTo>
                <a:cubicBezTo>
                  <a:pt x="81" y="188"/>
                  <a:pt x="81" y="188"/>
                  <a:pt x="81" y="188"/>
                </a:cubicBezTo>
                <a:cubicBezTo>
                  <a:pt x="79" y="189"/>
                  <a:pt x="79" y="189"/>
                  <a:pt x="79" y="189"/>
                </a:cubicBezTo>
                <a:cubicBezTo>
                  <a:pt x="77" y="191"/>
                  <a:pt x="77" y="191"/>
                  <a:pt x="77" y="191"/>
                </a:cubicBezTo>
                <a:cubicBezTo>
                  <a:pt x="77" y="193"/>
                  <a:pt x="77" y="193"/>
                  <a:pt x="77" y="193"/>
                </a:cubicBezTo>
                <a:cubicBezTo>
                  <a:pt x="78" y="193"/>
                  <a:pt x="78" y="193"/>
                  <a:pt x="78" y="193"/>
                </a:cubicBezTo>
                <a:lnTo>
                  <a:pt x="79" y="192"/>
                </a:lnTo>
                <a:close/>
                <a:moveTo>
                  <a:pt x="800" y="1542"/>
                </a:moveTo>
                <a:cubicBezTo>
                  <a:pt x="802" y="1543"/>
                  <a:pt x="802" y="1543"/>
                  <a:pt x="802" y="1543"/>
                </a:cubicBezTo>
                <a:cubicBezTo>
                  <a:pt x="803" y="1542"/>
                  <a:pt x="803" y="1542"/>
                  <a:pt x="803" y="1542"/>
                </a:cubicBezTo>
                <a:cubicBezTo>
                  <a:pt x="802" y="1541"/>
                  <a:pt x="802" y="1541"/>
                  <a:pt x="802" y="1541"/>
                </a:cubicBezTo>
                <a:cubicBezTo>
                  <a:pt x="800" y="1541"/>
                  <a:pt x="800" y="1541"/>
                  <a:pt x="800" y="1541"/>
                </a:cubicBezTo>
                <a:lnTo>
                  <a:pt x="800" y="1542"/>
                </a:lnTo>
                <a:close/>
                <a:moveTo>
                  <a:pt x="1007" y="490"/>
                </a:moveTo>
                <a:cubicBezTo>
                  <a:pt x="1007" y="491"/>
                  <a:pt x="1007" y="491"/>
                  <a:pt x="1007" y="491"/>
                </a:cubicBezTo>
                <a:cubicBezTo>
                  <a:pt x="1008" y="491"/>
                  <a:pt x="1008" y="491"/>
                  <a:pt x="1008" y="491"/>
                </a:cubicBezTo>
                <a:cubicBezTo>
                  <a:pt x="1010" y="491"/>
                  <a:pt x="1010" y="491"/>
                  <a:pt x="1010" y="491"/>
                </a:cubicBezTo>
                <a:cubicBezTo>
                  <a:pt x="1010" y="491"/>
                  <a:pt x="1010" y="491"/>
                  <a:pt x="1010" y="491"/>
                </a:cubicBezTo>
                <a:cubicBezTo>
                  <a:pt x="1008" y="490"/>
                  <a:pt x="1008" y="490"/>
                  <a:pt x="1008" y="490"/>
                </a:cubicBezTo>
                <a:lnTo>
                  <a:pt x="1007" y="490"/>
                </a:lnTo>
                <a:close/>
                <a:moveTo>
                  <a:pt x="121" y="82"/>
                </a:moveTo>
                <a:cubicBezTo>
                  <a:pt x="122" y="80"/>
                  <a:pt x="122" y="80"/>
                  <a:pt x="122" y="80"/>
                </a:cubicBezTo>
                <a:cubicBezTo>
                  <a:pt x="121" y="79"/>
                  <a:pt x="121" y="79"/>
                  <a:pt x="121" y="79"/>
                </a:cubicBezTo>
                <a:cubicBezTo>
                  <a:pt x="119" y="79"/>
                  <a:pt x="119" y="79"/>
                  <a:pt x="119" y="79"/>
                </a:cubicBezTo>
                <a:cubicBezTo>
                  <a:pt x="118" y="79"/>
                  <a:pt x="118" y="79"/>
                  <a:pt x="118" y="79"/>
                </a:cubicBezTo>
                <a:cubicBezTo>
                  <a:pt x="120" y="82"/>
                  <a:pt x="120" y="82"/>
                  <a:pt x="120" y="82"/>
                </a:cubicBezTo>
                <a:lnTo>
                  <a:pt x="121" y="82"/>
                </a:lnTo>
                <a:close/>
                <a:moveTo>
                  <a:pt x="92" y="96"/>
                </a:moveTo>
                <a:cubicBezTo>
                  <a:pt x="94" y="97"/>
                  <a:pt x="94" y="97"/>
                  <a:pt x="94" y="97"/>
                </a:cubicBezTo>
                <a:cubicBezTo>
                  <a:pt x="94" y="98"/>
                  <a:pt x="94" y="98"/>
                  <a:pt x="94" y="98"/>
                </a:cubicBezTo>
                <a:cubicBezTo>
                  <a:pt x="95" y="99"/>
                  <a:pt x="95" y="99"/>
                  <a:pt x="95" y="99"/>
                </a:cubicBezTo>
                <a:cubicBezTo>
                  <a:pt x="96" y="95"/>
                  <a:pt x="96" y="95"/>
                  <a:pt x="96" y="95"/>
                </a:cubicBezTo>
                <a:cubicBezTo>
                  <a:pt x="97" y="92"/>
                  <a:pt x="97" y="92"/>
                  <a:pt x="97" y="92"/>
                </a:cubicBezTo>
                <a:cubicBezTo>
                  <a:pt x="97" y="88"/>
                  <a:pt x="97" y="88"/>
                  <a:pt x="97" y="88"/>
                </a:cubicBezTo>
                <a:cubicBezTo>
                  <a:pt x="96" y="87"/>
                  <a:pt x="96" y="87"/>
                  <a:pt x="96" y="87"/>
                </a:cubicBezTo>
                <a:cubicBezTo>
                  <a:pt x="93" y="89"/>
                  <a:pt x="93" y="89"/>
                  <a:pt x="93" y="89"/>
                </a:cubicBezTo>
                <a:cubicBezTo>
                  <a:pt x="88" y="94"/>
                  <a:pt x="88" y="94"/>
                  <a:pt x="88" y="94"/>
                </a:cubicBezTo>
                <a:cubicBezTo>
                  <a:pt x="88" y="95"/>
                  <a:pt x="88" y="95"/>
                  <a:pt x="88" y="95"/>
                </a:cubicBezTo>
                <a:cubicBezTo>
                  <a:pt x="90" y="97"/>
                  <a:pt x="90" y="97"/>
                  <a:pt x="90" y="97"/>
                </a:cubicBezTo>
                <a:lnTo>
                  <a:pt x="92" y="96"/>
                </a:lnTo>
                <a:close/>
                <a:moveTo>
                  <a:pt x="806" y="1555"/>
                </a:moveTo>
                <a:cubicBezTo>
                  <a:pt x="807" y="1555"/>
                  <a:pt x="807" y="1555"/>
                  <a:pt x="807" y="1555"/>
                </a:cubicBezTo>
                <a:cubicBezTo>
                  <a:pt x="807" y="1553"/>
                  <a:pt x="807" y="1553"/>
                  <a:pt x="807" y="1553"/>
                </a:cubicBezTo>
                <a:cubicBezTo>
                  <a:pt x="806" y="1553"/>
                  <a:pt x="806" y="1553"/>
                  <a:pt x="806" y="1553"/>
                </a:cubicBezTo>
                <a:lnTo>
                  <a:pt x="806" y="1555"/>
                </a:lnTo>
                <a:close/>
                <a:moveTo>
                  <a:pt x="411" y="772"/>
                </a:moveTo>
                <a:cubicBezTo>
                  <a:pt x="412" y="773"/>
                  <a:pt x="412" y="773"/>
                  <a:pt x="412" y="773"/>
                </a:cubicBezTo>
                <a:cubicBezTo>
                  <a:pt x="412" y="771"/>
                  <a:pt x="412" y="771"/>
                  <a:pt x="412" y="771"/>
                </a:cubicBezTo>
                <a:cubicBezTo>
                  <a:pt x="411" y="771"/>
                  <a:pt x="411" y="771"/>
                  <a:pt x="411" y="771"/>
                </a:cubicBezTo>
                <a:lnTo>
                  <a:pt x="411" y="772"/>
                </a:lnTo>
                <a:close/>
                <a:moveTo>
                  <a:pt x="331" y="373"/>
                </a:moveTo>
                <a:cubicBezTo>
                  <a:pt x="334" y="370"/>
                  <a:pt x="334" y="370"/>
                  <a:pt x="334" y="370"/>
                </a:cubicBezTo>
                <a:cubicBezTo>
                  <a:pt x="335" y="369"/>
                  <a:pt x="335" y="369"/>
                  <a:pt x="335" y="369"/>
                </a:cubicBezTo>
                <a:cubicBezTo>
                  <a:pt x="332" y="370"/>
                  <a:pt x="332" y="370"/>
                  <a:pt x="332" y="370"/>
                </a:cubicBezTo>
                <a:cubicBezTo>
                  <a:pt x="331" y="372"/>
                  <a:pt x="331" y="372"/>
                  <a:pt x="331" y="372"/>
                </a:cubicBezTo>
                <a:cubicBezTo>
                  <a:pt x="329" y="372"/>
                  <a:pt x="329" y="372"/>
                  <a:pt x="329" y="372"/>
                </a:cubicBezTo>
                <a:cubicBezTo>
                  <a:pt x="327" y="375"/>
                  <a:pt x="327" y="375"/>
                  <a:pt x="327" y="375"/>
                </a:cubicBezTo>
                <a:cubicBezTo>
                  <a:pt x="328" y="375"/>
                  <a:pt x="328" y="375"/>
                  <a:pt x="328" y="375"/>
                </a:cubicBezTo>
                <a:cubicBezTo>
                  <a:pt x="330" y="373"/>
                  <a:pt x="330" y="373"/>
                  <a:pt x="330" y="373"/>
                </a:cubicBezTo>
                <a:lnTo>
                  <a:pt x="331" y="373"/>
                </a:lnTo>
                <a:close/>
                <a:moveTo>
                  <a:pt x="358" y="440"/>
                </a:moveTo>
                <a:cubicBezTo>
                  <a:pt x="357" y="440"/>
                  <a:pt x="357" y="440"/>
                  <a:pt x="357" y="440"/>
                </a:cubicBezTo>
                <a:cubicBezTo>
                  <a:pt x="355" y="441"/>
                  <a:pt x="355" y="441"/>
                  <a:pt x="355" y="441"/>
                </a:cubicBezTo>
                <a:cubicBezTo>
                  <a:pt x="355" y="444"/>
                  <a:pt x="355" y="444"/>
                  <a:pt x="355" y="444"/>
                </a:cubicBezTo>
                <a:cubicBezTo>
                  <a:pt x="357" y="447"/>
                  <a:pt x="357" y="447"/>
                  <a:pt x="357" y="447"/>
                </a:cubicBezTo>
                <a:cubicBezTo>
                  <a:pt x="358" y="446"/>
                  <a:pt x="358" y="446"/>
                  <a:pt x="358" y="446"/>
                </a:cubicBezTo>
                <a:cubicBezTo>
                  <a:pt x="356" y="443"/>
                  <a:pt x="356" y="443"/>
                  <a:pt x="356" y="443"/>
                </a:cubicBezTo>
                <a:cubicBezTo>
                  <a:pt x="357" y="441"/>
                  <a:pt x="357" y="441"/>
                  <a:pt x="357" y="441"/>
                </a:cubicBezTo>
                <a:lnTo>
                  <a:pt x="358" y="440"/>
                </a:lnTo>
                <a:close/>
                <a:moveTo>
                  <a:pt x="408" y="764"/>
                </a:moveTo>
                <a:cubicBezTo>
                  <a:pt x="409" y="765"/>
                  <a:pt x="409" y="765"/>
                  <a:pt x="409" y="765"/>
                </a:cubicBezTo>
                <a:cubicBezTo>
                  <a:pt x="409" y="767"/>
                  <a:pt x="409" y="767"/>
                  <a:pt x="409" y="767"/>
                </a:cubicBezTo>
                <a:cubicBezTo>
                  <a:pt x="410" y="766"/>
                  <a:pt x="410" y="766"/>
                  <a:pt x="410" y="766"/>
                </a:cubicBezTo>
                <a:cubicBezTo>
                  <a:pt x="410" y="765"/>
                  <a:pt x="410" y="765"/>
                  <a:pt x="410" y="765"/>
                </a:cubicBezTo>
                <a:cubicBezTo>
                  <a:pt x="409" y="763"/>
                  <a:pt x="409" y="763"/>
                  <a:pt x="409" y="763"/>
                </a:cubicBezTo>
                <a:lnTo>
                  <a:pt x="408" y="764"/>
                </a:lnTo>
                <a:close/>
                <a:moveTo>
                  <a:pt x="810" y="1534"/>
                </a:moveTo>
                <a:cubicBezTo>
                  <a:pt x="810" y="1533"/>
                  <a:pt x="810" y="1533"/>
                  <a:pt x="810" y="1533"/>
                </a:cubicBezTo>
                <a:cubicBezTo>
                  <a:pt x="809" y="1532"/>
                  <a:pt x="809" y="1532"/>
                  <a:pt x="809" y="1532"/>
                </a:cubicBezTo>
                <a:cubicBezTo>
                  <a:pt x="809" y="1533"/>
                  <a:pt x="809" y="1533"/>
                  <a:pt x="809" y="1533"/>
                </a:cubicBezTo>
                <a:lnTo>
                  <a:pt x="810" y="1534"/>
                </a:lnTo>
                <a:close/>
                <a:moveTo>
                  <a:pt x="818" y="576"/>
                </a:moveTo>
                <a:cubicBezTo>
                  <a:pt x="818" y="576"/>
                  <a:pt x="818" y="576"/>
                  <a:pt x="818" y="576"/>
                </a:cubicBezTo>
                <a:cubicBezTo>
                  <a:pt x="815" y="577"/>
                  <a:pt x="815" y="577"/>
                  <a:pt x="815" y="577"/>
                </a:cubicBezTo>
                <a:cubicBezTo>
                  <a:pt x="812" y="577"/>
                  <a:pt x="812" y="577"/>
                  <a:pt x="812" y="577"/>
                </a:cubicBezTo>
                <a:cubicBezTo>
                  <a:pt x="809" y="578"/>
                  <a:pt x="809" y="578"/>
                  <a:pt x="809" y="578"/>
                </a:cubicBezTo>
                <a:cubicBezTo>
                  <a:pt x="807" y="578"/>
                  <a:pt x="807" y="578"/>
                  <a:pt x="807" y="578"/>
                </a:cubicBezTo>
                <a:cubicBezTo>
                  <a:pt x="804" y="579"/>
                  <a:pt x="804" y="579"/>
                  <a:pt x="804" y="579"/>
                </a:cubicBezTo>
                <a:cubicBezTo>
                  <a:pt x="802" y="579"/>
                  <a:pt x="802" y="579"/>
                  <a:pt x="802" y="579"/>
                </a:cubicBezTo>
                <a:cubicBezTo>
                  <a:pt x="801" y="581"/>
                  <a:pt x="801" y="581"/>
                  <a:pt x="801" y="581"/>
                </a:cubicBezTo>
                <a:cubicBezTo>
                  <a:pt x="801" y="581"/>
                  <a:pt x="801" y="581"/>
                  <a:pt x="801" y="581"/>
                </a:cubicBezTo>
                <a:cubicBezTo>
                  <a:pt x="802" y="582"/>
                  <a:pt x="802" y="582"/>
                  <a:pt x="802" y="582"/>
                </a:cubicBezTo>
                <a:cubicBezTo>
                  <a:pt x="802" y="582"/>
                  <a:pt x="802" y="582"/>
                  <a:pt x="802" y="582"/>
                </a:cubicBezTo>
                <a:cubicBezTo>
                  <a:pt x="803" y="582"/>
                  <a:pt x="803" y="582"/>
                  <a:pt x="803" y="582"/>
                </a:cubicBezTo>
                <a:cubicBezTo>
                  <a:pt x="804" y="581"/>
                  <a:pt x="804" y="581"/>
                  <a:pt x="804" y="581"/>
                </a:cubicBezTo>
                <a:cubicBezTo>
                  <a:pt x="806" y="581"/>
                  <a:pt x="806" y="581"/>
                  <a:pt x="806" y="581"/>
                </a:cubicBezTo>
                <a:cubicBezTo>
                  <a:pt x="808" y="580"/>
                  <a:pt x="808" y="580"/>
                  <a:pt x="808" y="580"/>
                </a:cubicBezTo>
                <a:cubicBezTo>
                  <a:pt x="811" y="580"/>
                  <a:pt x="811" y="580"/>
                  <a:pt x="811" y="580"/>
                </a:cubicBezTo>
                <a:cubicBezTo>
                  <a:pt x="813" y="580"/>
                  <a:pt x="813" y="580"/>
                  <a:pt x="813" y="580"/>
                </a:cubicBezTo>
                <a:cubicBezTo>
                  <a:pt x="816" y="580"/>
                  <a:pt x="816" y="580"/>
                  <a:pt x="816" y="580"/>
                </a:cubicBezTo>
                <a:cubicBezTo>
                  <a:pt x="816" y="579"/>
                  <a:pt x="816" y="579"/>
                  <a:pt x="816" y="579"/>
                </a:cubicBezTo>
                <a:cubicBezTo>
                  <a:pt x="817" y="579"/>
                  <a:pt x="817" y="579"/>
                  <a:pt x="817" y="579"/>
                </a:cubicBezTo>
                <a:cubicBezTo>
                  <a:pt x="820" y="578"/>
                  <a:pt x="820" y="578"/>
                  <a:pt x="820" y="578"/>
                </a:cubicBezTo>
                <a:cubicBezTo>
                  <a:pt x="821" y="577"/>
                  <a:pt x="821" y="577"/>
                  <a:pt x="821" y="577"/>
                </a:cubicBezTo>
                <a:cubicBezTo>
                  <a:pt x="819" y="578"/>
                  <a:pt x="819" y="578"/>
                  <a:pt x="819" y="578"/>
                </a:cubicBezTo>
                <a:cubicBezTo>
                  <a:pt x="818" y="577"/>
                  <a:pt x="818" y="577"/>
                  <a:pt x="818" y="577"/>
                </a:cubicBezTo>
                <a:cubicBezTo>
                  <a:pt x="816" y="578"/>
                  <a:pt x="816" y="578"/>
                  <a:pt x="816" y="578"/>
                </a:cubicBezTo>
                <a:cubicBezTo>
                  <a:pt x="817" y="577"/>
                  <a:pt x="817" y="577"/>
                  <a:pt x="817" y="577"/>
                </a:cubicBezTo>
                <a:lnTo>
                  <a:pt x="818" y="576"/>
                </a:lnTo>
                <a:close/>
                <a:moveTo>
                  <a:pt x="788" y="825"/>
                </a:moveTo>
                <a:cubicBezTo>
                  <a:pt x="785" y="823"/>
                  <a:pt x="785" y="823"/>
                  <a:pt x="785" y="823"/>
                </a:cubicBezTo>
                <a:cubicBezTo>
                  <a:pt x="783" y="824"/>
                  <a:pt x="783" y="824"/>
                  <a:pt x="783" y="824"/>
                </a:cubicBezTo>
                <a:cubicBezTo>
                  <a:pt x="785" y="825"/>
                  <a:pt x="785" y="825"/>
                  <a:pt x="785" y="825"/>
                </a:cubicBezTo>
                <a:lnTo>
                  <a:pt x="788" y="825"/>
                </a:lnTo>
                <a:close/>
                <a:moveTo>
                  <a:pt x="783" y="838"/>
                </a:moveTo>
                <a:cubicBezTo>
                  <a:pt x="783" y="837"/>
                  <a:pt x="783" y="837"/>
                  <a:pt x="783" y="837"/>
                </a:cubicBezTo>
                <a:cubicBezTo>
                  <a:pt x="781" y="835"/>
                  <a:pt x="781" y="835"/>
                  <a:pt x="781" y="835"/>
                </a:cubicBezTo>
                <a:cubicBezTo>
                  <a:pt x="779" y="836"/>
                  <a:pt x="779" y="836"/>
                  <a:pt x="779" y="836"/>
                </a:cubicBezTo>
                <a:cubicBezTo>
                  <a:pt x="781" y="837"/>
                  <a:pt x="781" y="837"/>
                  <a:pt x="781" y="837"/>
                </a:cubicBezTo>
                <a:lnTo>
                  <a:pt x="783" y="838"/>
                </a:lnTo>
                <a:close/>
                <a:moveTo>
                  <a:pt x="745" y="844"/>
                </a:moveTo>
                <a:cubicBezTo>
                  <a:pt x="743" y="841"/>
                  <a:pt x="743" y="841"/>
                  <a:pt x="743" y="841"/>
                </a:cubicBezTo>
                <a:cubicBezTo>
                  <a:pt x="736" y="841"/>
                  <a:pt x="736" y="841"/>
                  <a:pt x="736" y="841"/>
                </a:cubicBezTo>
                <a:cubicBezTo>
                  <a:pt x="732" y="842"/>
                  <a:pt x="732" y="842"/>
                  <a:pt x="732" y="842"/>
                </a:cubicBezTo>
                <a:cubicBezTo>
                  <a:pt x="730" y="841"/>
                  <a:pt x="730" y="841"/>
                  <a:pt x="730" y="841"/>
                </a:cubicBezTo>
                <a:cubicBezTo>
                  <a:pt x="728" y="842"/>
                  <a:pt x="728" y="842"/>
                  <a:pt x="728" y="842"/>
                </a:cubicBezTo>
                <a:cubicBezTo>
                  <a:pt x="727" y="843"/>
                  <a:pt x="727" y="843"/>
                  <a:pt x="727" y="843"/>
                </a:cubicBezTo>
                <a:cubicBezTo>
                  <a:pt x="729" y="845"/>
                  <a:pt x="729" y="845"/>
                  <a:pt x="729" y="845"/>
                </a:cubicBezTo>
                <a:cubicBezTo>
                  <a:pt x="730" y="844"/>
                  <a:pt x="730" y="844"/>
                  <a:pt x="730" y="844"/>
                </a:cubicBezTo>
                <a:cubicBezTo>
                  <a:pt x="731" y="845"/>
                  <a:pt x="731" y="845"/>
                  <a:pt x="731" y="845"/>
                </a:cubicBezTo>
                <a:cubicBezTo>
                  <a:pt x="732" y="848"/>
                  <a:pt x="732" y="848"/>
                  <a:pt x="732" y="848"/>
                </a:cubicBezTo>
                <a:cubicBezTo>
                  <a:pt x="734" y="849"/>
                  <a:pt x="734" y="849"/>
                  <a:pt x="734" y="849"/>
                </a:cubicBezTo>
                <a:cubicBezTo>
                  <a:pt x="736" y="849"/>
                  <a:pt x="736" y="849"/>
                  <a:pt x="736" y="849"/>
                </a:cubicBezTo>
                <a:cubicBezTo>
                  <a:pt x="738" y="850"/>
                  <a:pt x="738" y="850"/>
                  <a:pt x="738" y="850"/>
                </a:cubicBezTo>
                <a:cubicBezTo>
                  <a:pt x="740" y="850"/>
                  <a:pt x="740" y="850"/>
                  <a:pt x="740" y="850"/>
                </a:cubicBezTo>
                <a:cubicBezTo>
                  <a:pt x="740" y="848"/>
                  <a:pt x="740" y="848"/>
                  <a:pt x="740" y="848"/>
                </a:cubicBezTo>
                <a:cubicBezTo>
                  <a:pt x="742" y="848"/>
                  <a:pt x="742" y="848"/>
                  <a:pt x="742" y="848"/>
                </a:cubicBezTo>
                <a:cubicBezTo>
                  <a:pt x="743" y="849"/>
                  <a:pt x="743" y="849"/>
                  <a:pt x="743" y="849"/>
                </a:cubicBezTo>
                <a:cubicBezTo>
                  <a:pt x="744" y="849"/>
                  <a:pt x="744" y="849"/>
                  <a:pt x="744" y="849"/>
                </a:cubicBezTo>
                <a:cubicBezTo>
                  <a:pt x="745" y="847"/>
                  <a:pt x="745" y="847"/>
                  <a:pt x="745" y="847"/>
                </a:cubicBezTo>
                <a:cubicBezTo>
                  <a:pt x="746" y="848"/>
                  <a:pt x="746" y="848"/>
                  <a:pt x="746" y="848"/>
                </a:cubicBezTo>
                <a:cubicBezTo>
                  <a:pt x="749" y="848"/>
                  <a:pt x="749" y="848"/>
                  <a:pt x="749" y="848"/>
                </a:cubicBezTo>
                <a:cubicBezTo>
                  <a:pt x="750" y="847"/>
                  <a:pt x="750" y="847"/>
                  <a:pt x="750" y="847"/>
                </a:cubicBezTo>
                <a:cubicBezTo>
                  <a:pt x="748" y="845"/>
                  <a:pt x="748" y="845"/>
                  <a:pt x="748" y="845"/>
                </a:cubicBezTo>
                <a:lnTo>
                  <a:pt x="745" y="844"/>
                </a:lnTo>
                <a:close/>
                <a:moveTo>
                  <a:pt x="548" y="740"/>
                </a:moveTo>
                <a:cubicBezTo>
                  <a:pt x="549" y="737"/>
                  <a:pt x="549" y="737"/>
                  <a:pt x="549" y="737"/>
                </a:cubicBezTo>
                <a:cubicBezTo>
                  <a:pt x="549" y="736"/>
                  <a:pt x="549" y="736"/>
                  <a:pt x="549" y="736"/>
                </a:cubicBezTo>
                <a:cubicBezTo>
                  <a:pt x="547" y="740"/>
                  <a:pt x="547" y="740"/>
                  <a:pt x="547" y="740"/>
                </a:cubicBezTo>
                <a:lnTo>
                  <a:pt x="548" y="740"/>
                </a:lnTo>
                <a:close/>
                <a:moveTo>
                  <a:pt x="549" y="735"/>
                </a:moveTo>
                <a:cubicBezTo>
                  <a:pt x="550" y="734"/>
                  <a:pt x="550" y="734"/>
                  <a:pt x="550" y="734"/>
                </a:cubicBezTo>
                <a:cubicBezTo>
                  <a:pt x="552" y="732"/>
                  <a:pt x="552" y="732"/>
                  <a:pt x="552" y="732"/>
                </a:cubicBezTo>
                <a:cubicBezTo>
                  <a:pt x="554" y="730"/>
                  <a:pt x="554" y="730"/>
                  <a:pt x="554" y="730"/>
                </a:cubicBezTo>
                <a:cubicBezTo>
                  <a:pt x="552" y="731"/>
                  <a:pt x="552" y="731"/>
                  <a:pt x="552" y="731"/>
                </a:cubicBezTo>
                <a:lnTo>
                  <a:pt x="549" y="735"/>
                </a:lnTo>
                <a:close/>
                <a:moveTo>
                  <a:pt x="830" y="840"/>
                </a:moveTo>
                <a:cubicBezTo>
                  <a:pt x="829" y="839"/>
                  <a:pt x="829" y="839"/>
                  <a:pt x="829" y="839"/>
                </a:cubicBezTo>
                <a:cubicBezTo>
                  <a:pt x="825" y="836"/>
                  <a:pt x="825" y="836"/>
                  <a:pt x="825" y="836"/>
                </a:cubicBezTo>
                <a:cubicBezTo>
                  <a:pt x="823" y="836"/>
                  <a:pt x="823" y="836"/>
                  <a:pt x="823" y="836"/>
                </a:cubicBezTo>
                <a:cubicBezTo>
                  <a:pt x="821" y="835"/>
                  <a:pt x="821" y="835"/>
                  <a:pt x="821" y="835"/>
                </a:cubicBezTo>
                <a:cubicBezTo>
                  <a:pt x="819" y="835"/>
                  <a:pt x="819" y="835"/>
                  <a:pt x="819" y="835"/>
                </a:cubicBezTo>
                <a:cubicBezTo>
                  <a:pt x="816" y="834"/>
                  <a:pt x="816" y="834"/>
                  <a:pt x="816" y="834"/>
                </a:cubicBezTo>
                <a:cubicBezTo>
                  <a:pt x="814" y="832"/>
                  <a:pt x="814" y="832"/>
                  <a:pt x="814" y="832"/>
                </a:cubicBezTo>
                <a:cubicBezTo>
                  <a:pt x="812" y="832"/>
                  <a:pt x="812" y="832"/>
                  <a:pt x="812" y="832"/>
                </a:cubicBezTo>
                <a:cubicBezTo>
                  <a:pt x="813" y="832"/>
                  <a:pt x="813" y="832"/>
                  <a:pt x="813" y="832"/>
                </a:cubicBezTo>
                <a:cubicBezTo>
                  <a:pt x="816" y="833"/>
                  <a:pt x="816" y="833"/>
                  <a:pt x="816" y="833"/>
                </a:cubicBezTo>
                <a:cubicBezTo>
                  <a:pt x="820" y="833"/>
                  <a:pt x="820" y="833"/>
                  <a:pt x="820" y="833"/>
                </a:cubicBezTo>
                <a:cubicBezTo>
                  <a:pt x="822" y="833"/>
                  <a:pt x="822" y="833"/>
                  <a:pt x="822" y="833"/>
                </a:cubicBezTo>
                <a:cubicBezTo>
                  <a:pt x="821" y="832"/>
                  <a:pt x="821" y="832"/>
                  <a:pt x="821" y="832"/>
                </a:cubicBezTo>
                <a:cubicBezTo>
                  <a:pt x="819" y="832"/>
                  <a:pt x="819" y="832"/>
                  <a:pt x="819" y="832"/>
                </a:cubicBezTo>
                <a:cubicBezTo>
                  <a:pt x="816" y="831"/>
                  <a:pt x="816" y="831"/>
                  <a:pt x="816" y="831"/>
                </a:cubicBezTo>
                <a:cubicBezTo>
                  <a:pt x="815" y="828"/>
                  <a:pt x="815" y="828"/>
                  <a:pt x="815" y="828"/>
                </a:cubicBezTo>
                <a:cubicBezTo>
                  <a:pt x="813" y="828"/>
                  <a:pt x="813" y="828"/>
                  <a:pt x="813" y="828"/>
                </a:cubicBezTo>
                <a:cubicBezTo>
                  <a:pt x="812" y="828"/>
                  <a:pt x="812" y="828"/>
                  <a:pt x="812" y="828"/>
                </a:cubicBezTo>
                <a:cubicBezTo>
                  <a:pt x="811" y="827"/>
                  <a:pt x="811" y="827"/>
                  <a:pt x="811" y="827"/>
                </a:cubicBezTo>
                <a:cubicBezTo>
                  <a:pt x="802" y="826"/>
                  <a:pt x="802" y="826"/>
                  <a:pt x="802" y="826"/>
                </a:cubicBezTo>
                <a:cubicBezTo>
                  <a:pt x="801" y="826"/>
                  <a:pt x="801" y="826"/>
                  <a:pt x="801" y="826"/>
                </a:cubicBezTo>
                <a:cubicBezTo>
                  <a:pt x="799" y="826"/>
                  <a:pt x="799" y="826"/>
                  <a:pt x="799" y="826"/>
                </a:cubicBezTo>
                <a:cubicBezTo>
                  <a:pt x="796" y="826"/>
                  <a:pt x="796" y="826"/>
                  <a:pt x="796" y="826"/>
                </a:cubicBezTo>
                <a:cubicBezTo>
                  <a:pt x="795" y="828"/>
                  <a:pt x="795" y="828"/>
                  <a:pt x="795" y="828"/>
                </a:cubicBezTo>
                <a:cubicBezTo>
                  <a:pt x="795" y="828"/>
                  <a:pt x="795" y="828"/>
                  <a:pt x="795" y="828"/>
                </a:cubicBezTo>
                <a:cubicBezTo>
                  <a:pt x="793" y="828"/>
                  <a:pt x="793" y="828"/>
                  <a:pt x="793" y="828"/>
                </a:cubicBezTo>
                <a:cubicBezTo>
                  <a:pt x="791" y="828"/>
                  <a:pt x="791" y="828"/>
                  <a:pt x="791" y="828"/>
                </a:cubicBezTo>
                <a:cubicBezTo>
                  <a:pt x="789" y="826"/>
                  <a:pt x="789" y="826"/>
                  <a:pt x="789" y="826"/>
                </a:cubicBezTo>
                <a:cubicBezTo>
                  <a:pt x="785" y="826"/>
                  <a:pt x="785" y="826"/>
                  <a:pt x="785" y="826"/>
                </a:cubicBezTo>
                <a:cubicBezTo>
                  <a:pt x="784" y="827"/>
                  <a:pt x="784" y="827"/>
                  <a:pt x="784" y="827"/>
                </a:cubicBezTo>
                <a:cubicBezTo>
                  <a:pt x="782" y="826"/>
                  <a:pt x="782" y="826"/>
                  <a:pt x="782" y="826"/>
                </a:cubicBezTo>
                <a:cubicBezTo>
                  <a:pt x="778" y="826"/>
                  <a:pt x="778" y="826"/>
                  <a:pt x="778" y="826"/>
                </a:cubicBezTo>
                <a:cubicBezTo>
                  <a:pt x="778" y="827"/>
                  <a:pt x="778" y="827"/>
                  <a:pt x="778" y="827"/>
                </a:cubicBezTo>
                <a:cubicBezTo>
                  <a:pt x="778" y="827"/>
                  <a:pt x="780" y="828"/>
                  <a:pt x="780" y="828"/>
                </a:cubicBezTo>
                <a:cubicBezTo>
                  <a:pt x="785" y="830"/>
                  <a:pt x="785" y="830"/>
                  <a:pt x="785" y="830"/>
                </a:cubicBezTo>
                <a:cubicBezTo>
                  <a:pt x="785" y="831"/>
                  <a:pt x="785" y="831"/>
                  <a:pt x="785" y="831"/>
                </a:cubicBezTo>
                <a:cubicBezTo>
                  <a:pt x="785" y="833"/>
                  <a:pt x="785" y="833"/>
                  <a:pt x="785" y="833"/>
                </a:cubicBezTo>
                <a:cubicBezTo>
                  <a:pt x="785" y="835"/>
                  <a:pt x="785" y="835"/>
                  <a:pt x="785" y="835"/>
                </a:cubicBezTo>
                <a:cubicBezTo>
                  <a:pt x="786" y="837"/>
                  <a:pt x="786" y="837"/>
                  <a:pt x="786" y="837"/>
                </a:cubicBezTo>
                <a:cubicBezTo>
                  <a:pt x="788" y="838"/>
                  <a:pt x="788" y="838"/>
                  <a:pt x="788" y="838"/>
                </a:cubicBezTo>
                <a:cubicBezTo>
                  <a:pt x="790" y="839"/>
                  <a:pt x="790" y="839"/>
                  <a:pt x="790" y="839"/>
                </a:cubicBezTo>
                <a:cubicBezTo>
                  <a:pt x="789" y="841"/>
                  <a:pt x="789" y="841"/>
                  <a:pt x="789" y="841"/>
                </a:cubicBezTo>
                <a:cubicBezTo>
                  <a:pt x="785" y="841"/>
                  <a:pt x="785" y="841"/>
                  <a:pt x="785" y="841"/>
                </a:cubicBezTo>
                <a:cubicBezTo>
                  <a:pt x="784" y="841"/>
                  <a:pt x="784" y="841"/>
                  <a:pt x="784" y="841"/>
                </a:cubicBezTo>
                <a:cubicBezTo>
                  <a:pt x="782" y="841"/>
                  <a:pt x="782" y="841"/>
                  <a:pt x="782" y="841"/>
                </a:cubicBezTo>
                <a:cubicBezTo>
                  <a:pt x="780" y="841"/>
                  <a:pt x="780" y="841"/>
                  <a:pt x="780" y="841"/>
                </a:cubicBezTo>
                <a:cubicBezTo>
                  <a:pt x="778" y="840"/>
                  <a:pt x="778" y="840"/>
                  <a:pt x="778" y="840"/>
                </a:cubicBezTo>
                <a:cubicBezTo>
                  <a:pt x="775" y="841"/>
                  <a:pt x="775" y="841"/>
                  <a:pt x="775" y="841"/>
                </a:cubicBezTo>
                <a:cubicBezTo>
                  <a:pt x="775" y="840"/>
                  <a:pt x="775" y="840"/>
                  <a:pt x="775" y="840"/>
                </a:cubicBezTo>
                <a:cubicBezTo>
                  <a:pt x="774" y="840"/>
                  <a:pt x="774" y="840"/>
                  <a:pt x="774" y="840"/>
                </a:cubicBezTo>
                <a:cubicBezTo>
                  <a:pt x="771" y="840"/>
                  <a:pt x="771" y="840"/>
                  <a:pt x="771" y="840"/>
                </a:cubicBezTo>
                <a:cubicBezTo>
                  <a:pt x="770" y="839"/>
                  <a:pt x="770" y="839"/>
                  <a:pt x="770" y="839"/>
                </a:cubicBezTo>
                <a:cubicBezTo>
                  <a:pt x="768" y="840"/>
                  <a:pt x="768" y="840"/>
                  <a:pt x="768" y="840"/>
                </a:cubicBezTo>
                <a:cubicBezTo>
                  <a:pt x="767" y="841"/>
                  <a:pt x="767" y="841"/>
                  <a:pt x="767" y="841"/>
                </a:cubicBezTo>
                <a:cubicBezTo>
                  <a:pt x="767" y="843"/>
                  <a:pt x="767" y="843"/>
                  <a:pt x="767" y="843"/>
                </a:cubicBezTo>
                <a:cubicBezTo>
                  <a:pt x="770" y="843"/>
                  <a:pt x="770" y="843"/>
                  <a:pt x="770" y="843"/>
                </a:cubicBezTo>
                <a:cubicBezTo>
                  <a:pt x="772" y="846"/>
                  <a:pt x="772" y="846"/>
                  <a:pt x="772" y="846"/>
                </a:cubicBezTo>
                <a:cubicBezTo>
                  <a:pt x="773" y="846"/>
                  <a:pt x="773" y="846"/>
                  <a:pt x="773" y="846"/>
                </a:cubicBezTo>
                <a:cubicBezTo>
                  <a:pt x="774" y="845"/>
                  <a:pt x="774" y="845"/>
                  <a:pt x="774" y="845"/>
                </a:cubicBezTo>
                <a:cubicBezTo>
                  <a:pt x="775" y="844"/>
                  <a:pt x="775" y="844"/>
                  <a:pt x="775" y="844"/>
                </a:cubicBezTo>
                <a:cubicBezTo>
                  <a:pt x="779" y="844"/>
                  <a:pt x="779" y="844"/>
                  <a:pt x="779" y="844"/>
                </a:cubicBezTo>
                <a:cubicBezTo>
                  <a:pt x="781" y="845"/>
                  <a:pt x="781" y="845"/>
                  <a:pt x="781" y="845"/>
                </a:cubicBezTo>
                <a:cubicBezTo>
                  <a:pt x="787" y="845"/>
                  <a:pt x="787" y="845"/>
                  <a:pt x="787" y="845"/>
                </a:cubicBezTo>
                <a:cubicBezTo>
                  <a:pt x="788" y="844"/>
                  <a:pt x="788" y="844"/>
                  <a:pt x="788" y="844"/>
                </a:cubicBezTo>
                <a:cubicBezTo>
                  <a:pt x="789" y="845"/>
                  <a:pt x="789" y="845"/>
                  <a:pt x="789" y="845"/>
                </a:cubicBezTo>
                <a:cubicBezTo>
                  <a:pt x="791" y="845"/>
                  <a:pt x="791" y="845"/>
                  <a:pt x="791" y="845"/>
                </a:cubicBezTo>
                <a:cubicBezTo>
                  <a:pt x="792" y="845"/>
                  <a:pt x="792" y="845"/>
                  <a:pt x="792" y="845"/>
                </a:cubicBezTo>
                <a:cubicBezTo>
                  <a:pt x="793" y="848"/>
                  <a:pt x="793" y="848"/>
                  <a:pt x="793" y="848"/>
                </a:cubicBezTo>
                <a:cubicBezTo>
                  <a:pt x="792" y="849"/>
                  <a:pt x="792" y="849"/>
                  <a:pt x="792" y="849"/>
                </a:cubicBezTo>
                <a:cubicBezTo>
                  <a:pt x="794" y="850"/>
                  <a:pt x="794" y="850"/>
                  <a:pt x="794" y="850"/>
                </a:cubicBezTo>
                <a:cubicBezTo>
                  <a:pt x="795" y="851"/>
                  <a:pt x="795" y="851"/>
                  <a:pt x="795" y="851"/>
                </a:cubicBezTo>
                <a:cubicBezTo>
                  <a:pt x="796" y="852"/>
                  <a:pt x="796" y="852"/>
                  <a:pt x="796" y="852"/>
                </a:cubicBezTo>
                <a:cubicBezTo>
                  <a:pt x="797" y="849"/>
                  <a:pt x="797" y="849"/>
                  <a:pt x="797" y="849"/>
                </a:cubicBezTo>
                <a:cubicBezTo>
                  <a:pt x="800" y="845"/>
                  <a:pt x="800" y="845"/>
                  <a:pt x="800" y="845"/>
                </a:cubicBezTo>
                <a:cubicBezTo>
                  <a:pt x="799" y="844"/>
                  <a:pt x="799" y="844"/>
                  <a:pt x="799" y="844"/>
                </a:cubicBezTo>
                <a:cubicBezTo>
                  <a:pt x="800" y="843"/>
                  <a:pt x="800" y="843"/>
                  <a:pt x="800" y="843"/>
                </a:cubicBezTo>
                <a:cubicBezTo>
                  <a:pt x="802" y="844"/>
                  <a:pt x="802" y="844"/>
                  <a:pt x="802" y="844"/>
                </a:cubicBezTo>
                <a:cubicBezTo>
                  <a:pt x="803" y="844"/>
                  <a:pt x="803" y="844"/>
                  <a:pt x="803" y="844"/>
                </a:cubicBezTo>
                <a:cubicBezTo>
                  <a:pt x="804" y="842"/>
                  <a:pt x="804" y="842"/>
                  <a:pt x="804" y="842"/>
                </a:cubicBezTo>
                <a:cubicBezTo>
                  <a:pt x="806" y="842"/>
                  <a:pt x="806" y="842"/>
                  <a:pt x="806" y="842"/>
                </a:cubicBezTo>
                <a:cubicBezTo>
                  <a:pt x="806" y="844"/>
                  <a:pt x="806" y="844"/>
                  <a:pt x="806" y="844"/>
                </a:cubicBezTo>
                <a:cubicBezTo>
                  <a:pt x="807" y="845"/>
                  <a:pt x="807" y="845"/>
                  <a:pt x="807" y="845"/>
                </a:cubicBezTo>
                <a:cubicBezTo>
                  <a:pt x="810" y="844"/>
                  <a:pt x="810" y="844"/>
                  <a:pt x="810" y="844"/>
                </a:cubicBezTo>
                <a:cubicBezTo>
                  <a:pt x="812" y="842"/>
                  <a:pt x="812" y="842"/>
                  <a:pt x="812" y="842"/>
                </a:cubicBezTo>
                <a:cubicBezTo>
                  <a:pt x="815" y="841"/>
                  <a:pt x="815" y="841"/>
                  <a:pt x="815" y="841"/>
                </a:cubicBezTo>
                <a:cubicBezTo>
                  <a:pt x="818" y="842"/>
                  <a:pt x="818" y="842"/>
                  <a:pt x="818" y="842"/>
                </a:cubicBezTo>
                <a:cubicBezTo>
                  <a:pt x="820" y="841"/>
                  <a:pt x="820" y="841"/>
                  <a:pt x="820" y="841"/>
                </a:cubicBezTo>
                <a:cubicBezTo>
                  <a:pt x="822" y="842"/>
                  <a:pt x="822" y="842"/>
                  <a:pt x="822" y="842"/>
                </a:cubicBezTo>
                <a:cubicBezTo>
                  <a:pt x="824" y="842"/>
                  <a:pt x="824" y="842"/>
                  <a:pt x="824" y="842"/>
                </a:cubicBezTo>
                <a:cubicBezTo>
                  <a:pt x="827" y="843"/>
                  <a:pt x="827" y="843"/>
                  <a:pt x="827" y="843"/>
                </a:cubicBezTo>
                <a:cubicBezTo>
                  <a:pt x="828" y="842"/>
                  <a:pt x="828" y="842"/>
                  <a:pt x="828" y="842"/>
                </a:cubicBezTo>
                <a:cubicBezTo>
                  <a:pt x="829" y="842"/>
                  <a:pt x="829" y="842"/>
                  <a:pt x="829" y="842"/>
                </a:cubicBezTo>
                <a:lnTo>
                  <a:pt x="830" y="840"/>
                </a:lnTo>
                <a:close/>
                <a:moveTo>
                  <a:pt x="824" y="906"/>
                </a:moveTo>
                <a:cubicBezTo>
                  <a:pt x="825" y="908"/>
                  <a:pt x="825" y="908"/>
                  <a:pt x="825" y="908"/>
                </a:cubicBezTo>
                <a:cubicBezTo>
                  <a:pt x="826" y="908"/>
                  <a:pt x="826" y="908"/>
                  <a:pt x="826" y="908"/>
                </a:cubicBezTo>
                <a:cubicBezTo>
                  <a:pt x="828" y="910"/>
                  <a:pt x="828" y="910"/>
                  <a:pt x="828" y="910"/>
                </a:cubicBezTo>
                <a:cubicBezTo>
                  <a:pt x="828" y="908"/>
                  <a:pt x="828" y="908"/>
                  <a:pt x="828" y="908"/>
                </a:cubicBezTo>
                <a:cubicBezTo>
                  <a:pt x="826" y="906"/>
                  <a:pt x="826" y="906"/>
                  <a:pt x="826" y="906"/>
                </a:cubicBezTo>
                <a:lnTo>
                  <a:pt x="824" y="906"/>
                </a:lnTo>
                <a:close/>
                <a:moveTo>
                  <a:pt x="547" y="741"/>
                </a:moveTo>
                <a:cubicBezTo>
                  <a:pt x="545" y="746"/>
                  <a:pt x="545" y="746"/>
                  <a:pt x="545" y="746"/>
                </a:cubicBezTo>
                <a:cubicBezTo>
                  <a:pt x="545" y="750"/>
                  <a:pt x="545" y="750"/>
                  <a:pt x="545" y="750"/>
                </a:cubicBezTo>
                <a:cubicBezTo>
                  <a:pt x="545" y="750"/>
                  <a:pt x="546" y="753"/>
                  <a:pt x="546" y="754"/>
                </a:cubicBezTo>
                <a:cubicBezTo>
                  <a:pt x="545" y="750"/>
                  <a:pt x="545" y="750"/>
                  <a:pt x="545" y="750"/>
                </a:cubicBezTo>
                <a:cubicBezTo>
                  <a:pt x="546" y="746"/>
                  <a:pt x="546" y="746"/>
                  <a:pt x="546" y="746"/>
                </a:cubicBezTo>
                <a:lnTo>
                  <a:pt x="547" y="741"/>
                </a:lnTo>
                <a:close/>
                <a:moveTo>
                  <a:pt x="808" y="903"/>
                </a:moveTo>
                <a:cubicBezTo>
                  <a:pt x="809" y="905"/>
                  <a:pt x="809" y="905"/>
                  <a:pt x="809" y="905"/>
                </a:cubicBezTo>
                <a:cubicBezTo>
                  <a:pt x="811" y="905"/>
                  <a:pt x="811" y="905"/>
                  <a:pt x="811" y="905"/>
                </a:cubicBezTo>
                <a:cubicBezTo>
                  <a:pt x="809" y="904"/>
                  <a:pt x="809" y="904"/>
                  <a:pt x="809" y="904"/>
                </a:cubicBezTo>
                <a:lnTo>
                  <a:pt x="808" y="903"/>
                </a:lnTo>
                <a:close/>
                <a:moveTo>
                  <a:pt x="817" y="906"/>
                </a:moveTo>
                <a:cubicBezTo>
                  <a:pt x="817" y="907"/>
                  <a:pt x="817" y="907"/>
                  <a:pt x="817" y="907"/>
                </a:cubicBezTo>
                <a:cubicBezTo>
                  <a:pt x="818" y="909"/>
                  <a:pt x="818" y="909"/>
                  <a:pt x="818" y="909"/>
                </a:cubicBezTo>
                <a:cubicBezTo>
                  <a:pt x="820" y="909"/>
                  <a:pt x="820" y="909"/>
                  <a:pt x="820" y="909"/>
                </a:cubicBezTo>
                <a:cubicBezTo>
                  <a:pt x="821" y="908"/>
                  <a:pt x="821" y="908"/>
                  <a:pt x="821" y="908"/>
                </a:cubicBezTo>
                <a:cubicBezTo>
                  <a:pt x="819" y="908"/>
                  <a:pt x="819" y="908"/>
                  <a:pt x="819" y="908"/>
                </a:cubicBezTo>
                <a:lnTo>
                  <a:pt x="817" y="906"/>
                </a:lnTo>
                <a:close/>
                <a:moveTo>
                  <a:pt x="809" y="1539"/>
                </a:moveTo>
                <a:cubicBezTo>
                  <a:pt x="808" y="1537"/>
                  <a:pt x="808" y="1537"/>
                  <a:pt x="808" y="1537"/>
                </a:cubicBezTo>
                <a:cubicBezTo>
                  <a:pt x="806" y="1537"/>
                  <a:pt x="806" y="1537"/>
                  <a:pt x="806" y="1537"/>
                </a:cubicBezTo>
                <a:cubicBezTo>
                  <a:pt x="807" y="1538"/>
                  <a:pt x="807" y="1538"/>
                  <a:pt x="807" y="1538"/>
                </a:cubicBezTo>
                <a:cubicBezTo>
                  <a:pt x="806" y="1540"/>
                  <a:pt x="806" y="1540"/>
                  <a:pt x="806" y="1540"/>
                </a:cubicBezTo>
                <a:cubicBezTo>
                  <a:pt x="808" y="1539"/>
                  <a:pt x="808" y="1539"/>
                  <a:pt x="808" y="1539"/>
                </a:cubicBezTo>
                <a:lnTo>
                  <a:pt x="809" y="1539"/>
                </a:lnTo>
                <a:close/>
                <a:moveTo>
                  <a:pt x="755" y="827"/>
                </a:moveTo>
                <a:cubicBezTo>
                  <a:pt x="760" y="826"/>
                  <a:pt x="760" y="826"/>
                  <a:pt x="760" y="826"/>
                </a:cubicBezTo>
                <a:cubicBezTo>
                  <a:pt x="761" y="825"/>
                  <a:pt x="761" y="825"/>
                  <a:pt x="761" y="825"/>
                </a:cubicBezTo>
                <a:cubicBezTo>
                  <a:pt x="762" y="825"/>
                  <a:pt x="762" y="825"/>
                  <a:pt x="762" y="825"/>
                </a:cubicBezTo>
                <a:cubicBezTo>
                  <a:pt x="763" y="824"/>
                  <a:pt x="763" y="824"/>
                  <a:pt x="763" y="824"/>
                </a:cubicBezTo>
                <a:cubicBezTo>
                  <a:pt x="767" y="825"/>
                  <a:pt x="767" y="825"/>
                  <a:pt x="767" y="825"/>
                </a:cubicBezTo>
                <a:cubicBezTo>
                  <a:pt x="769" y="824"/>
                  <a:pt x="769" y="824"/>
                  <a:pt x="769" y="824"/>
                </a:cubicBezTo>
                <a:cubicBezTo>
                  <a:pt x="771" y="822"/>
                  <a:pt x="771" y="822"/>
                  <a:pt x="771" y="822"/>
                </a:cubicBezTo>
                <a:cubicBezTo>
                  <a:pt x="770" y="821"/>
                  <a:pt x="770" y="821"/>
                  <a:pt x="770" y="821"/>
                </a:cubicBezTo>
                <a:cubicBezTo>
                  <a:pt x="768" y="821"/>
                  <a:pt x="768" y="821"/>
                  <a:pt x="768" y="821"/>
                </a:cubicBezTo>
                <a:cubicBezTo>
                  <a:pt x="767" y="818"/>
                  <a:pt x="767" y="818"/>
                  <a:pt x="767" y="818"/>
                </a:cubicBezTo>
                <a:cubicBezTo>
                  <a:pt x="762" y="816"/>
                  <a:pt x="762" y="816"/>
                  <a:pt x="762" y="816"/>
                </a:cubicBezTo>
                <a:cubicBezTo>
                  <a:pt x="757" y="816"/>
                  <a:pt x="757" y="816"/>
                  <a:pt x="757" y="816"/>
                </a:cubicBezTo>
                <a:cubicBezTo>
                  <a:pt x="756" y="816"/>
                  <a:pt x="756" y="816"/>
                  <a:pt x="756" y="816"/>
                </a:cubicBezTo>
                <a:cubicBezTo>
                  <a:pt x="757" y="815"/>
                  <a:pt x="757" y="815"/>
                  <a:pt x="757" y="815"/>
                </a:cubicBezTo>
                <a:cubicBezTo>
                  <a:pt x="757" y="812"/>
                  <a:pt x="757" y="812"/>
                  <a:pt x="757" y="812"/>
                </a:cubicBezTo>
                <a:cubicBezTo>
                  <a:pt x="756" y="812"/>
                  <a:pt x="756" y="812"/>
                  <a:pt x="756" y="812"/>
                </a:cubicBezTo>
                <a:cubicBezTo>
                  <a:pt x="754" y="812"/>
                  <a:pt x="754" y="812"/>
                  <a:pt x="754" y="812"/>
                </a:cubicBezTo>
                <a:cubicBezTo>
                  <a:pt x="753" y="812"/>
                  <a:pt x="753" y="812"/>
                  <a:pt x="753" y="812"/>
                </a:cubicBezTo>
                <a:cubicBezTo>
                  <a:pt x="749" y="809"/>
                  <a:pt x="749" y="809"/>
                  <a:pt x="749" y="809"/>
                </a:cubicBezTo>
                <a:cubicBezTo>
                  <a:pt x="748" y="810"/>
                  <a:pt x="748" y="810"/>
                  <a:pt x="748" y="810"/>
                </a:cubicBezTo>
                <a:cubicBezTo>
                  <a:pt x="746" y="809"/>
                  <a:pt x="746" y="809"/>
                  <a:pt x="746" y="809"/>
                </a:cubicBezTo>
                <a:cubicBezTo>
                  <a:pt x="744" y="807"/>
                  <a:pt x="744" y="807"/>
                  <a:pt x="744" y="807"/>
                </a:cubicBezTo>
                <a:cubicBezTo>
                  <a:pt x="742" y="809"/>
                  <a:pt x="742" y="809"/>
                  <a:pt x="742" y="809"/>
                </a:cubicBezTo>
                <a:cubicBezTo>
                  <a:pt x="741" y="808"/>
                  <a:pt x="741" y="808"/>
                  <a:pt x="741" y="808"/>
                </a:cubicBezTo>
                <a:cubicBezTo>
                  <a:pt x="742" y="806"/>
                  <a:pt x="742" y="806"/>
                  <a:pt x="742" y="806"/>
                </a:cubicBezTo>
                <a:cubicBezTo>
                  <a:pt x="740" y="806"/>
                  <a:pt x="740" y="806"/>
                  <a:pt x="740" y="806"/>
                </a:cubicBezTo>
                <a:cubicBezTo>
                  <a:pt x="740" y="807"/>
                  <a:pt x="740" y="807"/>
                  <a:pt x="740" y="807"/>
                </a:cubicBezTo>
                <a:cubicBezTo>
                  <a:pt x="739" y="806"/>
                  <a:pt x="739" y="806"/>
                  <a:pt x="739" y="806"/>
                </a:cubicBezTo>
                <a:cubicBezTo>
                  <a:pt x="735" y="805"/>
                  <a:pt x="735" y="805"/>
                  <a:pt x="735" y="805"/>
                </a:cubicBezTo>
                <a:cubicBezTo>
                  <a:pt x="732" y="803"/>
                  <a:pt x="732" y="803"/>
                  <a:pt x="732" y="803"/>
                </a:cubicBezTo>
                <a:cubicBezTo>
                  <a:pt x="730" y="801"/>
                  <a:pt x="730" y="801"/>
                  <a:pt x="730" y="801"/>
                </a:cubicBezTo>
                <a:cubicBezTo>
                  <a:pt x="727" y="799"/>
                  <a:pt x="727" y="799"/>
                  <a:pt x="727" y="799"/>
                </a:cubicBezTo>
                <a:cubicBezTo>
                  <a:pt x="722" y="799"/>
                  <a:pt x="722" y="799"/>
                  <a:pt x="722" y="799"/>
                </a:cubicBezTo>
                <a:cubicBezTo>
                  <a:pt x="720" y="798"/>
                  <a:pt x="720" y="798"/>
                  <a:pt x="720" y="798"/>
                </a:cubicBezTo>
                <a:cubicBezTo>
                  <a:pt x="719" y="796"/>
                  <a:pt x="719" y="796"/>
                  <a:pt x="719" y="796"/>
                </a:cubicBezTo>
                <a:cubicBezTo>
                  <a:pt x="717" y="793"/>
                  <a:pt x="717" y="793"/>
                  <a:pt x="717" y="793"/>
                </a:cubicBezTo>
                <a:cubicBezTo>
                  <a:pt x="715" y="794"/>
                  <a:pt x="715" y="794"/>
                  <a:pt x="715" y="794"/>
                </a:cubicBezTo>
                <a:cubicBezTo>
                  <a:pt x="714" y="793"/>
                  <a:pt x="714" y="793"/>
                  <a:pt x="714" y="793"/>
                </a:cubicBezTo>
                <a:cubicBezTo>
                  <a:pt x="706" y="791"/>
                  <a:pt x="706" y="791"/>
                  <a:pt x="706" y="791"/>
                </a:cubicBezTo>
                <a:cubicBezTo>
                  <a:pt x="704" y="792"/>
                  <a:pt x="704" y="792"/>
                  <a:pt x="704" y="792"/>
                </a:cubicBezTo>
                <a:cubicBezTo>
                  <a:pt x="701" y="792"/>
                  <a:pt x="701" y="792"/>
                  <a:pt x="701" y="792"/>
                </a:cubicBezTo>
                <a:cubicBezTo>
                  <a:pt x="699" y="790"/>
                  <a:pt x="699" y="790"/>
                  <a:pt x="699" y="790"/>
                </a:cubicBezTo>
                <a:cubicBezTo>
                  <a:pt x="694" y="789"/>
                  <a:pt x="694" y="789"/>
                  <a:pt x="694" y="789"/>
                </a:cubicBezTo>
                <a:cubicBezTo>
                  <a:pt x="690" y="789"/>
                  <a:pt x="690" y="789"/>
                  <a:pt x="690" y="789"/>
                </a:cubicBezTo>
                <a:cubicBezTo>
                  <a:pt x="688" y="791"/>
                  <a:pt x="688" y="791"/>
                  <a:pt x="688" y="791"/>
                </a:cubicBezTo>
                <a:cubicBezTo>
                  <a:pt x="683" y="791"/>
                  <a:pt x="683" y="791"/>
                  <a:pt x="683" y="791"/>
                </a:cubicBezTo>
                <a:cubicBezTo>
                  <a:pt x="678" y="792"/>
                  <a:pt x="678" y="792"/>
                  <a:pt x="678" y="792"/>
                </a:cubicBezTo>
                <a:cubicBezTo>
                  <a:pt x="677" y="793"/>
                  <a:pt x="677" y="793"/>
                  <a:pt x="677" y="793"/>
                </a:cubicBezTo>
                <a:cubicBezTo>
                  <a:pt x="672" y="795"/>
                  <a:pt x="672" y="795"/>
                  <a:pt x="672" y="795"/>
                </a:cubicBezTo>
                <a:cubicBezTo>
                  <a:pt x="671" y="796"/>
                  <a:pt x="671" y="796"/>
                  <a:pt x="671" y="796"/>
                </a:cubicBezTo>
                <a:cubicBezTo>
                  <a:pt x="669" y="797"/>
                  <a:pt x="669" y="797"/>
                  <a:pt x="669" y="797"/>
                </a:cubicBezTo>
                <a:cubicBezTo>
                  <a:pt x="669" y="800"/>
                  <a:pt x="669" y="800"/>
                  <a:pt x="669" y="800"/>
                </a:cubicBezTo>
                <a:cubicBezTo>
                  <a:pt x="670" y="801"/>
                  <a:pt x="670" y="801"/>
                  <a:pt x="670" y="801"/>
                </a:cubicBezTo>
                <a:cubicBezTo>
                  <a:pt x="670" y="802"/>
                  <a:pt x="670" y="802"/>
                  <a:pt x="670" y="802"/>
                </a:cubicBezTo>
                <a:cubicBezTo>
                  <a:pt x="668" y="801"/>
                  <a:pt x="668" y="801"/>
                  <a:pt x="668" y="801"/>
                </a:cubicBezTo>
                <a:cubicBezTo>
                  <a:pt x="664" y="803"/>
                  <a:pt x="664" y="803"/>
                  <a:pt x="664" y="803"/>
                </a:cubicBezTo>
                <a:cubicBezTo>
                  <a:pt x="663" y="803"/>
                  <a:pt x="663" y="803"/>
                  <a:pt x="663" y="803"/>
                </a:cubicBezTo>
                <a:cubicBezTo>
                  <a:pt x="663" y="804"/>
                  <a:pt x="663" y="804"/>
                  <a:pt x="663" y="804"/>
                </a:cubicBezTo>
                <a:cubicBezTo>
                  <a:pt x="665" y="805"/>
                  <a:pt x="665" y="805"/>
                  <a:pt x="665" y="805"/>
                </a:cubicBezTo>
                <a:cubicBezTo>
                  <a:pt x="667" y="803"/>
                  <a:pt x="667" y="803"/>
                  <a:pt x="667" y="803"/>
                </a:cubicBezTo>
                <a:cubicBezTo>
                  <a:pt x="667" y="803"/>
                  <a:pt x="667" y="803"/>
                  <a:pt x="667" y="803"/>
                </a:cubicBezTo>
                <a:cubicBezTo>
                  <a:pt x="668" y="805"/>
                  <a:pt x="668" y="805"/>
                  <a:pt x="668" y="805"/>
                </a:cubicBezTo>
                <a:cubicBezTo>
                  <a:pt x="670" y="803"/>
                  <a:pt x="670" y="803"/>
                  <a:pt x="670" y="803"/>
                </a:cubicBezTo>
                <a:cubicBezTo>
                  <a:pt x="672" y="803"/>
                  <a:pt x="672" y="803"/>
                  <a:pt x="672" y="803"/>
                </a:cubicBezTo>
                <a:cubicBezTo>
                  <a:pt x="674" y="800"/>
                  <a:pt x="674" y="800"/>
                  <a:pt x="674" y="800"/>
                </a:cubicBezTo>
                <a:cubicBezTo>
                  <a:pt x="676" y="801"/>
                  <a:pt x="676" y="801"/>
                  <a:pt x="676" y="801"/>
                </a:cubicBezTo>
                <a:cubicBezTo>
                  <a:pt x="677" y="800"/>
                  <a:pt x="677" y="800"/>
                  <a:pt x="677" y="800"/>
                </a:cubicBezTo>
                <a:cubicBezTo>
                  <a:pt x="679" y="801"/>
                  <a:pt x="679" y="801"/>
                  <a:pt x="679" y="801"/>
                </a:cubicBezTo>
                <a:cubicBezTo>
                  <a:pt x="681" y="800"/>
                  <a:pt x="681" y="800"/>
                  <a:pt x="681" y="800"/>
                </a:cubicBezTo>
                <a:cubicBezTo>
                  <a:pt x="684" y="797"/>
                  <a:pt x="684" y="797"/>
                  <a:pt x="684" y="797"/>
                </a:cubicBezTo>
                <a:cubicBezTo>
                  <a:pt x="686" y="796"/>
                  <a:pt x="686" y="796"/>
                  <a:pt x="686" y="796"/>
                </a:cubicBezTo>
                <a:cubicBezTo>
                  <a:pt x="687" y="795"/>
                  <a:pt x="687" y="795"/>
                  <a:pt x="687" y="795"/>
                </a:cubicBezTo>
                <a:cubicBezTo>
                  <a:pt x="690" y="795"/>
                  <a:pt x="690" y="795"/>
                  <a:pt x="690" y="795"/>
                </a:cubicBezTo>
                <a:cubicBezTo>
                  <a:pt x="691" y="795"/>
                  <a:pt x="691" y="795"/>
                  <a:pt x="691" y="795"/>
                </a:cubicBezTo>
                <a:cubicBezTo>
                  <a:pt x="696" y="796"/>
                  <a:pt x="696" y="796"/>
                  <a:pt x="696" y="796"/>
                </a:cubicBezTo>
                <a:cubicBezTo>
                  <a:pt x="697" y="797"/>
                  <a:pt x="697" y="797"/>
                  <a:pt x="697" y="797"/>
                </a:cubicBezTo>
                <a:cubicBezTo>
                  <a:pt x="696" y="798"/>
                  <a:pt x="696" y="798"/>
                  <a:pt x="696" y="798"/>
                </a:cubicBezTo>
                <a:cubicBezTo>
                  <a:pt x="694" y="798"/>
                  <a:pt x="694" y="798"/>
                  <a:pt x="694" y="798"/>
                </a:cubicBezTo>
                <a:cubicBezTo>
                  <a:pt x="692" y="799"/>
                  <a:pt x="692" y="799"/>
                  <a:pt x="692" y="799"/>
                </a:cubicBezTo>
                <a:cubicBezTo>
                  <a:pt x="694" y="800"/>
                  <a:pt x="694" y="800"/>
                  <a:pt x="694" y="800"/>
                </a:cubicBezTo>
                <a:cubicBezTo>
                  <a:pt x="700" y="801"/>
                  <a:pt x="700" y="801"/>
                  <a:pt x="700" y="801"/>
                </a:cubicBezTo>
                <a:cubicBezTo>
                  <a:pt x="701" y="800"/>
                  <a:pt x="701" y="800"/>
                  <a:pt x="701" y="800"/>
                </a:cubicBezTo>
                <a:cubicBezTo>
                  <a:pt x="703" y="800"/>
                  <a:pt x="703" y="800"/>
                  <a:pt x="703" y="800"/>
                </a:cubicBezTo>
                <a:cubicBezTo>
                  <a:pt x="704" y="802"/>
                  <a:pt x="704" y="802"/>
                  <a:pt x="704" y="802"/>
                </a:cubicBezTo>
                <a:cubicBezTo>
                  <a:pt x="707" y="802"/>
                  <a:pt x="707" y="802"/>
                  <a:pt x="707" y="802"/>
                </a:cubicBezTo>
                <a:cubicBezTo>
                  <a:pt x="709" y="802"/>
                  <a:pt x="709" y="802"/>
                  <a:pt x="709" y="802"/>
                </a:cubicBezTo>
                <a:cubicBezTo>
                  <a:pt x="709" y="801"/>
                  <a:pt x="709" y="801"/>
                  <a:pt x="709" y="801"/>
                </a:cubicBezTo>
                <a:cubicBezTo>
                  <a:pt x="711" y="802"/>
                  <a:pt x="711" y="802"/>
                  <a:pt x="711" y="802"/>
                </a:cubicBezTo>
                <a:cubicBezTo>
                  <a:pt x="711" y="803"/>
                  <a:pt x="711" y="803"/>
                  <a:pt x="711" y="803"/>
                </a:cubicBezTo>
                <a:cubicBezTo>
                  <a:pt x="714" y="806"/>
                  <a:pt x="714" y="806"/>
                  <a:pt x="714" y="806"/>
                </a:cubicBezTo>
                <a:cubicBezTo>
                  <a:pt x="717" y="806"/>
                  <a:pt x="717" y="806"/>
                  <a:pt x="717" y="806"/>
                </a:cubicBezTo>
                <a:cubicBezTo>
                  <a:pt x="718" y="805"/>
                  <a:pt x="718" y="805"/>
                  <a:pt x="718" y="805"/>
                </a:cubicBezTo>
                <a:cubicBezTo>
                  <a:pt x="719" y="807"/>
                  <a:pt x="719" y="807"/>
                  <a:pt x="719" y="807"/>
                </a:cubicBezTo>
                <a:cubicBezTo>
                  <a:pt x="721" y="807"/>
                  <a:pt x="721" y="807"/>
                  <a:pt x="721" y="807"/>
                </a:cubicBezTo>
                <a:cubicBezTo>
                  <a:pt x="723" y="807"/>
                  <a:pt x="723" y="807"/>
                  <a:pt x="723" y="807"/>
                </a:cubicBezTo>
                <a:cubicBezTo>
                  <a:pt x="726" y="806"/>
                  <a:pt x="726" y="806"/>
                  <a:pt x="726" y="806"/>
                </a:cubicBezTo>
                <a:cubicBezTo>
                  <a:pt x="727" y="807"/>
                  <a:pt x="727" y="807"/>
                  <a:pt x="727" y="807"/>
                </a:cubicBezTo>
                <a:cubicBezTo>
                  <a:pt x="729" y="813"/>
                  <a:pt x="729" y="813"/>
                  <a:pt x="729" y="813"/>
                </a:cubicBezTo>
                <a:cubicBezTo>
                  <a:pt x="732" y="817"/>
                  <a:pt x="732" y="817"/>
                  <a:pt x="732" y="817"/>
                </a:cubicBezTo>
                <a:cubicBezTo>
                  <a:pt x="734" y="817"/>
                  <a:pt x="734" y="817"/>
                  <a:pt x="734" y="817"/>
                </a:cubicBezTo>
                <a:cubicBezTo>
                  <a:pt x="734" y="816"/>
                  <a:pt x="734" y="816"/>
                  <a:pt x="734" y="816"/>
                </a:cubicBezTo>
                <a:cubicBezTo>
                  <a:pt x="737" y="817"/>
                  <a:pt x="737" y="817"/>
                  <a:pt x="737" y="817"/>
                </a:cubicBezTo>
                <a:cubicBezTo>
                  <a:pt x="740" y="817"/>
                  <a:pt x="740" y="817"/>
                  <a:pt x="740" y="817"/>
                </a:cubicBezTo>
                <a:cubicBezTo>
                  <a:pt x="741" y="818"/>
                  <a:pt x="741" y="818"/>
                  <a:pt x="741" y="818"/>
                </a:cubicBezTo>
                <a:cubicBezTo>
                  <a:pt x="742" y="819"/>
                  <a:pt x="742" y="819"/>
                  <a:pt x="742" y="819"/>
                </a:cubicBezTo>
                <a:cubicBezTo>
                  <a:pt x="742" y="821"/>
                  <a:pt x="742" y="821"/>
                  <a:pt x="742" y="821"/>
                </a:cubicBezTo>
                <a:cubicBezTo>
                  <a:pt x="739" y="822"/>
                  <a:pt x="739" y="822"/>
                  <a:pt x="739" y="822"/>
                </a:cubicBezTo>
                <a:cubicBezTo>
                  <a:pt x="736" y="825"/>
                  <a:pt x="736" y="825"/>
                  <a:pt x="736" y="825"/>
                </a:cubicBezTo>
                <a:cubicBezTo>
                  <a:pt x="736" y="827"/>
                  <a:pt x="736" y="827"/>
                  <a:pt x="736" y="827"/>
                </a:cubicBezTo>
                <a:cubicBezTo>
                  <a:pt x="740" y="827"/>
                  <a:pt x="740" y="827"/>
                  <a:pt x="740" y="827"/>
                </a:cubicBezTo>
                <a:cubicBezTo>
                  <a:pt x="742" y="826"/>
                  <a:pt x="742" y="826"/>
                  <a:pt x="742" y="826"/>
                </a:cubicBezTo>
                <a:cubicBezTo>
                  <a:pt x="744" y="827"/>
                  <a:pt x="744" y="827"/>
                  <a:pt x="744" y="827"/>
                </a:cubicBezTo>
                <a:cubicBezTo>
                  <a:pt x="749" y="825"/>
                  <a:pt x="749" y="825"/>
                  <a:pt x="749" y="825"/>
                </a:cubicBezTo>
                <a:cubicBezTo>
                  <a:pt x="751" y="826"/>
                  <a:pt x="751" y="826"/>
                  <a:pt x="751" y="826"/>
                </a:cubicBezTo>
                <a:lnTo>
                  <a:pt x="755" y="827"/>
                </a:lnTo>
                <a:close/>
                <a:moveTo>
                  <a:pt x="816" y="1535"/>
                </a:moveTo>
                <a:cubicBezTo>
                  <a:pt x="816" y="1536"/>
                  <a:pt x="816" y="1536"/>
                  <a:pt x="816" y="1536"/>
                </a:cubicBezTo>
                <a:cubicBezTo>
                  <a:pt x="818" y="1535"/>
                  <a:pt x="818" y="1535"/>
                  <a:pt x="818" y="1535"/>
                </a:cubicBezTo>
                <a:cubicBezTo>
                  <a:pt x="817" y="1534"/>
                  <a:pt x="817" y="1534"/>
                  <a:pt x="817" y="1534"/>
                </a:cubicBezTo>
                <a:lnTo>
                  <a:pt x="816" y="1535"/>
                </a:lnTo>
                <a:close/>
                <a:moveTo>
                  <a:pt x="816" y="1542"/>
                </a:moveTo>
                <a:cubicBezTo>
                  <a:pt x="817" y="1544"/>
                  <a:pt x="817" y="1544"/>
                  <a:pt x="817" y="1544"/>
                </a:cubicBezTo>
                <a:cubicBezTo>
                  <a:pt x="818" y="1542"/>
                  <a:pt x="818" y="1542"/>
                  <a:pt x="818" y="1542"/>
                </a:cubicBezTo>
                <a:cubicBezTo>
                  <a:pt x="819" y="1543"/>
                  <a:pt x="819" y="1543"/>
                  <a:pt x="819" y="1543"/>
                </a:cubicBezTo>
                <a:cubicBezTo>
                  <a:pt x="820" y="1543"/>
                  <a:pt x="820" y="1543"/>
                  <a:pt x="820" y="1543"/>
                </a:cubicBezTo>
                <a:cubicBezTo>
                  <a:pt x="821" y="1543"/>
                  <a:pt x="821" y="1543"/>
                  <a:pt x="821" y="1543"/>
                </a:cubicBezTo>
                <a:cubicBezTo>
                  <a:pt x="822" y="1541"/>
                  <a:pt x="822" y="1541"/>
                  <a:pt x="822" y="1541"/>
                </a:cubicBezTo>
                <a:cubicBezTo>
                  <a:pt x="823" y="1540"/>
                  <a:pt x="823" y="1540"/>
                  <a:pt x="823" y="1540"/>
                </a:cubicBezTo>
                <a:cubicBezTo>
                  <a:pt x="821" y="1538"/>
                  <a:pt x="821" y="1538"/>
                  <a:pt x="821" y="1538"/>
                </a:cubicBezTo>
                <a:cubicBezTo>
                  <a:pt x="821" y="1537"/>
                  <a:pt x="821" y="1537"/>
                  <a:pt x="821" y="1537"/>
                </a:cubicBezTo>
                <a:cubicBezTo>
                  <a:pt x="819" y="1536"/>
                  <a:pt x="819" y="1536"/>
                  <a:pt x="819" y="1536"/>
                </a:cubicBezTo>
                <a:cubicBezTo>
                  <a:pt x="817" y="1537"/>
                  <a:pt x="817" y="1537"/>
                  <a:pt x="817" y="1537"/>
                </a:cubicBezTo>
                <a:cubicBezTo>
                  <a:pt x="816" y="1540"/>
                  <a:pt x="816" y="1540"/>
                  <a:pt x="816" y="1540"/>
                </a:cubicBezTo>
                <a:lnTo>
                  <a:pt x="816" y="1542"/>
                </a:lnTo>
                <a:close/>
                <a:moveTo>
                  <a:pt x="813" y="1508"/>
                </a:moveTo>
                <a:cubicBezTo>
                  <a:pt x="815" y="1510"/>
                  <a:pt x="815" y="1510"/>
                  <a:pt x="815" y="1510"/>
                </a:cubicBezTo>
                <a:cubicBezTo>
                  <a:pt x="816" y="1509"/>
                  <a:pt x="816" y="1509"/>
                  <a:pt x="816" y="1509"/>
                </a:cubicBezTo>
                <a:cubicBezTo>
                  <a:pt x="815" y="1508"/>
                  <a:pt x="815" y="1508"/>
                  <a:pt x="815" y="1508"/>
                </a:cubicBezTo>
                <a:lnTo>
                  <a:pt x="813" y="1508"/>
                </a:lnTo>
                <a:close/>
                <a:moveTo>
                  <a:pt x="817" y="1528"/>
                </a:moveTo>
                <a:cubicBezTo>
                  <a:pt x="816" y="1530"/>
                  <a:pt x="816" y="1530"/>
                  <a:pt x="816" y="1530"/>
                </a:cubicBezTo>
                <a:cubicBezTo>
                  <a:pt x="816" y="1531"/>
                  <a:pt x="816" y="1531"/>
                  <a:pt x="816" y="1531"/>
                </a:cubicBezTo>
                <a:cubicBezTo>
                  <a:pt x="817" y="1530"/>
                  <a:pt x="817" y="1530"/>
                  <a:pt x="817" y="1530"/>
                </a:cubicBezTo>
                <a:lnTo>
                  <a:pt x="817" y="1528"/>
                </a:lnTo>
                <a:close/>
                <a:moveTo>
                  <a:pt x="815" y="1546"/>
                </a:moveTo>
                <a:cubicBezTo>
                  <a:pt x="813" y="1546"/>
                  <a:pt x="813" y="1546"/>
                  <a:pt x="813" y="1546"/>
                </a:cubicBezTo>
                <a:cubicBezTo>
                  <a:pt x="811" y="1547"/>
                  <a:pt x="811" y="1547"/>
                  <a:pt x="811" y="1547"/>
                </a:cubicBezTo>
                <a:cubicBezTo>
                  <a:pt x="812" y="1548"/>
                  <a:pt x="812" y="1548"/>
                  <a:pt x="812" y="1548"/>
                </a:cubicBezTo>
                <a:cubicBezTo>
                  <a:pt x="813" y="1551"/>
                  <a:pt x="813" y="1551"/>
                  <a:pt x="813" y="1551"/>
                </a:cubicBezTo>
                <a:cubicBezTo>
                  <a:pt x="814" y="1551"/>
                  <a:pt x="814" y="1551"/>
                  <a:pt x="814" y="1551"/>
                </a:cubicBezTo>
                <a:cubicBezTo>
                  <a:pt x="815" y="1550"/>
                  <a:pt x="815" y="1550"/>
                  <a:pt x="815" y="1550"/>
                </a:cubicBezTo>
                <a:lnTo>
                  <a:pt x="815" y="1546"/>
                </a:lnTo>
                <a:close/>
                <a:moveTo>
                  <a:pt x="813" y="1554"/>
                </a:moveTo>
                <a:cubicBezTo>
                  <a:pt x="814" y="1552"/>
                  <a:pt x="814" y="1552"/>
                  <a:pt x="814" y="1552"/>
                </a:cubicBezTo>
                <a:cubicBezTo>
                  <a:pt x="812" y="1552"/>
                  <a:pt x="812" y="1552"/>
                  <a:pt x="812" y="1552"/>
                </a:cubicBezTo>
                <a:lnTo>
                  <a:pt x="813" y="1554"/>
                </a:lnTo>
                <a:close/>
                <a:moveTo>
                  <a:pt x="803" y="1508"/>
                </a:moveTo>
                <a:cubicBezTo>
                  <a:pt x="803" y="1510"/>
                  <a:pt x="803" y="1510"/>
                  <a:pt x="803" y="1510"/>
                </a:cubicBezTo>
                <a:cubicBezTo>
                  <a:pt x="803" y="1511"/>
                  <a:pt x="803" y="1511"/>
                  <a:pt x="803" y="1511"/>
                </a:cubicBezTo>
                <a:cubicBezTo>
                  <a:pt x="804" y="1511"/>
                  <a:pt x="804" y="1511"/>
                  <a:pt x="804" y="1511"/>
                </a:cubicBezTo>
                <a:cubicBezTo>
                  <a:pt x="805" y="1514"/>
                  <a:pt x="805" y="1514"/>
                  <a:pt x="805" y="1514"/>
                </a:cubicBezTo>
                <a:cubicBezTo>
                  <a:pt x="805" y="1520"/>
                  <a:pt x="805" y="1520"/>
                  <a:pt x="805" y="1520"/>
                </a:cubicBezTo>
                <a:cubicBezTo>
                  <a:pt x="804" y="1522"/>
                  <a:pt x="804" y="1522"/>
                  <a:pt x="804" y="1522"/>
                </a:cubicBezTo>
                <a:cubicBezTo>
                  <a:pt x="806" y="1523"/>
                  <a:pt x="806" y="1523"/>
                  <a:pt x="806" y="1523"/>
                </a:cubicBezTo>
                <a:cubicBezTo>
                  <a:pt x="810" y="1523"/>
                  <a:pt x="810" y="1523"/>
                  <a:pt x="810" y="1523"/>
                </a:cubicBezTo>
                <a:cubicBezTo>
                  <a:pt x="810" y="1522"/>
                  <a:pt x="810" y="1522"/>
                  <a:pt x="810" y="1522"/>
                </a:cubicBezTo>
                <a:cubicBezTo>
                  <a:pt x="809" y="1520"/>
                  <a:pt x="809" y="1520"/>
                  <a:pt x="809" y="1520"/>
                </a:cubicBezTo>
                <a:cubicBezTo>
                  <a:pt x="810" y="1519"/>
                  <a:pt x="810" y="1519"/>
                  <a:pt x="810" y="1519"/>
                </a:cubicBezTo>
                <a:cubicBezTo>
                  <a:pt x="812" y="1519"/>
                  <a:pt x="812" y="1519"/>
                  <a:pt x="812" y="1519"/>
                </a:cubicBezTo>
                <a:cubicBezTo>
                  <a:pt x="813" y="1519"/>
                  <a:pt x="813" y="1519"/>
                  <a:pt x="813" y="1519"/>
                </a:cubicBezTo>
                <a:cubicBezTo>
                  <a:pt x="810" y="1517"/>
                  <a:pt x="810" y="1517"/>
                  <a:pt x="810" y="1517"/>
                </a:cubicBezTo>
                <a:cubicBezTo>
                  <a:pt x="811" y="1516"/>
                  <a:pt x="811" y="1516"/>
                  <a:pt x="811" y="1516"/>
                </a:cubicBezTo>
                <a:cubicBezTo>
                  <a:pt x="809" y="1514"/>
                  <a:pt x="809" y="1514"/>
                  <a:pt x="809" y="1514"/>
                </a:cubicBezTo>
                <a:cubicBezTo>
                  <a:pt x="809" y="1512"/>
                  <a:pt x="809" y="1512"/>
                  <a:pt x="809" y="1512"/>
                </a:cubicBezTo>
                <a:cubicBezTo>
                  <a:pt x="810" y="1512"/>
                  <a:pt x="810" y="1512"/>
                  <a:pt x="810" y="1512"/>
                </a:cubicBezTo>
                <a:cubicBezTo>
                  <a:pt x="812" y="1513"/>
                  <a:pt x="812" y="1513"/>
                  <a:pt x="812" y="1513"/>
                </a:cubicBezTo>
                <a:cubicBezTo>
                  <a:pt x="812" y="1513"/>
                  <a:pt x="812" y="1513"/>
                  <a:pt x="812" y="1513"/>
                </a:cubicBezTo>
                <a:cubicBezTo>
                  <a:pt x="811" y="1512"/>
                  <a:pt x="811" y="1512"/>
                  <a:pt x="811" y="1512"/>
                </a:cubicBezTo>
                <a:cubicBezTo>
                  <a:pt x="809" y="1510"/>
                  <a:pt x="809" y="1510"/>
                  <a:pt x="809" y="1510"/>
                </a:cubicBezTo>
                <a:cubicBezTo>
                  <a:pt x="811" y="1511"/>
                  <a:pt x="811" y="1511"/>
                  <a:pt x="811" y="1511"/>
                </a:cubicBezTo>
                <a:cubicBezTo>
                  <a:pt x="811" y="1509"/>
                  <a:pt x="811" y="1509"/>
                  <a:pt x="811" y="1509"/>
                </a:cubicBezTo>
                <a:cubicBezTo>
                  <a:pt x="811" y="1508"/>
                  <a:pt x="811" y="1508"/>
                  <a:pt x="811" y="1508"/>
                </a:cubicBezTo>
                <a:cubicBezTo>
                  <a:pt x="811" y="1506"/>
                  <a:pt x="811" y="1506"/>
                  <a:pt x="811" y="1506"/>
                </a:cubicBezTo>
                <a:cubicBezTo>
                  <a:pt x="809" y="1503"/>
                  <a:pt x="809" y="1503"/>
                  <a:pt x="809" y="1503"/>
                </a:cubicBezTo>
                <a:cubicBezTo>
                  <a:pt x="807" y="1502"/>
                  <a:pt x="807" y="1502"/>
                  <a:pt x="807" y="1502"/>
                </a:cubicBezTo>
                <a:cubicBezTo>
                  <a:pt x="805" y="1502"/>
                  <a:pt x="805" y="1502"/>
                  <a:pt x="805" y="1502"/>
                </a:cubicBezTo>
                <a:cubicBezTo>
                  <a:pt x="804" y="1503"/>
                  <a:pt x="804" y="1503"/>
                  <a:pt x="804" y="1503"/>
                </a:cubicBezTo>
                <a:cubicBezTo>
                  <a:pt x="804" y="1505"/>
                  <a:pt x="804" y="1505"/>
                  <a:pt x="804" y="1505"/>
                </a:cubicBezTo>
                <a:cubicBezTo>
                  <a:pt x="804" y="1506"/>
                  <a:pt x="804" y="1506"/>
                  <a:pt x="804" y="1506"/>
                </a:cubicBezTo>
                <a:cubicBezTo>
                  <a:pt x="804" y="1507"/>
                  <a:pt x="804" y="1507"/>
                  <a:pt x="804" y="1507"/>
                </a:cubicBezTo>
                <a:lnTo>
                  <a:pt x="803" y="1508"/>
                </a:lnTo>
                <a:close/>
                <a:moveTo>
                  <a:pt x="540" y="773"/>
                </a:moveTo>
                <a:cubicBezTo>
                  <a:pt x="540" y="772"/>
                  <a:pt x="540" y="772"/>
                  <a:pt x="540" y="772"/>
                </a:cubicBezTo>
                <a:cubicBezTo>
                  <a:pt x="539" y="775"/>
                  <a:pt x="539" y="775"/>
                  <a:pt x="539" y="775"/>
                </a:cubicBezTo>
                <a:lnTo>
                  <a:pt x="540" y="773"/>
                </a:lnTo>
                <a:close/>
                <a:moveTo>
                  <a:pt x="540" y="771"/>
                </a:moveTo>
                <a:cubicBezTo>
                  <a:pt x="540" y="771"/>
                  <a:pt x="540" y="771"/>
                  <a:pt x="540" y="771"/>
                </a:cubicBezTo>
                <a:cubicBezTo>
                  <a:pt x="541" y="769"/>
                  <a:pt x="541" y="769"/>
                  <a:pt x="541" y="769"/>
                </a:cubicBezTo>
                <a:cubicBezTo>
                  <a:pt x="540" y="769"/>
                  <a:pt x="540" y="769"/>
                  <a:pt x="540" y="769"/>
                </a:cubicBezTo>
                <a:lnTo>
                  <a:pt x="540" y="771"/>
                </a:lnTo>
                <a:close/>
                <a:moveTo>
                  <a:pt x="1001" y="1040"/>
                </a:moveTo>
                <a:cubicBezTo>
                  <a:pt x="1000" y="1041"/>
                  <a:pt x="1000" y="1041"/>
                  <a:pt x="1000" y="1041"/>
                </a:cubicBezTo>
                <a:cubicBezTo>
                  <a:pt x="1000" y="1041"/>
                  <a:pt x="1000" y="1041"/>
                  <a:pt x="1000" y="1041"/>
                </a:cubicBezTo>
                <a:cubicBezTo>
                  <a:pt x="1002" y="1041"/>
                  <a:pt x="1002" y="1041"/>
                  <a:pt x="1002" y="1041"/>
                </a:cubicBezTo>
                <a:cubicBezTo>
                  <a:pt x="1002" y="1040"/>
                  <a:pt x="1002" y="1040"/>
                  <a:pt x="1002" y="1040"/>
                </a:cubicBezTo>
                <a:cubicBezTo>
                  <a:pt x="1002" y="1039"/>
                  <a:pt x="1002" y="1039"/>
                  <a:pt x="1002" y="1039"/>
                </a:cubicBezTo>
                <a:lnTo>
                  <a:pt x="1001" y="1040"/>
                </a:lnTo>
                <a:close/>
                <a:moveTo>
                  <a:pt x="541" y="767"/>
                </a:moveTo>
                <a:cubicBezTo>
                  <a:pt x="541" y="767"/>
                  <a:pt x="541" y="767"/>
                  <a:pt x="541" y="767"/>
                </a:cubicBezTo>
                <a:cubicBezTo>
                  <a:pt x="540" y="768"/>
                  <a:pt x="540" y="768"/>
                  <a:pt x="540" y="768"/>
                </a:cubicBezTo>
                <a:cubicBezTo>
                  <a:pt x="541" y="768"/>
                  <a:pt x="541" y="768"/>
                  <a:pt x="541" y="768"/>
                </a:cubicBezTo>
                <a:lnTo>
                  <a:pt x="541" y="767"/>
                </a:lnTo>
                <a:close/>
                <a:moveTo>
                  <a:pt x="1004" y="1035"/>
                </a:moveTo>
                <a:cubicBezTo>
                  <a:pt x="1003" y="1035"/>
                  <a:pt x="1003" y="1035"/>
                  <a:pt x="1003" y="1035"/>
                </a:cubicBezTo>
                <a:cubicBezTo>
                  <a:pt x="1002" y="1035"/>
                  <a:pt x="1002" y="1035"/>
                  <a:pt x="1002" y="1035"/>
                </a:cubicBezTo>
                <a:cubicBezTo>
                  <a:pt x="1001" y="1036"/>
                  <a:pt x="1001" y="1036"/>
                  <a:pt x="1001" y="1036"/>
                </a:cubicBezTo>
                <a:cubicBezTo>
                  <a:pt x="999" y="1038"/>
                  <a:pt x="999" y="1038"/>
                  <a:pt x="999" y="1038"/>
                </a:cubicBezTo>
                <a:cubicBezTo>
                  <a:pt x="998" y="1041"/>
                  <a:pt x="998" y="1041"/>
                  <a:pt x="998" y="1041"/>
                </a:cubicBezTo>
                <a:cubicBezTo>
                  <a:pt x="999" y="1041"/>
                  <a:pt x="999" y="1041"/>
                  <a:pt x="999" y="1041"/>
                </a:cubicBezTo>
                <a:cubicBezTo>
                  <a:pt x="999" y="1040"/>
                  <a:pt x="999" y="1040"/>
                  <a:pt x="999" y="1040"/>
                </a:cubicBezTo>
                <a:cubicBezTo>
                  <a:pt x="1001" y="1038"/>
                  <a:pt x="1001" y="1038"/>
                  <a:pt x="1001" y="1038"/>
                </a:cubicBezTo>
                <a:cubicBezTo>
                  <a:pt x="1002" y="1038"/>
                  <a:pt x="1002" y="1038"/>
                  <a:pt x="1002" y="1038"/>
                </a:cubicBezTo>
                <a:cubicBezTo>
                  <a:pt x="1004" y="1036"/>
                  <a:pt x="1004" y="1036"/>
                  <a:pt x="1004" y="1036"/>
                </a:cubicBezTo>
                <a:lnTo>
                  <a:pt x="1004" y="1035"/>
                </a:lnTo>
                <a:close/>
                <a:moveTo>
                  <a:pt x="1008" y="1031"/>
                </a:moveTo>
                <a:cubicBezTo>
                  <a:pt x="1009" y="1029"/>
                  <a:pt x="1009" y="1029"/>
                  <a:pt x="1009" y="1029"/>
                </a:cubicBezTo>
                <a:cubicBezTo>
                  <a:pt x="1010" y="1029"/>
                  <a:pt x="1010" y="1029"/>
                  <a:pt x="1010" y="1029"/>
                </a:cubicBezTo>
                <a:cubicBezTo>
                  <a:pt x="1011" y="1027"/>
                  <a:pt x="1011" y="1027"/>
                  <a:pt x="1011" y="1027"/>
                </a:cubicBezTo>
                <a:cubicBezTo>
                  <a:pt x="1010" y="1027"/>
                  <a:pt x="1010" y="1027"/>
                  <a:pt x="1010" y="1027"/>
                </a:cubicBezTo>
                <a:cubicBezTo>
                  <a:pt x="1009" y="1028"/>
                  <a:pt x="1009" y="1028"/>
                  <a:pt x="1009" y="1028"/>
                </a:cubicBezTo>
                <a:cubicBezTo>
                  <a:pt x="1007" y="1029"/>
                  <a:pt x="1007" y="1029"/>
                  <a:pt x="1007" y="1029"/>
                </a:cubicBezTo>
                <a:cubicBezTo>
                  <a:pt x="1006" y="1030"/>
                  <a:pt x="1006" y="1030"/>
                  <a:pt x="1006" y="1030"/>
                </a:cubicBezTo>
                <a:cubicBezTo>
                  <a:pt x="1007" y="1032"/>
                  <a:pt x="1007" y="1032"/>
                  <a:pt x="1007" y="1032"/>
                </a:cubicBezTo>
                <a:lnTo>
                  <a:pt x="1008" y="1031"/>
                </a:lnTo>
                <a:close/>
                <a:moveTo>
                  <a:pt x="1087" y="56"/>
                </a:moveTo>
                <a:cubicBezTo>
                  <a:pt x="1087" y="55"/>
                  <a:pt x="1087" y="55"/>
                  <a:pt x="1087" y="55"/>
                </a:cubicBezTo>
                <a:cubicBezTo>
                  <a:pt x="1086" y="54"/>
                  <a:pt x="1086" y="54"/>
                  <a:pt x="1086" y="54"/>
                </a:cubicBezTo>
                <a:cubicBezTo>
                  <a:pt x="1086" y="55"/>
                  <a:pt x="1086" y="55"/>
                  <a:pt x="1086" y="55"/>
                </a:cubicBezTo>
                <a:cubicBezTo>
                  <a:pt x="1086" y="57"/>
                  <a:pt x="1086" y="57"/>
                  <a:pt x="1086" y="57"/>
                </a:cubicBezTo>
                <a:cubicBezTo>
                  <a:pt x="1087" y="57"/>
                  <a:pt x="1087" y="57"/>
                  <a:pt x="1087" y="57"/>
                </a:cubicBezTo>
                <a:lnTo>
                  <a:pt x="1087" y="56"/>
                </a:lnTo>
                <a:close/>
                <a:moveTo>
                  <a:pt x="2964" y="187"/>
                </a:moveTo>
                <a:cubicBezTo>
                  <a:pt x="2965" y="185"/>
                  <a:pt x="2965" y="185"/>
                  <a:pt x="2965" y="185"/>
                </a:cubicBezTo>
                <a:cubicBezTo>
                  <a:pt x="2967" y="183"/>
                  <a:pt x="2967" y="183"/>
                  <a:pt x="2967" y="183"/>
                </a:cubicBezTo>
                <a:cubicBezTo>
                  <a:pt x="2969" y="181"/>
                  <a:pt x="2969" y="181"/>
                  <a:pt x="2969" y="181"/>
                </a:cubicBezTo>
                <a:cubicBezTo>
                  <a:pt x="2970" y="181"/>
                  <a:pt x="2970" y="181"/>
                  <a:pt x="2970" y="181"/>
                </a:cubicBezTo>
                <a:cubicBezTo>
                  <a:pt x="2970" y="178"/>
                  <a:pt x="2970" y="178"/>
                  <a:pt x="2970" y="178"/>
                </a:cubicBezTo>
                <a:cubicBezTo>
                  <a:pt x="2969" y="176"/>
                  <a:pt x="2969" y="176"/>
                  <a:pt x="2969" y="176"/>
                </a:cubicBezTo>
                <a:cubicBezTo>
                  <a:pt x="2966" y="173"/>
                  <a:pt x="2966" y="173"/>
                  <a:pt x="2966" y="173"/>
                </a:cubicBezTo>
                <a:cubicBezTo>
                  <a:pt x="2965" y="173"/>
                  <a:pt x="2965" y="173"/>
                  <a:pt x="2965" y="173"/>
                </a:cubicBezTo>
                <a:cubicBezTo>
                  <a:pt x="2964" y="174"/>
                  <a:pt x="2964" y="174"/>
                  <a:pt x="2964" y="174"/>
                </a:cubicBezTo>
                <a:cubicBezTo>
                  <a:pt x="2964" y="175"/>
                  <a:pt x="2964" y="175"/>
                  <a:pt x="2964" y="175"/>
                </a:cubicBezTo>
                <a:cubicBezTo>
                  <a:pt x="2963" y="175"/>
                  <a:pt x="2963" y="175"/>
                  <a:pt x="2963" y="175"/>
                </a:cubicBezTo>
                <a:cubicBezTo>
                  <a:pt x="2961" y="178"/>
                  <a:pt x="2961" y="178"/>
                  <a:pt x="2961" y="178"/>
                </a:cubicBezTo>
                <a:cubicBezTo>
                  <a:pt x="2960" y="179"/>
                  <a:pt x="2960" y="179"/>
                  <a:pt x="2960" y="179"/>
                </a:cubicBezTo>
                <a:cubicBezTo>
                  <a:pt x="2958" y="181"/>
                  <a:pt x="2958" y="181"/>
                  <a:pt x="2958" y="181"/>
                </a:cubicBezTo>
                <a:cubicBezTo>
                  <a:pt x="2959" y="181"/>
                  <a:pt x="2959" y="181"/>
                  <a:pt x="2959" y="181"/>
                </a:cubicBezTo>
                <a:cubicBezTo>
                  <a:pt x="2961" y="180"/>
                  <a:pt x="2961" y="180"/>
                  <a:pt x="2961" y="180"/>
                </a:cubicBezTo>
                <a:cubicBezTo>
                  <a:pt x="2962" y="180"/>
                  <a:pt x="2962" y="180"/>
                  <a:pt x="2962" y="180"/>
                </a:cubicBezTo>
                <a:cubicBezTo>
                  <a:pt x="2961" y="182"/>
                  <a:pt x="2961" y="182"/>
                  <a:pt x="2961" y="182"/>
                </a:cubicBezTo>
                <a:cubicBezTo>
                  <a:pt x="2962" y="185"/>
                  <a:pt x="2962" y="185"/>
                  <a:pt x="2962" y="185"/>
                </a:cubicBezTo>
                <a:cubicBezTo>
                  <a:pt x="2963" y="187"/>
                  <a:pt x="2963" y="187"/>
                  <a:pt x="2963" y="187"/>
                </a:cubicBezTo>
                <a:cubicBezTo>
                  <a:pt x="2963" y="189"/>
                  <a:pt x="2963" y="189"/>
                  <a:pt x="2963" y="189"/>
                </a:cubicBezTo>
                <a:cubicBezTo>
                  <a:pt x="2962" y="190"/>
                  <a:pt x="2962" y="190"/>
                  <a:pt x="2962" y="190"/>
                </a:cubicBezTo>
                <a:cubicBezTo>
                  <a:pt x="2962" y="191"/>
                  <a:pt x="2962" y="191"/>
                  <a:pt x="2962" y="191"/>
                </a:cubicBezTo>
                <a:cubicBezTo>
                  <a:pt x="2964" y="193"/>
                  <a:pt x="2964" y="193"/>
                  <a:pt x="2964" y="193"/>
                </a:cubicBezTo>
                <a:cubicBezTo>
                  <a:pt x="2965" y="194"/>
                  <a:pt x="2965" y="194"/>
                  <a:pt x="2965" y="194"/>
                </a:cubicBezTo>
                <a:cubicBezTo>
                  <a:pt x="2965" y="191"/>
                  <a:pt x="2965" y="191"/>
                  <a:pt x="2965" y="191"/>
                </a:cubicBezTo>
                <a:cubicBezTo>
                  <a:pt x="2964" y="189"/>
                  <a:pt x="2964" y="189"/>
                  <a:pt x="2964" y="189"/>
                </a:cubicBezTo>
                <a:cubicBezTo>
                  <a:pt x="2964" y="189"/>
                  <a:pt x="2964" y="189"/>
                  <a:pt x="2964" y="189"/>
                </a:cubicBezTo>
                <a:lnTo>
                  <a:pt x="2964" y="187"/>
                </a:lnTo>
                <a:close/>
                <a:moveTo>
                  <a:pt x="2922" y="119"/>
                </a:moveTo>
                <a:cubicBezTo>
                  <a:pt x="2922" y="120"/>
                  <a:pt x="2922" y="120"/>
                  <a:pt x="2922" y="120"/>
                </a:cubicBezTo>
                <a:cubicBezTo>
                  <a:pt x="2924" y="122"/>
                  <a:pt x="2924" y="122"/>
                  <a:pt x="2924" y="122"/>
                </a:cubicBezTo>
                <a:cubicBezTo>
                  <a:pt x="2925" y="122"/>
                  <a:pt x="2925" y="122"/>
                  <a:pt x="2925" y="122"/>
                </a:cubicBezTo>
                <a:cubicBezTo>
                  <a:pt x="2925" y="121"/>
                  <a:pt x="2925" y="121"/>
                  <a:pt x="2925" y="121"/>
                </a:cubicBezTo>
                <a:cubicBezTo>
                  <a:pt x="2923" y="119"/>
                  <a:pt x="2923" y="119"/>
                  <a:pt x="2923" y="119"/>
                </a:cubicBezTo>
                <a:lnTo>
                  <a:pt x="2922" y="119"/>
                </a:lnTo>
                <a:close/>
                <a:moveTo>
                  <a:pt x="1084" y="48"/>
                </a:moveTo>
                <a:cubicBezTo>
                  <a:pt x="1083" y="49"/>
                  <a:pt x="1083" y="49"/>
                  <a:pt x="1083" y="49"/>
                </a:cubicBezTo>
                <a:cubicBezTo>
                  <a:pt x="1084" y="50"/>
                  <a:pt x="1084" y="50"/>
                  <a:pt x="1084" y="50"/>
                </a:cubicBezTo>
                <a:cubicBezTo>
                  <a:pt x="1085" y="50"/>
                  <a:pt x="1085" y="50"/>
                  <a:pt x="1085" y="50"/>
                </a:cubicBezTo>
                <a:cubicBezTo>
                  <a:pt x="1087" y="49"/>
                  <a:pt x="1087" y="49"/>
                  <a:pt x="1087" y="49"/>
                </a:cubicBezTo>
                <a:cubicBezTo>
                  <a:pt x="1085" y="49"/>
                  <a:pt x="1085" y="49"/>
                  <a:pt x="1085" y="49"/>
                </a:cubicBezTo>
                <a:lnTo>
                  <a:pt x="1084" y="48"/>
                </a:lnTo>
                <a:close/>
                <a:moveTo>
                  <a:pt x="2924" y="124"/>
                </a:moveTo>
                <a:cubicBezTo>
                  <a:pt x="2925" y="126"/>
                  <a:pt x="2925" y="126"/>
                  <a:pt x="2925" y="126"/>
                </a:cubicBezTo>
                <a:cubicBezTo>
                  <a:pt x="2925" y="125"/>
                  <a:pt x="2925" y="125"/>
                  <a:pt x="2925" y="125"/>
                </a:cubicBezTo>
                <a:cubicBezTo>
                  <a:pt x="2925" y="124"/>
                  <a:pt x="2925" y="124"/>
                  <a:pt x="2925" y="124"/>
                </a:cubicBezTo>
                <a:cubicBezTo>
                  <a:pt x="2925" y="123"/>
                  <a:pt x="2925" y="123"/>
                  <a:pt x="2925" y="123"/>
                </a:cubicBezTo>
                <a:cubicBezTo>
                  <a:pt x="2924" y="124"/>
                  <a:pt x="2924" y="124"/>
                  <a:pt x="2924" y="124"/>
                </a:cubicBezTo>
                <a:close/>
                <a:moveTo>
                  <a:pt x="1089" y="46"/>
                </a:moveTo>
                <a:cubicBezTo>
                  <a:pt x="1089" y="44"/>
                  <a:pt x="1089" y="44"/>
                  <a:pt x="1089" y="44"/>
                </a:cubicBezTo>
                <a:cubicBezTo>
                  <a:pt x="1087" y="43"/>
                  <a:pt x="1087" y="43"/>
                  <a:pt x="1087" y="43"/>
                </a:cubicBezTo>
                <a:cubicBezTo>
                  <a:pt x="1086" y="43"/>
                  <a:pt x="1086" y="43"/>
                  <a:pt x="1086" y="43"/>
                </a:cubicBezTo>
                <a:cubicBezTo>
                  <a:pt x="1085" y="44"/>
                  <a:pt x="1085" y="44"/>
                  <a:pt x="1085" y="44"/>
                </a:cubicBezTo>
                <a:cubicBezTo>
                  <a:pt x="1086" y="45"/>
                  <a:pt x="1086" y="45"/>
                  <a:pt x="1086" y="45"/>
                </a:cubicBezTo>
                <a:cubicBezTo>
                  <a:pt x="1087" y="45"/>
                  <a:pt x="1087" y="45"/>
                  <a:pt x="1087" y="45"/>
                </a:cubicBezTo>
                <a:cubicBezTo>
                  <a:pt x="1088" y="46"/>
                  <a:pt x="1088" y="46"/>
                  <a:pt x="1088" y="46"/>
                </a:cubicBezTo>
                <a:lnTo>
                  <a:pt x="1089" y="46"/>
                </a:lnTo>
                <a:close/>
                <a:moveTo>
                  <a:pt x="2763" y="305"/>
                </a:moveTo>
                <a:cubicBezTo>
                  <a:pt x="2762" y="305"/>
                  <a:pt x="2762" y="305"/>
                  <a:pt x="2762" y="305"/>
                </a:cubicBezTo>
                <a:cubicBezTo>
                  <a:pt x="2760" y="305"/>
                  <a:pt x="2760" y="305"/>
                  <a:pt x="2760" y="305"/>
                </a:cubicBezTo>
                <a:cubicBezTo>
                  <a:pt x="2759" y="304"/>
                  <a:pt x="2759" y="304"/>
                  <a:pt x="2759" y="304"/>
                </a:cubicBezTo>
                <a:cubicBezTo>
                  <a:pt x="2758" y="305"/>
                  <a:pt x="2758" y="305"/>
                  <a:pt x="2758" y="305"/>
                </a:cubicBezTo>
                <a:cubicBezTo>
                  <a:pt x="2757" y="307"/>
                  <a:pt x="2757" y="307"/>
                  <a:pt x="2757" y="307"/>
                </a:cubicBezTo>
                <a:cubicBezTo>
                  <a:pt x="2756" y="308"/>
                  <a:pt x="2756" y="308"/>
                  <a:pt x="2756" y="308"/>
                </a:cubicBezTo>
                <a:cubicBezTo>
                  <a:pt x="2756" y="310"/>
                  <a:pt x="2756" y="310"/>
                  <a:pt x="2756" y="310"/>
                </a:cubicBezTo>
                <a:cubicBezTo>
                  <a:pt x="2757" y="313"/>
                  <a:pt x="2757" y="313"/>
                  <a:pt x="2757" y="313"/>
                </a:cubicBezTo>
                <a:cubicBezTo>
                  <a:pt x="2758" y="312"/>
                  <a:pt x="2758" y="312"/>
                  <a:pt x="2758" y="312"/>
                </a:cubicBezTo>
                <a:cubicBezTo>
                  <a:pt x="2758" y="311"/>
                  <a:pt x="2758" y="311"/>
                  <a:pt x="2758" y="311"/>
                </a:cubicBezTo>
                <a:cubicBezTo>
                  <a:pt x="2759" y="311"/>
                  <a:pt x="2759" y="311"/>
                  <a:pt x="2759" y="311"/>
                </a:cubicBezTo>
                <a:cubicBezTo>
                  <a:pt x="2760" y="311"/>
                  <a:pt x="2760" y="311"/>
                  <a:pt x="2760" y="311"/>
                </a:cubicBezTo>
                <a:cubicBezTo>
                  <a:pt x="2761" y="312"/>
                  <a:pt x="2761" y="312"/>
                  <a:pt x="2761" y="312"/>
                </a:cubicBezTo>
                <a:cubicBezTo>
                  <a:pt x="2763" y="313"/>
                  <a:pt x="2763" y="313"/>
                  <a:pt x="2763" y="313"/>
                </a:cubicBezTo>
                <a:cubicBezTo>
                  <a:pt x="2764" y="312"/>
                  <a:pt x="2764" y="312"/>
                  <a:pt x="2764" y="312"/>
                </a:cubicBezTo>
                <a:cubicBezTo>
                  <a:pt x="2764" y="310"/>
                  <a:pt x="2764" y="310"/>
                  <a:pt x="2764" y="310"/>
                </a:cubicBezTo>
                <a:cubicBezTo>
                  <a:pt x="2764" y="309"/>
                  <a:pt x="2764" y="309"/>
                  <a:pt x="2764" y="309"/>
                </a:cubicBezTo>
                <a:cubicBezTo>
                  <a:pt x="2764" y="308"/>
                  <a:pt x="2764" y="308"/>
                  <a:pt x="2764" y="308"/>
                </a:cubicBezTo>
                <a:cubicBezTo>
                  <a:pt x="2765" y="307"/>
                  <a:pt x="2765" y="307"/>
                  <a:pt x="2765" y="307"/>
                </a:cubicBezTo>
                <a:cubicBezTo>
                  <a:pt x="2765" y="306"/>
                  <a:pt x="2765" y="306"/>
                  <a:pt x="2765" y="306"/>
                </a:cubicBezTo>
                <a:cubicBezTo>
                  <a:pt x="2764" y="306"/>
                  <a:pt x="2764" y="306"/>
                  <a:pt x="2764" y="306"/>
                </a:cubicBezTo>
                <a:cubicBezTo>
                  <a:pt x="2763" y="307"/>
                  <a:pt x="2763" y="307"/>
                  <a:pt x="2763" y="307"/>
                </a:cubicBezTo>
                <a:cubicBezTo>
                  <a:pt x="2762" y="308"/>
                  <a:pt x="2762" y="308"/>
                  <a:pt x="2762" y="308"/>
                </a:cubicBezTo>
                <a:cubicBezTo>
                  <a:pt x="2762" y="307"/>
                  <a:pt x="2762" y="307"/>
                  <a:pt x="2762" y="307"/>
                </a:cubicBezTo>
                <a:cubicBezTo>
                  <a:pt x="2763" y="306"/>
                  <a:pt x="2763" y="306"/>
                  <a:pt x="2763" y="306"/>
                </a:cubicBezTo>
                <a:lnTo>
                  <a:pt x="2763" y="305"/>
                </a:lnTo>
                <a:close/>
                <a:moveTo>
                  <a:pt x="2754" y="306"/>
                </a:moveTo>
                <a:cubicBezTo>
                  <a:pt x="2753" y="306"/>
                  <a:pt x="2753" y="306"/>
                  <a:pt x="2753" y="306"/>
                </a:cubicBezTo>
                <a:cubicBezTo>
                  <a:pt x="2752" y="307"/>
                  <a:pt x="2752" y="307"/>
                  <a:pt x="2752" y="307"/>
                </a:cubicBezTo>
                <a:cubicBezTo>
                  <a:pt x="2750" y="308"/>
                  <a:pt x="2750" y="308"/>
                  <a:pt x="2750" y="308"/>
                </a:cubicBezTo>
                <a:cubicBezTo>
                  <a:pt x="2750" y="310"/>
                  <a:pt x="2750" y="310"/>
                  <a:pt x="2750" y="310"/>
                </a:cubicBezTo>
                <a:cubicBezTo>
                  <a:pt x="2751" y="311"/>
                  <a:pt x="2751" y="311"/>
                  <a:pt x="2751" y="311"/>
                </a:cubicBezTo>
                <a:cubicBezTo>
                  <a:pt x="2751" y="311"/>
                  <a:pt x="2751" y="311"/>
                  <a:pt x="2751" y="311"/>
                </a:cubicBezTo>
                <a:cubicBezTo>
                  <a:pt x="2751" y="310"/>
                  <a:pt x="2751" y="310"/>
                  <a:pt x="2751" y="310"/>
                </a:cubicBezTo>
                <a:cubicBezTo>
                  <a:pt x="2752" y="309"/>
                  <a:pt x="2752" y="309"/>
                  <a:pt x="2752" y="309"/>
                </a:cubicBezTo>
                <a:cubicBezTo>
                  <a:pt x="2753" y="310"/>
                  <a:pt x="2753" y="310"/>
                  <a:pt x="2753" y="310"/>
                </a:cubicBezTo>
                <a:cubicBezTo>
                  <a:pt x="2754" y="310"/>
                  <a:pt x="2754" y="310"/>
                  <a:pt x="2754" y="310"/>
                </a:cubicBezTo>
                <a:cubicBezTo>
                  <a:pt x="2753" y="308"/>
                  <a:pt x="2753" y="308"/>
                  <a:pt x="2753" y="308"/>
                </a:cubicBezTo>
                <a:cubicBezTo>
                  <a:pt x="2754" y="307"/>
                  <a:pt x="2754" y="307"/>
                  <a:pt x="2754" y="307"/>
                </a:cubicBezTo>
                <a:lnTo>
                  <a:pt x="2754" y="306"/>
                </a:lnTo>
                <a:close/>
                <a:moveTo>
                  <a:pt x="2711" y="676"/>
                </a:moveTo>
                <a:cubicBezTo>
                  <a:pt x="2709" y="675"/>
                  <a:pt x="2709" y="675"/>
                  <a:pt x="2709" y="675"/>
                </a:cubicBezTo>
                <a:cubicBezTo>
                  <a:pt x="2708" y="676"/>
                  <a:pt x="2708" y="676"/>
                  <a:pt x="2708" y="676"/>
                </a:cubicBezTo>
                <a:cubicBezTo>
                  <a:pt x="2710" y="677"/>
                  <a:pt x="2710" y="677"/>
                  <a:pt x="2710" y="677"/>
                </a:cubicBezTo>
                <a:cubicBezTo>
                  <a:pt x="2712" y="677"/>
                  <a:pt x="2712" y="677"/>
                  <a:pt x="2712" y="677"/>
                </a:cubicBezTo>
                <a:cubicBezTo>
                  <a:pt x="2714" y="678"/>
                  <a:pt x="2714" y="678"/>
                  <a:pt x="2714" y="678"/>
                </a:cubicBezTo>
                <a:cubicBezTo>
                  <a:pt x="2714" y="676"/>
                  <a:pt x="2714" y="676"/>
                  <a:pt x="2714" y="676"/>
                </a:cubicBezTo>
                <a:cubicBezTo>
                  <a:pt x="2712" y="676"/>
                  <a:pt x="2712" y="676"/>
                  <a:pt x="2712" y="676"/>
                </a:cubicBezTo>
                <a:lnTo>
                  <a:pt x="2711" y="676"/>
                </a:lnTo>
                <a:close/>
                <a:moveTo>
                  <a:pt x="2564" y="930"/>
                </a:moveTo>
                <a:cubicBezTo>
                  <a:pt x="2565" y="930"/>
                  <a:pt x="2565" y="930"/>
                  <a:pt x="2565" y="930"/>
                </a:cubicBezTo>
                <a:cubicBezTo>
                  <a:pt x="2566" y="927"/>
                  <a:pt x="2566" y="927"/>
                  <a:pt x="2566" y="927"/>
                </a:cubicBezTo>
                <a:cubicBezTo>
                  <a:pt x="2565" y="926"/>
                  <a:pt x="2565" y="926"/>
                  <a:pt x="2565" y="926"/>
                </a:cubicBezTo>
                <a:cubicBezTo>
                  <a:pt x="2564" y="925"/>
                  <a:pt x="2564" y="925"/>
                  <a:pt x="2564" y="925"/>
                </a:cubicBezTo>
                <a:cubicBezTo>
                  <a:pt x="2563" y="926"/>
                  <a:pt x="2563" y="926"/>
                  <a:pt x="2563" y="926"/>
                </a:cubicBezTo>
                <a:cubicBezTo>
                  <a:pt x="2564" y="928"/>
                  <a:pt x="2564" y="928"/>
                  <a:pt x="2564" y="928"/>
                </a:cubicBezTo>
                <a:cubicBezTo>
                  <a:pt x="2563" y="929"/>
                  <a:pt x="2563" y="929"/>
                  <a:pt x="2563" y="929"/>
                </a:cubicBezTo>
                <a:lnTo>
                  <a:pt x="2564" y="930"/>
                </a:lnTo>
                <a:close/>
                <a:moveTo>
                  <a:pt x="2763" y="320"/>
                </a:moveTo>
                <a:cubicBezTo>
                  <a:pt x="2761" y="322"/>
                  <a:pt x="2761" y="322"/>
                  <a:pt x="2761" y="322"/>
                </a:cubicBezTo>
                <a:cubicBezTo>
                  <a:pt x="2761" y="323"/>
                  <a:pt x="2761" y="323"/>
                  <a:pt x="2761" y="323"/>
                </a:cubicBezTo>
                <a:cubicBezTo>
                  <a:pt x="2763" y="325"/>
                  <a:pt x="2763" y="325"/>
                  <a:pt x="2763" y="325"/>
                </a:cubicBezTo>
                <a:cubicBezTo>
                  <a:pt x="2764" y="323"/>
                  <a:pt x="2764" y="323"/>
                  <a:pt x="2764" y="323"/>
                </a:cubicBezTo>
                <a:cubicBezTo>
                  <a:pt x="2765" y="322"/>
                  <a:pt x="2765" y="322"/>
                  <a:pt x="2765" y="322"/>
                </a:cubicBezTo>
                <a:cubicBezTo>
                  <a:pt x="2766" y="321"/>
                  <a:pt x="2766" y="321"/>
                  <a:pt x="2766" y="321"/>
                </a:cubicBezTo>
                <a:cubicBezTo>
                  <a:pt x="2765" y="320"/>
                  <a:pt x="2765" y="320"/>
                  <a:pt x="2765" y="320"/>
                </a:cubicBezTo>
                <a:cubicBezTo>
                  <a:pt x="2766" y="319"/>
                  <a:pt x="2766" y="319"/>
                  <a:pt x="2766" y="319"/>
                </a:cubicBezTo>
                <a:lnTo>
                  <a:pt x="2763" y="320"/>
                </a:lnTo>
                <a:close/>
                <a:moveTo>
                  <a:pt x="1083" y="60"/>
                </a:moveTo>
                <a:cubicBezTo>
                  <a:pt x="1083" y="60"/>
                  <a:pt x="1083" y="60"/>
                  <a:pt x="1083" y="60"/>
                </a:cubicBezTo>
                <a:cubicBezTo>
                  <a:pt x="1084" y="60"/>
                  <a:pt x="1084" y="60"/>
                  <a:pt x="1084" y="60"/>
                </a:cubicBezTo>
                <a:cubicBezTo>
                  <a:pt x="1083" y="59"/>
                  <a:pt x="1083" y="59"/>
                  <a:pt x="1083" y="59"/>
                </a:cubicBezTo>
                <a:lnTo>
                  <a:pt x="1083" y="60"/>
                </a:lnTo>
                <a:close/>
                <a:moveTo>
                  <a:pt x="2762" y="315"/>
                </a:moveTo>
                <a:cubicBezTo>
                  <a:pt x="2762" y="316"/>
                  <a:pt x="2762" y="316"/>
                  <a:pt x="2762" y="316"/>
                </a:cubicBezTo>
                <a:cubicBezTo>
                  <a:pt x="2763" y="318"/>
                  <a:pt x="2763" y="318"/>
                  <a:pt x="2763" y="318"/>
                </a:cubicBezTo>
                <a:cubicBezTo>
                  <a:pt x="2764" y="317"/>
                  <a:pt x="2764" y="317"/>
                  <a:pt x="2764" y="317"/>
                </a:cubicBezTo>
                <a:cubicBezTo>
                  <a:pt x="2763" y="315"/>
                  <a:pt x="2763" y="315"/>
                  <a:pt x="2763" y="315"/>
                </a:cubicBezTo>
                <a:cubicBezTo>
                  <a:pt x="2763" y="315"/>
                  <a:pt x="2763" y="315"/>
                  <a:pt x="2763" y="315"/>
                </a:cubicBezTo>
                <a:lnTo>
                  <a:pt x="2762" y="315"/>
                </a:lnTo>
                <a:close/>
                <a:moveTo>
                  <a:pt x="2766" y="316"/>
                </a:moveTo>
                <a:cubicBezTo>
                  <a:pt x="2765" y="315"/>
                  <a:pt x="2765" y="315"/>
                  <a:pt x="2765" y="315"/>
                </a:cubicBezTo>
                <a:cubicBezTo>
                  <a:pt x="2765" y="316"/>
                  <a:pt x="2765" y="316"/>
                  <a:pt x="2765" y="316"/>
                </a:cubicBezTo>
                <a:cubicBezTo>
                  <a:pt x="2765" y="316"/>
                  <a:pt x="2765" y="316"/>
                  <a:pt x="2765" y="316"/>
                </a:cubicBezTo>
                <a:cubicBezTo>
                  <a:pt x="2764" y="318"/>
                  <a:pt x="2764" y="318"/>
                  <a:pt x="2764" y="318"/>
                </a:cubicBezTo>
                <a:cubicBezTo>
                  <a:pt x="2765" y="318"/>
                  <a:pt x="2765" y="318"/>
                  <a:pt x="2765" y="318"/>
                </a:cubicBezTo>
                <a:cubicBezTo>
                  <a:pt x="2766" y="317"/>
                  <a:pt x="2766" y="317"/>
                  <a:pt x="2766" y="317"/>
                </a:cubicBezTo>
                <a:lnTo>
                  <a:pt x="2766" y="316"/>
                </a:lnTo>
                <a:close/>
                <a:moveTo>
                  <a:pt x="1003" y="474"/>
                </a:moveTo>
                <a:cubicBezTo>
                  <a:pt x="1002" y="474"/>
                  <a:pt x="1002" y="474"/>
                  <a:pt x="1002" y="474"/>
                </a:cubicBezTo>
                <a:cubicBezTo>
                  <a:pt x="1001" y="474"/>
                  <a:pt x="1001" y="474"/>
                  <a:pt x="1001" y="474"/>
                </a:cubicBezTo>
                <a:cubicBezTo>
                  <a:pt x="1001" y="474"/>
                  <a:pt x="1001" y="474"/>
                  <a:pt x="1001" y="474"/>
                </a:cubicBezTo>
                <a:cubicBezTo>
                  <a:pt x="1000" y="475"/>
                  <a:pt x="1000" y="475"/>
                  <a:pt x="1000" y="475"/>
                </a:cubicBezTo>
                <a:cubicBezTo>
                  <a:pt x="999" y="474"/>
                  <a:pt x="999" y="474"/>
                  <a:pt x="999" y="474"/>
                </a:cubicBezTo>
                <a:cubicBezTo>
                  <a:pt x="998" y="475"/>
                  <a:pt x="998" y="475"/>
                  <a:pt x="998" y="475"/>
                </a:cubicBezTo>
                <a:cubicBezTo>
                  <a:pt x="997" y="477"/>
                  <a:pt x="997" y="477"/>
                  <a:pt x="997" y="477"/>
                </a:cubicBezTo>
                <a:cubicBezTo>
                  <a:pt x="996" y="478"/>
                  <a:pt x="996" y="478"/>
                  <a:pt x="996" y="478"/>
                </a:cubicBezTo>
                <a:cubicBezTo>
                  <a:pt x="997" y="477"/>
                  <a:pt x="997" y="477"/>
                  <a:pt x="997" y="477"/>
                </a:cubicBezTo>
                <a:cubicBezTo>
                  <a:pt x="997" y="474"/>
                  <a:pt x="997" y="474"/>
                  <a:pt x="997" y="474"/>
                </a:cubicBezTo>
                <a:cubicBezTo>
                  <a:pt x="999" y="472"/>
                  <a:pt x="999" y="472"/>
                  <a:pt x="999" y="472"/>
                </a:cubicBezTo>
                <a:cubicBezTo>
                  <a:pt x="998" y="472"/>
                  <a:pt x="998" y="472"/>
                  <a:pt x="998" y="472"/>
                </a:cubicBezTo>
                <a:cubicBezTo>
                  <a:pt x="997" y="473"/>
                  <a:pt x="997" y="473"/>
                  <a:pt x="997" y="473"/>
                </a:cubicBezTo>
                <a:cubicBezTo>
                  <a:pt x="997" y="474"/>
                  <a:pt x="997" y="474"/>
                  <a:pt x="997" y="474"/>
                </a:cubicBezTo>
                <a:cubicBezTo>
                  <a:pt x="995" y="475"/>
                  <a:pt x="995" y="475"/>
                  <a:pt x="995" y="475"/>
                </a:cubicBezTo>
                <a:cubicBezTo>
                  <a:pt x="995" y="474"/>
                  <a:pt x="995" y="474"/>
                  <a:pt x="995" y="474"/>
                </a:cubicBezTo>
                <a:cubicBezTo>
                  <a:pt x="996" y="473"/>
                  <a:pt x="996" y="473"/>
                  <a:pt x="996" y="473"/>
                </a:cubicBezTo>
                <a:cubicBezTo>
                  <a:pt x="996" y="472"/>
                  <a:pt x="996" y="472"/>
                  <a:pt x="996" y="472"/>
                </a:cubicBezTo>
                <a:cubicBezTo>
                  <a:pt x="996" y="472"/>
                  <a:pt x="996" y="472"/>
                  <a:pt x="996" y="472"/>
                </a:cubicBezTo>
                <a:cubicBezTo>
                  <a:pt x="995" y="472"/>
                  <a:pt x="995" y="472"/>
                  <a:pt x="995" y="472"/>
                </a:cubicBezTo>
                <a:cubicBezTo>
                  <a:pt x="993" y="474"/>
                  <a:pt x="993" y="474"/>
                  <a:pt x="993" y="474"/>
                </a:cubicBezTo>
                <a:cubicBezTo>
                  <a:pt x="992" y="474"/>
                  <a:pt x="992" y="474"/>
                  <a:pt x="992" y="474"/>
                </a:cubicBezTo>
                <a:cubicBezTo>
                  <a:pt x="992" y="472"/>
                  <a:pt x="992" y="472"/>
                  <a:pt x="992" y="472"/>
                </a:cubicBezTo>
                <a:cubicBezTo>
                  <a:pt x="991" y="472"/>
                  <a:pt x="991" y="472"/>
                  <a:pt x="991" y="472"/>
                </a:cubicBezTo>
                <a:cubicBezTo>
                  <a:pt x="990" y="473"/>
                  <a:pt x="990" y="473"/>
                  <a:pt x="990" y="473"/>
                </a:cubicBezTo>
                <a:cubicBezTo>
                  <a:pt x="989" y="473"/>
                  <a:pt x="989" y="473"/>
                  <a:pt x="989" y="473"/>
                </a:cubicBezTo>
                <a:cubicBezTo>
                  <a:pt x="989" y="472"/>
                  <a:pt x="989" y="472"/>
                  <a:pt x="989" y="472"/>
                </a:cubicBezTo>
                <a:cubicBezTo>
                  <a:pt x="990" y="471"/>
                  <a:pt x="990" y="471"/>
                  <a:pt x="990" y="471"/>
                </a:cubicBezTo>
                <a:cubicBezTo>
                  <a:pt x="992" y="470"/>
                  <a:pt x="992" y="470"/>
                  <a:pt x="992" y="470"/>
                </a:cubicBezTo>
                <a:cubicBezTo>
                  <a:pt x="992" y="468"/>
                  <a:pt x="992" y="468"/>
                  <a:pt x="992" y="468"/>
                </a:cubicBezTo>
                <a:cubicBezTo>
                  <a:pt x="991" y="468"/>
                  <a:pt x="991" y="468"/>
                  <a:pt x="991" y="468"/>
                </a:cubicBezTo>
                <a:cubicBezTo>
                  <a:pt x="991" y="469"/>
                  <a:pt x="991" y="469"/>
                  <a:pt x="991" y="469"/>
                </a:cubicBezTo>
                <a:cubicBezTo>
                  <a:pt x="989" y="470"/>
                  <a:pt x="989" y="470"/>
                  <a:pt x="989" y="470"/>
                </a:cubicBezTo>
                <a:cubicBezTo>
                  <a:pt x="990" y="468"/>
                  <a:pt x="990" y="468"/>
                  <a:pt x="990" y="468"/>
                </a:cubicBezTo>
                <a:cubicBezTo>
                  <a:pt x="991" y="467"/>
                  <a:pt x="991" y="467"/>
                  <a:pt x="991" y="467"/>
                </a:cubicBezTo>
                <a:cubicBezTo>
                  <a:pt x="993" y="467"/>
                  <a:pt x="993" y="467"/>
                  <a:pt x="993" y="467"/>
                </a:cubicBezTo>
                <a:cubicBezTo>
                  <a:pt x="994" y="467"/>
                  <a:pt x="994" y="467"/>
                  <a:pt x="994" y="467"/>
                </a:cubicBezTo>
                <a:cubicBezTo>
                  <a:pt x="995" y="466"/>
                  <a:pt x="995" y="466"/>
                  <a:pt x="995" y="466"/>
                </a:cubicBezTo>
                <a:cubicBezTo>
                  <a:pt x="996" y="465"/>
                  <a:pt x="996" y="465"/>
                  <a:pt x="996" y="465"/>
                </a:cubicBezTo>
                <a:cubicBezTo>
                  <a:pt x="996" y="464"/>
                  <a:pt x="996" y="464"/>
                  <a:pt x="996" y="464"/>
                </a:cubicBezTo>
                <a:cubicBezTo>
                  <a:pt x="996" y="465"/>
                  <a:pt x="996" y="465"/>
                  <a:pt x="996" y="465"/>
                </a:cubicBezTo>
                <a:cubicBezTo>
                  <a:pt x="994" y="465"/>
                  <a:pt x="994" y="465"/>
                  <a:pt x="994" y="465"/>
                </a:cubicBezTo>
                <a:cubicBezTo>
                  <a:pt x="993" y="465"/>
                  <a:pt x="993" y="465"/>
                  <a:pt x="993" y="465"/>
                </a:cubicBezTo>
                <a:cubicBezTo>
                  <a:pt x="991" y="464"/>
                  <a:pt x="991" y="464"/>
                  <a:pt x="991" y="464"/>
                </a:cubicBezTo>
                <a:cubicBezTo>
                  <a:pt x="991" y="464"/>
                  <a:pt x="991" y="464"/>
                  <a:pt x="991" y="464"/>
                </a:cubicBezTo>
                <a:cubicBezTo>
                  <a:pt x="990" y="464"/>
                  <a:pt x="990" y="464"/>
                  <a:pt x="990" y="464"/>
                </a:cubicBezTo>
                <a:cubicBezTo>
                  <a:pt x="991" y="463"/>
                  <a:pt x="991" y="463"/>
                  <a:pt x="991" y="463"/>
                </a:cubicBezTo>
                <a:cubicBezTo>
                  <a:pt x="991" y="462"/>
                  <a:pt x="991" y="462"/>
                  <a:pt x="991" y="462"/>
                </a:cubicBezTo>
                <a:cubicBezTo>
                  <a:pt x="991" y="462"/>
                  <a:pt x="991" y="462"/>
                  <a:pt x="991" y="462"/>
                </a:cubicBezTo>
                <a:cubicBezTo>
                  <a:pt x="990" y="462"/>
                  <a:pt x="990" y="462"/>
                  <a:pt x="990" y="462"/>
                </a:cubicBezTo>
                <a:cubicBezTo>
                  <a:pt x="989" y="463"/>
                  <a:pt x="989" y="463"/>
                  <a:pt x="989" y="463"/>
                </a:cubicBezTo>
                <a:cubicBezTo>
                  <a:pt x="988" y="464"/>
                  <a:pt x="988" y="464"/>
                  <a:pt x="988" y="464"/>
                </a:cubicBezTo>
                <a:cubicBezTo>
                  <a:pt x="987" y="466"/>
                  <a:pt x="987" y="466"/>
                  <a:pt x="987" y="466"/>
                </a:cubicBezTo>
                <a:cubicBezTo>
                  <a:pt x="986" y="466"/>
                  <a:pt x="986" y="466"/>
                  <a:pt x="986" y="466"/>
                </a:cubicBezTo>
                <a:cubicBezTo>
                  <a:pt x="985" y="467"/>
                  <a:pt x="985" y="467"/>
                  <a:pt x="985" y="467"/>
                </a:cubicBezTo>
                <a:cubicBezTo>
                  <a:pt x="984" y="468"/>
                  <a:pt x="984" y="468"/>
                  <a:pt x="984" y="468"/>
                </a:cubicBezTo>
                <a:cubicBezTo>
                  <a:pt x="983" y="469"/>
                  <a:pt x="983" y="469"/>
                  <a:pt x="983" y="469"/>
                </a:cubicBezTo>
                <a:cubicBezTo>
                  <a:pt x="983" y="468"/>
                  <a:pt x="983" y="468"/>
                  <a:pt x="983" y="468"/>
                </a:cubicBezTo>
                <a:cubicBezTo>
                  <a:pt x="983" y="467"/>
                  <a:pt x="983" y="467"/>
                  <a:pt x="983" y="467"/>
                </a:cubicBezTo>
                <a:cubicBezTo>
                  <a:pt x="984" y="465"/>
                  <a:pt x="984" y="465"/>
                  <a:pt x="984" y="465"/>
                </a:cubicBezTo>
                <a:cubicBezTo>
                  <a:pt x="984" y="464"/>
                  <a:pt x="984" y="464"/>
                  <a:pt x="984" y="464"/>
                </a:cubicBezTo>
                <a:cubicBezTo>
                  <a:pt x="985" y="462"/>
                  <a:pt x="985" y="462"/>
                  <a:pt x="985" y="462"/>
                </a:cubicBezTo>
                <a:cubicBezTo>
                  <a:pt x="986" y="461"/>
                  <a:pt x="986" y="461"/>
                  <a:pt x="986" y="461"/>
                </a:cubicBezTo>
                <a:cubicBezTo>
                  <a:pt x="986" y="460"/>
                  <a:pt x="986" y="460"/>
                  <a:pt x="986" y="460"/>
                </a:cubicBezTo>
                <a:cubicBezTo>
                  <a:pt x="987" y="459"/>
                  <a:pt x="987" y="459"/>
                  <a:pt x="987" y="459"/>
                </a:cubicBezTo>
                <a:cubicBezTo>
                  <a:pt x="988" y="459"/>
                  <a:pt x="988" y="459"/>
                  <a:pt x="988" y="459"/>
                </a:cubicBezTo>
                <a:cubicBezTo>
                  <a:pt x="989" y="457"/>
                  <a:pt x="989" y="457"/>
                  <a:pt x="989" y="457"/>
                </a:cubicBezTo>
                <a:cubicBezTo>
                  <a:pt x="990" y="456"/>
                  <a:pt x="990" y="456"/>
                  <a:pt x="990" y="456"/>
                </a:cubicBezTo>
                <a:cubicBezTo>
                  <a:pt x="991" y="455"/>
                  <a:pt x="991" y="455"/>
                  <a:pt x="991" y="455"/>
                </a:cubicBezTo>
                <a:cubicBezTo>
                  <a:pt x="992" y="455"/>
                  <a:pt x="992" y="455"/>
                  <a:pt x="992" y="455"/>
                </a:cubicBezTo>
                <a:cubicBezTo>
                  <a:pt x="992" y="454"/>
                  <a:pt x="992" y="454"/>
                  <a:pt x="992" y="454"/>
                </a:cubicBezTo>
                <a:cubicBezTo>
                  <a:pt x="992" y="453"/>
                  <a:pt x="992" y="453"/>
                  <a:pt x="992" y="453"/>
                </a:cubicBezTo>
                <a:cubicBezTo>
                  <a:pt x="992" y="452"/>
                  <a:pt x="992" y="452"/>
                  <a:pt x="992" y="452"/>
                </a:cubicBezTo>
                <a:cubicBezTo>
                  <a:pt x="993" y="451"/>
                  <a:pt x="993" y="451"/>
                  <a:pt x="993" y="451"/>
                </a:cubicBezTo>
                <a:cubicBezTo>
                  <a:pt x="993" y="452"/>
                  <a:pt x="993" y="452"/>
                  <a:pt x="993" y="452"/>
                </a:cubicBezTo>
                <a:cubicBezTo>
                  <a:pt x="993" y="453"/>
                  <a:pt x="993" y="453"/>
                  <a:pt x="993" y="453"/>
                </a:cubicBezTo>
                <a:cubicBezTo>
                  <a:pt x="993" y="454"/>
                  <a:pt x="993" y="454"/>
                  <a:pt x="993" y="454"/>
                </a:cubicBezTo>
                <a:cubicBezTo>
                  <a:pt x="994" y="452"/>
                  <a:pt x="994" y="452"/>
                  <a:pt x="994" y="452"/>
                </a:cubicBezTo>
                <a:cubicBezTo>
                  <a:pt x="996" y="450"/>
                  <a:pt x="996" y="450"/>
                  <a:pt x="996" y="450"/>
                </a:cubicBezTo>
                <a:cubicBezTo>
                  <a:pt x="997" y="449"/>
                  <a:pt x="997" y="449"/>
                  <a:pt x="997" y="449"/>
                </a:cubicBezTo>
                <a:cubicBezTo>
                  <a:pt x="996" y="448"/>
                  <a:pt x="996" y="448"/>
                  <a:pt x="996" y="448"/>
                </a:cubicBezTo>
                <a:cubicBezTo>
                  <a:pt x="995" y="448"/>
                  <a:pt x="995" y="448"/>
                  <a:pt x="995" y="448"/>
                </a:cubicBezTo>
                <a:cubicBezTo>
                  <a:pt x="995" y="449"/>
                  <a:pt x="995" y="449"/>
                  <a:pt x="995" y="449"/>
                </a:cubicBezTo>
                <a:cubicBezTo>
                  <a:pt x="994" y="447"/>
                  <a:pt x="994" y="447"/>
                  <a:pt x="994" y="447"/>
                </a:cubicBezTo>
                <a:cubicBezTo>
                  <a:pt x="994" y="447"/>
                  <a:pt x="994" y="447"/>
                  <a:pt x="994" y="447"/>
                </a:cubicBezTo>
                <a:cubicBezTo>
                  <a:pt x="994" y="446"/>
                  <a:pt x="994" y="446"/>
                  <a:pt x="994" y="446"/>
                </a:cubicBezTo>
                <a:cubicBezTo>
                  <a:pt x="995" y="446"/>
                  <a:pt x="995" y="446"/>
                  <a:pt x="995" y="446"/>
                </a:cubicBezTo>
                <a:cubicBezTo>
                  <a:pt x="997" y="446"/>
                  <a:pt x="997" y="446"/>
                  <a:pt x="997" y="446"/>
                </a:cubicBezTo>
                <a:cubicBezTo>
                  <a:pt x="998" y="447"/>
                  <a:pt x="998" y="447"/>
                  <a:pt x="998" y="447"/>
                </a:cubicBezTo>
                <a:cubicBezTo>
                  <a:pt x="999" y="446"/>
                  <a:pt x="999" y="446"/>
                  <a:pt x="999" y="446"/>
                </a:cubicBezTo>
                <a:cubicBezTo>
                  <a:pt x="1000" y="445"/>
                  <a:pt x="1000" y="445"/>
                  <a:pt x="1000" y="445"/>
                </a:cubicBezTo>
                <a:cubicBezTo>
                  <a:pt x="1000" y="443"/>
                  <a:pt x="1000" y="443"/>
                  <a:pt x="1000" y="443"/>
                </a:cubicBezTo>
                <a:cubicBezTo>
                  <a:pt x="998" y="443"/>
                  <a:pt x="998" y="443"/>
                  <a:pt x="998" y="443"/>
                </a:cubicBezTo>
                <a:cubicBezTo>
                  <a:pt x="997" y="443"/>
                  <a:pt x="997" y="443"/>
                  <a:pt x="997" y="443"/>
                </a:cubicBezTo>
                <a:cubicBezTo>
                  <a:pt x="997" y="444"/>
                  <a:pt x="997" y="444"/>
                  <a:pt x="997" y="444"/>
                </a:cubicBezTo>
                <a:cubicBezTo>
                  <a:pt x="996" y="444"/>
                  <a:pt x="996" y="444"/>
                  <a:pt x="996" y="444"/>
                </a:cubicBezTo>
                <a:cubicBezTo>
                  <a:pt x="996" y="443"/>
                  <a:pt x="996" y="443"/>
                  <a:pt x="996" y="443"/>
                </a:cubicBezTo>
                <a:cubicBezTo>
                  <a:pt x="996" y="442"/>
                  <a:pt x="996" y="442"/>
                  <a:pt x="996" y="442"/>
                </a:cubicBezTo>
                <a:cubicBezTo>
                  <a:pt x="995" y="443"/>
                  <a:pt x="995" y="443"/>
                  <a:pt x="995" y="443"/>
                </a:cubicBezTo>
                <a:cubicBezTo>
                  <a:pt x="994" y="444"/>
                  <a:pt x="994" y="444"/>
                  <a:pt x="994" y="444"/>
                </a:cubicBezTo>
                <a:cubicBezTo>
                  <a:pt x="993" y="444"/>
                  <a:pt x="993" y="444"/>
                  <a:pt x="993" y="444"/>
                </a:cubicBezTo>
                <a:cubicBezTo>
                  <a:pt x="992" y="445"/>
                  <a:pt x="992" y="445"/>
                  <a:pt x="992" y="445"/>
                </a:cubicBezTo>
                <a:cubicBezTo>
                  <a:pt x="991" y="446"/>
                  <a:pt x="991" y="446"/>
                  <a:pt x="991" y="446"/>
                </a:cubicBezTo>
                <a:cubicBezTo>
                  <a:pt x="990" y="446"/>
                  <a:pt x="990" y="446"/>
                  <a:pt x="990" y="446"/>
                </a:cubicBezTo>
                <a:cubicBezTo>
                  <a:pt x="988" y="447"/>
                  <a:pt x="988" y="447"/>
                  <a:pt x="988" y="447"/>
                </a:cubicBezTo>
                <a:cubicBezTo>
                  <a:pt x="986" y="448"/>
                  <a:pt x="986" y="448"/>
                  <a:pt x="986" y="448"/>
                </a:cubicBezTo>
                <a:cubicBezTo>
                  <a:pt x="986" y="450"/>
                  <a:pt x="986" y="450"/>
                  <a:pt x="986" y="450"/>
                </a:cubicBezTo>
                <a:cubicBezTo>
                  <a:pt x="985" y="450"/>
                  <a:pt x="985" y="450"/>
                  <a:pt x="985" y="450"/>
                </a:cubicBezTo>
                <a:cubicBezTo>
                  <a:pt x="984" y="450"/>
                  <a:pt x="984" y="450"/>
                  <a:pt x="984" y="450"/>
                </a:cubicBezTo>
                <a:cubicBezTo>
                  <a:pt x="984" y="450"/>
                  <a:pt x="984" y="450"/>
                  <a:pt x="984" y="450"/>
                </a:cubicBezTo>
                <a:cubicBezTo>
                  <a:pt x="985" y="451"/>
                  <a:pt x="985" y="451"/>
                  <a:pt x="985" y="451"/>
                </a:cubicBezTo>
                <a:cubicBezTo>
                  <a:pt x="985" y="452"/>
                  <a:pt x="985" y="452"/>
                  <a:pt x="985" y="452"/>
                </a:cubicBezTo>
                <a:cubicBezTo>
                  <a:pt x="984" y="453"/>
                  <a:pt x="984" y="453"/>
                  <a:pt x="984" y="453"/>
                </a:cubicBezTo>
                <a:cubicBezTo>
                  <a:pt x="982" y="454"/>
                  <a:pt x="982" y="454"/>
                  <a:pt x="982" y="454"/>
                </a:cubicBezTo>
                <a:cubicBezTo>
                  <a:pt x="981" y="455"/>
                  <a:pt x="981" y="455"/>
                  <a:pt x="981" y="455"/>
                </a:cubicBezTo>
                <a:cubicBezTo>
                  <a:pt x="981" y="455"/>
                  <a:pt x="981" y="455"/>
                  <a:pt x="981" y="455"/>
                </a:cubicBezTo>
                <a:cubicBezTo>
                  <a:pt x="981" y="456"/>
                  <a:pt x="981" y="456"/>
                  <a:pt x="981" y="456"/>
                </a:cubicBezTo>
                <a:cubicBezTo>
                  <a:pt x="980" y="456"/>
                  <a:pt x="980" y="456"/>
                  <a:pt x="980" y="456"/>
                </a:cubicBezTo>
                <a:cubicBezTo>
                  <a:pt x="980" y="457"/>
                  <a:pt x="980" y="457"/>
                  <a:pt x="980" y="457"/>
                </a:cubicBezTo>
                <a:cubicBezTo>
                  <a:pt x="981" y="457"/>
                  <a:pt x="981" y="457"/>
                  <a:pt x="981" y="457"/>
                </a:cubicBezTo>
                <a:cubicBezTo>
                  <a:pt x="980" y="458"/>
                  <a:pt x="980" y="458"/>
                  <a:pt x="980" y="458"/>
                </a:cubicBezTo>
                <a:cubicBezTo>
                  <a:pt x="979" y="458"/>
                  <a:pt x="979" y="458"/>
                  <a:pt x="979" y="458"/>
                </a:cubicBezTo>
                <a:cubicBezTo>
                  <a:pt x="978" y="460"/>
                  <a:pt x="978" y="460"/>
                  <a:pt x="978" y="460"/>
                </a:cubicBezTo>
                <a:cubicBezTo>
                  <a:pt x="977" y="460"/>
                  <a:pt x="977" y="460"/>
                  <a:pt x="977" y="460"/>
                </a:cubicBezTo>
                <a:cubicBezTo>
                  <a:pt x="978" y="460"/>
                  <a:pt x="978" y="460"/>
                  <a:pt x="978" y="460"/>
                </a:cubicBezTo>
                <a:cubicBezTo>
                  <a:pt x="979" y="461"/>
                  <a:pt x="979" y="461"/>
                  <a:pt x="979" y="461"/>
                </a:cubicBezTo>
                <a:cubicBezTo>
                  <a:pt x="978" y="461"/>
                  <a:pt x="978" y="461"/>
                  <a:pt x="978" y="461"/>
                </a:cubicBezTo>
                <a:cubicBezTo>
                  <a:pt x="976" y="461"/>
                  <a:pt x="976" y="461"/>
                  <a:pt x="976" y="461"/>
                </a:cubicBezTo>
                <a:cubicBezTo>
                  <a:pt x="975" y="463"/>
                  <a:pt x="975" y="463"/>
                  <a:pt x="975" y="463"/>
                </a:cubicBezTo>
                <a:cubicBezTo>
                  <a:pt x="975" y="464"/>
                  <a:pt x="975" y="464"/>
                  <a:pt x="975" y="464"/>
                </a:cubicBezTo>
                <a:cubicBezTo>
                  <a:pt x="973" y="467"/>
                  <a:pt x="973" y="467"/>
                  <a:pt x="973" y="467"/>
                </a:cubicBezTo>
                <a:cubicBezTo>
                  <a:pt x="973" y="468"/>
                  <a:pt x="973" y="468"/>
                  <a:pt x="973" y="468"/>
                </a:cubicBezTo>
                <a:cubicBezTo>
                  <a:pt x="974" y="469"/>
                  <a:pt x="974" y="469"/>
                  <a:pt x="974" y="469"/>
                </a:cubicBezTo>
                <a:cubicBezTo>
                  <a:pt x="974" y="470"/>
                  <a:pt x="974" y="470"/>
                  <a:pt x="974" y="470"/>
                </a:cubicBezTo>
                <a:cubicBezTo>
                  <a:pt x="973" y="470"/>
                  <a:pt x="973" y="470"/>
                  <a:pt x="973" y="470"/>
                </a:cubicBezTo>
                <a:cubicBezTo>
                  <a:pt x="973" y="470"/>
                  <a:pt x="973" y="470"/>
                  <a:pt x="973" y="470"/>
                </a:cubicBezTo>
                <a:cubicBezTo>
                  <a:pt x="972" y="470"/>
                  <a:pt x="972" y="470"/>
                  <a:pt x="972" y="470"/>
                </a:cubicBezTo>
                <a:cubicBezTo>
                  <a:pt x="970" y="471"/>
                  <a:pt x="970" y="471"/>
                  <a:pt x="970" y="471"/>
                </a:cubicBezTo>
                <a:cubicBezTo>
                  <a:pt x="969" y="472"/>
                  <a:pt x="969" y="472"/>
                  <a:pt x="969" y="472"/>
                </a:cubicBezTo>
                <a:cubicBezTo>
                  <a:pt x="970" y="473"/>
                  <a:pt x="970" y="473"/>
                  <a:pt x="970" y="473"/>
                </a:cubicBezTo>
                <a:cubicBezTo>
                  <a:pt x="971" y="473"/>
                  <a:pt x="971" y="473"/>
                  <a:pt x="971" y="473"/>
                </a:cubicBezTo>
                <a:cubicBezTo>
                  <a:pt x="971" y="474"/>
                  <a:pt x="971" y="474"/>
                  <a:pt x="971" y="474"/>
                </a:cubicBezTo>
                <a:cubicBezTo>
                  <a:pt x="971" y="474"/>
                  <a:pt x="971" y="474"/>
                  <a:pt x="971" y="474"/>
                </a:cubicBezTo>
                <a:cubicBezTo>
                  <a:pt x="970" y="475"/>
                  <a:pt x="970" y="475"/>
                  <a:pt x="970" y="475"/>
                </a:cubicBezTo>
                <a:cubicBezTo>
                  <a:pt x="969" y="476"/>
                  <a:pt x="969" y="476"/>
                  <a:pt x="969" y="476"/>
                </a:cubicBezTo>
                <a:cubicBezTo>
                  <a:pt x="967" y="476"/>
                  <a:pt x="967" y="476"/>
                  <a:pt x="967" y="476"/>
                </a:cubicBezTo>
                <a:cubicBezTo>
                  <a:pt x="967" y="476"/>
                  <a:pt x="967" y="476"/>
                  <a:pt x="967" y="476"/>
                </a:cubicBezTo>
                <a:cubicBezTo>
                  <a:pt x="967" y="477"/>
                  <a:pt x="967" y="477"/>
                  <a:pt x="967" y="477"/>
                </a:cubicBezTo>
                <a:cubicBezTo>
                  <a:pt x="965" y="478"/>
                  <a:pt x="965" y="478"/>
                  <a:pt x="965" y="478"/>
                </a:cubicBezTo>
                <a:cubicBezTo>
                  <a:pt x="964" y="480"/>
                  <a:pt x="964" y="480"/>
                  <a:pt x="964" y="480"/>
                </a:cubicBezTo>
                <a:cubicBezTo>
                  <a:pt x="963" y="482"/>
                  <a:pt x="963" y="482"/>
                  <a:pt x="963" y="482"/>
                </a:cubicBezTo>
                <a:cubicBezTo>
                  <a:pt x="963" y="482"/>
                  <a:pt x="963" y="482"/>
                  <a:pt x="963" y="482"/>
                </a:cubicBezTo>
                <a:cubicBezTo>
                  <a:pt x="963" y="480"/>
                  <a:pt x="963" y="480"/>
                  <a:pt x="963" y="480"/>
                </a:cubicBezTo>
                <a:cubicBezTo>
                  <a:pt x="962" y="482"/>
                  <a:pt x="962" y="482"/>
                  <a:pt x="962" y="482"/>
                </a:cubicBezTo>
                <a:cubicBezTo>
                  <a:pt x="961" y="480"/>
                  <a:pt x="961" y="480"/>
                  <a:pt x="961" y="480"/>
                </a:cubicBezTo>
                <a:cubicBezTo>
                  <a:pt x="962" y="480"/>
                  <a:pt x="962" y="480"/>
                  <a:pt x="962" y="480"/>
                </a:cubicBezTo>
                <a:cubicBezTo>
                  <a:pt x="963" y="479"/>
                  <a:pt x="963" y="479"/>
                  <a:pt x="963" y="479"/>
                </a:cubicBezTo>
                <a:cubicBezTo>
                  <a:pt x="963" y="478"/>
                  <a:pt x="963" y="478"/>
                  <a:pt x="963" y="478"/>
                </a:cubicBezTo>
                <a:cubicBezTo>
                  <a:pt x="963" y="478"/>
                  <a:pt x="963" y="478"/>
                  <a:pt x="963" y="478"/>
                </a:cubicBezTo>
                <a:cubicBezTo>
                  <a:pt x="961" y="479"/>
                  <a:pt x="961" y="479"/>
                  <a:pt x="961" y="479"/>
                </a:cubicBezTo>
                <a:cubicBezTo>
                  <a:pt x="959" y="481"/>
                  <a:pt x="959" y="481"/>
                  <a:pt x="959" y="481"/>
                </a:cubicBezTo>
                <a:cubicBezTo>
                  <a:pt x="958" y="483"/>
                  <a:pt x="958" y="483"/>
                  <a:pt x="958" y="483"/>
                </a:cubicBezTo>
                <a:cubicBezTo>
                  <a:pt x="959" y="483"/>
                  <a:pt x="959" y="483"/>
                  <a:pt x="959" y="483"/>
                </a:cubicBezTo>
                <a:cubicBezTo>
                  <a:pt x="960" y="483"/>
                  <a:pt x="960" y="483"/>
                  <a:pt x="960" y="483"/>
                </a:cubicBezTo>
                <a:cubicBezTo>
                  <a:pt x="963" y="482"/>
                  <a:pt x="963" y="482"/>
                  <a:pt x="963" y="482"/>
                </a:cubicBezTo>
                <a:cubicBezTo>
                  <a:pt x="965" y="482"/>
                  <a:pt x="965" y="482"/>
                  <a:pt x="965" y="482"/>
                </a:cubicBezTo>
                <a:cubicBezTo>
                  <a:pt x="964" y="484"/>
                  <a:pt x="964" y="484"/>
                  <a:pt x="964" y="484"/>
                </a:cubicBezTo>
                <a:cubicBezTo>
                  <a:pt x="962" y="486"/>
                  <a:pt x="962" y="486"/>
                  <a:pt x="962" y="486"/>
                </a:cubicBezTo>
                <a:cubicBezTo>
                  <a:pt x="961" y="488"/>
                  <a:pt x="961" y="488"/>
                  <a:pt x="961" y="488"/>
                </a:cubicBezTo>
                <a:cubicBezTo>
                  <a:pt x="958" y="489"/>
                  <a:pt x="958" y="489"/>
                  <a:pt x="958" y="489"/>
                </a:cubicBezTo>
                <a:cubicBezTo>
                  <a:pt x="957" y="491"/>
                  <a:pt x="957" y="491"/>
                  <a:pt x="957" y="491"/>
                </a:cubicBezTo>
                <a:cubicBezTo>
                  <a:pt x="955" y="491"/>
                  <a:pt x="955" y="491"/>
                  <a:pt x="955" y="491"/>
                </a:cubicBezTo>
                <a:cubicBezTo>
                  <a:pt x="955" y="492"/>
                  <a:pt x="955" y="492"/>
                  <a:pt x="955" y="492"/>
                </a:cubicBezTo>
                <a:cubicBezTo>
                  <a:pt x="955" y="493"/>
                  <a:pt x="955" y="493"/>
                  <a:pt x="955" y="493"/>
                </a:cubicBezTo>
                <a:cubicBezTo>
                  <a:pt x="955" y="494"/>
                  <a:pt x="955" y="494"/>
                  <a:pt x="955" y="494"/>
                </a:cubicBezTo>
                <a:cubicBezTo>
                  <a:pt x="955" y="495"/>
                  <a:pt x="955" y="495"/>
                  <a:pt x="955" y="495"/>
                </a:cubicBezTo>
                <a:cubicBezTo>
                  <a:pt x="956" y="495"/>
                  <a:pt x="956" y="495"/>
                  <a:pt x="956" y="495"/>
                </a:cubicBezTo>
                <a:cubicBezTo>
                  <a:pt x="958" y="496"/>
                  <a:pt x="958" y="496"/>
                  <a:pt x="958" y="496"/>
                </a:cubicBezTo>
                <a:cubicBezTo>
                  <a:pt x="961" y="496"/>
                  <a:pt x="961" y="496"/>
                  <a:pt x="961" y="496"/>
                </a:cubicBezTo>
                <a:cubicBezTo>
                  <a:pt x="962" y="495"/>
                  <a:pt x="962" y="495"/>
                  <a:pt x="962" y="495"/>
                </a:cubicBezTo>
                <a:cubicBezTo>
                  <a:pt x="964" y="494"/>
                  <a:pt x="964" y="494"/>
                  <a:pt x="964" y="494"/>
                </a:cubicBezTo>
                <a:cubicBezTo>
                  <a:pt x="965" y="493"/>
                  <a:pt x="965" y="493"/>
                  <a:pt x="965" y="493"/>
                </a:cubicBezTo>
                <a:cubicBezTo>
                  <a:pt x="965" y="492"/>
                  <a:pt x="965" y="492"/>
                  <a:pt x="965" y="492"/>
                </a:cubicBezTo>
                <a:cubicBezTo>
                  <a:pt x="966" y="493"/>
                  <a:pt x="966" y="493"/>
                  <a:pt x="966" y="493"/>
                </a:cubicBezTo>
                <a:cubicBezTo>
                  <a:pt x="965" y="494"/>
                  <a:pt x="965" y="494"/>
                  <a:pt x="965" y="494"/>
                </a:cubicBezTo>
                <a:cubicBezTo>
                  <a:pt x="967" y="495"/>
                  <a:pt x="967" y="495"/>
                  <a:pt x="967" y="495"/>
                </a:cubicBezTo>
                <a:cubicBezTo>
                  <a:pt x="968" y="494"/>
                  <a:pt x="968" y="494"/>
                  <a:pt x="968" y="494"/>
                </a:cubicBezTo>
                <a:cubicBezTo>
                  <a:pt x="969" y="495"/>
                  <a:pt x="969" y="495"/>
                  <a:pt x="969" y="495"/>
                </a:cubicBezTo>
                <a:cubicBezTo>
                  <a:pt x="972" y="495"/>
                  <a:pt x="972" y="495"/>
                  <a:pt x="972" y="495"/>
                </a:cubicBezTo>
                <a:cubicBezTo>
                  <a:pt x="973" y="495"/>
                  <a:pt x="973" y="495"/>
                  <a:pt x="973" y="495"/>
                </a:cubicBezTo>
                <a:cubicBezTo>
                  <a:pt x="973" y="496"/>
                  <a:pt x="973" y="496"/>
                  <a:pt x="973" y="496"/>
                </a:cubicBezTo>
                <a:cubicBezTo>
                  <a:pt x="974" y="496"/>
                  <a:pt x="974" y="496"/>
                  <a:pt x="974" y="496"/>
                </a:cubicBezTo>
                <a:cubicBezTo>
                  <a:pt x="976" y="496"/>
                  <a:pt x="976" y="496"/>
                  <a:pt x="976" y="496"/>
                </a:cubicBezTo>
                <a:cubicBezTo>
                  <a:pt x="977" y="496"/>
                  <a:pt x="977" y="496"/>
                  <a:pt x="977" y="496"/>
                </a:cubicBezTo>
                <a:cubicBezTo>
                  <a:pt x="977" y="497"/>
                  <a:pt x="977" y="497"/>
                  <a:pt x="977" y="497"/>
                </a:cubicBezTo>
                <a:cubicBezTo>
                  <a:pt x="978" y="497"/>
                  <a:pt x="978" y="497"/>
                  <a:pt x="978" y="497"/>
                </a:cubicBezTo>
                <a:cubicBezTo>
                  <a:pt x="979" y="496"/>
                  <a:pt x="979" y="496"/>
                  <a:pt x="979" y="496"/>
                </a:cubicBezTo>
                <a:cubicBezTo>
                  <a:pt x="979" y="496"/>
                  <a:pt x="979" y="496"/>
                  <a:pt x="979" y="496"/>
                </a:cubicBezTo>
                <a:cubicBezTo>
                  <a:pt x="981" y="496"/>
                  <a:pt x="981" y="496"/>
                  <a:pt x="981" y="496"/>
                </a:cubicBezTo>
                <a:cubicBezTo>
                  <a:pt x="981" y="496"/>
                  <a:pt x="981" y="496"/>
                  <a:pt x="981" y="496"/>
                </a:cubicBezTo>
                <a:cubicBezTo>
                  <a:pt x="982" y="496"/>
                  <a:pt x="982" y="496"/>
                  <a:pt x="982" y="496"/>
                </a:cubicBezTo>
                <a:cubicBezTo>
                  <a:pt x="983" y="495"/>
                  <a:pt x="983" y="495"/>
                  <a:pt x="983" y="495"/>
                </a:cubicBezTo>
                <a:cubicBezTo>
                  <a:pt x="983" y="495"/>
                  <a:pt x="983" y="495"/>
                  <a:pt x="983" y="495"/>
                </a:cubicBezTo>
                <a:cubicBezTo>
                  <a:pt x="984" y="496"/>
                  <a:pt x="984" y="496"/>
                  <a:pt x="984" y="496"/>
                </a:cubicBezTo>
                <a:cubicBezTo>
                  <a:pt x="985" y="495"/>
                  <a:pt x="985" y="495"/>
                  <a:pt x="985" y="495"/>
                </a:cubicBezTo>
                <a:cubicBezTo>
                  <a:pt x="985" y="494"/>
                  <a:pt x="985" y="494"/>
                  <a:pt x="985" y="494"/>
                </a:cubicBezTo>
                <a:cubicBezTo>
                  <a:pt x="985" y="493"/>
                  <a:pt x="985" y="493"/>
                  <a:pt x="985" y="493"/>
                </a:cubicBezTo>
                <a:cubicBezTo>
                  <a:pt x="985" y="493"/>
                  <a:pt x="985" y="493"/>
                  <a:pt x="985" y="493"/>
                </a:cubicBezTo>
                <a:cubicBezTo>
                  <a:pt x="986" y="492"/>
                  <a:pt x="986" y="492"/>
                  <a:pt x="986" y="492"/>
                </a:cubicBezTo>
                <a:cubicBezTo>
                  <a:pt x="987" y="492"/>
                  <a:pt x="987" y="492"/>
                  <a:pt x="987" y="492"/>
                </a:cubicBezTo>
                <a:cubicBezTo>
                  <a:pt x="986" y="492"/>
                  <a:pt x="986" y="492"/>
                  <a:pt x="986" y="492"/>
                </a:cubicBezTo>
                <a:cubicBezTo>
                  <a:pt x="986" y="494"/>
                  <a:pt x="986" y="494"/>
                  <a:pt x="986" y="494"/>
                </a:cubicBezTo>
                <a:cubicBezTo>
                  <a:pt x="986" y="495"/>
                  <a:pt x="986" y="495"/>
                  <a:pt x="986" y="495"/>
                </a:cubicBezTo>
                <a:cubicBezTo>
                  <a:pt x="986" y="494"/>
                  <a:pt x="986" y="494"/>
                  <a:pt x="986" y="494"/>
                </a:cubicBezTo>
                <a:cubicBezTo>
                  <a:pt x="988" y="493"/>
                  <a:pt x="988" y="493"/>
                  <a:pt x="988" y="493"/>
                </a:cubicBezTo>
                <a:cubicBezTo>
                  <a:pt x="988" y="492"/>
                  <a:pt x="988" y="492"/>
                  <a:pt x="988" y="492"/>
                </a:cubicBezTo>
                <a:cubicBezTo>
                  <a:pt x="988" y="494"/>
                  <a:pt x="988" y="494"/>
                  <a:pt x="988" y="494"/>
                </a:cubicBezTo>
                <a:cubicBezTo>
                  <a:pt x="987" y="495"/>
                  <a:pt x="987" y="495"/>
                  <a:pt x="987" y="495"/>
                </a:cubicBezTo>
                <a:cubicBezTo>
                  <a:pt x="987" y="495"/>
                  <a:pt x="987" y="495"/>
                  <a:pt x="987" y="495"/>
                </a:cubicBezTo>
                <a:cubicBezTo>
                  <a:pt x="989" y="495"/>
                  <a:pt x="989" y="495"/>
                  <a:pt x="989" y="495"/>
                </a:cubicBezTo>
                <a:cubicBezTo>
                  <a:pt x="989" y="495"/>
                  <a:pt x="989" y="495"/>
                  <a:pt x="989" y="495"/>
                </a:cubicBezTo>
                <a:cubicBezTo>
                  <a:pt x="989" y="495"/>
                  <a:pt x="989" y="495"/>
                  <a:pt x="989" y="495"/>
                </a:cubicBezTo>
                <a:cubicBezTo>
                  <a:pt x="987" y="497"/>
                  <a:pt x="987" y="497"/>
                  <a:pt x="987" y="497"/>
                </a:cubicBezTo>
                <a:cubicBezTo>
                  <a:pt x="985" y="497"/>
                  <a:pt x="985" y="497"/>
                  <a:pt x="985" y="497"/>
                </a:cubicBezTo>
                <a:cubicBezTo>
                  <a:pt x="986" y="498"/>
                  <a:pt x="986" y="498"/>
                  <a:pt x="986" y="498"/>
                </a:cubicBezTo>
                <a:cubicBezTo>
                  <a:pt x="986" y="498"/>
                  <a:pt x="986" y="498"/>
                  <a:pt x="986" y="498"/>
                </a:cubicBezTo>
                <a:cubicBezTo>
                  <a:pt x="987" y="497"/>
                  <a:pt x="987" y="497"/>
                  <a:pt x="987" y="497"/>
                </a:cubicBezTo>
                <a:cubicBezTo>
                  <a:pt x="988" y="498"/>
                  <a:pt x="988" y="498"/>
                  <a:pt x="988" y="498"/>
                </a:cubicBezTo>
                <a:cubicBezTo>
                  <a:pt x="989" y="498"/>
                  <a:pt x="989" y="498"/>
                  <a:pt x="989" y="498"/>
                </a:cubicBezTo>
                <a:cubicBezTo>
                  <a:pt x="989" y="499"/>
                  <a:pt x="989" y="499"/>
                  <a:pt x="989" y="499"/>
                </a:cubicBezTo>
                <a:cubicBezTo>
                  <a:pt x="990" y="498"/>
                  <a:pt x="990" y="498"/>
                  <a:pt x="990" y="498"/>
                </a:cubicBezTo>
                <a:cubicBezTo>
                  <a:pt x="991" y="498"/>
                  <a:pt x="991" y="498"/>
                  <a:pt x="991" y="498"/>
                </a:cubicBezTo>
                <a:cubicBezTo>
                  <a:pt x="992" y="496"/>
                  <a:pt x="992" y="496"/>
                  <a:pt x="992" y="496"/>
                </a:cubicBezTo>
                <a:cubicBezTo>
                  <a:pt x="992" y="495"/>
                  <a:pt x="992" y="495"/>
                  <a:pt x="992" y="495"/>
                </a:cubicBezTo>
                <a:cubicBezTo>
                  <a:pt x="993" y="496"/>
                  <a:pt x="993" y="496"/>
                  <a:pt x="993" y="496"/>
                </a:cubicBezTo>
                <a:cubicBezTo>
                  <a:pt x="994" y="496"/>
                  <a:pt x="994" y="496"/>
                  <a:pt x="994" y="496"/>
                </a:cubicBezTo>
                <a:cubicBezTo>
                  <a:pt x="995" y="497"/>
                  <a:pt x="995" y="497"/>
                  <a:pt x="995" y="497"/>
                </a:cubicBezTo>
                <a:cubicBezTo>
                  <a:pt x="996" y="497"/>
                  <a:pt x="996" y="497"/>
                  <a:pt x="996" y="497"/>
                </a:cubicBezTo>
                <a:cubicBezTo>
                  <a:pt x="997" y="496"/>
                  <a:pt x="997" y="496"/>
                  <a:pt x="997" y="496"/>
                </a:cubicBezTo>
                <a:cubicBezTo>
                  <a:pt x="998" y="496"/>
                  <a:pt x="998" y="496"/>
                  <a:pt x="998" y="496"/>
                </a:cubicBezTo>
                <a:cubicBezTo>
                  <a:pt x="997" y="497"/>
                  <a:pt x="997" y="497"/>
                  <a:pt x="997" y="497"/>
                </a:cubicBezTo>
                <a:cubicBezTo>
                  <a:pt x="997" y="498"/>
                  <a:pt x="997" y="498"/>
                  <a:pt x="997" y="498"/>
                </a:cubicBezTo>
                <a:cubicBezTo>
                  <a:pt x="995" y="498"/>
                  <a:pt x="995" y="498"/>
                  <a:pt x="995" y="498"/>
                </a:cubicBezTo>
                <a:cubicBezTo>
                  <a:pt x="994" y="499"/>
                  <a:pt x="994" y="499"/>
                  <a:pt x="994" y="499"/>
                </a:cubicBezTo>
                <a:cubicBezTo>
                  <a:pt x="993" y="500"/>
                  <a:pt x="993" y="500"/>
                  <a:pt x="993" y="500"/>
                </a:cubicBezTo>
                <a:cubicBezTo>
                  <a:pt x="993" y="500"/>
                  <a:pt x="993" y="500"/>
                  <a:pt x="993" y="500"/>
                </a:cubicBezTo>
                <a:cubicBezTo>
                  <a:pt x="992" y="501"/>
                  <a:pt x="992" y="501"/>
                  <a:pt x="992" y="501"/>
                </a:cubicBezTo>
                <a:cubicBezTo>
                  <a:pt x="992" y="502"/>
                  <a:pt x="992" y="502"/>
                  <a:pt x="992" y="502"/>
                </a:cubicBezTo>
                <a:cubicBezTo>
                  <a:pt x="991" y="502"/>
                  <a:pt x="991" y="502"/>
                  <a:pt x="991" y="502"/>
                </a:cubicBezTo>
                <a:cubicBezTo>
                  <a:pt x="990" y="502"/>
                  <a:pt x="990" y="502"/>
                  <a:pt x="990" y="502"/>
                </a:cubicBezTo>
                <a:cubicBezTo>
                  <a:pt x="989" y="503"/>
                  <a:pt x="989" y="503"/>
                  <a:pt x="989" y="503"/>
                </a:cubicBezTo>
                <a:cubicBezTo>
                  <a:pt x="989" y="503"/>
                  <a:pt x="989" y="503"/>
                  <a:pt x="989" y="503"/>
                </a:cubicBezTo>
                <a:cubicBezTo>
                  <a:pt x="987" y="504"/>
                  <a:pt x="987" y="504"/>
                  <a:pt x="987" y="504"/>
                </a:cubicBezTo>
                <a:cubicBezTo>
                  <a:pt x="985" y="505"/>
                  <a:pt x="985" y="505"/>
                  <a:pt x="985" y="505"/>
                </a:cubicBezTo>
                <a:cubicBezTo>
                  <a:pt x="985" y="505"/>
                  <a:pt x="985" y="505"/>
                  <a:pt x="985" y="505"/>
                </a:cubicBezTo>
                <a:cubicBezTo>
                  <a:pt x="986" y="506"/>
                  <a:pt x="986" y="506"/>
                  <a:pt x="986" y="506"/>
                </a:cubicBezTo>
                <a:cubicBezTo>
                  <a:pt x="986" y="507"/>
                  <a:pt x="986" y="507"/>
                  <a:pt x="986" y="507"/>
                </a:cubicBezTo>
                <a:cubicBezTo>
                  <a:pt x="987" y="507"/>
                  <a:pt x="987" y="507"/>
                  <a:pt x="987" y="507"/>
                </a:cubicBezTo>
                <a:cubicBezTo>
                  <a:pt x="988" y="506"/>
                  <a:pt x="988" y="506"/>
                  <a:pt x="988" y="506"/>
                </a:cubicBezTo>
                <a:cubicBezTo>
                  <a:pt x="989" y="505"/>
                  <a:pt x="989" y="505"/>
                  <a:pt x="989" y="505"/>
                </a:cubicBezTo>
                <a:cubicBezTo>
                  <a:pt x="989" y="506"/>
                  <a:pt x="989" y="506"/>
                  <a:pt x="989" y="506"/>
                </a:cubicBezTo>
                <a:cubicBezTo>
                  <a:pt x="989" y="506"/>
                  <a:pt x="989" y="506"/>
                  <a:pt x="989" y="506"/>
                </a:cubicBezTo>
                <a:cubicBezTo>
                  <a:pt x="990" y="507"/>
                  <a:pt x="990" y="507"/>
                  <a:pt x="990" y="507"/>
                </a:cubicBezTo>
                <a:cubicBezTo>
                  <a:pt x="991" y="506"/>
                  <a:pt x="991" y="506"/>
                  <a:pt x="991" y="506"/>
                </a:cubicBezTo>
                <a:cubicBezTo>
                  <a:pt x="992" y="505"/>
                  <a:pt x="992" y="505"/>
                  <a:pt x="992" y="505"/>
                </a:cubicBezTo>
                <a:cubicBezTo>
                  <a:pt x="993" y="504"/>
                  <a:pt x="993" y="504"/>
                  <a:pt x="993" y="504"/>
                </a:cubicBezTo>
                <a:cubicBezTo>
                  <a:pt x="993" y="504"/>
                  <a:pt x="993" y="504"/>
                  <a:pt x="993" y="504"/>
                </a:cubicBezTo>
                <a:cubicBezTo>
                  <a:pt x="994" y="503"/>
                  <a:pt x="994" y="503"/>
                  <a:pt x="994" y="503"/>
                </a:cubicBezTo>
                <a:cubicBezTo>
                  <a:pt x="994" y="502"/>
                  <a:pt x="994" y="502"/>
                  <a:pt x="994" y="502"/>
                </a:cubicBezTo>
                <a:cubicBezTo>
                  <a:pt x="995" y="502"/>
                  <a:pt x="995" y="502"/>
                  <a:pt x="995" y="502"/>
                </a:cubicBezTo>
                <a:cubicBezTo>
                  <a:pt x="996" y="500"/>
                  <a:pt x="996" y="500"/>
                  <a:pt x="996" y="500"/>
                </a:cubicBezTo>
                <a:cubicBezTo>
                  <a:pt x="997" y="499"/>
                  <a:pt x="997" y="499"/>
                  <a:pt x="997" y="499"/>
                </a:cubicBezTo>
                <a:cubicBezTo>
                  <a:pt x="998" y="500"/>
                  <a:pt x="998" y="500"/>
                  <a:pt x="998" y="500"/>
                </a:cubicBezTo>
                <a:cubicBezTo>
                  <a:pt x="999" y="500"/>
                  <a:pt x="999" y="500"/>
                  <a:pt x="999" y="500"/>
                </a:cubicBezTo>
                <a:cubicBezTo>
                  <a:pt x="998" y="500"/>
                  <a:pt x="998" y="500"/>
                  <a:pt x="998" y="500"/>
                </a:cubicBezTo>
                <a:cubicBezTo>
                  <a:pt x="999" y="500"/>
                  <a:pt x="999" y="500"/>
                  <a:pt x="999" y="500"/>
                </a:cubicBezTo>
                <a:cubicBezTo>
                  <a:pt x="1000" y="500"/>
                  <a:pt x="1000" y="500"/>
                  <a:pt x="1000" y="500"/>
                </a:cubicBezTo>
                <a:cubicBezTo>
                  <a:pt x="1001" y="497"/>
                  <a:pt x="1001" y="497"/>
                  <a:pt x="1001" y="497"/>
                </a:cubicBezTo>
                <a:cubicBezTo>
                  <a:pt x="1002" y="495"/>
                  <a:pt x="1002" y="495"/>
                  <a:pt x="1002" y="495"/>
                </a:cubicBezTo>
                <a:cubicBezTo>
                  <a:pt x="1002" y="494"/>
                  <a:pt x="1002" y="494"/>
                  <a:pt x="1002" y="494"/>
                </a:cubicBezTo>
                <a:cubicBezTo>
                  <a:pt x="1002" y="493"/>
                  <a:pt x="1002" y="493"/>
                  <a:pt x="1002" y="493"/>
                </a:cubicBezTo>
                <a:cubicBezTo>
                  <a:pt x="1003" y="493"/>
                  <a:pt x="1003" y="493"/>
                  <a:pt x="1003" y="493"/>
                </a:cubicBezTo>
                <a:cubicBezTo>
                  <a:pt x="1004" y="494"/>
                  <a:pt x="1004" y="494"/>
                  <a:pt x="1004" y="494"/>
                </a:cubicBezTo>
                <a:cubicBezTo>
                  <a:pt x="1004" y="494"/>
                  <a:pt x="1004" y="494"/>
                  <a:pt x="1004" y="494"/>
                </a:cubicBezTo>
                <a:cubicBezTo>
                  <a:pt x="1005" y="495"/>
                  <a:pt x="1005" y="495"/>
                  <a:pt x="1005" y="495"/>
                </a:cubicBezTo>
                <a:cubicBezTo>
                  <a:pt x="1005" y="496"/>
                  <a:pt x="1005" y="496"/>
                  <a:pt x="1005" y="496"/>
                </a:cubicBezTo>
                <a:cubicBezTo>
                  <a:pt x="1005" y="498"/>
                  <a:pt x="1005" y="498"/>
                  <a:pt x="1005" y="498"/>
                </a:cubicBezTo>
                <a:cubicBezTo>
                  <a:pt x="1005" y="499"/>
                  <a:pt x="1005" y="499"/>
                  <a:pt x="1005" y="499"/>
                </a:cubicBezTo>
                <a:cubicBezTo>
                  <a:pt x="1005" y="500"/>
                  <a:pt x="1005" y="500"/>
                  <a:pt x="1005" y="500"/>
                </a:cubicBezTo>
                <a:cubicBezTo>
                  <a:pt x="1005" y="501"/>
                  <a:pt x="1005" y="501"/>
                  <a:pt x="1005" y="501"/>
                </a:cubicBezTo>
                <a:cubicBezTo>
                  <a:pt x="1003" y="502"/>
                  <a:pt x="1003" y="502"/>
                  <a:pt x="1003" y="502"/>
                </a:cubicBezTo>
                <a:cubicBezTo>
                  <a:pt x="1002" y="505"/>
                  <a:pt x="1002" y="505"/>
                  <a:pt x="1002" y="505"/>
                </a:cubicBezTo>
                <a:cubicBezTo>
                  <a:pt x="1002" y="507"/>
                  <a:pt x="1002" y="507"/>
                  <a:pt x="1002" y="507"/>
                </a:cubicBezTo>
                <a:cubicBezTo>
                  <a:pt x="1002" y="507"/>
                  <a:pt x="1002" y="507"/>
                  <a:pt x="1002" y="507"/>
                </a:cubicBezTo>
                <a:cubicBezTo>
                  <a:pt x="1002" y="508"/>
                  <a:pt x="1002" y="508"/>
                  <a:pt x="1002" y="508"/>
                </a:cubicBezTo>
                <a:cubicBezTo>
                  <a:pt x="1003" y="509"/>
                  <a:pt x="1003" y="509"/>
                  <a:pt x="1003" y="509"/>
                </a:cubicBezTo>
                <a:cubicBezTo>
                  <a:pt x="1004" y="508"/>
                  <a:pt x="1004" y="508"/>
                  <a:pt x="1004" y="508"/>
                </a:cubicBezTo>
                <a:cubicBezTo>
                  <a:pt x="1005" y="505"/>
                  <a:pt x="1005" y="505"/>
                  <a:pt x="1005" y="505"/>
                </a:cubicBezTo>
                <a:cubicBezTo>
                  <a:pt x="1006" y="505"/>
                  <a:pt x="1006" y="505"/>
                  <a:pt x="1006" y="505"/>
                </a:cubicBezTo>
                <a:cubicBezTo>
                  <a:pt x="1007" y="503"/>
                  <a:pt x="1007" y="503"/>
                  <a:pt x="1007" y="503"/>
                </a:cubicBezTo>
                <a:cubicBezTo>
                  <a:pt x="1008" y="502"/>
                  <a:pt x="1008" y="502"/>
                  <a:pt x="1008" y="502"/>
                </a:cubicBezTo>
                <a:cubicBezTo>
                  <a:pt x="1008" y="503"/>
                  <a:pt x="1008" y="503"/>
                  <a:pt x="1008" y="503"/>
                </a:cubicBezTo>
                <a:cubicBezTo>
                  <a:pt x="1010" y="503"/>
                  <a:pt x="1010" y="503"/>
                  <a:pt x="1010" y="503"/>
                </a:cubicBezTo>
                <a:cubicBezTo>
                  <a:pt x="1010" y="504"/>
                  <a:pt x="1010" y="504"/>
                  <a:pt x="1010" y="504"/>
                </a:cubicBezTo>
                <a:cubicBezTo>
                  <a:pt x="1009" y="504"/>
                  <a:pt x="1009" y="504"/>
                  <a:pt x="1009" y="504"/>
                </a:cubicBezTo>
                <a:cubicBezTo>
                  <a:pt x="1007" y="506"/>
                  <a:pt x="1007" y="506"/>
                  <a:pt x="1007" y="506"/>
                </a:cubicBezTo>
                <a:cubicBezTo>
                  <a:pt x="1007" y="507"/>
                  <a:pt x="1007" y="507"/>
                  <a:pt x="1007" y="507"/>
                </a:cubicBezTo>
                <a:cubicBezTo>
                  <a:pt x="1007" y="508"/>
                  <a:pt x="1007" y="508"/>
                  <a:pt x="1007" y="508"/>
                </a:cubicBezTo>
                <a:cubicBezTo>
                  <a:pt x="1007" y="509"/>
                  <a:pt x="1007" y="509"/>
                  <a:pt x="1007" y="509"/>
                </a:cubicBezTo>
                <a:cubicBezTo>
                  <a:pt x="1007" y="511"/>
                  <a:pt x="1007" y="511"/>
                  <a:pt x="1007" y="511"/>
                </a:cubicBezTo>
                <a:cubicBezTo>
                  <a:pt x="1008" y="512"/>
                  <a:pt x="1008" y="512"/>
                  <a:pt x="1008" y="512"/>
                </a:cubicBezTo>
                <a:cubicBezTo>
                  <a:pt x="1009" y="510"/>
                  <a:pt x="1009" y="510"/>
                  <a:pt x="1009" y="510"/>
                </a:cubicBezTo>
                <a:cubicBezTo>
                  <a:pt x="1010" y="509"/>
                  <a:pt x="1010" y="509"/>
                  <a:pt x="1010" y="509"/>
                </a:cubicBezTo>
                <a:cubicBezTo>
                  <a:pt x="1010" y="509"/>
                  <a:pt x="1010" y="509"/>
                  <a:pt x="1011" y="509"/>
                </a:cubicBezTo>
                <a:cubicBezTo>
                  <a:pt x="1011" y="509"/>
                  <a:pt x="1011" y="511"/>
                  <a:pt x="1011" y="511"/>
                </a:cubicBezTo>
                <a:cubicBezTo>
                  <a:pt x="1012" y="511"/>
                  <a:pt x="1012" y="511"/>
                  <a:pt x="1012" y="511"/>
                </a:cubicBezTo>
                <a:cubicBezTo>
                  <a:pt x="1014" y="510"/>
                  <a:pt x="1014" y="510"/>
                  <a:pt x="1014" y="510"/>
                </a:cubicBezTo>
                <a:cubicBezTo>
                  <a:pt x="1014" y="509"/>
                  <a:pt x="1014" y="509"/>
                  <a:pt x="1014" y="509"/>
                </a:cubicBezTo>
                <a:cubicBezTo>
                  <a:pt x="1014" y="509"/>
                  <a:pt x="1014" y="509"/>
                  <a:pt x="1014" y="509"/>
                </a:cubicBezTo>
                <a:cubicBezTo>
                  <a:pt x="1015" y="508"/>
                  <a:pt x="1015" y="508"/>
                  <a:pt x="1015" y="508"/>
                </a:cubicBezTo>
                <a:cubicBezTo>
                  <a:pt x="1015" y="507"/>
                  <a:pt x="1015" y="507"/>
                  <a:pt x="1015" y="507"/>
                </a:cubicBezTo>
                <a:cubicBezTo>
                  <a:pt x="1015" y="506"/>
                  <a:pt x="1015" y="506"/>
                  <a:pt x="1015" y="506"/>
                </a:cubicBezTo>
                <a:cubicBezTo>
                  <a:pt x="1015" y="506"/>
                  <a:pt x="1015" y="506"/>
                  <a:pt x="1015" y="506"/>
                </a:cubicBezTo>
                <a:cubicBezTo>
                  <a:pt x="1015" y="505"/>
                  <a:pt x="1015" y="505"/>
                  <a:pt x="1015" y="505"/>
                </a:cubicBezTo>
                <a:cubicBezTo>
                  <a:pt x="1015" y="503"/>
                  <a:pt x="1015" y="503"/>
                  <a:pt x="1015" y="503"/>
                </a:cubicBezTo>
                <a:cubicBezTo>
                  <a:pt x="1017" y="501"/>
                  <a:pt x="1017" y="501"/>
                  <a:pt x="1017" y="501"/>
                </a:cubicBezTo>
                <a:cubicBezTo>
                  <a:pt x="1018" y="499"/>
                  <a:pt x="1018" y="499"/>
                  <a:pt x="1018" y="499"/>
                </a:cubicBezTo>
                <a:cubicBezTo>
                  <a:pt x="1018" y="496"/>
                  <a:pt x="1018" y="496"/>
                  <a:pt x="1018" y="496"/>
                </a:cubicBezTo>
                <a:cubicBezTo>
                  <a:pt x="1018" y="495"/>
                  <a:pt x="1018" y="495"/>
                  <a:pt x="1018" y="495"/>
                </a:cubicBezTo>
                <a:cubicBezTo>
                  <a:pt x="1017" y="495"/>
                  <a:pt x="1017" y="495"/>
                  <a:pt x="1017" y="495"/>
                </a:cubicBezTo>
                <a:cubicBezTo>
                  <a:pt x="1017" y="496"/>
                  <a:pt x="1017" y="496"/>
                  <a:pt x="1017" y="496"/>
                </a:cubicBezTo>
                <a:cubicBezTo>
                  <a:pt x="1016" y="497"/>
                  <a:pt x="1016" y="497"/>
                  <a:pt x="1016" y="497"/>
                </a:cubicBezTo>
                <a:cubicBezTo>
                  <a:pt x="1015" y="498"/>
                  <a:pt x="1015" y="498"/>
                  <a:pt x="1015" y="498"/>
                </a:cubicBezTo>
                <a:cubicBezTo>
                  <a:pt x="1014" y="500"/>
                  <a:pt x="1014" y="500"/>
                  <a:pt x="1014" y="500"/>
                </a:cubicBezTo>
                <a:cubicBezTo>
                  <a:pt x="1013" y="500"/>
                  <a:pt x="1013" y="500"/>
                  <a:pt x="1013" y="500"/>
                </a:cubicBezTo>
                <a:cubicBezTo>
                  <a:pt x="1012" y="499"/>
                  <a:pt x="1012" y="499"/>
                  <a:pt x="1012" y="499"/>
                </a:cubicBezTo>
                <a:cubicBezTo>
                  <a:pt x="1013" y="497"/>
                  <a:pt x="1013" y="497"/>
                  <a:pt x="1013" y="497"/>
                </a:cubicBezTo>
                <a:cubicBezTo>
                  <a:pt x="1013" y="496"/>
                  <a:pt x="1013" y="496"/>
                  <a:pt x="1013" y="496"/>
                </a:cubicBezTo>
                <a:cubicBezTo>
                  <a:pt x="1014" y="494"/>
                  <a:pt x="1014" y="494"/>
                  <a:pt x="1014" y="494"/>
                </a:cubicBezTo>
                <a:cubicBezTo>
                  <a:pt x="1015" y="494"/>
                  <a:pt x="1015" y="494"/>
                  <a:pt x="1015" y="494"/>
                </a:cubicBezTo>
                <a:cubicBezTo>
                  <a:pt x="1016" y="492"/>
                  <a:pt x="1016" y="492"/>
                  <a:pt x="1016" y="492"/>
                </a:cubicBezTo>
                <a:cubicBezTo>
                  <a:pt x="1017" y="492"/>
                  <a:pt x="1017" y="492"/>
                  <a:pt x="1017" y="492"/>
                </a:cubicBezTo>
                <a:cubicBezTo>
                  <a:pt x="1017" y="492"/>
                  <a:pt x="1017" y="492"/>
                  <a:pt x="1017" y="492"/>
                </a:cubicBezTo>
                <a:cubicBezTo>
                  <a:pt x="1017" y="491"/>
                  <a:pt x="1017" y="491"/>
                  <a:pt x="1017" y="491"/>
                </a:cubicBezTo>
                <a:cubicBezTo>
                  <a:pt x="1016" y="492"/>
                  <a:pt x="1016" y="492"/>
                  <a:pt x="1016" y="492"/>
                </a:cubicBezTo>
                <a:cubicBezTo>
                  <a:pt x="1015" y="492"/>
                  <a:pt x="1015" y="492"/>
                  <a:pt x="1015" y="492"/>
                </a:cubicBezTo>
                <a:cubicBezTo>
                  <a:pt x="1014" y="492"/>
                  <a:pt x="1014" y="492"/>
                  <a:pt x="1014" y="492"/>
                </a:cubicBezTo>
                <a:cubicBezTo>
                  <a:pt x="1013" y="493"/>
                  <a:pt x="1013" y="493"/>
                  <a:pt x="1013" y="493"/>
                </a:cubicBezTo>
                <a:cubicBezTo>
                  <a:pt x="1012" y="494"/>
                  <a:pt x="1012" y="494"/>
                  <a:pt x="1012" y="494"/>
                </a:cubicBezTo>
                <a:cubicBezTo>
                  <a:pt x="1011" y="495"/>
                  <a:pt x="1011" y="495"/>
                  <a:pt x="1011" y="495"/>
                </a:cubicBezTo>
                <a:cubicBezTo>
                  <a:pt x="1009" y="496"/>
                  <a:pt x="1009" y="496"/>
                  <a:pt x="1009" y="496"/>
                </a:cubicBezTo>
                <a:cubicBezTo>
                  <a:pt x="1009" y="497"/>
                  <a:pt x="1009" y="497"/>
                  <a:pt x="1009" y="497"/>
                </a:cubicBezTo>
                <a:cubicBezTo>
                  <a:pt x="1008" y="498"/>
                  <a:pt x="1008" y="498"/>
                  <a:pt x="1008" y="498"/>
                </a:cubicBezTo>
                <a:cubicBezTo>
                  <a:pt x="1007" y="497"/>
                  <a:pt x="1007" y="497"/>
                  <a:pt x="1007" y="497"/>
                </a:cubicBezTo>
                <a:cubicBezTo>
                  <a:pt x="1007" y="495"/>
                  <a:pt x="1007" y="495"/>
                  <a:pt x="1007" y="495"/>
                </a:cubicBezTo>
                <a:cubicBezTo>
                  <a:pt x="1006" y="494"/>
                  <a:pt x="1006" y="494"/>
                  <a:pt x="1006" y="494"/>
                </a:cubicBezTo>
                <a:cubicBezTo>
                  <a:pt x="1006" y="493"/>
                  <a:pt x="1006" y="493"/>
                  <a:pt x="1006" y="493"/>
                </a:cubicBezTo>
                <a:cubicBezTo>
                  <a:pt x="1007" y="494"/>
                  <a:pt x="1007" y="494"/>
                  <a:pt x="1007" y="494"/>
                </a:cubicBezTo>
                <a:cubicBezTo>
                  <a:pt x="1008" y="494"/>
                  <a:pt x="1008" y="494"/>
                  <a:pt x="1008" y="494"/>
                </a:cubicBezTo>
                <a:cubicBezTo>
                  <a:pt x="1009" y="492"/>
                  <a:pt x="1009" y="492"/>
                  <a:pt x="1009" y="492"/>
                </a:cubicBezTo>
                <a:cubicBezTo>
                  <a:pt x="1008" y="493"/>
                  <a:pt x="1008" y="493"/>
                  <a:pt x="1008" y="493"/>
                </a:cubicBezTo>
                <a:cubicBezTo>
                  <a:pt x="1006" y="492"/>
                  <a:pt x="1006" y="492"/>
                  <a:pt x="1006" y="492"/>
                </a:cubicBezTo>
                <a:cubicBezTo>
                  <a:pt x="1007" y="492"/>
                  <a:pt x="1007" y="492"/>
                  <a:pt x="1007" y="492"/>
                </a:cubicBezTo>
                <a:cubicBezTo>
                  <a:pt x="1009" y="492"/>
                  <a:pt x="1009" y="492"/>
                  <a:pt x="1009" y="492"/>
                </a:cubicBezTo>
                <a:cubicBezTo>
                  <a:pt x="1007" y="492"/>
                  <a:pt x="1007" y="492"/>
                  <a:pt x="1007" y="492"/>
                </a:cubicBezTo>
                <a:cubicBezTo>
                  <a:pt x="1007" y="491"/>
                  <a:pt x="1007" y="491"/>
                  <a:pt x="1007" y="491"/>
                </a:cubicBezTo>
                <a:cubicBezTo>
                  <a:pt x="1007" y="490"/>
                  <a:pt x="1007" y="490"/>
                  <a:pt x="1007" y="490"/>
                </a:cubicBezTo>
                <a:cubicBezTo>
                  <a:pt x="1007" y="489"/>
                  <a:pt x="1007" y="489"/>
                  <a:pt x="1007" y="489"/>
                </a:cubicBezTo>
                <a:cubicBezTo>
                  <a:pt x="1009" y="489"/>
                  <a:pt x="1009" y="489"/>
                  <a:pt x="1009" y="489"/>
                </a:cubicBezTo>
                <a:cubicBezTo>
                  <a:pt x="1009" y="489"/>
                  <a:pt x="1009" y="489"/>
                  <a:pt x="1009" y="489"/>
                </a:cubicBezTo>
                <a:cubicBezTo>
                  <a:pt x="1011" y="488"/>
                  <a:pt x="1011" y="488"/>
                  <a:pt x="1011" y="488"/>
                </a:cubicBezTo>
                <a:cubicBezTo>
                  <a:pt x="1012" y="486"/>
                  <a:pt x="1012" y="486"/>
                  <a:pt x="1012" y="486"/>
                </a:cubicBezTo>
                <a:cubicBezTo>
                  <a:pt x="1013" y="486"/>
                  <a:pt x="1013" y="486"/>
                  <a:pt x="1013" y="486"/>
                </a:cubicBezTo>
                <a:cubicBezTo>
                  <a:pt x="1014" y="487"/>
                  <a:pt x="1014" y="487"/>
                  <a:pt x="1014" y="487"/>
                </a:cubicBezTo>
                <a:cubicBezTo>
                  <a:pt x="1015" y="486"/>
                  <a:pt x="1015" y="486"/>
                  <a:pt x="1015" y="486"/>
                </a:cubicBezTo>
                <a:cubicBezTo>
                  <a:pt x="1016" y="484"/>
                  <a:pt x="1016" y="484"/>
                  <a:pt x="1016" y="484"/>
                </a:cubicBezTo>
                <a:cubicBezTo>
                  <a:pt x="1016" y="483"/>
                  <a:pt x="1016" y="483"/>
                  <a:pt x="1016" y="483"/>
                </a:cubicBezTo>
                <a:cubicBezTo>
                  <a:pt x="1016" y="482"/>
                  <a:pt x="1016" y="482"/>
                  <a:pt x="1016" y="482"/>
                </a:cubicBezTo>
                <a:cubicBezTo>
                  <a:pt x="1014" y="483"/>
                  <a:pt x="1014" y="483"/>
                  <a:pt x="1014" y="483"/>
                </a:cubicBezTo>
                <a:cubicBezTo>
                  <a:pt x="1013" y="484"/>
                  <a:pt x="1013" y="484"/>
                  <a:pt x="1013" y="484"/>
                </a:cubicBezTo>
                <a:cubicBezTo>
                  <a:pt x="1013" y="483"/>
                  <a:pt x="1013" y="483"/>
                  <a:pt x="1013" y="483"/>
                </a:cubicBezTo>
                <a:cubicBezTo>
                  <a:pt x="1012" y="483"/>
                  <a:pt x="1012" y="483"/>
                  <a:pt x="1012" y="483"/>
                </a:cubicBezTo>
                <a:cubicBezTo>
                  <a:pt x="1012" y="484"/>
                  <a:pt x="1012" y="484"/>
                  <a:pt x="1012" y="484"/>
                </a:cubicBezTo>
                <a:cubicBezTo>
                  <a:pt x="1012" y="485"/>
                  <a:pt x="1012" y="485"/>
                  <a:pt x="1012" y="485"/>
                </a:cubicBezTo>
                <a:cubicBezTo>
                  <a:pt x="1011" y="486"/>
                  <a:pt x="1011" y="486"/>
                  <a:pt x="1011" y="486"/>
                </a:cubicBezTo>
                <a:cubicBezTo>
                  <a:pt x="1010" y="486"/>
                  <a:pt x="1010" y="486"/>
                  <a:pt x="1010" y="486"/>
                </a:cubicBezTo>
                <a:cubicBezTo>
                  <a:pt x="1009" y="486"/>
                  <a:pt x="1009" y="486"/>
                  <a:pt x="1009" y="486"/>
                </a:cubicBezTo>
                <a:cubicBezTo>
                  <a:pt x="1008" y="487"/>
                  <a:pt x="1008" y="487"/>
                  <a:pt x="1008" y="487"/>
                </a:cubicBezTo>
                <a:cubicBezTo>
                  <a:pt x="1008" y="488"/>
                  <a:pt x="1008" y="488"/>
                  <a:pt x="1008" y="488"/>
                </a:cubicBezTo>
                <a:cubicBezTo>
                  <a:pt x="1007" y="488"/>
                  <a:pt x="1007" y="488"/>
                  <a:pt x="1007" y="488"/>
                </a:cubicBezTo>
                <a:cubicBezTo>
                  <a:pt x="1007" y="488"/>
                  <a:pt x="1007" y="488"/>
                  <a:pt x="1007" y="488"/>
                </a:cubicBezTo>
                <a:cubicBezTo>
                  <a:pt x="1007" y="486"/>
                  <a:pt x="1007" y="486"/>
                  <a:pt x="1007" y="486"/>
                </a:cubicBezTo>
                <a:cubicBezTo>
                  <a:pt x="1007" y="487"/>
                  <a:pt x="1007" y="487"/>
                  <a:pt x="1007" y="487"/>
                </a:cubicBezTo>
                <a:cubicBezTo>
                  <a:pt x="1006" y="487"/>
                  <a:pt x="1006" y="487"/>
                  <a:pt x="1006" y="487"/>
                </a:cubicBezTo>
                <a:cubicBezTo>
                  <a:pt x="1007" y="486"/>
                  <a:pt x="1007" y="486"/>
                  <a:pt x="1007" y="486"/>
                </a:cubicBezTo>
                <a:cubicBezTo>
                  <a:pt x="1008" y="485"/>
                  <a:pt x="1008" y="485"/>
                  <a:pt x="1008" y="485"/>
                </a:cubicBezTo>
                <a:cubicBezTo>
                  <a:pt x="1008" y="485"/>
                  <a:pt x="1008" y="485"/>
                  <a:pt x="1008" y="485"/>
                </a:cubicBezTo>
                <a:cubicBezTo>
                  <a:pt x="1007" y="484"/>
                  <a:pt x="1007" y="484"/>
                  <a:pt x="1007" y="484"/>
                </a:cubicBezTo>
                <a:cubicBezTo>
                  <a:pt x="1008" y="484"/>
                  <a:pt x="1008" y="484"/>
                  <a:pt x="1008" y="484"/>
                </a:cubicBezTo>
                <a:cubicBezTo>
                  <a:pt x="1009" y="482"/>
                  <a:pt x="1009" y="482"/>
                  <a:pt x="1009" y="482"/>
                </a:cubicBezTo>
                <a:cubicBezTo>
                  <a:pt x="1008" y="482"/>
                  <a:pt x="1008" y="482"/>
                  <a:pt x="1008" y="482"/>
                </a:cubicBezTo>
                <a:cubicBezTo>
                  <a:pt x="1007" y="483"/>
                  <a:pt x="1007" y="483"/>
                  <a:pt x="1007" y="483"/>
                </a:cubicBezTo>
                <a:cubicBezTo>
                  <a:pt x="1008" y="482"/>
                  <a:pt x="1008" y="482"/>
                  <a:pt x="1008" y="482"/>
                </a:cubicBezTo>
                <a:cubicBezTo>
                  <a:pt x="1008" y="481"/>
                  <a:pt x="1008" y="481"/>
                  <a:pt x="1008" y="481"/>
                </a:cubicBezTo>
                <a:cubicBezTo>
                  <a:pt x="1007" y="480"/>
                  <a:pt x="1007" y="480"/>
                  <a:pt x="1007" y="480"/>
                </a:cubicBezTo>
                <a:cubicBezTo>
                  <a:pt x="1006" y="481"/>
                  <a:pt x="1006" y="481"/>
                  <a:pt x="1006" y="481"/>
                </a:cubicBezTo>
                <a:cubicBezTo>
                  <a:pt x="1004" y="480"/>
                  <a:pt x="1004" y="480"/>
                  <a:pt x="1004" y="480"/>
                </a:cubicBezTo>
                <a:cubicBezTo>
                  <a:pt x="1006" y="480"/>
                  <a:pt x="1006" y="480"/>
                  <a:pt x="1006" y="480"/>
                </a:cubicBezTo>
                <a:cubicBezTo>
                  <a:pt x="1007" y="480"/>
                  <a:pt x="1007" y="480"/>
                  <a:pt x="1007" y="480"/>
                </a:cubicBezTo>
                <a:cubicBezTo>
                  <a:pt x="1008" y="480"/>
                  <a:pt x="1008" y="480"/>
                  <a:pt x="1008" y="480"/>
                </a:cubicBezTo>
                <a:cubicBezTo>
                  <a:pt x="1010" y="479"/>
                  <a:pt x="1010" y="479"/>
                  <a:pt x="1010" y="479"/>
                </a:cubicBezTo>
                <a:cubicBezTo>
                  <a:pt x="1010" y="478"/>
                  <a:pt x="1010" y="478"/>
                  <a:pt x="1010" y="478"/>
                </a:cubicBezTo>
                <a:cubicBezTo>
                  <a:pt x="1011" y="478"/>
                  <a:pt x="1011" y="478"/>
                  <a:pt x="1011" y="478"/>
                </a:cubicBezTo>
                <a:cubicBezTo>
                  <a:pt x="1012" y="477"/>
                  <a:pt x="1012" y="477"/>
                  <a:pt x="1012" y="477"/>
                </a:cubicBezTo>
                <a:cubicBezTo>
                  <a:pt x="1012" y="476"/>
                  <a:pt x="1012" y="476"/>
                  <a:pt x="1012" y="476"/>
                </a:cubicBezTo>
                <a:cubicBezTo>
                  <a:pt x="1013" y="475"/>
                  <a:pt x="1013" y="475"/>
                  <a:pt x="1013" y="475"/>
                </a:cubicBezTo>
                <a:cubicBezTo>
                  <a:pt x="1013" y="474"/>
                  <a:pt x="1013" y="474"/>
                  <a:pt x="1013" y="474"/>
                </a:cubicBezTo>
                <a:cubicBezTo>
                  <a:pt x="1012" y="474"/>
                  <a:pt x="1012" y="474"/>
                  <a:pt x="1012" y="474"/>
                </a:cubicBezTo>
                <a:cubicBezTo>
                  <a:pt x="1010" y="472"/>
                  <a:pt x="1010" y="472"/>
                  <a:pt x="1010" y="472"/>
                </a:cubicBezTo>
                <a:cubicBezTo>
                  <a:pt x="1009" y="472"/>
                  <a:pt x="1009" y="472"/>
                  <a:pt x="1009" y="472"/>
                </a:cubicBezTo>
                <a:cubicBezTo>
                  <a:pt x="1007" y="472"/>
                  <a:pt x="1007" y="472"/>
                  <a:pt x="1007" y="472"/>
                </a:cubicBezTo>
                <a:cubicBezTo>
                  <a:pt x="1006" y="472"/>
                  <a:pt x="1006" y="472"/>
                  <a:pt x="1006" y="472"/>
                </a:cubicBezTo>
                <a:cubicBezTo>
                  <a:pt x="1006" y="473"/>
                  <a:pt x="1006" y="473"/>
                  <a:pt x="1006" y="473"/>
                </a:cubicBezTo>
                <a:cubicBezTo>
                  <a:pt x="1005" y="475"/>
                  <a:pt x="1005" y="475"/>
                  <a:pt x="1005" y="475"/>
                </a:cubicBezTo>
                <a:cubicBezTo>
                  <a:pt x="1005" y="476"/>
                  <a:pt x="1005" y="476"/>
                  <a:pt x="1005" y="476"/>
                </a:cubicBezTo>
                <a:cubicBezTo>
                  <a:pt x="1004" y="477"/>
                  <a:pt x="1004" y="477"/>
                  <a:pt x="1004" y="477"/>
                </a:cubicBezTo>
                <a:cubicBezTo>
                  <a:pt x="1005" y="476"/>
                  <a:pt x="1005" y="476"/>
                  <a:pt x="1005" y="476"/>
                </a:cubicBezTo>
                <a:cubicBezTo>
                  <a:pt x="1005" y="475"/>
                  <a:pt x="1005" y="475"/>
                  <a:pt x="1005" y="475"/>
                </a:cubicBezTo>
                <a:cubicBezTo>
                  <a:pt x="1004" y="474"/>
                  <a:pt x="1004" y="474"/>
                  <a:pt x="1004" y="474"/>
                </a:cubicBezTo>
                <a:cubicBezTo>
                  <a:pt x="1005" y="473"/>
                  <a:pt x="1005" y="473"/>
                  <a:pt x="1005" y="473"/>
                </a:cubicBezTo>
                <a:cubicBezTo>
                  <a:pt x="1006" y="472"/>
                  <a:pt x="1006" y="472"/>
                  <a:pt x="1006" y="472"/>
                </a:cubicBezTo>
                <a:cubicBezTo>
                  <a:pt x="1005" y="471"/>
                  <a:pt x="1005" y="471"/>
                  <a:pt x="1005" y="471"/>
                </a:cubicBezTo>
                <a:cubicBezTo>
                  <a:pt x="1004" y="473"/>
                  <a:pt x="1004" y="473"/>
                  <a:pt x="1004" y="473"/>
                </a:cubicBezTo>
                <a:lnTo>
                  <a:pt x="1003" y="474"/>
                </a:lnTo>
                <a:close/>
                <a:moveTo>
                  <a:pt x="1017" y="1036"/>
                </a:moveTo>
                <a:cubicBezTo>
                  <a:pt x="1018" y="1035"/>
                  <a:pt x="1018" y="1035"/>
                  <a:pt x="1018" y="1035"/>
                </a:cubicBezTo>
                <a:cubicBezTo>
                  <a:pt x="1016" y="1034"/>
                  <a:pt x="1016" y="1034"/>
                  <a:pt x="1016" y="1034"/>
                </a:cubicBezTo>
                <a:cubicBezTo>
                  <a:pt x="1015" y="1034"/>
                  <a:pt x="1015" y="1034"/>
                  <a:pt x="1015" y="1034"/>
                </a:cubicBezTo>
                <a:cubicBezTo>
                  <a:pt x="1015" y="1035"/>
                  <a:pt x="1015" y="1035"/>
                  <a:pt x="1015" y="1035"/>
                </a:cubicBezTo>
                <a:cubicBezTo>
                  <a:pt x="1013" y="1035"/>
                  <a:pt x="1013" y="1035"/>
                  <a:pt x="1013" y="1035"/>
                </a:cubicBezTo>
                <a:cubicBezTo>
                  <a:pt x="1015" y="1036"/>
                  <a:pt x="1015" y="1036"/>
                  <a:pt x="1015" y="1036"/>
                </a:cubicBezTo>
                <a:lnTo>
                  <a:pt x="1017" y="1036"/>
                </a:lnTo>
                <a:close/>
                <a:moveTo>
                  <a:pt x="1011" y="1034"/>
                </a:moveTo>
                <a:cubicBezTo>
                  <a:pt x="1012" y="1034"/>
                  <a:pt x="1012" y="1034"/>
                  <a:pt x="1012" y="1034"/>
                </a:cubicBezTo>
                <a:cubicBezTo>
                  <a:pt x="1013" y="1034"/>
                  <a:pt x="1013" y="1034"/>
                  <a:pt x="1013" y="1034"/>
                </a:cubicBezTo>
                <a:cubicBezTo>
                  <a:pt x="1013" y="1032"/>
                  <a:pt x="1013" y="1032"/>
                  <a:pt x="1013" y="1032"/>
                </a:cubicBezTo>
                <a:cubicBezTo>
                  <a:pt x="1012" y="1031"/>
                  <a:pt x="1012" y="1031"/>
                  <a:pt x="1012" y="1031"/>
                </a:cubicBezTo>
                <a:cubicBezTo>
                  <a:pt x="1009" y="1032"/>
                  <a:pt x="1009" y="1032"/>
                  <a:pt x="1009" y="1032"/>
                </a:cubicBezTo>
                <a:cubicBezTo>
                  <a:pt x="1008" y="1032"/>
                  <a:pt x="1008" y="1032"/>
                  <a:pt x="1008" y="1032"/>
                </a:cubicBezTo>
                <a:cubicBezTo>
                  <a:pt x="1007" y="1033"/>
                  <a:pt x="1007" y="1033"/>
                  <a:pt x="1007" y="1033"/>
                </a:cubicBezTo>
                <a:cubicBezTo>
                  <a:pt x="1008" y="1034"/>
                  <a:pt x="1008" y="1034"/>
                  <a:pt x="1008" y="1034"/>
                </a:cubicBezTo>
                <a:lnTo>
                  <a:pt x="1011" y="1034"/>
                </a:lnTo>
                <a:close/>
                <a:moveTo>
                  <a:pt x="1005" y="1010"/>
                </a:moveTo>
                <a:cubicBezTo>
                  <a:pt x="1005" y="1010"/>
                  <a:pt x="1005" y="1010"/>
                  <a:pt x="1005" y="1010"/>
                </a:cubicBezTo>
                <a:cubicBezTo>
                  <a:pt x="1006" y="1013"/>
                  <a:pt x="1006" y="1013"/>
                  <a:pt x="1006" y="1013"/>
                </a:cubicBezTo>
                <a:cubicBezTo>
                  <a:pt x="1007" y="1014"/>
                  <a:pt x="1007" y="1014"/>
                  <a:pt x="1007" y="1014"/>
                </a:cubicBezTo>
                <a:cubicBezTo>
                  <a:pt x="1007" y="1014"/>
                  <a:pt x="1008" y="1015"/>
                  <a:pt x="1008" y="1015"/>
                </a:cubicBezTo>
                <a:cubicBezTo>
                  <a:pt x="1008" y="1013"/>
                  <a:pt x="1008" y="1013"/>
                  <a:pt x="1008" y="1013"/>
                </a:cubicBezTo>
                <a:cubicBezTo>
                  <a:pt x="1007" y="1011"/>
                  <a:pt x="1007" y="1011"/>
                  <a:pt x="1007" y="1011"/>
                </a:cubicBezTo>
                <a:lnTo>
                  <a:pt x="1005" y="1010"/>
                </a:lnTo>
                <a:close/>
                <a:moveTo>
                  <a:pt x="986" y="495"/>
                </a:moveTo>
                <a:cubicBezTo>
                  <a:pt x="986" y="496"/>
                  <a:pt x="986" y="496"/>
                  <a:pt x="986" y="496"/>
                </a:cubicBezTo>
                <a:cubicBezTo>
                  <a:pt x="987" y="496"/>
                  <a:pt x="987" y="496"/>
                  <a:pt x="987" y="496"/>
                </a:cubicBezTo>
                <a:cubicBezTo>
                  <a:pt x="987" y="496"/>
                  <a:pt x="987" y="496"/>
                  <a:pt x="987" y="496"/>
                </a:cubicBezTo>
                <a:lnTo>
                  <a:pt x="986" y="495"/>
                </a:lnTo>
                <a:close/>
                <a:moveTo>
                  <a:pt x="1005" y="1034"/>
                </a:moveTo>
                <a:cubicBezTo>
                  <a:pt x="1006" y="1034"/>
                  <a:pt x="1006" y="1034"/>
                  <a:pt x="1006" y="1034"/>
                </a:cubicBezTo>
                <a:cubicBezTo>
                  <a:pt x="1007" y="1035"/>
                  <a:pt x="1007" y="1035"/>
                  <a:pt x="1007" y="1035"/>
                </a:cubicBezTo>
                <a:cubicBezTo>
                  <a:pt x="1007" y="1034"/>
                  <a:pt x="1007" y="1034"/>
                  <a:pt x="1007" y="1034"/>
                </a:cubicBezTo>
                <a:cubicBezTo>
                  <a:pt x="1006" y="1033"/>
                  <a:pt x="1006" y="1033"/>
                  <a:pt x="1006" y="1033"/>
                </a:cubicBezTo>
                <a:cubicBezTo>
                  <a:pt x="1005" y="1032"/>
                  <a:pt x="1005" y="1032"/>
                  <a:pt x="1005" y="1032"/>
                </a:cubicBezTo>
                <a:lnTo>
                  <a:pt x="1005" y="1034"/>
                </a:lnTo>
                <a:close/>
                <a:moveTo>
                  <a:pt x="1455" y="396"/>
                </a:moveTo>
                <a:cubicBezTo>
                  <a:pt x="1457" y="393"/>
                  <a:pt x="1457" y="393"/>
                  <a:pt x="1457" y="393"/>
                </a:cubicBezTo>
                <a:cubicBezTo>
                  <a:pt x="1453" y="396"/>
                  <a:pt x="1453" y="396"/>
                  <a:pt x="1453" y="396"/>
                </a:cubicBezTo>
                <a:cubicBezTo>
                  <a:pt x="1454" y="398"/>
                  <a:pt x="1454" y="398"/>
                  <a:pt x="1454" y="398"/>
                </a:cubicBezTo>
                <a:lnTo>
                  <a:pt x="1455" y="396"/>
                </a:lnTo>
                <a:close/>
                <a:moveTo>
                  <a:pt x="1083" y="72"/>
                </a:moveTo>
                <a:cubicBezTo>
                  <a:pt x="1084" y="72"/>
                  <a:pt x="1084" y="72"/>
                  <a:pt x="1084" y="72"/>
                </a:cubicBezTo>
                <a:cubicBezTo>
                  <a:pt x="1084" y="71"/>
                  <a:pt x="1084" y="71"/>
                  <a:pt x="1084" y="71"/>
                </a:cubicBezTo>
                <a:cubicBezTo>
                  <a:pt x="1082" y="71"/>
                  <a:pt x="1082" y="71"/>
                  <a:pt x="1082" y="71"/>
                </a:cubicBezTo>
                <a:cubicBezTo>
                  <a:pt x="1081" y="72"/>
                  <a:pt x="1081" y="72"/>
                  <a:pt x="1081" y="72"/>
                </a:cubicBezTo>
                <a:cubicBezTo>
                  <a:pt x="1081" y="73"/>
                  <a:pt x="1081" y="73"/>
                  <a:pt x="1081" y="73"/>
                </a:cubicBezTo>
                <a:lnTo>
                  <a:pt x="1083" y="72"/>
                </a:lnTo>
                <a:close/>
                <a:moveTo>
                  <a:pt x="1083" y="85"/>
                </a:moveTo>
                <a:cubicBezTo>
                  <a:pt x="1085" y="84"/>
                  <a:pt x="1085" y="84"/>
                  <a:pt x="1085" y="84"/>
                </a:cubicBezTo>
                <a:cubicBezTo>
                  <a:pt x="1086" y="83"/>
                  <a:pt x="1086" y="83"/>
                  <a:pt x="1086" y="83"/>
                </a:cubicBezTo>
                <a:cubicBezTo>
                  <a:pt x="1085" y="83"/>
                  <a:pt x="1085" y="83"/>
                  <a:pt x="1085" y="83"/>
                </a:cubicBezTo>
                <a:cubicBezTo>
                  <a:pt x="1084" y="83"/>
                  <a:pt x="1084" y="83"/>
                  <a:pt x="1084" y="83"/>
                </a:cubicBezTo>
                <a:cubicBezTo>
                  <a:pt x="1082" y="83"/>
                  <a:pt x="1082" y="83"/>
                  <a:pt x="1082" y="83"/>
                </a:cubicBezTo>
                <a:cubicBezTo>
                  <a:pt x="1081" y="85"/>
                  <a:pt x="1081" y="85"/>
                  <a:pt x="1081" y="85"/>
                </a:cubicBezTo>
                <a:cubicBezTo>
                  <a:pt x="1081" y="85"/>
                  <a:pt x="1080" y="85"/>
                  <a:pt x="1080" y="85"/>
                </a:cubicBezTo>
                <a:cubicBezTo>
                  <a:pt x="1080" y="87"/>
                  <a:pt x="1080" y="87"/>
                  <a:pt x="1080" y="87"/>
                </a:cubicBezTo>
                <a:cubicBezTo>
                  <a:pt x="1082" y="87"/>
                  <a:pt x="1082" y="87"/>
                  <a:pt x="1082" y="87"/>
                </a:cubicBezTo>
                <a:lnTo>
                  <a:pt x="1083" y="85"/>
                </a:lnTo>
                <a:close/>
                <a:moveTo>
                  <a:pt x="1090" y="60"/>
                </a:moveTo>
                <a:cubicBezTo>
                  <a:pt x="1089" y="59"/>
                  <a:pt x="1089" y="59"/>
                  <a:pt x="1089" y="59"/>
                </a:cubicBezTo>
                <a:cubicBezTo>
                  <a:pt x="1089" y="59"/>
                  <a:pt x="1089" y="59"/>
                  <a:pt x="1089" y="59"/>
                </a:cubicBezTo>
                <a:cubicBezTo>
                  <a:pt x="1089" y="60"/>
                  <a:pt x="1089" y="60"/>
                  <a:pt x="1089" y="60"/>
                </a:cubicBezTo>
                <a:lnTo>
                  <a:pt x="1090" y="60"/>
                </a:lnTo>
                <a:close/>
                <a:moveTo>
                  <a:pt x="983" y="510"/>
                </a:moveTo>
                <a:cubicBezTo>
                  <a:pt x="983" y="510"/>
                  <a:pt x="983" y="510"/>
                  <a:pt x="983" y="510"/>
                </a:cubicBezTo>
                <a:cubicBezTo>
                  <a:pt x="984" y="509"/>
                  <a:pt x="984" y="509"/>
                  <a:pt x="984" y="509"/>
                </a:cubicBezTo>
                <a:cubicBezTo>
                  <a:pt x="984" y="508"/>
                  <a:pt x="984" y="508"/>
                  <a:pt x="984" y="508"/>
                </a:cubicBezTo>
                <a:cubicBezTo>
                  <a:pt x="983" y="509"/>
                  <a:pt x="983" y="509"/>
                  <a:pt x="983" y="509"/>
                </a:cubicBezTo>
                <a:lnTo>
                  <a:pt x="983" y="510"/>
                </a:lnTo>
                <a:close/>
                <a:moveTo>
                  <a:pt x="1080" y="93"/>
                </a:moveTo>
                <a:cubicBezTo>
                  <a:pt x="1081" y="92"/>
                  <a:pt x="1081" y="92"/>
                  <a:pt x="1081" y="92"/>
                </a:cubicBezTo>
                <a:cubicBezTo>
                  <a:pt x="1080" y="91"/>
                  <a:pt x="1080" y="91"/>
                  <a:pt x="1080" y="91"/>
                </a:cubicBezTo>
                <a:cubicBezTo>
                  <a:pt x="1079" y="91"/>
                  <a:pt x="1079" y="91"/>
                  <a:pt x="1079" y="91"/>
                </a:cubicBezTo>
                <a:cubicBezTo>
                  <a:pt x="1079" y="93"/>
                  <a:pt x="1079" y="93"/>
                  <a:pt x="1079" y="93"/>
                </a:cubicBezTo>
                <a:lnTo>
                  <a:pt x="1080" y="93"/>
                </a:lnTo>
                <a:close/>
                <a:moveTo>
                  <a:pt x="1082" y="19"/>
                </a:moveTo>
                <a:cubicBezTo>
                  <a:pt x="1082" y="21"/>
                  <a:pt x="1082" y="21"/>
                  <a:pt x="1082" y="21"/>
                </a:cubicBezTo>
                <a:cubicBezTo>
                  <a:pt x="1083" y="21"/>
                  <a:pt x="1083" y="21"/>
                  <a:pt x="1083" y="21"/>
                </a:cubicBezTo>
                <a:cubicBezTo>
                  <a:pt x="1083" y="20"/>
                  <a:pt x="1083" y="20"/>
                  <a:pt x="1083" y="20"/>
                </a:cubicBezTo>
                <a:cubicBezTo>
                  <a:pt x="1083" y="19"/>
                  <a:pt x="1083" y="19"/>
                  <a:pt x="1083" y="19"/>
                </a:cubicBezTo>
                <a:lnTo>
                  <a:pt x="1082" y="19"/>
                </a:lnTo>
                <a:close/>
                <a:moveTo>
                  <a:pt x="1462" y="397"/>
                </a:moveTo>
                <a:cubicBezTo>
                  <a:pt x="1461" y="397"/>
                  <a:pt x="1461" y="397"/>
                  <a:pt x="1461" y="397"/>
                </a:cubicBezTo>
                <a:cubicBezTo>
                  <a:pt x="1461" y="398"/>
                  <a:pt x="1461" y="398"/>
                  <a:pt x="1461" y="398"/>
                </a:cubicBezTo>
                <a:cubicBezTo>
                  <a:pt x="1462" y="399"/>
                  <a:pt x="1462" y="399"/>
                  <a:pt x="1462" y="399"/>
                </a:cubicBezTo>
                <a:lnTo>
                  <a:pt x="1462" y="397"/>
                </a:lnTo>
                <a:close/>
                <a:moveTo>
                  <a:pt x="1464" y="420"/>
                </a:moveTo>
                <a:cubicBezTo>
                  <a:pt x="1463" y="423"/>
                  <a:pt x="1463" y="423"/>
                  <a:pt x="1463" y="423"/>
                </a:cubicBezTo>
                <a:cubicBezTo>
                  <a:pt x="1465" y="422"/>
                  <a:pt x="1465" y="422"/>
                  <a:pt x="1465" y="422"/>
                </a:cubicBezTo>
                <a:cubicBezTo>
                  <a:pt x="1468" y="420"/>
                  <a:pt x="1468" y="420"/>
                  <a:pt x="1468" y="420"/>
                </a:cubicBezTo>
                <a:cubicBezTo>
                  <a:pt x="1467" y="419"/>
                  <a:pt x="1467" y="419"/>
                  <a:pt x="1467" y="419"/>
                </a:cubicBezTo>
                <a:cubicBezTo>
                  <a:pt x="1468" y="417"/>
                  <a:pt x="1468" y="417"/>
                  <a:pt x="1468" y="417"/>
                </a:cubicBezTo>
                <a:lnTo>
                  <a:pt x="1464" y="420"/>
                </a:lnTo>
                <a:close/>
                <a:moveTo>
                  <a:pt x="1459" y="400"/>
                </a:moveTo>
                <a:cubicBezTo>
                  <a:pt x="1459" y="403"/>
                  <a:pt x="1459" y="403"/>
                  <a:pt x="1459" y="403"/>
                </a:cubicBezTo>
                <a:cubicBezTo>
                  <a:pt x="1461" y="404"/>
                  <a:pt x="1461" y="404"/>
                  <a:pt x="1461" y="404"/>
                </a:cubicBezTo>
                <a:cubicBezTo>
                  <a:pt x="1462" y="402"/>
                  <a:pt x="1462" y="402"/>
                  <a:pt x="1462" y="402"/>
                </a:cubicBezTo>
                <a:cubicBezTo>
                  <a:pt x="1460" y="399"/>
                  <a:pt x="1460" y="399"/>
                  <a:pt x="1460" y="399"/>
                </a:cubicBezTo>
                <a:lnTo>
                  <a:pt x="1459" y="400"/>
                </a:lnTo>
                <a:close/>
                <a:moveTo>
                  <a:pt x="1468" y="435"/>
                </a:moveTo>
                <a:cubicBezTo>
                  <a:pt x="1471" y="433"/>
                  <a:pt x="1471" y="433"/>
                  <a:pt x="1471" y="433"/>
                </a:cubicBezTo>
                <a:cubicBezTo>
                  <a:pt x="1469" y="433"/>
                  <a:pt x="1469" y="433"/>
                  <a:pt x="1469" y="433"/>
                </a:cubicBezTo>
                <a:cubicBezTo>
                  <a:pt x="1468" y="431"/>
                  <a:pt x="1468" y="431"/>
                  <a:pt x="1468" y="431"/>
                </a:cubicBezTo>
                <a:cubicBezTo>
                  <a:pt x="1466" y="432"/>
                  <a:pt x="1466" y="432"/>
                  <a:pt x="1466" y="432"/>
                </a:cubicBezTo>
                <a:cubicBezTo>
                  <a:pt x="1466" y="432"/>
                  <a:pt x="1465" y="433"/>
                  <a:pt x="1465" y="433"/>
                </a:cubicBezTo>
                <a:lnTo>
                  <a:pt x="1468" y="435"/>
                </a:lnTo>
                <a:close/>
                <a:moveTo>
                  <a:pt x="1515" y="458"/>
                </a:moveTo>
                <a:cubicBezTo>
                  <a:pt x="1515" y="459"/>
                  <a:pt x="1515" y="459"/>
                  <a:pt x="1515" y="459"/>
                </a:cubicBezTo>
                <a:cubicBezTo>
                  <a:pt x="1516" y="459"/>
                  <a:pt x="1516" y="459"/>
                  <a:pt x="1516" y="459"/>
                </a:cubicBezTo>
                <a:cubicBezTo>
                  <a:pt x="1517" y="459"/>
                  <a:pt x="1517" y="459"/>
                  <a:pt x="1517" y="459"/>
                </a:cubicBezTo>
                <a:cubicBezTo>
                  <a:pt x="1516" y="458"/>
                  <a:pt x="1516" y="458"/>
                  <a:pt x="1516" y="458"/>
                </a:cubicBezTo>
                <a:lnTo>
                  <a:pt x="1515" y="458"/>
                </a:lnTo>
                <a:close/>
                <a:moveTo>
                  <a:pt x="1496" y="469"/>
                </a:moveTo>
                <a:cubicBezTo>
                  <a:pt x="1494" y="470"/>
                  <a:pt x="1494" y="470"/>
                  <a:pt x="1494" y="470"/>
                </a:cubicBezTo>
                <a:cubicBezTo>
                  <a:pt x="1495" y="470"/>
                  <a:pt x="1495" y="470"/>
                  <a:pt x="1495" y="470"/>
                </a:cubicBezTo>
                <a:cubicBezTo>
                  <a:pt x="1496" y="471"/>
                  <a:pt x="1496" y="471"/>
                  <a:pt x="1496" y="471"/>
                </a:cubicBezTo>
                <a:cubicBezTo>
                  <a:pt x="1498" y="471"/>
                  <a:pt x="1498" y="471"/>
                  <a:pt x="1498" y="471"/>
                </a:cubicBezTo>
                <a:cubicBezTo>
                  <a:pt x="1498" y="470"/>
                  <a:pt x="1498" y="470"/>
                  <a:pt x="1498" y="470"/>
                </a:cubicBezTo>
                <a:cubicBezTo>
                  <a:pt x="1498" y="469"/>
                  <a:pt x="1498" y="469"/>
                  <a:pt x="1498" y="469"/>
                </a:cubicBezTo>
                <a:cubicBezTo>
                  <a:pt x="1497" y="469"/>
                  <a:pt x="1497" y="469"/>
                  <a:pt x="1497" y="469"/>
                </a:cubicBezTo>
                <a:lnTo>
                  <a:pt x="1496" y="469"/>
                </a:lnTo>
                <a:close/>
                <a:moveTo>
                  <a:pt x="1453" y="399"/>
                </a:moveTo>
                <a:cubicBezTo>
                  <a:pt x="1452" y="396"/>
                  <a:pt x="1452" y="396"/>
                  <a:pt x="1452" y="396"/>
                </a:cubicBezTo>
                <a:cubicBezTo>
                  <a:pt x="1450" y="397"/>
                  <a:pt x="1450" y="397"/>
                  <a:pt x="1450" y="397"/>
                </a:cubicBezTo>
                <a:cubicBezTo>
                  <a:pt x="1450" y="400"/>
                  <a:pt x="1450" y="400"/>
                  <a:pt x="1450" y="400"/>
                </a:cubicBezTo>
                <a:cubicBezTo>
                  <a:pt x="1451" y="398"/>
                  <a:pt x="1451" y="398"/>
                  <a:pt x="1451" y="398"/>
                </a:cubicBezTo>
                <a:cubicBezTo>
                  <a:pt x="1451" y="400"/>
                  <a:pt x="1451" y="400"/>
                  <a:pt x="1451" y="400"/>
                </a:cubicBezTo>
                <a:lnTo>
                  <a:pt x="1453" y="399"/>
                </a:lnTo>
                <a:close/>
                <a:moveTo>
                  <a:pt x="1452" y="394"/>
                </a:moveTo>
                <a:cubicBezTo>
                  <a:pt x="1452" y="393"/>
                  <a:pt x="1452" y="393"/>
                  <a:pt x="1452" y="393"/>
                </a:cubicBezTo>
                <a:cubicBezTo>
                  <a:pt x="1452" y="395"/>
                  <a:pt x="1452" y="395"/>
                  <a:pt x="1452" y="395"/>
                </a:cubicBezTo>
                <a:lnTo>
                  <a:pt x="1452" y="394"/>
                </a:lnTo>
                <a:close/>
                <a:moveTo>
                  <a:pt x="1451" y="380"/>
                </a:moveTo>
                <a:cubicBezTo>
                  <a:pt x="1451" y="382"/>
                  <a:pt x="1451" y="382"/>
                  <a:pt x="1451" y="382"/>
                </a:cubicBezTo>
                <a:cubicBezTo>
                  <a:pt x="1452" y="381"/>
                  <a:pt x="1452" y="381"/>
                  <a:pt x="1452" y="381"/>
                </a:cubicBezTo>
                <a:cubicBezTo>
                  <a:pt x="1452" y="380"/>
                  <a:pt x="1452" y="380"/>
                  <a:pt x="1452" y="380"/>
                </a:cubicBezTo>
                <a:lnTo>
                  <a:pt x="1451" y="380"/>
                </a:lnTo>
                <a:close/>
                <a:moveTo>
                  <a:pt x="1448" y="387"/>
                </a:moveTo>
                <a:cubicBezTo>
                  <a:pt x="1450" y="386"/>
                  <a:pt x="1450" y="386"/>
                  <a:pt x="1450" y="386"/>
                </a:cubicBezTo>
                <a:cubicBezTo>
                  <a:pt x="1450" y="384"/>
                  <a:pt x="1450" y="384"/>
                  <a:pt x="1450" y="384"/>
                </a:cubicBezTo>
                <a:lnTo>
                  <a:pt x="1448" y="387"/>
                </a:lnTo>
                <a:close/>
                <a:moveTo>
                  <a:pt x="1476" y="355"/>
                </a:moveTo>
                <a:cubicBezTo>
                  <a:pt x="1476" y="354"/>
                  <a:pt x="1476" y="354"/>
                  <a:pt x="1476" y="354"/>
                </a:cubicBezTo>
                <a:cubicBezTo>
                  <a:pt x="1475" y="354"/>
                  <a:pt x="1475" y="354"/>
                  <a:pt x="1475" y="354"/>
                </a:cubicBezTo>
                <a:cubicBezTo>
                  <a:pt x="1476" y="356"/>
                  <a:pt x="1476" y="356"/>
                  <a:pt x="1476" y="356"/>
                </a:cubicBezTo>
                <a:lnTo>
                  <a:pt x="1476" y="355"/>
                </a:lnTo>
                <a:close/>
                <a:moveTo>
                  <a:pt x="1455" y="391"/>
                </a:moveTo>
                <a:cubicBezTo>
                  <a:pt x="1457" y="389"/>
                  <a:pt x="1457" y="389"/>
                  <a:pt x="1457" y="389"/>
                </a:cubicBezTo>
                <a:cubicBezTo>
                  <a:pt x="1456" y="388"/>
                  <a:pt x="1456" y="388"/>
                  <a:pt x="1456" y="388"/>
                </a:cubicBezTo>
                <a:cubicBezTo>
                  <a:pt x="1455" y="387"/>
                  <a:pt x="1455" y="387"/>
                  <a:pt x="1455" y="387"/>
                </a:cubicBezTo>
                <a:cubicBezTo>
                  <a:pt x="1453" y="386"/>
                  <a:pt x="1453" y="386"/>
                  <a:pt x="1453" y="386"/>
                </a:cubicBezTo>
                <a:cubicBezTo>
                  <a:pt x="1451" y="387"/>
                  <a:pt x="1451" y="387"/>
                  <a:pt x="1451" y="387"/>
                </a:cubicBezTo>
                <a:cubicBezTo>
                  <a:pt x="1454" y="388"/>
                  <a:pt x="1454" y="388"/>
                  <a:pt x="1454" y="388"/>
                </a:cubicBezTo>
                <a:cubicBezTo>
                  <a:pt x="1452" y="389"/>
                  <a:pt x="1452" y="389"/>
                  <a:pt x="1452" y="389"/>
                </a:cubicBezTo>
                <a:cubicBezTo>
                  <a:pt x="1453" y="390"/>
                  <a:pt x="1453" y="390"/>
                  <a:pt x="1453" y="390"/>
                </a:cubicBezTo>
                <a:cubicBezTo>
                  <a:pt x="1451" y="391"/>
                  <a:pt x="1451" y="391"/>
                  <a:pt x="1451" y="391"/>
                </a:cubicBezTo>
                <a:cubicBezTo>
                  <a:pt x="1455" y="390"/>
                  <a:pt x="1455" y="390"/>
                  <a:pt x="1455" y="390"/>
                </a:cubicBezTo>
                <a:lnTo>
                  <a:pt x="1455" y="391"/>
                </a:lnTo>
                <a:close/>
                <a:moveTo>
                  <a:pt x="1442" y="379"/>
                </a:moveTo>
                <a:cubicBezTo>
                  <a:pt x="1442" y="380"/>
                  <a:pt x="1442" y="380"/>
                  <a:pt x="1442" y="380"/>
                </a:cubicBezTo>
                <a:cubicBezTo>
                  <a:pt x="1442" y="382"/>
                  <a:pt x="1442" y="382"/>
                  <a:pt x="1442" y="382"/>
                </a:cubicBezTo>
                <a:cubicBezTo>
                  <a:pt x="1443" y="381"/>
                  <a:pt x="1443" y="381"/>
                  <a:pt x="1443" y="381"/>
                </a:cubicBezTo>
                <a:lnTo>
                  <a:pt x="1442" y="379"/>
                </a:lnTo>
                <a:close/>
                <a:moveTo>
                  <a:pt x="1478" y="350"/>
                </a:moveTo>
                <a:cubicBezTo>
                  <a:pt x="1477" y="350"/>
                  <a:pt x="1477" y="350"/>
                  <a:pt x="1477" y="350"/>
                </a:cubicBezTo>
                <a:cubicBezTo>
                  <a:pt x="1478" y="351"/>
                  <a:pt x="1478" y="351"/>
                  <a:pt x="1478" y="351"/>
                </a:cubicBezTo>
                <a:lnTo>
                  <a:pt x="1478" y="350"/>
                </a:lnTo>
                <a:close/>
                <a:moveTo>
                  <a:pt x="1443" y="373"/>
                </a:moveTo>
                <a:cubicBezTo>
                  <a:pt x="1443" y="374"/>
                  <a:pt x="1443" y="374"/>
                  <a:pt x="1443" y="374"/>
                </a:cubicBezTo>
                <a:cubicBezTo>
                  <a:pt x="1444" y="375"/>
                  <a:pt x="1444" y="375"/>
                  <a:pt x="1444" y="375"/>
                </a:cubicBezTo>
                <a:cubicBezTo>
                  <a:pt x="1445" y="373"/>
                  <a:pt x="1445" y="373"/>
                  <a:pt x="1445" y="373"/>
                </a:cubicBezTo>
                <a:lnTo>
                  <a:pt x="1443" y="373"/>
                </a:lnTo>
                <a:close/>
                <a:moveTo>
                  <a:pt x="1418" y="447"/>
                </a:moveTo>
                <a:cubicBezTo>
                  <a:pt x="1416" y="449"/>
                  <a:pt x="1416" y="449"/>
                  <a:pt x="1416" y="449"/>
                </a:cubicBezTo>
                <a:cubicBezTo>
                  <a:pt x="1414" y="449"/>
                  <a:pt x="1414" y="449"/>
                  <a:pt x="1414" y="449"/>
                </a:cubicBezTo>
                <a:cubicBezTo>
                  <a:pt x="1413" y="452"/>
                  <a:pt x="1413" y="452"/>
                  <a:pt x="1413" y="452"/>
                </a:cubicBezTo>
                <a:cubicBezTo>
                  <a:pt x="1414" y="452"/>
                  <a:pt x="1414" y="452"/>
                  <a:pt x="1414" y="452"/>
                </a:cubicBezTo>
                <a:cubicBezTo>
                  <a:pt x="1415" y="453"/>
                  <a:pt x="1415" y="453"/>
                  <a:pt x="1415" y="453"/>
                </a:cubicBezTo>
                <a:cubicBezTo>
                  <a:pt x="1420" y="451"/>
                  <a:pt x="1420" y="451"/>
                  <a:pt x="1420" y="451"/>
                </a:cubicBezTo>
                <a:cubicBezTo>
                  <a:pt x="1416" y="454"/>
                  <a:pt x="1416" y="454"/>
                  <a:pt x="1416" y="454"/>
                </a:cubicBezTo>
                <a:cubicBezTo>
                  <a:pt x="1415" y="455"/>
                  <a:pt x="1415" y="455"/>
                  <a:pt x="1415" y="455"/>
                </a:cubicBezTo>
                <a:cubicBezTo>
                  <a:pt x="1417" y="455"/>
                  <a:pt x="1417" y="455"/>
                  <a:pt x="1417" y="455"/>
                </a:cubicBezTo>
                <a:cubicBezTo>
                  <a:pt x="1420" y="453"/>
                  <a:pt x="1420" y="453"/>
                  <a:pt x="1420" y="453"/>
                </a:cubicBezTo>
                <a:cubicBezTo>
                  <a:pt x="1420" y="454"/>
                  <a:pt x="1420" y="454"/>
                  <a:pt x="1420" y="454"/>
                </a:cubicBezTo>
                <a:cubicBezTo>
                  <a:pt x="1417" y="456"/>
                  <a:pt x="1417" y="456"/>
                  <a:pt x="1417" y="456"/>
                </a:cubicBezTo>
                <a:cubicBezTo>
                  <a:pt x="1419" y="456"/>
                  <a:pt x="1419" y="456"/>
                  <a:pt x="1419" y="456"/>
                </a:cubicBezTo>
                <a:cubicBezTo>
                  <a:pt x="1418" y="457"/>
                  <a:pt x="1418" y="457"/>
                  <a:pt x="1418" y="457"/>
                </a:cubicBezTo>
                <a:cubicBezTo>
                  <a:pt x="1421" y="456"/>
                  <a:pt x="1421" y="456"/>
                  <a:pt x="1421" y="456"/>
                </a:cubicBezTo>
                <a:cubicBezTo>
                  <a:pt x="1422" y="457"/>
                  <a:pt x="1422" y="457"/>
                  <a:pt x="1422" y="457"/>
                </a:cubicBezTo>
                <a:cubicBezTo>
                  <a:pt x="1426" y="456"/>
                  <a:pt x="1426" y="456"/>
                  <a:pt x="1426" y="456"/>
                </a:cubicBezTo>
                <a:cubicBezTo>
                  <a:pt x="1429" y="455"/>
                  <a:pt x="1429" y="455"/>
                  <a:pt x="1429" y="455"/>
                </a:cubicBezTo>
                <a:cubicBezTo>
                  <a:pt x="1431" y="454"/>
                  <a:pt x="1431" y="454"/>
                  <a:pt x="1431" y="454"/>
                </a:cubicBezTo>
                <a:cubicBezTo>
                  <a:pt x="1430" y="452"/>
                  <a:pt x="1430" y="452"/>
                  <a:pt x="1430" y="452"/>
                </a:cubicBezTo>
                <a:cubicBezTo>
                  <a:pt x="1432" y="452"/>
                  <a:pt x="1432" y="452"/>
                  <a:pt x="1432" y="452"/>
                </a:cubicBezTo>
                <a:cubicBezTo>
                  <a:pt x="1432" y="453"/>
                  <a:pt x="1432" y="453"/>
                  <a:pt x="1432" y="453"/>
                </a:cubicBezTo>
                <a:cubicBezTo>
                  <a:pt x="1434" y="453"/>
                  <a:pt x="1434" y="453"/>
                  <a:pt x="1434" y="453"/>
                </a:cubicBezTo>
                <a:cubicBezTo>
                  <a:pt x="1436" y="451"/>
                  <a:pt x="1436" y="451"/>
                  <a:pt x="1436" y="451"/>
                </a:cubicBezTo>
                <a:cubicBezTo>
                  <a:pt x="1437" y="451"/>
                  <a:pt x="1437" y="451"/>
                  <a:pt x="1437" y="451"/>
                </a:cubicBezTo>
                <a:cubicBezTo>
                  <a:pt x="1438" y="449"/>
                  <a:pt x="1438" y="449"/>
                  <a:pt x="1438" y="449"/>
                </a:cubicBezTo>
                <a:cubicBezTo>
                  <a:pt x="1443" y="449"/>
                  <a:pt x="1443" y="449"/>
                  <a:pt x="1443" y="449"/>
                </a:cubicBezTo>
                <a:cubicBezTo>
                  <a:pt x="1444" y="447"/>
                  <a:pt x="1444" y="447"/>
                  <a:pt x="1444" y="447"/>
                </a:cubicBezTo>
                <a:cubicBezTo>
                  <a:pt x="1445" y="449"/>
                  <a:pt x="1445" y="449"/>
                  <a:pt x="1445" y="449"/>
                </a:cubicBezTo>
                <a:cubicBezTo>
                  <a:pt x="1446" y="448"/>
                  <a:pt x="1446" y="448"/>
                  <a:pt x="1446" y="448"/>
                </a:cubicBezTo>
                <a:cubicBezTo>
                  <a:pt x="1447" y="448"/>
                  <a:pt x="1447" y="448"/>
                  <a:pt x="1447" y="448"/>
                </a:cubicBezTo>
                <a:cubicBezTo>
                  <a:pt x="1450" y="448"/>
                  <a:pt x="1450" y="448"/>
                  <a:pt x="1450" y="448"/>
                </a:cubicBezTo>
                <a:cubicBezTo>
                  <a:pt x="1448" y="446"/>
                  <a:pt x="1448" y="446"/>
                  <a:pt x="1448" y="446"/>
                </a:cubicBezTo>
                <a:cubicBezTo>
                  <a:pt x="1449" y="445"/>
                  <a:pt x="1449" y="445"/>
                  <a:pt x="1449" y="445"/>
                </a:cubicBezTo>
                <a:cubicBezTo>
                  <a:pt x="1451" y="443"/>
                  <a:pt x="1451" y="443"/>
                  <a:pt x="1451" y="443"/>
                </a:cubicBezTo>
                <a:cubicBezTo>
                  <a:pt x="1451" y="441"/>
                  <a:pt x="1451" y="441"/>
                  <a:pt x="1451" y="441"/>
                </a:cubicBezTo>
                <a:cubicBezTo>
                  <a:pt x="1452" y="440"/>
                  <a:pt x="1452" y="440"/>
                  <a:pt x="1452" y="440"/>
                </a:cubicBezTo>
                <a:cubicBezTo>
                  <a:pt x="1453" y="438"/>
                  <a:pt x="1453" y="438"/>
                  <a:pt x="1453" y="438"/>
                </a:cubicBezTo>
                <a:cubicBezTo>
                  <a:pt x="1452" y="433"/>
                  <a:pt x="1452" y="433"/>
                  <a:pt x="1452" y="433"/>
                </a:cubicBezTo>
                <a:cubicBezTo>
                  <a:pt x="1451" y="432"/>
                  <a:pt x="1451" y="432"/>
                  <a:pt x="1451" y="432"/>
                </a:cubicBezTo>
                <a:cubicBezTo>
                  <a:pt x="1452" y="431"/>
                  <a:pt x="1452" y="431"/>
                  <a:pt x="1452" y="431"/>
                </a:cubicBezTo>
                <a:cubicBezTo>
                  <a:pt x="1452" y="429"/>
                  <a:pt x="1452" y="429"/>
                  <a:pt x="1452" y="429"/>
                </a:cubicBezTo>
                <a:cubicBezTo>
                  <a:pt x="1451" y="427"/>
                  <a:pt x="1451" y="427"/>
                  <a:pt x="1451" y="427"/>
                </a:cubicBezTo>
                <a:cubicBezTo>
                  <a:pt x="1451" y="425"/>
                  <a:pt x="1451" y="425"/>
                  <a:pt x="1451" y="425"/>
                </a:cubicBezTo>
                <a:cubicBezTo>
                  <a:pt x="1450" y="424"/>
                  <a:pt x="1450" y="424"/>
                  <a:pt x="1450" y="424"/>
                </a:cubicBezTo>
                <a:cubicBezTo>
                  <a:pt x="1450" y="423"/>
                  <a:pt x="1450" y="423"/>
                  <a:pt x="1450" y="423"/>
                </a:cubicBezTo>
                <a:cubicBezTo>
                  <a:pt x="1452" y="423"/>
                  <a:pt x="1452" y="423"/>
                  <a:pt x="1452" y="423"/>
                </a:cubicBezTo>
                <a:cubicBezTo>
                  <a:pt x="1452" y="423"/>
                  <a:pt x="1452" y="423"/>
                  <a:pt x="1452" y="423"/>
                </a:cubicBezTo>
                <a:cubicBezTo>
                  <a:pt x="1452" y="422"/>
                  <a:pt x="1452" y="422"/>
                  <a:pt x="1452" y="422"/>
                </a:cubicBezTo>
                <a:cubicBezTo>
                  <a:pt x="1453" y="422"/>
                  <a:pt x="1453" y="422"/>
                  <a:pt x="1453" y="422"/>
                </a:cubicBezTo>
                <a:cubicBezTo>
                  <a:pt x="1454" y="421"/>
                  <a:pt x="1454" y="421"/>
                  <a:pt x="1454" y="421"/>
                </a:cubicBezTo>
                <a:cubicBezTo>
                  <a:pt x="1455" y="419"/>
                  <a:pt x="1455" y="419"/>
                  <a:pt x="1455" y="419"/>
                </a:cubicBezTo>
                <a:cubicBezTo>
                  <a:pt x="1457" y="420"/>
                  <a:pt x="1457" y="420"/>
                  <a:pt x="1457" y="420"/>
                </a:cubicBezTo>
                <a:cubicBezTo>
                  <a:pt x="1457" y="418"/>
                  <a:pt x="1457" y="418"/>
                  <a:pt x="1457" y="418"/>
                </a:cubicBezTo>
                <a:cubicBezTo>
                  <a:pt x="1456" y="418"/>
                  <a:pt x="1456" y="418"/>
                  <a:pt x="1456" y="418"/>
                </a:cubicBezTo>
                <a:cubicBezTo>
                  <a:pt x="1456" y="416"/>
                  <a:pt x="1456" y="416"/>
                  <a:pt x="1456" y="416"/>
                </a:cubicBezTo>
                <a:cubicBezTo>
                  <a:pt x="1456" y="415"/>
                  <a:pt x="1456" y="415"/>
                  <a:pt x="1456" y="415"/>
                </a:cubicBezTo>
                <a:cubicBezTo>
                  <a:pt x="1457" y="415"/>
                  <a:pt x="1457" y="415"/>
                  <a:pt x="1457" y="415"/>
                </a:cubicBezTo>
                <a:cubicBezTo>
                  <a:pt x="1458" y="418"/>
                  <a:pt x="1458" y="418"/>
                  <a:pt x="1458" y="418"/>
                </a:cubicBezTo>
                <a:cubicBezTo>
                  <a:pt x="1457" y="414"/>
                  <a:pt x="1457" y="414"/>
                  <a:pt x="1457" y="414"/>
                </a:cubicBezTo>
                <a:cubicBezTo>
                  <a:pt x="1455" y="414"/>
                  <a:pt x="1455" y="414"/>
                  <a:pt x="1455" y="414"/>
                </a:cubicBezTo>
                <a:cubicBezTo>
                  <a:pt x="1456" y="413"/>
                  <a:pt x="1456" y="413"/>
                  <a:pt x="1456" y="413"/>
                </a:cubicBezTo>
                <a:cubicBezTo>
                  <a:pt x="1453" y="408"/>
                  <a:pt x="1453" y="408"/>
                  <a:pt x="1453" y="408"/>
                </a:cubicBezTo>
                <a:cubicBezTo>
                  <a:pt x="1453" y="407"/>
                  <a:pt x="1453" y="407"/>
                  <a:pt x="1453" y="407"/>
                </a:cubicBezTo>
                <a:cubicBezTo>
                  <a:pt x="1452" y="406"/>
                  <a:pt x="1452" y="406"/>
                  <a:pt x="1452" y="406"/>
                </a:cubicBezTo>
                <a:cubicBezTo>
                  <a:pt x="1448" y="405"/>
                  <a:pt x="1448" y="405"/>
                  <a:pt x="1448" y="405"/>
                </a:cubicBezTo>
                <a:cubicBezTo>
                  <a:pt x="1447" y="407"/>
                  <a:pt x="1447" y="407"/>
                  <a:pt x="1447" y="407"/>
                </a:cubicBezTo>
                <a:cubicBezTo>
                  <a:pt x="1445" y="407"/>
                  <a:pt x="1445" y="407"/>
                  <a:pt x="1445" y="407"/>
                </a:cubicBezTo>
                <a:cubicBezTo>
                  <a:pt x="1445" y="408"/>
                  <a:pt x="1445" y="408"/>
                  <a:pt x="1445" y="408"/>
                </a:cubicBezTo>
                <a:cubicBezTo>
                  <a:pt x="1443" y="408"/>
                  <a:pt x="1443" y="408"/>
                  <a:pt x="1443" y="408"/>
                </a:cubicBezTo>
                <a:cubicBezTo>
                  <a:pt x="1442" y="408"/>
                  <a:pt x="1442" y="408"/>
                  <a:pt x="1442" y="408"/>
                </a:cubicBezTo>
                <a:cubicBezTo>
                  <a:pt x="1444" y="406"/>
                  <a:pt x="1444" y="406"/>
                  <a:pt x="1444" y="406"/>
                </a:cubicBezTo>
                <a:cubicBezTo>
                  <a:pt x="1446" y="405"/>
                  <a:pt x="1446" y="405"/>
                  <a:pt x="1446" y="405"/>
                </a:cubicBezTo>
                <a:cubicBezTo>
                  <a:pt x="1444" y="404"/>
                  <a:pt x="1444" y="404"/>
                  <a:pt x="1444" y="404"/>
                </a:cubicBezTo>
                <a:cubicBezTo>
                  <a:pt x="1442" y="403"/>
                  <a:pt x="1442" y="403"/>
                  <a:pt x="1442" y="403"/>
                </a:cubicBezTo>
                <a:cubicBezTo>
                  <a:pt x="1443" y="404"/>
                  <a:pt x="1443" y="404"/>
                  <a:pt x="1443" y="404"/>
                </a:cubicBezTo>
                <a:cubicBezTo>
                  <a:pt x="1441" y="404"/>
                  <a:pt x="1441" y="404"/>
                  <a:pt x="1441" y="404"/>
                </a:cubicBezTo>
                <a:cubicBezTo>
                  <a:pt x="1441" y="407"/>
                  <a:pt x="1441" y="407"/>
                  <a:pt x="1441" y="407"/>
                </a:cubicBezTo>
                <a:cubicBezTo>
                  <a:pt x="1440" y="409"/>
                  <a:pt x="1440" y="409"/>
                  <a:pt x="1440" y="409"/>
                </a:cubicBezTo>
                <a:cubicBezTo>
                  <a:pt x="1440" y="407"/>
                  <a:pt x="1440" y="407"/>
                  <a:pt x="1440" y="407"/>
                </a:cubicBezTo>
                <a:cubicBezTo>
                  <a:pt x="1441" y="406"/>
                  <a:pt x="1441" y="406"/>
                  <a:pt x="1441" y="406"/>
                </a:cubicBezTo>
                <a:cubicBezTo>
                  <a:pt x="1440" y="405"/>
                  <a:pt x="1440" y="405"/>
                  <a:pt x="1440" y="405"/>
                </a:cubicBezTo>
                <a:cubicBezTo>
                  <a:pt x="1438" y="405"/>
                  <a:pt x="1438" y="405"/>
                  <a:pt x="1438" y="405"/>
                </a:cubicBezTo>
                <a:cubicBezTo>
                  <a:pt x="1439" y="406"/>
                  <a:pt x="1439" y="406"/>
                  <a:pt x="1439" y="406"/>
                </a:cubicBezTo>
                <a:cubicBezTo>
                  <a:pt x="1438" y="406"/>
                  <a:pt x="1438" y="406"/>
                  <a:pt x="1438" y="406"/>
                </a:cubicBezTo>
                <a:cubicBezTo>
                  <a:pt x="1437" y="405"/>
                  <a:pt x="1437" y="405"/>
                  <a:pt x="1437" y="405"/>
                </a:cubicBezTo>
                <a:cubicBezTo>
                  <a:pt x="1434" y="406"/>
                  <a:pt x="1434" y="406"/>
                  <a:pt x="1434" y="406"/>
                </a:cubicBezTo>
                <a:cubicBezTo>
                  <a:pt x="1434" y="407"/>
                  <a:pt x="1434" y="407"/>
                  <a:pt x="1434" y="407"/>
                </a:cubicBezTo>
                <a:cubicBezTo>
                  <a:pt x="1433" y="407"/>
                  <a:pt x="1433" y="407"/>
                  <a:pt x="1433" y="407"/>
                </a:cubicBezTo>
                <a:cubicBezTo>
                  <a:pt x="1432" y="409"/>
                  <a:pt x="1432" y="409"/>
                  <a:pt x="1432" y="409"/>
                </a:cubicBezTo>
                <a:cubicBezTo>
                  <a:pt x="1434" y="410"/>
                  <a:pt x="1434" y="410"/>
                  <a:pt x="1434" y="410"/>
                </a:cubicBezTo>
                <a:cubicBezTo>
                  <a:pt x="1433" y="410"/>
                  <a:pt x="1433" y="410"/>
                  <a:pt x="1433" y="410"/>
                </a:cubicBezTo>
                <a:cubicBezTo>
                  <a:pt x="1432" y="410"/>
                  <a:pt x="1432" y="410"/>
                  <a:pt x="1432" y="410"/>
                </a:cubicBezTo>
                <a:cubicBezTo>
                  <a:pt x="1432" y="411"/>
                  <a:pt x="1432" y="411"/>
                  <a:pt x="1432" y="411"/>
                </a:cubicBezTo>
                <a:cubicBezTo>
                  <a:pt x="1430" y="412"/>
                  <a:pt x="1430" y="412"/>
                  <a:pt x="1430" y="412"/>
                </a:cubicBezTo>
                <a:cubicBezTo>
                  <a:pt x="1431" y="413"/>
                  <a:pt x="1431" y="413"/>
                  <a:pt x="1431" y="413"/>
                </a:cubicBezTo>
                <a:cubicBezTo>
                  <a:pt x="1433" y="413"/>
                  <a:pt x="1433" y="413"/>
                  <a:pt x="1433" y="413"/>
                </a:cubicBezTo>
                <a:cubicBezTo>
                  <a:pt x="1432" y="414"/>
                  <a:pt x="1432" y="414"/>
                  <a:pt x="1432" y="414"/>
                </a:cubicBezTo>
                <a:cubicBezTo>
                  <a:pt x="1434" y="413"/>
                  <a:pt x="1434" y="413"/>
                  <a:pt x="1434" y="413"/>
                </a:cubicBezTo>
                <a:cubicBezTo>
                  <a:pt x="1435" y="413"/>
                  <a:pt x="1435" y="413"/>
                  <a:pt x="1435" y="413"/>
                </a:cubicBezTo>
                <a:cubicBezTo>
                  <a:pt x="1433" y="416"/>
                  <a:pt x="1433" y="416"/>
                  <a:pt x="1433" y="416"/>
                </a:cubicBezTo>
                <a:cubicBezTo>
                  <a:pt x="1430" y="417"/>
                  <a:pt x="1430" y="417"/>
                  <a:pt x="1430" y="417"/>
                </a:cubicBezTo>
                <a:cubicBezTo>
                  <a:pt x="1431" y="418"/>
                  <a:pt x="1431" y="418"/>
                  <a:pt x="1431" y="418"/>
                </a:cubicBezTo>
                <a:cubicBezTo>
                  <a:pt x="1428" y="418"/>
                  <a:pt x="1428" y="418"/>
                  <a:pt x="1428" y="418"/>
                </a:cubicBezTo>
                <a:cubicBezTo>
                  <a:pt x="1427" y="418"/>
                  <a:pt x="1427" y="418"/>
                  <a:pt x="1427" y="418"/>
                </a:cubicBezTo>
                <a:cubicBezTo>
                  <a:pt x="1426" y="419"/>
                  <a:pt x="1426" y="419"/>
                  <a:pt x="1426" y="419"/>
                </a:cubicBezTo>
                <a:cubicBezTo>
                  <a:pt x="1425" y="417"/>
                  <a:pt x="1425" y="417"/>
                  <a:pt x="1425" y="417"/>
                </a:cubicBezTo>
                <a:cubicBezTo>
                  <a:pt x="1420" y="417"/>
                  <a:pt x="1420" y="417"/>
                  <a:pt x="1420" y="417"/>
                </a:cubicBezTo>
                <a:cubicBezTo>
                  <a:pt x="1420" y="417"/>
                  <a:pt x="1420" y="417"/>
                  <a:pt x="1420" y="417"/>
                </a:cubicBezTo>
                <a:cubicBezTo>
                  <a:pt x="1418" y="417"/>
                  <a:pt x="1418" y="417"/>
                  <a:pt x="1418" y="417"/>
                </a:cubicBezTo>
                <a:cubicBezTo>
                  <a:pt x="1417" y="419"/>
                  <a:pt x="1417" y="419"/>
                  <a:pt x="1417" y="419"/>
                </a:cubicBezTo>
                <a:cubicBezTo>
                  <a:pt x="1419" y="418"/>
                  <a:pt x="1419" y="418"/>
                  <a:pt x="1419" y="418"/>
                </a:cubicBezTo>
                <a:cubicBezTo>
                  <a:pt x="1419" y="420"/>
                  <a:pt x="1419" y="420"/>
                  <a:pt x="1419" y="420"/>
                </a:cubicBezTo>
                <a:cubicBezTo>
                  <a:pt x="1420" y="420"/>
                  <a:pt x="1420" y="420"/>
                  <a:pt x="1420" y="420"/>
                </a:cubicBezTo>
                <a:cubicBezTo>
                  <a:pt x="1420" y="422"/>
                  <a:pt x="1420" y="422"/>
                  <a:pt x="1420" y="422"/>
                </a:cubicBezTo>
                <a:cubicBezTo>
                  <a:pt x="1419" y="422"/>
                  <a:pt x="1419" y="422"/>
                  <a:pt x="1419" y="422"/>
                </a:cubicBezTo>
                <a:cubicBezTo>
                  <a:pt x="1419" y="421"/>
                  <a:pt x="1419" y="421"/>
                  <a:pt x="1419" y="421"/>
                </a:cubicBezTo>
                <a:cubicBezTo>
                  <a:pt x="1416" y="421"/>
                  <a:pt x="1416" y="421"/>
                  <a:pt x="1416" y="421"/>
                </a:cubicBezTo>
                <a:cubicBezTo>
                  <a:pt x="1419" y="423"/>
                  <a:pt x="1419" y="423"/>
                  <a:pt x="1419" y="423"/>
                </a:cubicBezTo>
                <a:cubicBezTo>
                  <a:pt x="1421" y="423"/>
                  <a:pt x="1421" y="423"/>
                  <a:pt x="1421" y="423"/>
                </a:cubicBezTo>
                <a:cubicBezTo>
                  <a:pt x="1422" y="424"/>
                  <a:pt x="1422" y="424"/>
                  <a:pt x="1422" y="424"/>
                </a:cubicBezTo>
                <a:cubicBezTo>
                  <a:pt x="1419" y="425"/>
                  <a:pt x="1419" y="425"/>
                  <a:pt x="1419" y="425"/>
                </a:cubicBezTo>
                <a:cubicBezTo>
                  <a:pt x="1419" y="426"/>
                  <a:pt x="1419" y="426"/>
                  <a:pt x="1419" y="426"/>
                </a:cubicBezTo>
                <a:cubicBezTo>
                  <a:pt x="1420" y="427"/>
                  <a:pt x="1420" y="427"/>
                  <a:pt x="1420" y="427"/>
                </a:cubicBezTo>
                <a:cubicBezTo>
                  <a:pt x="1417" y="427"/>
                  <a:pt x="1417" y="427"/>
                  <a:pt x="1417" y="427"/>
                </a:cubicBezTo>
                <a:cubicBezTo>
                  <a:pt x="1417" y="429"/>
                  <a:pt x="1417" y="429"/>
                  <a:pt x="1417" y="429"/>
                </a:cubicBezTo>
                <a:cubicBezTo>
                  <a:pt x="1416" y="429"/>
                  <a:pt x="1416" y="429"/>
                  <a:pt x="1416" y="429"/>
                </a:cubicBezTo>
                <a:cubicBezTo>
                  <a:pt x="1418" y="430"/>
                  <a:pt x="1418" y="430"/>
                  <a:pt x="1418" y="430"/>
                </a:cubicBezTo>
                <a:cubicBezTo>
                  <a:pt x="1419" y="429"/>
                  <a:pt x="1419" y="429"/>
                  <a:pt x="1419" y="429"/>
                </a:cubicBezTo>
                <a:cubicBezTo>
                  <a:pt x="1418" y="430"/>
                  <a:pt x="1418" y="430"/>
                  <a:pt x="1418" y="430"/>
                </a:cubicBezTo>
                <a:cubicBezTo>
                  <a:pt x="1421" y="430"/>
                  <a:pt x="1421" y="430"/>
                  <a:pt x="1421" y="430"/>
                </a:cubicBezTo>
                <a:cubicBezTo>
                  <a:pt x="1421" y="432"/>
                  <a:pt x="1421" y="432"/>
                  <a:pt x="1421" y="432"/>
                </a:cubicBezTo>
                <a:cubicBezTo>
                  <a:pt x="1427" y="432"/>
                  <a:pt x="1427" y="432"/>
                  <a:pt x="1427" y="432"/>
                </a:cubicBezTo>
                <a:cubicBezTo>
                  <a:pt x="1425" y="434"/>
                  <a:pt x="1425" y="434"/>
                  <a:pt x="1425" y="434"/>
                </a:cubicBezTo>
                <a:cubicBezTo>
                  <a:pt x="1424" y="433"/>
                  <a:pt x="1424" y="433"/>
                  <a:pt x="1424" y="433"/>
                </a:cubicBezTo>
                <a:cubicBezTo>
                  <a:pt x="1422" y="437"/>
                  <a:pt x="1422" y="437"/>
                  <a:pt x="1422" y="437"/>
                </a:cubicBezTo>
                <a:cubicBezTo>
                  <a:pt x="1423" y="437"/>
                  <a:pt x="1423" y="437"/>
                  <a:pt x="1423" y="437"/>
                </a:cubicBezTo>
                <a:cubicBezTo>
                  <a:pt x="1421" y="439"/>
                  <a:pt x="1421" y="439"/>
                  <a:pt x="1421" y="439"/>
                </a:cubicBezTo>
                <a:cubicBezTo>
                  <a:pt x="1417" y="441"/>
                  <a:pt x="1417" y="441"/>
                  <a:pt x="1417" y="441"/>
                </a:cubicBezTo>
                <a:cubicBezTo>
                  <a:pt x="1419" y="441"/>
                  <a:pt x="1419" y="441"/>
                  <a:pt x="1419" y="441"/>
                </a:cubicBezTo>
                <a:cubicBezTo>
                  <a:pt x="1421" y="440"/>
                  <a:pt x="1421" y="440"/>
                  <a:pt x="1421" y="440"/>
                </a:cubicBezTo>
                <a:cubicBezTo>
                  <a:pt x="1422" y="441"/>
                  <a:pt x="1422" y="441"/>
                  <a:pt x="1422" y="441"/>
                </a:cubicBezTo>
                <a:cubicBezTo>
                  <a:pt x="1424" y="441"/>
                  <a:pt x="1424" y="441"/>
                  <a:pt x="1424" y="441"/>
                </a:cubicBezTo>
                <a:cubicBezTo>
                  <a:pt x="1426" y="439"/>
                  <a:pt x="1426" y="439"/>
                  <a:pt x="1426" y="439"/>
                </a:cubicBezTo>
                <a:cubicBezTo>
                  <a:pt x="1426" y="440"/>
                  <a:pt x="1426" y="440"/>
                  <a:pt x="1426" y="440"/>
                </a:cubicBezTo>
                <a:cubicBezTo>
                  <a:pt x="1428" y="440"/>
                  <a:pt x="1428" y="440"/>
                  <a:pt x="1428" y="440"/>
                </a:cubicBezTo>
                <a:cubicBezTo>
                  <a:pt x="1424" y="441"/>
                  <a:pt x="1424" y="441"/>
                  <a:pt x="1424" y="441"/>
                </a:cubicBezTo>
                <a:cubicBezTo>
                  <a:pt x="1420" y="442"/>
                  <a:pt x="1420" y="442"/>
                  <a:pt x="1420" y="442"/>
                </a:cubicBezTo>
                <a:cubicBezTo>
                  <a:pt x="1420" y="443"/>
                  <a:pt x="1420" y="443"/>
                  <a:pt x="1420" y="443"/>
                </a:cubicBezTo>
                <a:cubicBezTo>
                  <a:pt x="1417" y="444"/>
                  <a:pt x="1417" y="444"/>
                  <a:pt x="1417" y="444"/>
                </a:cubicBezTo>
                <a:cubicBezTo>
                  <a:pt x="1418" y="445"/>
                  <a:pt x="1418" y="445"/>
                  <a:pt x="1418" y="445"/>
                </a:cubicBezTo>
                <a:cubicBezTo>
                  <a:pt x="1418" y="446"/>
                  <a:pt x="1418" y="446"/>
                  <a:pt x="1418" y="446"/>
                </a:cubicBezTo>
                <a:cubicBezTo>
                  <a:pt x="1419" y="446"/>
                  <a:pt x="1419" y="446"/>
                  <a:pt x="1419" y="446"/>
                </a:cubicBezTo>
                <a:cubicBezTo>
                  <a:pt x="1417" y="446"/>
                  <a:pt x="1417" y="446"/>
                  <a:pt x="1417" y="446"/>
                </a:cubicBezTo>
                <a:cubicBezTo>
                  <a:pt x="1416" y="445"/>
                  <a:pt x="1416" y="445"/>
                  <a:pt x="1416" y="445"/>
                </a:cubicBezTo>
                <a:cubicBezTo>
                  <a:pt x="1415" y="446"/>
                  <a:pt x="1415" y="446"/>
                  <a:pt x="1415" y="446"/>
                </a:cubicBezTo>
                <a:cubicBezTo>
                  <a:pt x="1415" y="445"/>
                  <a:pt x="1415" y="445"/>
                  <a:pt x="1415" y="445"/>
                </a:cubicBezTo>
                <a:cubicBezTo>
                  <a:pt x="1412" y="447"/>
                  <a:pt x="1412" y="447"/>
                  <a:pt x="1412" y="447"/>
                </a:cubicBezTo>
                <a:cubicBezTo>
                  <a:pt x="1412" y="447"/>
                  <a:pt x="1412" y="447"/>
                  <a:pt x="1412" y="447"/>
                </a:cubicBezTo>
                <a:lnTo>
                  <a:pt x="1418" y="447"/>
                </a:lnTo>
                <a:close/>
                <a:moveTo>
                  <a:pt x="2522" y="932"/>
                </a:moveTo>
                <a:cubicBezTo>
                  <a:pt x="2523" y="933"/>
                  <a:pt x="2523" y="933"/>
                  <a:pt x="2523" y="933"/>
                </a:cubicBezTo>
                <a:cubicBezTo>
                  <a:pt x="2524" y="932"/>
                  <a:pt x="2524" y="932"/>
                  <a:pt x="2524" y="932"/>
                </a:cubicBezTo>
                <a:lnTo>
                  <a:pt x="2522" y="932"/>
                </a:lnTo>
                <a:close/>
                <a:moveTo>
                  <a:pt x="1445" y="372"/>
                </a:moveTo>
                <a:cubicBezTo>
                  <a:pt x="1445" y="371"/>
                  <a:pt x="1445" y="371"/>
                  <a:pt x="1445" y="371"/>
                </a:cubicBezTo>
                <a:cubicBezTo>
                  <a:pt x="1443" y="371"/>
                  <a:pt x="1443" y="371"/>
                  <a:pt x="1443" y="371"/>
                </a:cubicBezTo>
                <a:cubicBezTo>
                  <a:pt x="1442" y="371"/>
                  <a:pt x="1442" y="371"/>
                  <a:pt x="1442" y="371"/>
                </a:cubicBezTo>
                <a:cubicBezTo>
                  <a:pt x="1443" y="373"/>
                  <a:pt x="1443" y="373"/>
                  <a:pt x="1443" y="373"/>
                </a:cubicBezTo>
                <a:lnTo>
                  <a:pt x="1445" y="372"/>
                </a:lnTo>
                <a:close/>
                <a:moveTo>
                  <a:pt x="2525" y="937"/>
                </a:moveTo>
                <a:cubicBezTo>
                  <a:pt x="2525" y="935"/>
                  <a:pt x="2525" y="935"/>
                  <a:pt x="2525" y="935"/>
                </a:cubicBezTo>
                <a:cubicBezTo>
                  <a:pt x="2524" y="934"/>
                  <a:pt x="2524" y="934"/>
                  <a:pt x="2524" y="934"/>
                </a:cubicBezTo>
                <a:cubicBezTo>
                  <a:pt x="2523" y="935"/>
                  <a:pt x="2523" y="935"/>
                  <a:pt x="2523" y="935"/>
                </a:cubicBezTo>
                <a:cubicBezTo>
                  <a:pt x="2523" y="936"/>
                  <a:pt x="2523" y="936"/>
                  <a:pt x="2523" y="936"/>
                </a:cubicBezTo>
                <a:lnTo>
                  <a:pt x="2525" y="937"/>
                </a:lnTo>
                <a:close/>
                <a:moveTo>
                  <a:pt x="1444" y="375"/>
                </a:moveTo>
                <a:cubicBezTo>
                  <a:pt x="1443" y="375"/>
                  <a:pt x="1443" y="375"/>
                  <a:pt x="1443" y="375"/>
                </a:cubicBezTo>
                <a:cubicBezTo>
                  <a:pt x="1443" y="376"/>
                  <a:pt x="1443" y="376"/>
                  <a:pt x="1443" y="376"/>
                </a:cubicBezTo>
                <a:cubicBezTo>
                  <a:pt x="1443" y="377"/>
                  <a:pt x="1443" y="377"/>
                  <a:pt x="1443" y="377"/>
                </a:cubicBezTo>
                <a:cubicBezTo>
                  <a:pt x="1443" y="379"/>
                  <a:pt x="1443" y="379"/>
                  <a:pt x="1443" y="379"/>
                </a:cubicBezTo>
                <a:cubicBezTo>
                  <a:pt x="1444" y="379"/>
                  <a:pt x="1444" y="379"/>
                  <a:pt x="1444" y="379"/>
                </a:cubicBezTo>
                <a:cubicBezTo>
                  <a:pt x="1444" y="377"/>
                  <a:pt x="1444" y="377"/>
                  <a:pt x="1444" y="377"/>
                </a:cubicBezTo>
                <a:cubicBezTo>
                  <a:pt x="1444" y="376"/>
                  <a:pt x="1444" y="376"/>
                  <a:pt x="1444" y="376"/>
                </a:cubicBezTo>
                <a:lnTo>
                  <a:pt x="1444" y="375"/>
                </a:lnTo>
                <a:close/>
                <a:moveTo>
                  <a:pt x="2544" y="908"/>
                </a:moveTo>
                <a:cubicBezTo>
                  <a:pt x="2545" y="910"/>
                  <a:pt x="2545" y="910"/>
                  <a:pt x="2545" y="910"/>
                </a:cubicBezTo>
                <a:cubicBezTo>
                  <a:pt x="2546" y="909"/>
                  <a:pt x="2546" y="909"/>
                  <a:pt x="2546" y="909"/>
                </a:cubicBezTo>
                <a:cubicBezTo>
                  <a:pt x="2544" y="907"/>
                  <a:pt x="2544" y="907"/>
                  <a:pt x="2544" y="907"/>
                </a:cubicBezTo>
                <a:lnTo>
                  <a:pt x="2544" y="908"/>
                </a:lnTo>
                <a:close/>
                <a:moveTo>
                  <a:pt x="1476" y="352"/>
                </a:moveTo>
                <a:cubicBezTo>
                  <a:pt x="1476" y="353"/>
                  <a:pt x="1476" y="353"/>
                  <a:pt x="1476" y="353"/>
                </a:cubicBezTo>
                <a:cubicBezTo>
                  <a:pt x="1478" y="353"/>
                  <a:pt x="1478" y="353"/>
                  <a:pt x="1478" y="353"/>
                </a:cubicBezTo>
                <a:cubicBezTo>
                  <a:pt x="1479" y="354"/>
                  <a:pt x="1479" y="354"/>
                  <a:pt x="1479" y="354"/>
                </a:cubicBezTo>
                <a:cubicBezTo>
                  <a:pt x="1479" y="352"/>
                  <a:pt x="1479" y="352"/>
                  <a:pt x="1479" y="352"/>
                </a:cubicBezTo>
                <a:cubicBezTo>
                  <a:pt x="1477" y="353"/>
                  <a:pt x="1477" y="353"/>
                  <a:pt x="1477" y="353"/>
                </a:cubicBezTo>
                <a:cubicBezTo>
                  <a:pt x="1478" y="352"/>
                  <a:pt x="1478" y="352"/>
                  <a:pt x="1478" y="352"/>
                </a:cubicBezTo>
                <a:cubicBezTo>
                  <a:pt x="1476" y="351"/>
                  <a:pt x="1476" y="351"/>
                  <a:pt x="1476" y="351"/>
                </a:cubicBezTo>
                <a:cubicBezTo>
                  <a:pt x="1475" y="351"/>
                  <a:pt x="1475" y="351"/>
                  <a:pt x="1475" y="351"/>
                </a:cubicBezTo>
                <a:cubicBezTo>
                  <a:pt x="1475" y="353"/>
                  <a:pt x="1475" y="353"/>
                  <a:pt x="1475" y="353"/>
                </a:cubicBezTo>
                <a:cubicBezTo>
                  <a:pt x="1476" y="353"/>
                  <a:pt x="1476" y="353"/>
                  <a:pt x="1476" y="353"/>
                </a:cubicBezTo>
                <a:lnTo>
                  <a:pt x="1476" y="352"/>
                </a:lnTo>
                <a:close/>
                <a:moveTo>
                  <a:pt x="1456" y="373"/>
                </a:moveTo>
                <a:cubicBezTo>
                  <a:pt x="1456" y="375"/>
                  <a:pt x="1456" y="375"/>
                  <a:pt x="1456" y="375"/>
                </a:cubicBezTo>
                <a:cubicBezTo>
                  <a:pt x="1456" y="376"/>
                  <a:pt x="1456" y="376"/>
                  <a:pt x="1456" y="376"/>
                </a:cubicBezTo>
                <a:cubicBezTo>
                  <a:pt x="1458" y="375"/>
                  <a:pt x="1458" y="375"/>
                  <a:pt x="1458" y="375"/>
                </a:cubicBezTo>
                <a:cubicBezTo>
                  <a:pt x="1457" y="376"/>
                  <a:pt x="1457" y="376"/>
                  <a:pt x="1457" y="376"/>
                </a:cubicBezTo>
                <a:cubicBezTo>
                  <a:pt x="1457" y="377"/>
                  <a:pt x="1457" y="377"/>
                  <a:pt x="1457" y="377"/>
                </a:cubicBezTo>
                <a:cubicBezTo>
                  <a:pt x="1457" y="377"/>
                  <a:pt x="1457" y="377"/>
                  <a:pt x="1457" y="377"/>
                </a:cubicBezTo>
                <a:cubicBezTo>
                  <a:pt x="1459" y="376"/>
                  <a:pt x="1459" y="376"/>
                  <a:pt x="1459" y="376"/>
                </a:cubicBezTo>
                <a:cubicBezTo>
                  <a:pt x="1458" y="377"/>
                  <a:pt x="1458" y="377"/>
                  <a:pt x="1458" y="377"/>
                </a:cubicBezTo>
                <a:cubicBezTo>
                  <a:pt x="1459" y="378"/>
                  <a:pt x="1459" y="378"/>
                  <a:pt x="1459" y="378"/>
                </a:cubicBezTo>
                <a:cubicBezTo>
                  <a:pt x="1458" y="377"/>
                  <a:pt x="1458" y="377"/>
                  <a:pt x="1458" y="377"/>
                </a:cubicBezTo>
                <a:cubicBezTo>
                  <a:pt x="1457" y="377"/>
                  <a:pt x="1457" y="377"/>
                  <a:pt x="1457" y="377"/>
                </a:cubicBezTo>
                <a:cubicBezTo>
                  <a:pt x="1457" y="378"/>
                  <a:pt x="1457" y="378"/>
                  <a:pt x="1457" y="378"/>
                </a:cubicBezTo>
                <a:cubicBezTo>
                  <a:pt x="1458" y="379"/>
                  <a:pt x="1458" y="379"/>
                  <a:pt x="1458" y="379"/>
                </a:cubicBezTo>
                <a:cubicBezTo>
                  <a:pt x="1457" y="379"/>
                  <a:pt x="1457" y="379"/>
                  <a:pt x="1457" y="379"/>
                </a:cubicBezTo>
                <a:cubicBezTo>
                  <a:pt x="1456" y="380"/>
                  <a:pt x="1456" y="380"/>
                  <a:pt x="1456" y="380"/>
                </a:cubicBezTo>
                <a:cubicBezTo>
                  <a:pt x="1457" y="380"/>
                  <a:pt x="1457" y="380"/>
                  <a:pt x="1457" y="380"/>
                </a:cubicBezTo>
                <a:cubicBezTo>
                  <a:pt x="1457" y="381"/>
                  <a:pt x="1457" y="381"/>
                  <a:pt x="1457" y="381"/>
                </a:cubicBezTo>
                <a:cubicBezTo>
                  <a:pt x="1456" y="381"/>
                  <a:pt x="1456" y="381"/>
                  <a:pt x="1456" y="381"/>
                </a:cubicBezTo>
                <a:cubicBezTo>
                  <a:pt x="1455" y="382"/>
                  <a:pt x="1455" y="382"/>
                  <a:pt x="1455" y="382"/>
                </a:cubicBezTo>
                <a:cubicBezTo>
                  <a:pt x="1456" y="382"/>
                  <a:pt x="1456" y="382"/>
                  <a:pt x="1456" y="382"/>
                </a:cubicBezTo>
                <a:cubicBezTo>
                  <a:pt x="1456" y="383"/>
                  <a:pt x="1456" y="383"/>
                  <a:pt x="1456" y="383"/>
                </a:cubicBezTo>
                <a:cubicBezTo>
                  <a:pt x="1455" y="384"/>
                  <a:pt x="1455" y="384"/>
                  <a:pt x="1455" y="384"/>
                </a:cubicBezTo>
                <a:cubicBezTo>
                  <a:pt x="1453" y="384"/>
                  <a:pt x="1453" y="384"/>
                  <a:pt x="1453" y="384"/>
                </a:cubicBezTo>
                <a:cubicBezTo>
                  <a:pt x="1452" y="385"/>
                  <a:pt x="1452" y="385"/>
                  <a:pt x="1452" y="385"/>
                </a:cubicBezTo>
                <a:cubicBezTo>
                  <a:pt x="1453" y="385"/>
                  <a:pt x="1453" y="385"/>
                  <a:pt x="1453" y="385"/>
                </a:cubicBezTo>
                <a:cubicBezTo>
                  <a:pt x="1454" y="385"/>
                  <a:pt x="1454" y="385"/>
                  <a:pt x="1454" y="385"/>
                </a:cubicBezTo>
                <a:cubicBezTo>
                  <a:pt x="1455" y="385"/>
                  <a:pt x="1455" y="385"/>
                  <a:pt x="1455" y="385"/>
                </a:cubicBezTo>
                <a:cubicBezTo>
                  <a:pt x="1455" y="386"/>
                  <a:pt x="1455" y="386"/>
                  <a:pt x="1455" y="386"/>
                </a:cubicBezTo>
                <a:cubicBezTo>
                  <a:pt x="1454" y="386"/>
                  <a:pt x="1454" y="386"/>
                  <a:pt x="1454" y="386"/>
                </a:cubicBezTo>
                <a:cubicBezTo>
                  <a:pt x="1456" y="387"/>
                  <a:pt x="1456" y="387"/>
                  <a:pt x="1456" y="387"/>
                </a:cubicBezTo>
                <a:cubicBezTo>
                  <a:pt x="1456" y="387"/>
                  <a:pt x="1456" y="387"/>
                  <a:pt x="1456" y="387"/>
                </a:cubicBezTo>
                <a:cubicBezTo>
                  <a:pt x="1457" y="388"/>
                  <a:pt x="1457" y="388"/>
                  <a:pt x="1457" y="388"/>
                </a:cubicBezTo>
                <a:cubicBezTo>
                  <a:pt x="1461" y="384"/>
                  <a:pt x="1461" y="384"/>
                  <a:pt x="1461" y="384"/>
                </a:cubicBezTo>
                <a:cubicBezTo>
                  <a:pt x="1460" y="385"/>
                  <a:pt x="1460" y="385"/>
                  <a:pt x="1460" y="385"/>
                </a:cubicBezTo>
                <a:cubicBezTo>
                  <a:pt x="1461" y="385"/>
                  <a:pt x="1461" y="385"/>
                  <a:pt x="1461" y="385"/>
                </a:cubicBezTo>
                <a:cubicBezTo>
                  <a:pt x="1460" y="386"/>
                  <a:pt x="1460" y="386"/>
                  <a:pt x="1460" y="386"/>
                </a:cubicBezTo>
                <a:cubicBezTo>
                  <a:pt x="1459" y="388"/>
                  <a:pt x="1459" y="388"/>
                  <a:pt x="1459" y="388"/>
                </a:cubicBezTo>
                <a:cubicBezTo>
                  <a:pt x="1459" y="389"/>
                  <a:pt x="1459" y="389"/>
                  <a:pt x="1459" y="389"/>
                </a:cubicBezTo>
                <a:cubicBezTo>
                  <a:pt x="1457" y="391"/>
                  <a:pt x="1457" y="391"/>
                  <a:pt x="1457" y="391"/>
                </a:cubicBezTo>
                <a:cubicBezTo>
                  <a:pt x="1458" y="391"/>
                  <a:pt x="1458" y="391"/>
                  <a:pt x="1458" y="391"/>
                </a:cubicBezTo>
                <a:cubicBezTo>
                  <a:pt x="1457" y="394"/>
                  <a:pt x="1457" y="394"/>
                  <a:pt x="1457" y="394"/>
                </a:cubicBezTo>
                <a:cubicBezTo>
                  <a:pt x="1457" y="396"/>
                  <a:pt x="1457" y="396"/>
                  <a:pt x="1457" y="396"/>
                </a:cubicBezTo>
                <a:cubicBezTo>
                  <a:pt x="1456" y="397"/>
                  <a:pt x="1456" y="397"/>
                  <a:pt x="1456" y="397"/>
                </a:cubicBezTo>
                <a:cubicBezTo>
                  <a:pt x="1457" y="398"/>
                  <a:pt x="1457" y="398"/>
                  <a:pt x="1457" y="398"/>
                </a:cubicBezTo>
                <a:cubicBezTo>
                  <a:pt x="1458" y="398"/>
                  <a:pt x="1458" y="398"/>
                  <a:pt x="1458" y="398"/>
                </a:cubicBezTo>
                <a:cubicBezTo>
                  <a:pt x="1456" y="400"/>
                  <a:pt x="1456" y="400"/>
                  <a:pt x="1456" y="400"/>
                </a:cubicBezTo>
                <a:cubicBezTo>
                  <a:pt x="1456" y="403"/>
                  <a:pt x="1456" y="403"/>
                  <a:pt x="1456" y="403"/>
                </a:cubicBezTo>
                <a:cubicBezTo>
                  <a:pt x="1455" y="404"/>
                  <a:pt x="1455" y="404"/>
                  <a:pt x="1455" y="404"/>
                </a:cubicBezTo>
                <a:cubicBezTo>
                  <a:pt x="1455" y="404"/>
                  <a:pt x="1455" y="404"/>
                  <a:pt x="1455" y="404"/>
                </a:cubicBezTo>
                <a:cubicBezTo>
                  <a:pt x="1457" y="404"/>
                  <a:pt x="1457" y="404"/>
                  <a:pt x="1457" y="404"/>
                </a:cubicBezTo>
                <a:cubicBezTo>
                  <a:pt x="1457" y="403"/>
                  <a:pt x="1457" y="403"/>
                  <a:pt x="1457" y="403"/>
                </a:cubicBezTo>
                <a:cubicBezTo>
                  <a:pt x="1458" y="401"/>
                  <a:pt x="1458" y="401"/>
                  <a:pt x="1458" y="401"/>
                </a:cubicBezTo>
                <a:cubicBezTo>
                  <a:pt x="1458" y="399"/>
                  <a:pt x="1458" y="399"/>
                  <a:pt x="1458" y="399"/>
                </a:cubicBezTo>
                <a:cubicBezTo>
                  <a:pt x="1459" y="398"/>
                  <a:pt x="1459" y="398"/>
                  <a:pt x="1459" y="398"/>
                </a:cubicBezTo>
                <a:cubicBezTo>
                  <a:pt x="1458" y="394"/>
                  <a:pt x="1458" y="394"/>
                  <a:pt x="1458" y="394"/>
                </a:cubicBezTo>
                <a:cubicBezTo>
                  <a:pt x="1459" y="394"/>
                  <a:pt x="1459" y="394"/>
                  <a:pt x="1459" y="394"/>
                </a:cubicBezTo>
                <a:cubicBezTo>
                  <a:pt x="1462" y="391"/>
                  <a:pt x="1462" y="391"/>
                  <a:pt x="1462" y="391"/>
                </a:cubicBezTo>
                <a:cubicBezTo>
                  <a:pt x="1460" y="394"/>
                  <a:pt x="1460" y="394"/>
                  <a:pt x="1460" y="394"/>
                </a:cubicBezTo>
                <a:cubicBezTo>
                  <a:pt x="1459" y="396"/>
                  <a:pt x="1459" y="396"/>
                  <a:pt x="1459" y="396"/>
                </a:cubicBezTo>
                <a:cubicBezTo>
                  <a:pt x="1460" y="397"/>
                  <a:pt x="1460" y="397"/>
                  <a:pt x="1460" y="397"/>
                </a:cubicBezTo>
                <a:cubicBezTo>
                  <a:pt x="1460" y="396"/>
                  <a:pt x="1460" y="396"/>
                  <a:pt x="1460" y="396"/>
                </a:cubicBezTo>
                <a:cubicBezTo>
                  <a:pt x="1462" y="395"/>
                  <a:pt x="1462" y="395"/>
                  <a:pt x="1462" y="395"/>
                </a:cubicBezTo>
                <a:cubicBezTo>
                  <a:pt x="1462" y="397"/>
                  <a:pt x="1462" y="397"/>
                  <a:pt x="1462" y="397"/>
                </a:cubicBezTo>
                <a:cubicBezTo>
                  <a:pt x="1463" y="394"/>
                  <a:pt x="1463" y="394"/>
                  <a:pt x="1463" y="394"/>
                </a:cubicBezTo>
                <a:cubicBezTo>
                  <a:pt x="1463" y="393"/>
                  <a:pt x="1463" y="393"/>
                  <a:pt x="1463" y="393"/>
                </a:cubicBezTo>
                <a:cubicBezTo>
                  <a:pt x="1464" y="392"/>
                  <a:pt x="1464" y="392"/>
                  <a:pt x="1464" y="392"/>
                </a:cubicBezTo>
                <a:cubicBezTo>
                  <a:pt x="1464" y="394"/>
                  <a:pt x="1464" y="394"/>
                  <a:pt x="1464" y="394"/>
                </a:cubicBezTo>
                <a:cubicBezTo>
                  <a:pt x="1466" y="396"/>
                  <a:pt x="1466" y="396"/>
                  <a:pt x="1466" y="396"/>
                </a:cubicBezTo>
                <a:cubicBezTo>
                  <a:pt x="1464" y="395"/>
                  <a:pt x="1464" y="395"/>
                  <a:pt x="1464" y="395"/>
                </a:cubicBezTo>
                <a:cubicBezTo>
                  <a:pt x="1463" y="398"/>
                  <a:pt x="1463" y="398"/>
                  <a:pt x="1463" y="398"/>
                </a:cubicBezTo>
                <a:cubicBezTo>
                  <a:pt x="1464" y="400"/>
                  <a:pt x="1464" y="400"/>
                  <a:pt x="1464" y="400"/>
                </a:cubicBezTo>
                <a:cubicBezTo>
                  <a:pt x="1465" y="400"/>
                  <a:pt x="1465" y="400"/>
                  <a:pt x="1465" y="400"/>
                </a:cubicBezTo>
                <a:cubicBezTo>
                  <a:pt x="1465" y="402"/>
                  <a:pt x="1465" y="402"/>
                  <a:pt x="1465" y="402"/>
                </a:cubicBezTo>
                <a:cubicBezTo>
                  <a:pt x="1464" y="404"/>
                  <a:pt x="1464" y="404"/>
                  <a:pt x="1464" y="404"/>
                </a:cubicBezTo>
                <a:cubicBezTo>
                  <a:pt x="1462" y="408"/>
                  <a:pt x="1462" y="408"/>
                  <a:pt x="1462" y="408"/>
                </a:cubicBezTo>
                <a:cubicBezTo>
                  <a:pt x="1462" y="410"/>
                  <a:pt x="1462" y="410"/>
                  <a:pt x="1462" y="410"/>
                </a:cubicBezTo>
                <a:cubicBezTo>
                  <a:pt x="1461" y="409"/>
                  <a:pt x="1461" y="409"/>
                  <a:pt x="1461" y="409"/>
                </a:cubicBezTo>
                <a:cubicBezTo>
                  <a:pt x="1461" y="411"/>
                  <a:pt x="1461" y="411"/>
                  <a:pt x="1461" y="411"/>
                </a:cubicBezTo>
                <a:cubicBezTo>
                  <a:pt x="1463" y="414"/>
                  <a:pt x="1463" y="414"/>
                  <a:pt x="1463" y="414"/>
                </a:cubicBezTo>
                <a:cubicBezTo>
                  <a:pt x="1462" y="411"/>
                  <a:pt x="1462" y="411"/>
                  <a:pt x="1462" y="411"/>
                </a:cubicBezTo>
                <a:cubicBezTo>
                  <a:pt x="1464" y="411"/>
                  <a:pt x="1464" y="411"/>
                  <a:pt x="1464" y="411"/>
                </a:cubicBezTo>
                <a:cubicBezTo>
                  <a:pt x="1467" y="414"/>
                  <a:pt x="1467" y="414"/>
                  <a:pt x="1467" y="414"/>
                </a:cubicBezTo>
                <a:cubicBezTo>
                  <a:pt x="1467" y="412"/>
                  <a:pt x="1467" y="412"/>
                  <a:pt x="1467" y="412"/>
                </a:cubicBezTo>
                <a:cubicBezTo>
                  <a:pt x="1466" y="410"/>
                  <a:pt x="1466" y="410"/>
                  <a:pt x="1466" y="410"/>
                </a:cubicBezTo>
                <a:cubicBezTo>
                  <a:pt x="1467" y="410"/>
                  <a:pt x="1467" y="410"/>
                  <a:pt x="1467" y="410"/>
                </a:cubicBezTo>
                <a:cubicBezTo>
                  <a:pt x="1470" y="412"/>
                  <a:pt x="1470" y="412"/>
                  <a:pt x="1470" y="412"/>
                </a:cubicBezTo>
                <a:cubicBezTo>
                  <a:pt x="1472" y="412"/>
                  <a:pt x="1472" y="412"/>
                  <a:pt x="1472" y="412"/>
                </a:cubicBezTo>
                <a:cubicBezTo>
                  <a:pt x="1472" y="411"/>
                  <a:pt x="1472" y="411"/>
                  <a:pt x="1472" y="411"/>
                </a:cubicBezTo>
                <a:cubicBezTo>
                  <a:pt x="1474" y="411"/>
                  <a:pt x="1474" y="411"/>
                  <a:pt x="1474" y="411"/>
                </a:cubicBezTo>
                <a:cubicBezTo>
                  <a:pt x="1474" y="409"/>
                  <a:pt x="1474" y="409"/>
                  <a:pt x="1474" y="409"/>
                </a:cubicBezTo>
                <a:cubicBezTo>
                  <a:pt x="1479" y="409"/>
                  <a:pt x="1479" y="409"/>
                  <a:pt x="1479" y="409"/>
                </a:cubicBezTo>
                <a:cubicBezTo>
                  <a:pt x="1476" y="410"/>
                  <a:pt x="1476" y="410"/>
                  <a:pt x="1476" y="410"/>
                </a:cubicBezTo>
                <a:cubicBezTo>
                  <a:pt x="1474" y="416"/>
                  <a:pt x="1474" y="416"/>
                  <a:pt x="1474" y="416"/>
                </a:cubicBezTo>
                <a:cubicBezTo>
                  <a:pt x="1476" y="420"/>
                  <a:pt x="1476" y="420"/>
                  <a:pt x="1476" y="420"/>
                </a:cubicBezTo>
                <a:cubicBezTo>
                  <a:pt x="1477" y="420"/>
                  <a:pt x="1477" y="420"/>
                  <a:pt x="1477" y="420"/>
                </a:cubicBezTo>
                <a:cubicBezTo>
                  <a:pt x="1477" y="422"/>
                  <a:pt x="1477" y="422"/>
                  <a:pt x="1477" y="422"/>
                </a:cubicBezTo>
                <a:cubicBezTo>
                  <a:pt x="1479" y="420"/>
                  <a:pt x="1479" y="420"/>
                  <a:pt x="1479" y="420"/>
                </a:cubicBezTo>
                <a:cubicBezTo>
                  <a:pt x="1481" y="420"/>
                  <a:pt x="1481" y="420"/>
                  <a:pt x="1481" y="420"/>
                </a:cubicBezTo>
                <a:cubicBezTo>
                  <a:pt x="1480" y="423"/>
                  <a:pt x="1480" y="423"/>
                  <a:pt x="1480" y="423"/>
                </a:cubicBezTo>
                <a:cubicBezTo>
                  <a:pt x="1481" y="423"/>
                  <a:pt x="1481" y="423"/>
                  <a:pt x="1481" y="423"/>
                </a:cubicBezTo>
                <a:cubicBezTo>
                  <a:pt x="1479" y="425"/>
                  <a:pt x="1479" y="425"/>
                  <a:pt x="1479" y="425"/>
                </a:cubicBezTo>
                <a:cubicBezTo>
                  <a:pt x="1480" y="427"/>
                  <a:pt x="1480" y="427"/>
                  <a:pt x="1480" y="427"/>
                </a:cubicBezTo>
                <a:cubicBezTo>
                  <a:pt x="1479" y="430"/>
                  <a:pt x="1479" y="430"/>
                  <a:pt x="1479" y="430"/>
                </a:cubicBezTo>
                <a:cubicBezTo>
                  <a:pt x="1480" y="431"/>
                  <a:pt x="1480" y="431"/>
                  <a:pt x="1480" y="431"/>
                </a:cubicBezTo>
                <a:cubicBezTo>
                  <a:pt x="1481" y="432"/>
                  <a:pt x="1481" y="432"/>
                  <a:pt x="1481" y="432"/>
                </a:cubicBezTo>
                <a:cubicBezTo>
                  <a:pt x="1482" y="433"/>
                  <a:pt x="1482" y="433"/>
                  <a:pt x="1482" y="433"/>
                </a:cubicBezTo>
                <a:cubicBezTo>
                  <a:pt x="1482" y="433"/>
                  <a:pt x="1482" y="433"/>
                  <a:pt x="1482" y="433"/>
                </a:cubicBezTo>
                <a:cubicBezTo>
                  <a:pt x="1480" y="433"/>
                  <a:pt x="1480" y="433"/>
                  <a:pt x="1480" y="433"/>
                </a:cubicBezTo>
                <a:cubicBezTo>
                  <a:pt x="1479" y="432"/>
                  <a:pt x="1479" y="432"/>
                  <a:pt x="1479" y="432"/>
                </a:cubicBezTo>
                <a:cubicBezTo>
                  <a:pt x="1478" y="432"/>
                  <a:pt x="1478" y="432"/>
                  <a:pt x="1478" y="432"/>
                </a:cubicBezTo>
                <a:cubicBezTo>
                  <a:pt x="1479" y="434"/>
                  <a:pt x="1479" y="434"/>
                  <a:pt x="1479" y="434"/>
                </a:cubicBezTo>
                <a:cubicBezTo>
                  <a:pt x="1480" y="434"/>
                  <a:pt x="1480" y="434"/>
                  <a:pt x="1480" y="434"/>
                </a:cubicBezTo>
                <a:cubicBezTo>
                  <a:pt x="1478" y="434"/>
                  <a:pt x="1478" y="434"/>
                  <a:pt x="1478" y="434"/>
                </a:cubicBezTo>
                <a:cubicBezTo>
                  <a:pt x="1477" y="433"/>
                  <a:pt x="1477" y="433"/>
                  <a:pt x="1477" y="433"/>
                </a:cubicBezTo>
                <a:cubicBezTo>
                  <a:pt x="1474" y="434"/>
                  <a:pt x="1474" y="434"/>
                  <a:pt x="1474" y="434"/>
                </a:cubicBezTo>
                <a:cubicBezTo>
                  <a:pt x="1472" y="433"/>
                  <a:pt x="1472" y="433"/>
                  <a:pt x="1472" y="433"/>
                </a:cubicBezTo>
                <a:cubicBezTo>
                  <a:pt x="1469" y="435"/>
                  <a:pt x="1469" y="435"/>
                  <a:pt x="1469" y="435"/>
                </a:cubicBezTo>
                <a:cubicBezTo>
                  <a:pt x="1467" y="437"/>
                  <a:pt x="1467" y="437"/>
                  <a:pt x="1467" y="437"/>
                </a:cubicBezTo>
                <a:cubicBezTo>
                  <a:pt x="1465" y="439"/>
                  <a:pt x="1465" y="439"/>
                  <a:pt x="1465" y="439"/>
                </a:cubicBezTo>
                <a:cubicBezTo>
                  <a:pt x="1464" y="440"/>
                  <a:pt x="1464" y="440"/>
                  <a:pt x="1464" y="440"/>
                </a:cubicBezTo>
                <a:cubicBezTo>
                  <a:pt x="1465" y="440"/>
                  <a:pt x="1465" y="440"/>
                  <a:pt x="1465" y="440"/>
                </a:cubicBezTo>
                <a:cubicBezTo>
                  <a:pt x="1466" y="440"/>
                  <a:pt x="1466" y="440"/>
                  <a:pt x="1466" y="440"/>
                </a:cubicBezTo>
                <a:cubicBezTo>
                  <a:pt x="1466" y="440"/>
                  <a:pt x="1466" y="440"/>
                  <a:pt x="1466" y="440"/>
                </a:cubicBezTo>
                <a:cubicBezTo>
                  <a:pt x="1470" y="439"/>
                  <a:pt x="1470" y="439"/>
                  <a:pt x="1470" y="439"/>
                </a:cubicBezTo>
                <a:cubicBezTo>
                  <a:pt x="1470" y="440"/>
                  <a:pt x="1470" y="440"/>
                  <a:pt x="1470" y="440"/>
                </a:cubicBezTo>
                <a:cubicBezTo>
                  <a:pt x="1471" y="442"/>
                  <a:pt x="1471" y="442"/>
                  <a:pt x="1471" y="442"/>
                </a:cubicBezTo>
                <a:cubicBezTo>
                  <a:pt x="1469" y="443"/>
                  <a:pt x="1469" y="443"/>
                  <a:pt x="1469" y="443"/>
                </a:cubicBezTo>
                <a:cubicBezTo>
                  <a:pt x="1470" y="444"/>
                  <a:pt x="1470" y="444"/>
                  <a:pt x="1470" y="444"/>
                </a:cubicBezTo>
                <a:cubicBezTo>
                  <a:pt x="1471" y="444"/>
                  <a:pt x="1471" y="444"/>
                  <a:pt x="1471" y="444"/>
                </a:cubicBezTo>
                <a:cubicBezTo>
                  <a:pt x="1469" y="448"/>
                  <a:pt x="1469" y="448"/>
                  <a:pt x="1469" y="448"/>
                </a:cubicBezTo>
                <a:cubicBezTo>
                  <a:pt x="1467" y="449"/>
                  <a:pt x="1467" y="449"/>
                  <a:pt x="1467" y="449"/>
                </a:cubicBezTo>
                <a:cubicBezTo>
                  <a:pt x="1466" y="450"/>
                  <a:pt x="1466" y="450"/>
                  <a:pt x="1466" y="450"/>
                </a:cubicBezTo>
                <a:cubicBezTo>
                  <a:pt x="1465" y="450"/>
                  <a:pt x="1465" y="450"/>
                  <a:pt x="1465" y="450"/>
                </a:cubicBezTo>
                <a:cubicBezTo>
                  <a:pt x="1463" y="451"/>
                  <a:pt x="1463" y="451"/>
                  <a:pt x="1463" y="451"/>
                </a:cubicBezTo>
                <a:cubicBezTo>
                  <a:pt x="1461" y="451"/>
                  <a:pt x="1461" y="451"/>
                  <a:pt x="1461" y="451"/>
                </a:cubicBezTo>
                <a:cubicBezTo>
                  <a:pt x="1459" y="453"/>
                  <a:pt x="1459" y="453"/>
                  <a:pt x="1459" y="453"/>
                </a:cubicBezTo>
                <a:cubicBezTo>
                  <a:pt x="1461" y="453"/>
                  <a:pt x="1461" y="453"/>
                  <a:pt x="1461" y="453"/>
                </a:cubicBezTo>
                <a:cubicBezTo>
                  <a:pt x="1461" y="455"/>
                  <a:pt x="1461" y="455"/>
                  <a:pt x="1461" y="455"/>
                </a:cubicBezTo>
                <a:cubicBezTo>
                  <a:pt x="1459" y="455"/>
                  <a:pt x="1459" y="455"/>
                  <a:pt x="1459" y="455"/>
                </a:cubicBezTo>
                <a:cubicBezTo>
                  <a:pt x="1462" y="456"/>
                  <a:pt x="1462" y="456"/>
                  <a:pt x="1462" y="456"/>
                </a:cubicBezTo>
                <a:cubicBezTo>
                  <a:pt x="1461" y="456"/>
                  <a:pt x="1461" y="456"/>
                  <a:pt x="1461" y="456"/>
                </a:cubicBezTo>
                <a:cubicBezTo>
                  <a:pt x="1462" y="457"/>
                  <a:pt x="1462" y="457"/>
                  <a:pt x="1462" y="457"/>
                </a:cubicBezTo>
                <a:cubicBezTo>
                  <a:pt x="1464" y="457"/>
                  <a:pt x="1464" y="457"/>
                  <a:pt x="1464" y="457"/>
                </a:cubicBezTo>
                <a:cubicBezTo>
                  <a:pt x="1465" y="456"/>
                  <a:pt x="1465" y="456"/>
                  <a:pt x="1465" y="456"/>
                </a:cubicBezTo>
                <a:cubicBezTo>
                  <a:pt x="1468" y="455"/>
                  <a:pt x="1468" y="455"/>
                  <a:pt x="1468" y="455"/>
                </a:cubicBezTo>
                <a:cubicBezTo>
                  <a:pt x="1468" y="456"/>
                  <a:pt x="1468" y="456"/>
                  <a:pt x="1468" y="456"/>
                </a:cubicBezTo>
                <a:cubicBezTo>
                  <a:pt x="1470" y="456"/>
                  <a:pt x="1470" y="456"/>
                  <a:pt x="1470" y="456"/>
                </a:cubicBezTo>
                <a:cubicBezTo>
                  <a:pt x="1468" y="457"/>
                  <a:pt x="1468" y="457"/>
                  <a:pt x="1468" y="457"/>
                </a:cubicBezTo>
                <a:cubicBezTo>
                  <a:pt x="1468" y="458"/>
                  <a:pt x="1468" y="458"/>
                  <a:pt x="1468" y="458"/>
                </a:cubicBezTo>
                <a:cubicBezTo>
                  <a:pt x="1471" y="458"/>
                  <a:pt x="1471" y="458"/>
                  <a:pt x="1471" y="458"/>
                </a:cubicBezTo>
                <a:cubicBezTo>
                  <a:pt x="1471" y="457"/>
                  <a:pt x="1471" y="457"/>
                  <a:pt x="1471" y="457"/>
                </a:cubicBezTo>
                <a:cubicBezTo>
                  <a:pt x="1473" y="457"/>
                  <a:pt x="1473" y="457"/>
                  <a:pt x="1473" y="457"/>
                </a:cubicBezTo>
                <a:cubicBezTo>
                  <a:pt x="1474" y="459"/>
                  <a:pt x="1474" y="459"/>
                  <a:pt x="1474" y="459"/>
                </a:cubicBezTo>
                <a:cubicBezTo>
                  <a:pt x="1475" y="460"/>
                  <a:pt x="1475" y="460"/>
                  <a:pt x="1475" y="460"/>
                </a:cubicBezTo>
                <a:cubicBezTo>
                  <a:pt x="1479" y="460"/>
                  <a:pt x="1479" y="460"/>
                  <a:pt x="1479" y="460"/>
                </a:cubicBezTo>
                <a:cubicBezTo>
                  <a:pt x="1479" y="459"/>
                  <a:pt x="1479" y="459"/>
                  <a:pt x="1479" y="459"/>
                </a:cubicBezTo>
                <a:cubicBezTo>
                  <a:pt x="1481" y="458"/>
                  <a:pt x="1481" y="458"/>
                  <a:pt x="1481" y="458"/>
                </a:cubicBezTo>
                <a:cubicBezTo>
                  <a:pt x="1483" y="457"/>
                  <a:pt x="1483" y="457"/>
                  <a:pt x="1483" y="457"/>
                </a:cubicBezTo>
                <a:cubicBezTo>
                  <a:pt x="1484" y="456"/>
                  <a:pt x="1484" y="456"/>
                  <a:pt x="1484" y="456"/>
                </a:cubicBezTo>
                <a:cubicBezTo>
                  <a:pt x="1485" y="455"/>
                  <a:pt x="1485" y="455"/>
                  <a:pt x="1485" y="455"/>
                </a:cubicBezTo>
                <a:cubicBezTo>
                  <a:pt x="1483" y="458"/>
                  <a:pt x="1483" y="458"/>
                  <a:pt x="1483" y="458"/>
                </a:cubicBezTo>
                <a:cubicBezTo>
                  <a:pt x="1481" y="461"/>
                  <a:pt x="1481" y="461"/>
                  <a:pt x="1481" y="461"/>
                </a:cubicBezTo>
                <a:cubicBezTo>
                  <a:pt x="1481" y="463"/>
                  <a:pt x="1481" y="463"/>
                  <a:pt x="1481" y="463"/>
                </a:cubicBezTo>
                <a:cubicBezTo>
                  <a:pt x="1479" y="463"/>
                  <a:pt x="1479" y="463"/>
                  <a:pt x="1479" y="463"/>
                </a:cubicBezTo>
                <a:cubicBezTo>
                  <a:pt x="1478" y="464"/>
                  <a:pt x="1478" y="464"/>
                  <a:pt x="1478" y="464"/>
                </a:cubicBezTo>
                <a:cubicBezTo>
                  <a:pt x="1476" y="463"/>
                  <a:pt x="1476" y="463"/>
                  <a:pt x="1476" y="463"/>
                </a:cubicBezTo>
                <a:cubicBezTo>
                  <a:pt x="1472" y="462"/>
                  <a:pt x="1472" y="462"/>
                  <a:pt x="1472" y="462"/>
                </a:cubicBezTo>
                <a:cubicBezTo>
                  <a:pt x="1469" y="463"/>
                  <a:pt x="1469" y="463"/>
                  <a:pt x="1469" y="463"/>
                </a:cubicBezTo>
                <a:cubicBezTo>
                  <a:pt x="1469" y="465"/>
                  <a:pt x="1469" y="465"/>
                  <a:pt x="1469" y="465"/>
                </a:cubicBezTo>
                <a:cubicBezTo>
                  <a:pt x="1468" y="466"/>
                  <a:pt x="1468" y="466"/>
                  <a:pt x="1468" y="466"/>
                </a:cubicBezTo>
                <a:cubicBezTo>
                  <a:pt x="1466" y="466"/>
                  <a:pt x="1466" y="466"/>
                  <a:pt x="1466" y="466"/>
                </a:cubicBezTo>
                <a:cubicBezTo>
                  <a:pt x="1466" y="469"/>
                  <a:pt x="1466" y="469"/>
                  <a:pt x="1466" y="469"/>
                </a:cubicBezTo>
                <a:cubicBezTo>
                  <a:pt x="1464" y="471"/>
                  <a:pt x="1464" y="471"/>
                  <a:pt x="1464" y="471"/>
                </a:cubicBezTo>
                <a:cubicBezTo>
                  <a:pt x="1464" y="472"/>
                  <a:pt x="1464" y="472"/>
                  <a:pt x="1464" y="472"/>
                </a:cubicBezTo>
                <a:cubicBezTo>
                  <a:pt x="1462" y="472"/>
                  <a:pt x="1462" y="472"/>
                  <a:pt x="1462" y="472"/>
                </a:cubicBezTo>
                <a:cubicBezTo>
                  <a:pt x="1461" y="474"/>
                  <a:pt x="1461" y="474"/>
                  <a:pt x="1461" y="474"/>
                </a:cubicBezTo>
                <a:cubicBezTo>
                  <a:pt x="1460" y="474"/>
                  <a:pt x="1460" y="474"/>
                  <a:pt x="1460" y="474"/>
                </a:cubicBezTo>
                <a:cubicBezTo>
                  <a:pt x="1460" y="475"/>
                  <a:pt x="1460" y="475"/>
                  <a:pt x="1460" y="475"/>
                </a:cubicBezTo>
                <a:cubicBezTo>
                  <a:pt x="1457" y="477"/>
                  <a:pt x="1457" y="477"/>
                  <a:pt x="1457" y="477"/>
                </a:cubicBezTo>
                <a:cubicBezTo>
                  <a:pt x="1456" y="477"/>
                  <a:pt x="1456" y="477"/>
                  <a:pt x="1456" y="477"/>
                </a:cubicBezTo>
                <a:cubicBezTo>
                  <a:pt x="1455" y="478"/>
                  <a:pt x="1455" y="478"/>
                  <a:pt x="1455" y="478"/>
                </a:cubicBezTo>
                <a:cubicBezTo>
                  <a:pt x="1455" y="479"/>
                  <a:pt x="1455" y="479"/>
                  <a:pt x="1455" y="479"/>
                </a:cubicBezTo>
                <a:cubicBezTo>
                  <a:pt x="1457" y="479"/>
                  <a:pt x="1457" y="479"/>
                  <a:pt x="1457" y="479"/>
                </a:cubicBezTo>
                <a:cubicBezTo>
                  <a:pt x="1457" y="478"/>
                  <a:pt x="1457" y="478"/>
                  <a:pt x="1457" y="478"/>
                </a:cubicBezTo>
                <a:cubicBezTo>
                  <a:pt x="1459" y="479"/>
                  <a:pt x="1459" y="479"/>
                  <a:pt x="1459" y="479"/>
                </a:cubicBezTo>
                <a:cubicBezTo>
                  <a:pt x="1460" y="480"/>
                  <a:pt x="1460" y="480"/>
                  <a:pt x="1460" y="480"/>
                </a:cubicBezTo>
                <a:cubicBezTo>
                  <a:pt x="1461" y="479"/>
                  <a:pt x="1461" y="479"/>
                  <a:pt x="1461" y="479"/>
                </a:cubicBezTo>
                <a:cubicBezTo>
                  <a:pt x="1460" y="478"/>
                  <a:pt x="1460" y="478"/>
                  <a:pt x="1460" y="478"/>
                </a:cubicBezTo>
                <a:cubicBezTo>
                  <a:pt x="1461" y="477"/>
                  <a:pt x="1461" y="477"/>
                  <a:pt x="1461" y="477"/>
                </a:cubicBezTo>
                <a:cubicBezTo>
                  <a:pt x="1462" y="478"/>
                  <a:pt x="1462" y="478"/>
                  <a:pt x="1462" y="478"/>
                </a:cubicBezTo>
                <a:cubicBezTo>
                  <a:pt x="1463" y="477"/>
                  <a:pt x="1463" y="477"/>
                  <a:pt x="1463" y="477"/>
                </a:cubicBezTo>
                <a:cubicBezTo>
                  <a:pt x="1464" y="477"/>
                  <a:pt x="1464" y="477"/>
                  <a:pt x="1464" y="477"/>
                </a:cubicBezTo>
                <a:cubicBezTo>
                  <a:pt x="1464" y="475"/>
                  <a:pt x="1464" y="475"/>
                  <a:pt x="1464" y="475"/>
                </a:cubicBezTo>
                <a:cubicBezTo>
                  <a:pt x="1466" y="476"/>
                  <a:pt x="1466" y="476"/>
                  <a:pt x="1466" y="476"/>
                </a:cubicBezTo>
                <a:cubicBezTo>
                  <a:pt x="1468" y="475"/>
                  <a:pt x="1468" y="475"/>
                  <a:pt x="1468" y="475"/>
                </a:cubicBezTo>
                <a:cubicBezTo>
                  <a:pt x="1469" y="475"/>
                  <a:pt x="1469" y="475"/>
                  <a:pt x="1469" y="475"/>
                </a:cubicBezTo>
                <a:cubicBezTo>
                  <a:pt x="1470" y="475"/>
                  <a:pt x="1470" y="475"/>
                  <a:pt x="1470" y="475"/>
                </a:cubicBezTo>
                <a:cubicBezTo>
                  <a:pt x="1471" y="476"/>
                  <a:pt x="1471" y="476"/>
                  <a:pt x="1471" y="476"/>
                </a:cubicBezTo>
                <a:cubicBezTo>
                  <a:pt x="1472" y="476"/>
                  <a:pt x="1472" y="476"/>
                  <a:pt x="1472" y="476"/>
                </a:cubicBezTo>
                <a:cubicBezTo>
                  <a:pt x="1473" y="477"/>
                  <a:pt x="1473" y="477"/>
                  <a:pt x="1473" y="477"/>
                </a:cubicBezTo>
                <a:cubicBezTo>
                  <a:pt x="1475" y="477"/>
                  <a:pt x="1475" y="477"/>
                  <a:pt x="1475" y="477"/>
                </a:cubicBezTo>
                <a:cubicBezTo>
                  <a:pt x="1474" y="476"/>
                  <a:pt x="1474" y="476"/>
                  <a:pt x="1474" y="476"/>
                </a:cubicBezTo>
                <a:cubicBezTo>
                  <a:pt x="1476" y="475"/>
                  <a:pt x="1476" y="475"/>
                  <a:pt x="1476" y="475"/>
                </a:cubicBezTo>
                <a:cubicBezTo>
                  <a:pt x="1476" y="474"/>
                  <a:pt x="1476" y="474"/>
                  <a:pt x="1476" y="474"/>
                </a:cubicBezTo>
                <a:cubicBezTo>
                  <a:pt x="1476" y="472"/>
                  <a:pt x="1476" y="472"/>
                  <a:pt x="1476" y="472"/>
                </a:cubicBezTo>
                <a:cubicBezTo>
                  <a:pt x="1477" y="471"/>
                  <a:pt x="1477" y="471"/>
                  <a:pt x="1477" y="471"/>
                </a:cubicBezTo>
                <a:cubicBezTo>
                  <a:pt x="1478" y="471"/>
                  <a:pt x="1478" y="471"/>
                  <a:pt x="1478" y="471"/>
                </a:cubicBezTo>
                <a:cubicBezTo>
                  <a:pt x="1478" y="470"/>
                  <a:pt x="1478" y="470"/>
                  <a:pt x="1478" y="470"/>
                </a:cubicBezTo>
                <a:cubicBezTo>
                  <a:pt x="1482" y="470"/>
                  <a:pt x="1482" y="470"/>
                  <a:pt x="1482" y="470"/>
                </a:cubicBezTo>
                <a:cubicBezTo>
                  <a:pt x="1483" y="470"/>
                  <a:pt x="1483" y="470"/>
                  <a:pt x="1483" y="470"/>
                </a:cubicBezTo>
                <a:cubicBezTo>
                  <a:pt x="1486" y="471"/>
                  <a:pt x="1486" y="471"/>
                  <a:pt x="1486" y="471"/>
                </a:cubicBezTo>
                <a:cubicBezTo>
                  <a:pt x="1486" y="471"/>
                  <a:pt x="1486" y="471"/>
                  <a:pt x="1486" y="471"/>
                </a:cubicBezTo>
                <a:cubicBezTo>
                  <a:pt x="1489" y="471"/>
                  <a:pt x="1489" y="471"/>
                  <a:pt x="1489" y="471"/>
                </a:cubicBezTo>
                <a:cubicBezTo>
                  <a:pt x="1490" y="472"/>
                  <a:pt x="1490" y="472"/>
                  <a:pt x="1490" y="472"/>
                </a:cubicBezTo>
                <a:cubicBezTo>
                  <a:pt x="1491" y="470"/>
                  <a:pt x="1491" y="470"/>
                  <a:pt x="1491" y="470"/>
                </a:cubicBezTo>
                <a:cubicBezTo>
                  <a:pt x="1493" y="469"/>
                  <a:pt x="1493" y="469"/>
                  <a:pt x="1493" y="469"/>
                </a:cubicBezTo>
                <a:cubicBezTo>
                  <a:pt x="1494" y="469"/>
                  <a:pt x="1494" y="469"/>
                  <a:pt x="1494" y="469"/>
                </a:cubicBezTo>
                <a:cubicBezTo>
                  <a:pt x="1496" y="468"/>
                  <a:pt x="1496" y="468"/>
                  <a:pt x="1496" y="468"/>
                </a:cubicBezTo>
                <a:cubicBezTo>
                  <a:pt x="1498" y="468"/>
                  <a:pt x="1498" y="468"/>
                  <a:pt x="1498" y="468"/>
                </a:cubicBezTo>
                <a:cubicBezTo>
                  <a:pt x="1499" y="468"/>
                  <a:pt x="1499" y="468"/>
                  <a:pt x="1499" y="468"/>
                </a:cubicBezTo>
                <a:cubicBezTo>
                  <a:pt x="1500" y="467"/>
                  <a:pt x="1500" y="467"/>
                  <a:pt x="1500" y="467"/>
                </a:cubicBezTo>
                <a:cubicBezTo>
                  <a:pt x="1500" y="468"/>
                  <a:pt x="1500" y="468"/>
                  <a:pt x="1500" y="468"/>
                </a:cubicBezTo>
                <a:cubicBezTo>
                  <a:pt x="1501" y="469"/>
                  <a:pt x="1501" y="469"/>
                  <a:pt x="1501" y="469"/>
                </a:cubicBezTo>
                <a:cubicBezTo>
                  <a:pt x="1503" y="468"/>
                  <a:pt x="1503" y="468"/>
                  <a:pt x="1503" y="468"/>
                </a:cubicBezTo>
                <a:cubicBezTo>
                  <a:pt x="1506" y="468"/>
                  <a:pt x="1506" y="468"/>
                  <a:pt x="1506" y="468"/>
                </a:cubicBezTo>
                <a:cubicBezTo>
                  <a:pt x="1508" y="467"/>
                  <a:pt x="1508" y="467"/>
                  <a:pt x="1508" y="467"/>
                </a:cubicBezTo>
                <a:cubicBezTo>
                  <a:pt x="1510" y="468"/>
                  <a:pt x="1510" y="468"/>
                  <a:pt x="1510" y="468"/>
                </a:cubicBezTo>
                <a:cubicBezTo>
                  <a:pt x="1511" y="468"/>
                  <a:pt x="1511" y="468"/>
                  <a:pt x="1511" y="468"/>
                </a:cubicBezTo>
                <a:cubicBezTo>
                  <a:pt x="1513" y="467"/>
                  <a:pt x="1513" y="467"/>
                  <a:pt x="1513" y="467"/>
                </a:cubicBezTo>
                <a:cubicBezTo>
                  <a:pt x="1514" y="467"/>
                  <a:pt x="1514" y="467"/>
                  <a:pt x="1514" y="467"/>
                </a:cubicBezTo>
                <a:cubicBezTo>
                  <a:pt x="1516" y="465"/>
                  <a:pt x="1516" y="465"/>
                  <a:pt x="1516" y="465"/>
                </a:cubicBezTo>
                <a:cubicBezTo>
                  <a:pt x="1517" y="465"/>
                  <a:pt x="1517" y="465"/>
                  <a:pt x="1517" y="465"/>
                </a:cubicBezTo>
                <a:cubicBezTo>
                  <a:pt x="1518" y="465"/>
                  <a:pt x="1518" y="465"/>
                  <a:pt x="1518" y="465"/>
                </a:cubicBezTo>
                <a:cubicBezTo>
                  <a:pt x="1517" y="464"/>
                  <a:pt x="1517" y="464"/>
                  <a:pt x="1517" y="464"/>
                </a:cubicBezTo>
                <a:cubicBezTo>
                  <a:pt x="1520" y="463"/>
                  <a:pt x="1520" y="463"/>
                  <a:pt x="1520" y="463"/>
                </a:cubicBezTo>
                <a:cubicBezTo>
                  <a:pt x="1521" y="462"/>
                  <a:pt x="1521" y="462"/>
                  <a:pt x="1521" y="462"/>
                </a:cubicBezTo>
                <a:cubicBezTo>
                  <a:pt x="1521" y="461"/>
                  <a:pt x="1521" y="461"/>
                  <a:pt x="1521" y="461"/>
                </a:cubicBezTo>
                <a:cubicBezTo>
                  <a:pt x="1521" y="460"/>
                  <a:pt x="1521" y="460"/>
                  <a:pt x="1521" y="460"/>
                </a:cubicBezTo>
                <a:cubicBezTo>
                  <a:pt x="1521" y="459"/>
                  <a:pt x="1521" y="459"/>
                  <a:pt x="1521" y="459"/>
                </a:cubicBezTo>
                <a:cubicBezTo>
                  <a:pt x="1519" y="459"/>
                  <a:pt x="1519" y="459"/>
                  <a:pt x="1519" y="459"/>
                </a:cubicBezTo>
                <a:cubicBezTo>
                  <a:pt x="1517" y="459"/>
                  <a:pt x="1517" y="459"/>
                  <a:pt x="1517" y="459"/>
                </a:cubicBezTo>
                <a:cubicBezTo>
                  <a:pt x="1516" y="460"/>
                  <a:pt x="1516" y="460"/>
                  <a:pt x="1516" y="460"/>
                </a:cubicBezTo>
                <a:cubicBezTo>
                  <a:pt x="1514" y="459"/>
                  <a:pt x="1514" y="459"/>
                  <a:pt x="1514" y="459"/>
                </a:cubicBezTo>
                <a:cubicBezTo>
                  <a:pt x="1513" y="459"/>
                  <a:pt x="1513" y="459"/>
                  <a:pt x="1513" y="459"/>
                </a:cubicBezTo>
                <a:cubicBezTo>
                  <a:pt x="1514" y="458"/>
                  <a:pt x="1514" y="458"/>
                  <a:pt x="1514" y="458"/>
                </a:cubicBezTo>
                <a:cubicBezTo>
                  <a:pt x="1515" y="458"/>
                  <a:pt x="1515" y="458"/>
                  <a:pt x="1515" y="458"/>
                </a:cubicBezTo>
                <a:cubicBezTo>
                  <a:pt x="1515" y="458"/>
                  <a:pt x="1515" y="458"/>
                  <a:pt x="1515" y="458"/>
                </a:cubicBezTo>
                <a:cubicBezTo>
                  <a:pt x="1513" y="457"/>
                  <a:pt x="1513" y="457"/>
                  <a:pt x="1513" y="457"/>
                </a:cubicBezTo>
                <a:cubicBezTo>
                  <a:pt x="1512" y="458"/>
                  <a:pt x="1512" y="458"/>
                  <a:pt x="1512" y="458"/>
                </a:cubicBezTo>
                <a:cubicBezTo>
                  <a:pt x="1514" y="457"/>
                  <a:pt x="1514" y="457"/>
                  <a:pt x="1514" y="457"/>
                </a:cubicBezTo>
                <a:cubicBezTo>
                  <a:pt x="1515" y="457"/>
                  <a:pt x="1515" y="457"/>
                  <a:pt x="1515" y="457"/>
                </a:cubicBezTo>
                <a:cubicBezTo>
                  <a:pt x="1517" y="456"/>
                  <a:pt x="1517" y="456"/>
                  <a:pt x="1517" y="456"/>
                </a:cubicBezTo>
                <a:cubicBezTo>
                  <a:pt x="1516" y="455"/>
                  <a:pt x="1516" y="455"/>
                  <a:pt x="1516" y="455"/>
                </a:cubicBezTo>
                <a:cubicBezTo>
                  <a:pt x="1515" y="455"/>
                  <a:pt x="1515" y="455"/>
                  <a:pt x="1515" y="455"/>
                </a:cubicBezTo>
                <a:cubicBezTo>
                  <a:pt x="1516" y="454"/>
                  <a:pt x="1516" y="454"/>
                  <a:pt x="1516" y="454"/>
                </a:cubicBezTo>
                <a:cubicBezTo>
                  <a:pt x="1517" y="453"/>
                  <a:pt x="1517" y="453"/>
                  <a:pt x="1517" y="453"/>
                </a:cubicBezTo>
                <a:cubicBezTo>
                  <a:pt x="1517" y="454"/>
                  <a:pt x="1517" y="454"/>
                  <a:pt x="1517" y="454"/>
                </a:cubicBezTo>
                <a:cubicBezTo>
                  <a:pt x="1519" y="453"/>
                  <a:pt x="1519" y="453"/>
                  <a:pt x="1519" y="453"/>
                </a:cubicBezTo>
                <a:cubicBezTo>
                  <a:pt x="1519" y="452"/>
                  <a:pt x="1519" y="452"/>
                  <a:pt x="1519" y="452"/>
                </a:cubicBezTo>
                <a:cubicBezTo>
                  <a:pt x="1519" y="452"/>
                  <a:pt x="1519" y="452"/>
                  <a:pt x="1519" y="452"/>
                </a:cubicBezTo>
                <a:cubicBezTo>
                  <a:pt x="1519" y="451"/>
                  <a:pt x="1519" y="451"/>
                  <a:pt x="1519" y="451"/>
                </a:cubicBezTo>
                <a:cubicBezTo>
                  <a:pt x="1518" y="451"/>
                  <a:pt x="1518" y="451"/>
                  <a:pt x="1518" y="451"/>
                </a:cubicBezTo>
                <a:cubicBezTo>
                  <a:pt x="1518" y="450"/>
                  <a:pt x="1518" y="450"/>
                  <a:pt x="1518" y="450"/>
                </a:cubicBezTo>
                <a:cubicBezTo>
                  <a:pt x="1519" y="450"/>
                  <a:pt x="1519" y="450"/>
                  <a:pt x="1519" y="450"/>
                </a:cubicBezTo>
                <a:cubicBezTo>
                  <a:pt x="1520" y="451"/>
                  <a:pt x="1520" y="451"/>
                  <a:pt x="1520" y="451"/>
                </a:cubicBezTo>
                <a:cubicBezTo>
                  <a:pt x="1521" y="449"/>
                  <a:pt x="1521" y="449"/>
                  <a:pt x="1521" y="449"/>
                </a:cubicBezTo>
                <a:cubicBezTo>
                  <a:pt x="1522" y="449"/>
                  <a:pt x="1522" y="449"/>
                  <a:pt x="1522" y="449"/>
                </a:cubicBezTo>
                <a:cubicBezTo>
                  <a:pt x="1522" y="446"/>
                  <a:pt x="1522" y="446"/>
                  <a:pt x="1522" y="446"/>
                </a:cubicBezTo>
                <a:cubicBezTo>
                  <a:pt x="1523" y="443"/>
                  <a:pt x="1523" y="443"/>
                  <a:pt x="1523" y="443"/>
                </a:cubicBezTo>
                <a:cubicBezTo>
                  <a:pt x="1522" y="442"/>
                  <a:pt x="1522" y="442"/>
                  <a:pt x="1522" y="442"/>
                </a:cubicBezTo>
                <a:cubicBezTo>
                  <a:pt x="1522" y="439"/>
                  <a:pt x="1522" y="439"/>
                  <a:pt x="1522" y="439"/>
                </a:cubicBezTo>
                <a:cubicBezTo>
                  <a:pt x="1518" y="437"/>
                  <a:pt x="1518" y="437"/>
                  <a:pt x="1518" y="437"/>
                </a:cubicBezTo>
                <a:cubicBezTo>
                  <a:pt x="1514" y="437"/>
                  <a:pt x="1514" y="437"/>
                  <a:pt x="1514" y="437"/>
                </a:cubicBezTo>
                <a:cubicBezTo>
                  <a:pt x="1511" y="437"/>
                  <a:pt x="1511" y="437"/>
                  <a:pt x="1511" y="437"/>
                </a:cubicBezTo>
                <a:cubicBezTo>
                  <a:pt x="1511" y="439"/>
                  <a:pt x="1511" y="439"/>
                  <a:pt x="1511" y="439"/>
                </a:cubicBezTo>
                <a:cubicBezTo>
                  <a:pt x="1510" y="440"/>
                  <a:pt x="1510" y="440"/>
                  <a:pt x="1510" y="440"/>
                </a:cubicBezTo>
                <a:cubicBezTo>
                  <a:pt x="1508" y="438"/>
                  <a:pt x="1508" y="438"/>
                  <a:pt x="1508" y="438"/>
                </a:cubicBezTo>
                <a:cubicBezTo>
                  <a:pt x="1506" y="438"/>
                  <a:pt x="1506" y="438"/>
                  <a:pt x="1506" y="438"/>
                </a:cubicBezTo>
                <a:cubicBezTo>
                  <a:pt x="1509" y="435"/>
                  <a:pt x="1509" y="435"/>
                  <a:pt x="1509" y="435"/>
                </a:cubicBezTo>
                <a:cubicBezTo>
                  <a:pt x="1509" y="433"/>
                  <a:pt x="1509" y="433"/>
                  <a:pt x="1509" y="433"/>
                </a:cubicBezTo>
                <a:cubicBezTo>
                  <a:pt x="1507" y="429"/>
                  <a:pt x="1507" y="429"/>
                  <a:pt x="1507" y="429"/>
                </a:cubicBezTo>
                <a:cubicBezTo>
                  <a:pt x="1506" y="429"/>
                  <a:pt x="1506" y="429"/>
                  <a:pt x="1506" y="429"/>
                </a:cubicBezTo>
                <a:cubicBezTo>
                  <a:pt x="1504" y="428"/>
                  <a:pt x="1504" y="428"/>
                  <a:pt x="1504" y="428"/>
                </a:cubicBezTo>
                <a:cubicBezTo>
                  <a:pt x="1503" y="427"/>
                  <a:pt x="1503" y="427"/>
                  <a:pt x="1503" y="427"/>
                </a:cubicBezTo>
                <a:cubicBezTo>
                  <a:pt x="1502" y="427"/>
                  <a:pt x="1502" y="427"/>
                  <a:pt x="1502" y="427"/>
                </a:cubicBezTo>
                <a:cubicBezTo>
                  <a:pt x="1502" y="427"/>
                  <a:pt x="1502" y="427"/>
                  <a:pt x="1502" y="427"/>
                </a:cubicBezTo>
                <a:cubicBezTo>
                  <a:pt x="1500" y="427"/>
                  <a:pt x="1500" y="427"/>
                  <a:pt x="1500" y="427"/>
                </a:cubicBezTo>
                <a:cubicBezTo>
                  <a:pt x="1500" y="427"/>
                  <a:pt x="1500" y="427"/>
                  <a:pt x="1500" y="427"/>
                </a:cubicBezTo>
                <a:cubicBezTo>
                  <a:pt x="1501" y="426"/>
                  <a:pt x="1501" y="426"/>
                  <a:pt x="1501" y="426"/>
                </a:cubicBezTo>
                <a:cubicBezTo>
                  <a:pt x="1502" y="427"/>
                  <a:pt x="1502" y="427"/>
                  <a:pt x="1502" y="427"/>
                </a:cubicBezTo>
                <a:cubicBezTo>
                  <a:pt x="1503" y="426"/>
                  <a:pt x="1503" y="426"/>
                  <a:pt x="1503" y="426"/>
                </a:cubicBezTo>
                <a:cubicBezTo>
                  <a:pt x="1504" y="427"/>
                  <a:pt x="1504" y="427"/>
                  <a:pt x="1504" y="427"/>
                </a:cubicBezTo>
                <a:cubicBezTo>
                  <a:pt x="1505" y="428"/>
                  <a:pt x="1505" y="428"/>
                  <a:pt x="1505" y="428"/>
                </a:cubicBezTo>
                <a:cubicBezTo>
                  <a:pt x="1506" y="427"/>
                  <a:pt x="1506" y="427"/>
                  <a:pt x="1506" y="427"/>
                </a:cubicBezTo>
                <a:cubicBezTo>
                  <a:pt x="1507" y="428"/>
                  <a:pt x="1507" y="428"/>
                  <a:pt x="1507" y="428"/>
                </a:cubicBezTo>
                <a:cubicBezTo>
                  <a:pt x="1504" y="424"/>
                  <a:pt x="1504" y="424"/>
                  <a:pt x="1504" y="424"/>
                </a:cubicBezTo>
                <a:cubicBezTo>
                  <a:pt x="1503" y="423"/>
                  <a:pt x="1503" y="423"/>
                  <a:pt x="1503" y="423"/>
                </a:cubicBezTo>
                <a:cubicBezTo>
                  <a:pt x="1504" y="421"/>
                  <a:pt x="1504" y="421"/>
                  <a:pt x="1504" y="421"/>
                </a:cubicBezTo>
                <a:cubicBezTo>
                  <a:pt x="1505" y="421"/>
                  <a:pt x="1505" y="421"/>
                  <a:pt x="1505" y="421"/>
                </a:cubicBezTo>
                <a:cubicBezTo>
                  <a:pt x="1503" y="420"/>
                  <a:pt x="1503" y="420"/>
                  <a:pt x="1503" y="420"/>
                </a:cubicBezTo>
                <a:cubicBezTo>
                  <a:pt x="1503" y="419"/>
                  <a:pt x="1503" y="419"/>
                  <a:pt x="1503" y="419"/>
                </a:cubicBezTo>
                <a:cubicBezTo>
                  <a:pt x="1502" y="419"/>
                  <a:pt x="1502" y="419"/>
                  <a:pt x="1502" y="419"/>
                </a:cubicBezTo>
                <a:cubicBezTo>
                  <a:pt x="1501" y="416"/>
                  <a:pt x="1501" y="416"/>
                  <a:pt x="1501" y="416"/>
                </a:cubicBezTo>
                <a:cubicBezTo>
                  <a:pt x="1498" y="415"/>
                  <a:pt x="1498" y="415"/>
                  <a:pt x="1498" y="415"/>
                </a:cubicBezTo>
                <a:cubicBezTo>
                  <a:pt x="1495" y="414"/>
                  <a:pt x="1495" y="414"/>
                  <a:pt x="1495" y="414"/>
                </a:cubicBezTo>
                <a:cubicBezTo>
                  <a:pt x="1495" y="413"/>
                  <a:pt x="1495" y="413"/>
                  <a:pt x="1495" y="413"/>
                </a:cubicBezTo>
                <a:cubicBezTo>
                  <a:pt x="1494" y="412"/>
                  <a:pt x="1494" y="412"/>
                  <a:pt x="1494" y="412"/>
                </a:cubicBezTo>
                <a:cubicBezTo>
                  <a:pt x="1493" y="409"/>
                  <a:pt x="1493" y="409"/>
                  <a:pt x="1493" y="409"/>
                </a:cubicBezTo>
                <a:cubicBezTo>
                  <a:pt x="1492" y="407"/>
                  <a:pt x="1492" y="407"/>
                  <a:pt x="1492" y="407"/>
                </a:cubicBezTo>
                <a:cubicBezTo>
                  <a:pt x="1491" y="402"/>
                  <a:pt x="1491" y="402"/>
                  <a:pt x="1491" y="402"/>
                </a:cubicBezTo>
                <a:cubicBezTo>
                  <a:pt x="1490" y="401"/>
                  <a:pt x="1490" y="401"/>
                  <a:pt x="1490" y="401"/>
                </a:cubicBezTo>
                <a:cubicBezTo>
                  <a:pt x="1489" y="401"/>
                  <a:pt x="1489" y="401"/>
                  <a:pt x="1489" y="401"/>
                </a:cubicBezTo>
                <a:cubicBezTo>
                  <a:pt x="1486" y="396"/>
                  <a:pt x="1486" y="396"/>
                  <a:pt x="1486" y="396"/>
                </a:cubicBezTo>
                <a:cubicBezTo>
                  <a:pt x="1484" y="396"/>
                  <a:pt x="1484" y="396"/>
                  <a:pt x="1484" y="396"/>
                </a:cubicBezTo>
                <a:cubicBezTo>
                  <a:pt x="1483" y="395"/>
                  <a:pt x="1483" y="395"/>
                  <a:pt x="1483" y="395"/>
                </a:cubicBezTo>
                <a:cubicBezTo>
                  <a:pt x="1481" y="394"/>
                  <a:pt x="1481" y="394"/>
                  <a:pt x="1481" y="394"/>
                </a:cubicBezTo>
                <a:cubicBezTo>
                  <a:pt x="1480" y="395"/>
                  <a:pt x="1480" y="395"/>
                  <a:pt x="1480" y="395"/>
                </a:cubicBezTo>
                <a:cubicBezTo>
                  <a:pt x="1478" y="396"/>
                  <a:pt x="1478" y="396"/>
                  <a:pt x="1478" y="396"/>
                </a:cubicBezTo>
                <a:cubicBezTo>
                  <a:pt x="1476" y="395"/>
                  <a:pt x="1476" y="395"/>
                  <a:pt x="1476" y="395"/>
                </a:cubicBezTo>
                <a:cubicBezTo>
                  <a:pt x="1475" y="395"/>
                  <a:pt x="1475" y="395"/>
                  <a:pt x="1475" y="395"/>
                </a:cubicBezTo>
                <a:cubicBezTo>
                  <a:pt x="1473" y="395"/>
                  <a:pt x="1473" y="395"/>
                  <a:pt x="1473" y="395"/>
                </a:cubicBezTo>
                <a:cubicBezTo>
                  <a:pt x="1472" y="394"/>
                  <a:pt x="1472" y="394"/>
                  <a:pt x="1472" y="394"/>
                </a:cubicBezTo>
                <a:cubicBezTo>
                  <a:pt x="1473" y="394"/>
                  <a:pt x="1473" y="394"/>
                  <a:pt x="1473" y="394"/>
                </a:cubicBezTo>
                <a:cubicBezTo>
                  <a:pt x="1476" y="394"/>
                  <a:pt x="1476" y="394"/>
                  <a:pt x="1476" y="394"/>
                </a:cubicBezTo>
                <a:cubicBezTo>
                  <a:pt x="1478" y="394"/>
                  <a:pt x="1478" y="394"/>
                  <a:pt x="1478" y="394"/>
                </a:cubicBezTo>
                <a:cubicBezTo>
                  <a:pt x="1478" y="392"/>
                  <a:pt x="1478" y="392"/>
                  <a:pt x="1478" y="392"/>
                </a:cubicBezTo>
                <a:cubicBezTo>
                  <a:pt x="1480" y="392"/>
                  <a:pt x="1480" y="392"/>
                  <a:pt x="1480" y="392"/>
                </a:cubicBezTo>
                <a:cubicBezTo>
                  <a:pt x="1482" y="391"/>
                  <a:pt x="1482" y="391"/>
                  <a:pt x="1482" y="391"/>
                </a:cubicBezTo>
                <a:cubicBezTo>
                  <a:pt x="1480" y="390"/>
                  <a:pt x="1480" y="390"/>
                  <a:pt x="1480" y="390"/>
                </a:cubicBezTo>
                <a:cubicBezTo>
                  <a:pt x="1480" y="389"/>
                  <a:pt x="1480" y="389"/>
                  <a:pt x="1480" y="389"/>
                </a:cubicBezTo>
                <a:cubicBezTo>
                  <a:pt x="1479" y="389"/>
                  <a:pt x="1479" y="389"/>
                  <a:pt x="1479" y="389"/>
                </a:cubicBezTo>
                <a:cubicBezTo>
                  <a:pt x="1477" y="390"/>
                  <a:pt x="1477" y="390"/>
                  <a:pt x="1477" y="390"/>
                </a:cubicBezTo>
                <a:cubicBezTo>
                  <a:pt x="1476" y="389"/>
                  <a:pt x="1476" y="389"/>
                  <a:pt x="1476" y="389"/>
                </a:cubicBezTo>
                <a:cubicBezTo>
                  <a:pt x="1478" y="388"/>
                  <a:pt x="1478" y="388"/>
                  <a:pt x="1478" y="388"/>
                </a:cubicBezTo>
                <a:cubicBezTo>
                  <a:pt x="1481" y="388"/>
                  <a:pt x="1481" y="388"/>
                  <a:pt x="1481" y="388"/>
                </a:cubicBezTo>
                <a:cubicBezTo>
                  <a:pt x="1482" y="387"/>
                  <a:pt x="1482" y="387"/>
                  <a:pt x="1482" y="387"/>
                </a:cubicBezTo>
                <a:cubicBezTo>
                  <a:pt x="1482" y="386"/>
                  <a:pt x="1482" y="386"/>
                  <a:pt x="1482" y="386"/>
                </a:cubicBezTo>
                <a:cubicBezTo>
                  <a:pt x="1483" y="385"/>
                  <a:pt x="1483" y="385"/>
                  <a:pt x="1483" y="385"/>
                </a:cubicBezTo>
                <a:cubicBezTo>
                  <a:pt x="1484" y="383"/>
                  <a:pt x="1484" y="383"/>
                  <a:pt x="1484" y="383"/>
                </a:cubicBezTo>
                <a:cubicBezTo>
                  <a:pt x="1485" y="381"/>
                  <a:pt x="1485" y="381"/>
                  <a:pt x="1485" y="381"/>
                </a:cubicBezTo>
                <a:cubicBezTo>
                  <a:pt x="1485" y="381"/>
                  <a:pt x="1485" y="381"/>
                  <a:pt x="1485" y="381"/>
                </a:cubicBezTo>
                <a:cubicBezTo>
                  <a:pt x="1486" y="379"/>
                  <a:pt x="1486" y="379"/>
                  <a:pt x="1486" y="379"/>
                </a:cubicBezTo>
                <a:cubicBezTo>
                  <a:pt x="1486" y="378"/>
                  <a:pt x="1486" y="378"/>
                  <a:pt x="1486" y="378"/>
                </a:cubicBezTo>
                <a:cubicBezTo>
                  <a:pt x="1487" y="376"/>
                  <a:pt x="1487" y="376"/>
                  <a:pt x="1487" y="376"/>
                </a:cubicBezTo>
                <a:cubicBezTo>
                  <a:pt x="1488" y="374"/>
                  <a:pt x="1488" y="374"/>
                  <a:pt x="1488" y="374"/>
                </a:cubicBezTo>
                <a:cubicBezTo>
                  <a:pt x="1488" y="373"/>
                  <a:pt x="1488" y="373"/>
                  <a:pt x="1488" y="373"/>
                </a:cubicBezTo>
                <a:cubicBezTo>
                  <a:pt x="1486" y="371"/>
                  <a:pt x="1486" y="371"/>
                  <a:pt x="1486" y="371"/>
                </a:cubicBezTo>
                <a:cubicBezTo>
                  <a:pt x="1485" y="371"/>
                  <a:pt x="1485" y="371"/>
                  <a:pt x="1485" y="371"/>
                </a:cubicBezTo>
                <a:cubicBezTo>
                  <a:pt x="1481" y="371"/>
                  <a:pt x="1481" y="371"/>
                  <a:pt x="1481" y="371"/>
                </a:cubicBezTo>
                <a:cubicBezTo>
                  <a:pt x="1479" y="371"/>
                  <a:pt x="1479" y="371"/>
                  <a:pt x="1479" y="371"/>
                </a:cubicBezTo>
                <a:cubicBezTo>
                  <a:pt x="1478" y="371"/>
                  <a:pt x="1478" y="371"/>
                  <a:pt x="1478" y="371"/>
                </a:cubicBezTo>
                <a:cubicBezTo>
                  <a:pt x="1477" y="371"/>
                  <a:pt x="1477" y="371"/>
                  <a:pt x="1477" y="371"/>
                </a:cubicBezTo>
                <a:cubicBezTo>
                  <a:pt x="1475" y="371"/>
                  <a:pt x="1475" y="371"/>
                  <a:pt x="1475" y="371"/>
                </a:cubicBezTo>
                <a:cubicBezTo>
                  <a:pt x="1474" y="371"/>
                  <a:pt x="1474" y="371"/>
                  <a:pt x="1474" y="371"/>
                </a:cubicBezTo>
                <a:cubicBezTo>
                  <a:pt x="1474" y="371"/>
                  <a:pt x="1474" y="371"/>
                  <a:pt x="1474" y="371"/>
                </a:cubicBezTo>
                <a:cubicBezTo>
                  <a:pt x="1473" y="372"/>
                  <a:pt x="1473" y="372"/>
                  <a:pt x="1473" y="372"/>
                </a:cubicBezTo>
                <a:cubicBezTo>
                  <a:pt x="1471" y="373"/>
                  <a:pt x="1471" y="373"/>
                  <a:pt x="1471" y="373"/>
                </a:cubicBezTo>
                <a:cubicBezTo>
                  <a:pt x="1470" y="373"/>
                  <a:pt x="1470" y="373"/>
                  <a:pt x="1470" y="373"/>
                </a:cubicBezTo>
                <a:cubicBezTo>
                  <a:pt x="1469" y="374"/>
                  <a:pt x="1469" y="374"/>
                  <a:pt x="1469" y="374"/>
                </a:cubicBezTo>
                <a:cubicBezTo>
                  <a:pt x="1469" y="373"/>
                  <a:pt x="1469" y="373"/>
                  <a:pt x="1469" y="373"/>
                </a:cubicBezTo>
                <a:cubicBezTo>
                  <a:pt x="1470" y="372"/>
                  <a:pt x="1470" y="372"/>
                  <a:pt x="1470" y="372"/>
                </a:cubicBezTo>
                <a:cubicBezTo>
                  <a:pt x="1472" y="369"/>
                  <a:pt x="1472" y="369"/>
                  <a:pt x="1472" y="369"/>
                </a:cubicBezTo>
                <a:cubicBezTo>
                  <a:pt x="1471" y="370"/>
                  <a:pt x="1471" y="370"/>
                  <a:pt x="1471" y="370"/>
                </a:cubicBezTo>
                <a:cubicBezTo>
                  <a:pt x="1469" y="369"/>
                  <a:pt x="1469" y="369"/>
                  <a:pt x="1469" y="369"/>
                </a:cubicBezTo>
                <a:cubicBezTo>
                  <a:pt x="1470" y="369"/>
                  <a:pt x="1470" y="369"/>
                  <a:pt x="1470" y="369"/>
                </a:cubicBezTo>
                <a:cubicBezTo>
                  <a:pt x="1470" y="367"/>
                  <a:pt x="1470" y="367"/>
                  <a:pt x="1470" y="367"/>
                </a:cubicBezTo>
                <a:cubicBezTo>
                  <a:pt x="1474" y="364"/>
                  <a:pt x="1474" y="364"/>
                  <a:pt x="1474" y="364"/>
                </a:cubicBezTo>
                <a:cubicBezTo>
                  <a:pt x="1476" y="362"/>
                  <a:pt x="1476" y="362"/>
                  <a:pt x="1476" y="362"/>
                </a:cubicBezTo>
                <a:cubicBezTo>
                  <a:pt x="1477" y="362"/>
                  <a:pt x="1477" y="362"/>
                  <a:pt x="1477" y="362"/>
                </a:cubicBezTo>
                <a:cubicBezTo>
                  <a:pt x="1478" y="360"/>
                  <a:pt x="1478" y="360"/>
                  <a:pt x="1478" y="360"/>
                </a:cubicBezTo>
                <a:cubicBezTo>
                  <a:pt x="1477" y="359"/>
                  <a:pt x="1477" y="359"/>
                  <a:pt x="1477" y="359"/>
                </a:cubicBezTo>
                <a:cubicBezTo>
                  <a:pt x="1478" y="358"/>
                  <a:pt x="1478" y="358"/>
                  <a:pt x="1478" y="358"/>
                </a:cubicBezTo>
                <a:cubicBezTo>
                  <a:pt x="1478" y="357"/>
                  <a:pt x="1478" y="357"/>
                  <a:pt x="1478" y="357"/>
                </a:cubicBezTo>
                <a:cubicBezTo>
                  <a:pt x="1476" y="357"/>
                  <a:pt x="1476" y="357"/>
                  <a:pt x="1476" y="357"/>
                </a:cubicBezTo>
                <a:cubicBezTo>
                  <a:pt x="1475" y="358"/>
                  <a:pt x="1475" y="358"/>
                  <a:pt x="1475" y="358"/>
                </a:cubicBezTo>
                <a:cubicBezTo>
                  <a:pt x="1473" y="358"/>
                  <a:pt x="1473" y="358"/>
                  <a:pt x="1473" y="358"/>
                </a:cubicBezTo>
                <a:cubicBezTo>
                  <a:pt x="1472" y="359"/>
                  <a:pt x="1472" y="359"/>
                  <a:pt x="1472" y="359"/>
                </a:cubicBezTo>
                <a:cubicBezTo>
                  <a:pt x="1470" y="359"/>
                  <a:pt x="1470" y="359"/>
                  <a:pt x="1470" y="359"/>
                </a:cubicBezTo>
                <a:cubicBezTo>
                  <a:pt x="1468" y="359"/>
                  <a:pt x="1468" y="359"/>
                  <a:pt x="1468" y="359"/>
                </a:cubicBezTo>
                <a:cubicBezTo>
                  <a:pt x="1467" y="359"/>
                  <a:pt x="1467" y="359"/>
                  <a:pt x="1467" y="359"/>
                </a:cubicBezTo>
                <a:cubicBezTo>
                  <a:pt x="1467" y="360"/>
                  <a:pt x="1467" y="360"/>
                  <a:pt x="1467" y="360"/>
                </a:cubicBezTo>
                <a:cubicBezTo>
                  <a:pt x="1467" y="359"/>
                  <a:pt x="1467" y="359"/>
                  <a:pt x="1467" y="359"/>
                </a:cubicBezTo>
                <a:cubicBezTo>
                  <a:pt x="1466" y="359"/>
                  <a:pt x="1466" y="359"/>
                  <a:pt x="1466" y="359"/>
                </a:cubicBezTo>
                <a:cubicBezTo>
                  <a:pt x="1464" y="360"/>
                  <a:pt x="1464" y="360"/>
                  <a:pt x="1464" y="360"/>
                </a:cubicBezTo>
                <a:cubicBezTo>
                  <a:pt x="1465" y="359"/>
                  <a:pt x="1465" y="359"/>
                  <a:pt x="1465" y="359"/>
                </a:cubicBezTo>
                <a:cubicBezTo>
                  <a:pt x="1463" y="358"/>
                  <a:pt x="1463" y="358"/>
                  <a:pt x="1463" y="358"/>
                </a:cubicBezTo>
                <a:cubicBezTo>
                  <a:pt x="1462" y="359"/>
                  <a:pt x="1462" y="359"/>
                  <a:pt x="1462" y="359"/>
                </a:cubicBezTo>
                <a:cubicBezTo>
                  <a:pt x="1461" y="360"/>
                  <a:pt x="1461" y="360"/>
                  <a:pt x="1461" y="360"/>
                </a:cubicBezTo>
                <a:cubicBezTo>
                  <a:pt x="1462" y="361"/>
                  <a:pt x="1462" y="361"/>
                  <a:pt x="1462" y="361"/>
                </a:cubicBezTo>
                <a:cubicBezTo>
                  <a:pt x="1461" y="361"/>
                  <a:pt x="1461" y="361"/>
                  <a:pt x="1461" y="361"/>
                </a:cubicBezTo>
                <a:cubicBezTo>
                  <a:pt x="1461" y="363"/>
                  <a:pt x="1461" y="363"/>
                  <a:pt x="1461" y="363"/>
                </a:cubicBezTo>
                <a:cubicBezTo>
                  <a:pt x="1460" y="363"/>
                  <a:pt x="1460" y="363"/>
                  <a:pt x="1460" y="363"/>
                </a:cubicBezTo>
                <a:cubicBezTo>
                  <a:pt x="1460" y="365"/>
                  <a:pt x="1460" y="365"/>
                  <a:pt x="1460" y="365"/>
                </a:cubicBezTo>
                <a:cubicBezTo>
                  <a:pt x="1460" y="366"/>
                  <a:pt x="1460" y="366"/>
                  <a:pt x="1460" y="366"/>
                </a:cubicBezTo>
                <a:cubicBezTo>
                  <a:pt x="1459" y="366"/>
                  <a:pt x="1459" y="366"/>
                  <a:pt x="1459" y="366"/>
                </a:cubicBezTo>
                <a:cubicBezTo>
                  <a:pt x="1461" y="368"/>
                  <a:pt x="1461" y="368"/>
                  <a:pt x="1461" y="368"/>
                </a:cubicBezTo>
                <a:cubicBezTo>
                  <a:pt x="1462" y="369"/>
                  <a:pt x="1462" y="369"/>
                  <a:pt x="1462" y="369"/>
                </a:cubicBezTo>
                <a:cubicBezTo>
                  <a:pt x="1460" y="368"/>
                  <a:pt x="1460" y="368"/>
                  <a:pt x="1460" y="368"/>
                </a:cubicBezTo>
                <a:cubicBezTo>
                  <a:pt x="1459" y="369"/>
                  <a:pt x="1459" y="369"/>
                  <a:pt x="1459" y="369"/>
                </a:cubicBezTo>
                <a:cubicBezTo>
                  <a:pt x="1457" y="368"/>
                  <a:pt x="1457" y="368"/>
                  <a:pt x="1457" y="368"/>
                </a:cubicBezTo>
                <a:cubicBezTo>
                  <a:pt x="1457" y="368"/>
                  <a:pt x="1457" y="368"/>
                  <a:pt x="1457" y="368"/>
                </a:cubicBezTo>
                <a:cubicBezTo>
                  <a:pt x="1458" y="369"/>
                  <a:pt x="1458" y="369"/>
                  <a:pt x="1458" y="369"/>
                </a:cubicBezTo>
                <a:cubicBezTo>
                  <a:pt x="1457" y="370"/>
                  <a:pt x="1457" y="370"/>
                  <a:pt x="1457" y="370"/>
                </a:cubicBezTo>
                <a:cubicBezTo>
                  <a:pt x="1457" y="368"/>
                  <a:pt x="1457" y="368"/>
                  <a:pt x="1457" y="368"/>
                </a:cubicBezTo>
                <a:cubicBezTo>
                  <a:pt x="1456" y="370"/>
                  <a:pt x="1456" y="370"/>
                  <a:pt x="1456" y="370"/>
                </a:cubicBezTo>
                <a:cubicBezTo>
                  <a:pt x="1457" y="371"/>
                  <a:pt x="1457" y="371"/>
                  <a:pt x="1457" y="371"/>
                </a:cubicBezTo>
                <a:cubicBezTo>
                  <a:pt x="1456" y="372"/>
                  <a:pt x="1456" y="372"/>
                  <a:pt x="1456" y="372"/>
                </a:cubicBezTo>
                <a:cubicBezTo>
                  <a:pt x="1457" y="373"/>
                  <a:pt x="1457" y="373"/>
                  <a:pt x="1457" y="373"/>
                </a:cubicBezTo>
                <a:cubicBezTo>
                  <a:pt x="1458" y="373"/>
                  <a:pt x="1458" y="373"/>
                  <a:pt x="1458" y="373"/>
                </a:cubicBezTo>
                <a:cubicBezTo>
                  <a:pt x="1457" y="374"/>
                  <a:pt x="1457" y="374"/>
                  <a:pt x="1457" y="374"/>
                </a:cubicBezTo>
                <a:lnTo>
                  <a:pt x="1456" y="373"/>
                </a:lnTo>
                <a:close/>
                <a:moveTo>
                  <a:pt x="1452" y="371"/>
                </a:moveTo>
                <a:cubicBezTo>
                  <a:pt x="1451" y="371"/>
                  <a:pt x="1451" y="371"/>
                  <a:pt x="1451" y="371"/>
                </a:cubicBezTo>
                <a:cubicBezTo>
                  <a:pt x="1451" y="374"/>
                  <a:pt x="1451" y="374"/>
                  <a:pt x="1451" y="374"/>
                </a:cubicBezTo>
                <a:cubicBezTo>
                  <a:pt x="1449" y="372"/>
                  <a:pt x="1449" y="372"/>
                  <a:pt x="1449" y="372"/>
                </a:cubicBezTo>
                <a:cubicBezTo>
                  <a:pt x="1449" y="374"/>
                  <a:pt x="1449" y="374"/>
                  <a:pt x="1449" y="374"/>
                </a:cubicBezTo>
                <a:cubicBezTo>
                  <a:pt x="1449" y="373"/>
                  <a:pt x="1449" y="373"/>
                  <a:pt x="1449" y="373"/>
                </a:cubicBezTo>
                <a:cubicBezTo>
                  <a:pt x="1448" y="374"/>
                  <a:pt x="1448" y="374"/>
                  <a:pt x="1448" y="374"/>
                </a:cubicBezTo>
                <a:cubicBezTo>
                  <a:pt x="1450" y="375"/>
                  <a:pt x="1450" y="375"/>
                  <a:pt x="1450" y="375"/>
                </a:cubicBezTo>
                <a:cubicBezTo>
                  <a:pt x="1450" y="375"/>
                  <a:pt x="1450" y="375"/>
                  <a:pt x="1450" y="375"/>
                </a:cubicBezTo>
                <a:cubicBezTo>
                  <a:pt x="1451" y="375"/>
                  <a:pt x="1451" y="375"/>
                  <a:pt x="1451" y="375"/>
                </a:cubicBezTo>
                <a:cubicBezTo>
                  <a:pt x="1450" y="376"/>
                  <a:pt x="1450" y="376"/>
                  <a:pt x="1450" y="376"/>
                </a:cubicBezTo>
                <a:cubicBezTo>
                  <a:pt x="1452" y="378"/>
                  <a:pt x="1452" y="378"/>
                  <a:pt x="1452" y="378"/>
                </a:cubicBezTo>
                <a:cubicBezTo>
                  <a:pt x="1454" y="378"/>
                  <a:pt x="1454" y="378"/>
                  <a:pt x="1454" y="378"/>
                </a:cubicBezTo>
                <a:cubicBezTo>
                  <a:pt x="1454" y="380"/>
                  <a:pt x="1454" y="380"/>
                  <a:pt x="1454" y="380"/>
                </a:cubicBezTo>
                <a:cubicBezTo>
                  <a:pt x="1455" y="380"/>
                  <a:pt x="1455" y="380"/>
                  <a:pt x="1455" y="380"/>
                </a:cubicBezTo>
                <a:cubicBezTo>
                  <a:pt x="1456" y="378"/>
                  <a:pt x="1456" y="378"/>
                  <a:pt x="1456" y="378"/>
                </a:cubicBezTo>
                <a:cubicBezTo>
                  <a:pt x="1457" y="377"/>
                  <a:pt x="1457" y="377"/>
                  <a:pt x="1457" y="377"/>
                </a:cubicBezTo>
                <a:cubicBezTo>
                  <a:pt x="1456" y="377"/>
                  <a:pt x="1456" y="377"/>
                  <a:pt x="1456" y="377"/>
                </a:cubicBezTo>
                <a:cubicBezTo>
                  <a:pt x="1455" y="377"/>
                  <a:pt x="1455" y="377"/>
                  <a:pt x="1455" y="377"/>
                </a:cubicBezTo>
                <a:cubicBezTo>
                  <a:pt x="1453" y="376"/>
                  <a:pt x="1453" y="376"/>
                  <a:pt x="1453" y="376"/>
                </a:cubicBezTo>
                <a:cubicBezTo>
                  <a:pt x="1453" y="373"/>
                  <a:pt x="1453" y="373"/>
                  <a:pt x="1453" y="373"/>
                </a:cubicBezTo>
                <a:lnTo>
                  <a:pt x="1452" y="371"/>
                </a:lnTo>
                <a:close/>
                <a:moveTo>
                  <a:pt x="1446" y="366"/>
                </a:moveTo>
                <a:cubicBezTo>
                  <a:pt x="1447" y="367"/>
                  <a:pt x="1447" y="367"/>
                  <a:pt x="1447" y="367"/>
                </a:cubicBezTo>
                <a:cubicBezTo>
                  <a:pt x="1448" y="367"/>
                  <a:pt x="1448" y="367"/>
                  <a:pt x="1448" y="367"/>
                </a:cubicBezTo>
                <a:cubicBezTo>
                  <a:pt x="1450" y="367"/>
                  <a:pt x="1450" y="367"/>
                  <a:pt x="1450" y="367"/>
                </a:cubicBezTo>
                <a:cubicBezTo>
                  <a:pt x="1451" y="365"/>
                  <a:pt x="1451" y="365"/>
                  <a:pt x="1451" y="365"/>
                </a:cubicBezTo>
                <a:cubicBezTo>
                  <a:pt x="1451" y="365"/>
                  <a:pt x="1451" y="365"/>
                  <a:pt x="1451" y="365"/>
                </a:cubicBezTo>
                <a:cubicBezTo>
                  <a:pt x="1451" y="363"/>
                  <a:pt x="1451" y="363"/>
                  <a:pt x="1451" y="363"/>
                </a:cubicBezTo>
                <a:cubicBezTo>
                  <a:pt x="1453" y="362"/>
                  <a:pt x="1453" y="362"/>
                  <a:pt x="1453" y="362"/>
                </a:cubicBezTo>
                <a:cubicBezTo>
                  <a:pt x="1453" y="359"/>
                  <a:pt x="1453" y="359"/>
                  <a:pt x="1453" y="359"/>
                </a:cubicBezTo>
                <a:cubicBezTo>
                  <a:pt x="1448" y="362"/>
                  <a:pt x="1448" y="362"/>
                  <a:pt x="1448" y="362"/>
                </a:cubicBezTo>
                <a:cubicBezTo>
                  <a:pt x="1449" y="364"/>
                  <a:pt x="1449" y="364"/>
                  <a:pt x="1449" y="364"/>
                </a:cubicBezTo>
                <a:cubicBezTo>
                  <a:pt x="1447" y="363"/>
                  <a:pt x="1447" y="363"/>
                  <a:pt x="1447" y="363"/>
                </a:cubicBezTo>
                <a:cubicBezTo>
                  <a:pt x="1446" y="364"/>
                  <a:pt x="1446" y="364"/>
                  <a:pt x="1446" y="364"/>
                </a:cubicBezTo>
                <a:cubicBezTo>
                  <a:pt x="1447" y="366"/>
                  <a:pt x="1447" y="366"/>
                  <a:pt x="1447" y="366"/>
                </a:cubicBezTo>
                <a:lnTo>
                  <a:pt x="1446" y="366"/>
                </a:lnTo>
                <a:close/>
                <a:moveTo>
                  <a:pt x="903" y="48"/>
                </a:moveTo>
                <a:cubicBezTo>
                  <a:pt x="903" y="49"/>
                  <a:pt x="903" y="49"/>
                  <a:pt x="903" y="49"/>
                </a:cubicBezTo>
                <a:cubicBezTo>
                  <a:pt x="904" y="50"/>
                  <a:pt x="904" y="50"/>
                  <a:pt x="904" y="50"/>
                </a:cubicBezTo>
                <a:cubicBezTo>
                  <a:pt x="905" y="49"/>
                  <a:pt x="905" y="49"/>
                  <a:pt x="905" y="49"/>
                </a:cubicBezTo>
                <a:cubicBezTo>
                  <a:pt x="904" y="48"/>
                  <a:pt x="904" y="48"/>
                  <a:pt x="904" y="48"/>
                </a:cubicBezTo>
                <a:lnTo>
                  <a:pt x="903" y="48"/>
                </a:lnTo>
                <a:close/>
                <a:moveTo>
                  <a:pt x="848" y="105"/>
                </a:moveTo>
                <a:cubicBezTo>
                  <a:pt x="847" y="104"/>
                  <a:pt x="847" y="104"/>
                  <a:pt x="847" y="104"/>
                </a:cubicBezTo>
                <a:cubicBezTo>
                  <a:pt x="846" y="105"/>
                  <a:pt x="846" y="105"/>
                  <a:pt x="846" y="105"/>
                </a:cubicBezTo>
                <a:lnTo>
                  <a:pt x="848" y="105"/>
                </a:lnTo>
                <a:close/>
                <a:moveTo>
                  <a:pt x="842" y="103"/>
                </a:moveTo>
                <a:cubicBezTo>
                  <a:pt x="843" y="105"/>
                  <a:pt x="843" y="105"/>
                  <a:pt x="843" y="105"/>
                </a:cubicBezTo>
                <a:cubicBezTo>
                  <a:pt x="844" y="105"/>
                  <a:pt x="844" y="105"/>
                  <a:pt x="844" y="105"/>
                </a:cubicBezTo>
                <a:cubicBezTo>
                  <a:pt x="844" y="104"/>
                  <a:pt x="844" y="104"/>
                  <a:pt x="844" y="104"/>
                </a:cubicBezTo>
                <a:cubicBezTo>
                  <a:pt x="844" y="103"/>
                  <a:pt x="844" y="103"/>
                  <a:pt x="844" y="103"/>
                </a:cubicBezTo>
                <a:cubicBezTo>
                  <a:pt x="843" y="103"/>
                  <a:pt x="843" y="103"/>
                  <a:pt x="843" y="103"/>
                </a:cubicBezTo>
                <a:lnTo>
                  <a:pt x="842" y="103"/>
                </a:lnTo>
                <a:close/>
                <a:moveTo>
                  <a:pt x="907" y="143"/>
                </a:moveTo>
                <a:cubicBezTo>
                  <a:pt x="908" y="142"/>
                  <a:pt x="908" y="142"/>
                  <a:pt x="908" y="142"/>
                </a:cubicBezTo>
                <a:cubicBezTo>
                  <a:pt x="907" y="141"/>
                  <a:pt x="907" y="141"/>
                  <a:pt x="907" y="141"/>
                </a:cubicBezTo>
                <a:cubicBezTo>
                  <a:pt x="906" y="139"/>
                  <a:pt x="906" y="139"/>
                  <a:pt x="906" y="139"/>
                </a:cubicBezTo>
                <a:cubicBezTo>
                  <a:pt x="906" y="141"/>
                  <a:pt x="906" y="141"/>
                  <a:pt x="906" y="141"/>
                </a:cubicBezTo>
                <a:cubicBezTo>
                  <a:pt x="906" y="143"/>
                  <a:pt x="906" y="143"/>
                  <a:pt x="906" y="143"/>
                </a:cubicBezTo>
                <a:lnTo>
                  <a:pt x="907" y="143"/>
                </a:lnTo>
                <a:close/>
                <a:moveTo>
                  <a:pt x="820" y="91"/>
                </a:moveTo>
                <a:cubicBezTo>
                  <a:pt x="819" y="91"/>
                  <a:pt x="819" y="91"/>
                  <a:pt x="819" y="91"/>
                </a:cubicBezTo>
                <a:cubicBezTo>
                  <a:pt x="818" y="91"/>
                  <a:pt x="818" y="91"/>
                  <a:pt x="818" y="91"/>
                </a:cubicBezTo>
                <a:cubicBezTo>
                  <a:pt x="816" y="92"/>
                  <a:pt x="816" y="92"/>
                  <a:pt x="816" y="92"/>
                </a:cubicBezTo>
                <a:cubicBezTo>
                  <a:pt x="817" y="93"/>
                  <a:pt x="817" y="93"/>
                  <a:pt x="817" y="93"/>
                </a:cubicBezTo>
                <a:cubicBezTo>
                  <a:pt x="817" y="94"/>
                  <a:pt x="817" y="94"/>
                  <a:pt x="817" y="94"/>
                </a:cubicBezTo>
                <a:cubicBezTo>
                  <a:pt x="818" y="95"/>
                  <a:pt x="818" y="95"/>
                  <a:pt x="818" y="95"/>
                </a:cubicBezTo>
                <a:cubicBezTo>
                  <a:pt x="819" y="94"/>
                  <a:pt x="819" y="94"/>
                  <a:pt x="819" y="94"/>
                </a:cubicBezTo>
                <a:cubicBezTo>
                  <a:pt x="820" y="95"/>
                  <a:pt x="820" y="95"/>
                  <a:pt x="820" y="95"/>
                </a:cubicBezTo>
                <a:cubicBezTo>
                  <a:pt x="821" y="95"/>
                  <a:pt x="821" y="95"/>
                  <a:pt x="821" y="95"/>
                </a:cubicBezTo>
                <a:cubicBezTo>
                  <a:pt x="822" y="96"/>
                  <a:pt x="822" y="96"/>
                  <a:pt x="822" y="96"/>
                </a:cubicBezTo>
                <a:cubicBezTo>
                  <a:pt x="822" y="96"/>
                  <a:pt x="823" y="96"/>
                  <a:pt x="823" y="96"/>
                </a:cubicBezTo>
                <a:cubicBezTo>
                  <a:pt x="824" y="94"/>
                  <a:pt x="824" y="94"/>
                  <a:pt x="824" y="94"/>
                </a:cubicBezTo>
                <a:cubicBezTo>
                  <a:pt x="823" y="93"/>
                  <a:pt x="823" y="93"/>
                  <a:pt x="823" y="93"/>
                </a:cubicBezTo>
                <a:cubicBezTo>
                  <a:pt x="821" y="92"/>
                  <a:pt x="821" y="92"/>
                  <a:pt x="821" y="92"/>
                </a:cubicBezTo>
                <a:lnTo>
                  <a:pt x="820" y="91"/>
                </a:lnTo>
                <a:close/>
                <a:moveTo>
                  <a:pt x="1007" y="470"/>
                </a:moveTo>
                <a:cubicBezTo>
                  <a:pt x="1007" y="470"/>
                  <a:pt x="1008" y="470"/>
                  <a:pt x="1008" y="470"/>
                </a:cubicBezTo>
                <a:cubicBezTo>
                  <a:pt x="1009" y="470"/>
                  <a:pt x="1009" y="470"/>
                  <a:pt x="1009" y="470"/>
                </a:cubicBezTo>
                <a:cubicBezTo>
                  <a:pt x="1009" y="469"/>
                  <a:pt x="1009" y="469"/>
                  <a:pt x="1009" y="469"/>
                </a:cubicBezTo>
                <a:cubicBezTo>
                  <a:pt x="1008" y="468"/>
                  <a:pt x="1008" y="468"/>
                  <a:pt x="1008" y="468"/>
                </a:cubicBezTo>
                <a:cubicBezTo>
                  <a:pt x="1008" y="468"/>
                  <a:pt x="1008" y="468"/>
                  <a:pt x="1008" y="468"/>
                </a:cubicBezTo>
                <a:cubicBezTo>
                  <a:pt x="1007" y="468"/>
                  <a:pt x="1007" y="468"/>
                  <a:pt x="1007" y="468"/>
                </a:cubicBezTo>
                <a:cubicBezTo>
                  <a:pt x="1007" y="468"/>
                  <a:pt x="1007" y="468"/>
                  <a:pt x="1007" y="468"/>
                </a:cubicBezTo>
                <a:cubicBezTo>
                  <a:pt x="1007" y="468"/>
                  <a:pt x="1007" y="468"/>
                  <a:pt x="1007" y="468"/>
                </a:cubicBezTo>
                <a:lnTo>
                  <a:pt x="1007" y="470"/>
                </a:lnTo>
                <a:close/>
                <a:moveTo>
                  <a:pt x="898" y="48"/>
                </a:moveTo>
                <a:cubicBezTo>
                  <a:pt x="899" y="50"/>
                  <a:pt x="899" y="50"/>
                  <a:pt x="899" y="50"/>
                </a:cubicBezTo>
                <a:cubicBezTo>
                  <a:pt x="900" y="49"/>
                  <a:pt x="900" y="49"/>
                  <a:pt x="900" y="49"/>
                </a:cubicBezTo>
                <a:cubicBezTo>
                  <a:pt x="900" y="48"/>
                  <a:pt x="900" y="48"/>
                  <a:pt x="900" y="48"/>
                </a:cubicBezTo>
                <a:cubicBezTo>
                  <a:pt x="899" y="48"/>
                  <a:pt x="899" y="48"/>
                  <a:pt x="899" y="48"/>
                </a:cubicBezTo>
                <a:lnTo>
                  <a:pt x="898" y="48"/>
                </a:lnTo>
                <a:close/>
                <a:moveTo>
                  <a:pt x="896" y="46"/>
                </a:moveTo>
                <a:cubicBezTo>
                  <a:pt x="896" y="48"/>
                  <a:pt x="896" y="48"/>
                  <a:pt x="896" y="48"/>
                </a:cubicBezTo>
                <a:cubicBezTo>
                  <a:pt x="897" y="47"/>
                  <a:pt x="897" y="47"/>
                  <a:pt x="897" y="47"/>
                </a:cubicBezTo>
                <a:cubicBezTo>
                  <a:pt x="897" y="46"/>
                  <a:pt x="897" y="46"/>
                  <a:pt x="897" y="46"/>
                </a:cubicBezTo>
                <a:cubicBezTo>
                  <a:pt x="897" y="45"/>
                  <a:pt x="897" y="45"/>
                  <a:pt x="897" y="45"/>
                </a:cubicBezTo>
                <a:lnTo>
                  <a:pt x="896" y="46"/>
                </a:lnTo>
                <a:close/>
                <a:moveTo>
                  <a:pt x="904" y="137"/>
                </a:moveTo>
                <a:cubicBezTo>
                  <a:pt x="903" y="137"/>
                  <a:pt x="903" y="137"/>
                  <a:pt x="903" y="137"/>
                </a:cubicBezTo>
                <a:cubicBezTo>
                  <a:pt x="902" y="139"/>
                  <a:pt x="902" y="139"/>
                  <a:pt x="902" y="139"/>
                </a:cubicBezTo>
                <a:cubicBezTo>
                  <a:pt x="901" y="141"/>
                  <a:pt x="901" y="141"/>
                  <a:pt x="901" y="141"/>
                </a:cubicBezTo>
                <a:cubicBezTo>
                  <a:pt x="902" y="143"/>
                  <a:pt x="902" y="143"/>
                  <a:pt x="902" y="143"/>
                </a:cubicBezTo>
                <a:cubicBezTo>
                  <a:pt x="902" y="144"/>
                  <a:pt x="902" y="144"/>
                  <a:pt x="902" y="144"/>
                </a:cubicBezTo>
                <a:cubicBezTo>
                  <a:pt x="903" y="145"/>
                  <a:pt x="903" y="145"/>
                  <a:pt x="903" y="145"/>
                </a:cubicBezTo>
                <a:cubicBezTo>
                  <a:pt x="904" y="145"/>
                  <a:pt x="904" y="145"/>
                  <a:pt x="904" y="145"/>
                </a:cubicBezTo>
                <a:cubicBezTo>
                  <a:pt x="905" y="144"/>
                  <a:pt x="905" y="144"/>
                  <a:pt x="905" y="144"/>
                </a:cubicBezTo>
                <a:cubicBezTo>
                  <a:pt x="904" y="141"/>
                  <a:pt x="904" y="141"/>
                  <a:pt x="904" y="141"/>
                </a:cubicBezTo>
                <a:cubicBezTo>
                  <a:pt x="905" y="139"/>
                  <a:pt x="905" y="139"/>
                  <a:pt x="905" y="139"/>
                </a:cubicBezTo>
                <a:lnTo>
                  <a:pt x="904" y="137"/>
                </a:lnTo>
                <a:close/>
                <a:moveTo>
                  <a:pt x="851" y="105"/>
                </a:moveTo>
                <a:cubicBezTo>
                  <a:pt x="849" y="105"/>
                  <a:pt x="849" y="105"/>
                  <a:pt x="849" y="105"/>
                </a:cubicBezTo>
                <a:cubicBezTo>
                  <a:pt x="849" y="105"/>
                  <a:pt x="849" y="105"/>
                  <a:pt x="849" y="105"/>
                </a:cubicBezTo>
                <a:cubicBezTo>
                  <a:pt x="849" y="106"/>
                  <a:pt x="849" y="106"/>
                  <a:pt x="849" y="106"/>
                </a:cubicBezTo>
                <a:cubicBezTo>
                  <a:pt x="851" y="106"/>
                  <a:pt x="851" y="106"/>
                  <a:pt x="851" y="106"/>
                </a:cubicBezTo>
                <a:cubicBezTo>
                  <a:pt x="852" y="107"/>
                  <a:pt x="852" y="107"/>
                  <a:pt x="852" y="107"/>
                </a:cubicBezTo>
                <a:cubicBezTo>
                  <a:pt x="853" y="107"/>
                  <a:pt x="853" y="107"/>
                  <a:pt x="853" y="107"/>
                </a:cubicBezTo>
                <a:cubicBezTo>
                  <a:pt x="853" y="106"/>
                  <a:pt x="853" y="106"/>
                  <a:pt x="853" y="106"/>
                </a:cubicBezTo>
                <a:cubicBezTo>
                  <a:pt x="851" y="105"/>
                  <a:pt x="851" y="105"/>
                  <a:pt x="851" y="105"/>
                </a:cubicBezTo>
                <a:close/>
                <a:moveTo>
                  <a:pt x="855" y="115"/>
                </a:moveTo>
                <a:cubicBezTo>
                  <a:pt x="855" y="116"/>
                  <a:pt x="855" y="116"/>
                  <a:pt x="855" y="116"/>
                </a:cubicBezTo>
                <a:cubicBezTo>
                  <a:pt x="856" y="116"/>
                  <a:pt x="856" y="116"/>
                  <a:pt x="856" y="116"/>
                </a:cubicBezTo>
                <a:cubicBezTo>
                  <a:pt x="858" y="116"/>
                  <a:pt x="858" y="116"/>
                  <a:pt x="858" y="116"/>
                </a:cubicBezTo>
                <a:cubicBezTo>
                  <a:pt x="858" y="115"/>
                  <a:pt x="858" y="115"/>
                  <a:pt x="858" y="115"/>
                </a:cubicBezTo>
                <a:cubicBezTo>
                  <a:pt x="857" y="114"/>
                  <a:pt x="857" y="114"/>
                  <a:pt x="857" y="114"/>
                </a:cubicBezTo>
                <a:cubicBezTo>
                  <a:pt x="855" y="114"/>
                  <a:pt x="855" y="114"/>
                  <a:pt x="855" y="114"/>
                </a:cubicBezTo>
                <a:lnTo>
                  <a:pt x="855" y="115"/>
                </a:lnTo>
                <a:close/>
                <a:moveTo>
                  <a:pt x="910" y="146"/>
                </a:moveTo>
                <a:cubicBezTo>
                  <a:pt x="909" y="145"/>
                  <a:pt x="909" y="145"/>
                  <a:pt x="909" y="145"/>
                </a:cubicBezTo>
                <a:cubicBezTo>
                  <a:pt x="909" y="145"/>
                  <a:pt x="909" y="145"/>
                  <a:pt x="909" y="145"/>
                </a:cubicBezTo>
                <a:cubicBezTo>
                  <a:pt x="908" y="146"/>
                  <a:pt x="908" y="146"/>
                  <a:pt x="908" y="146"/>
                </a:cubicBezTo>
                <a:cubicBezTo>
                  <a:pt x="909" y="147"/>
                  <a:pt x="909" y="147"/>
                  <a:pt x="909" y="147"/>
                </a:cubicBezTo>
                <a:lnTo>
                  <a:pt x="910" y="146"/>
                </a:lnTo>
                <a:close/>
                <a:moveTo>
                  <a:pt x="857" y="112"/>
                </a:moveTo>
                <a:cubicBezTo>
                  <a:pt x="856" y="112"/>
                  <a:pt x="856" y="112"/>
                  <a:pt x="856" y="112"/>
                </a:cubicBezTo>
                <a:cubicBezTo>
                  <a:pt x="857" y="113"/>
                  <a:pt x="857" y="113"/>
                  <a:pt x="857" y="113"/>
                </a:cubicBezTo>
                <a:lnTo>
                  <a:pt x="857" y="112"/>
                </a:lnTo>
                <a:close/>
                <a:moveTo>
                  <a:pt x="854" y="113"/>
                </a:moveTo>
                <a:cubicBezTo>
                  <a:pt x="854" y="113"/>
                  <a:pt x="854" y="113"/>
                  <a:pt x="854" y="113"/>
                </a:cubicBezTo>
                <a:cubicBezTo>
                  <a:pt x="854" y="112"/>
                  <a:pt x="854" y="112"/>
                  <a:pt x="854" y="112"/>
                </a:cubicBezTo>
                <a:cubicBezTo>
                  <a:pt x="853" y="112"/>
                  <a:pt x="853" y="112"/>
                  <a:pt x="853" y="112"/>
                </a:cubicBezTo>
                <a:lnTo>
                  <a:pt x="854" y="113"/>
                </a:lnTo>
                <a:close/>
                <a:moveTo>
                  <a:pt x="901" y="29"/>
                </a:moveTo>
                <a:cubicBezTo>
                  <a:pt x="903" y="29"/>
                  <a:pt x="903" y="29"/>
                  <a:pt x="903" y="29"/>
                </a:cubicBezTo>
                <a:cubicBezTo>
                  <a:pt x="903" y="31"/>
                  <a:pt x="903" y="31"/>
                  <a:pt x="903" y="31"/>
                </a:cubicBezTo>
                <a:cubicBezTo>
                  <a:pt x="902" y="32"/>
                  <a:pt x="902" y="32"/>
                  <a:pt x="902" y="32"/>
                </a:cubicBezTo>
                <a:cubicBezTo>
                  <a:pt x="902" y="34"/>
                  <a:pt x="902" y="34"/>
                  <a:pt x="902" y="34"/>
                </a:cubicBezTo>
                <a:cubicBezTo>
                  <a:pt x="900" y="35"/>
                  <a:pt x="900" y="35"/>
                  <a:pt x="900" y="35"/>
                </a:cubicBezTo>
                <a:cubicBezTo>
                  <a:pt x="900" y="38"/>
                  <a:pt x="900" y="38"/>
                  <a:pt x="900" y="38"/>
                </a:cubicBezTo>
                <a:cubicBezTo>
                  <a:pt x="901" y="40"/>
                  <a:pt x="901" y="40"/>
                  <a:pt x="901" y="40"/>
                </a:cubicBezTo>
                <a:cubicBezTo>
                  <a:pt x="902" y="40"/>
                  <a:pt x="902" y="40"/>
                  <a:pt x="902" y="40"/>
                </a:cubicBezTo>
                <a:cubicBezTo>
                  <a:pt x="903" y="43"/>
                  <a:pt x="903" y="43"/>
                  <a:pt x="903" y="43"/>
                </a:cubicBezTo>
                <a:cubicBezTo>
                  <a:pt x="905" y="43"/>
                  <a:pt x="905" y="43"/>
                  <a:pt x="905" y="43"/>
                </a:cubicBezTo>
                <a:cubicBezTo>
                  <a:pt x="908" y="45"/>
                  <a:pt x="908" y="45"/>
                  <a:pt x="908" y="45"/>
                </a:cubicBezTo>
                <a:cubicBezTo>
                  <a:pt x="909" y="44"/>
                  <a:pt x="909" y="44"/>
                  <a:pt x="909" y="44"/>
                </a:cubicBezTo>
                <a:cubicBezTo>
                  <a:pt x="911" y="43"/>
                  <a:pt x="911" y="43"/>
                  <a:pt x="911" y="43"/>
                </a:cubicBezTo>
                <a:cubicBezTo>
                  <a:pt x="912" y="42"/>
                  <a:pt x="912" y="42"/>
                  <a:pt x="912" y="42"/>
                </a:cubicBezTo>
                <a:cubicBezTo>
                  <a:pt x="915" y="42"/>
                  <a:pt x="915" y="42"/>
                  <a:pt x="915" y="42"/>
                </a:cubicBezTo>
                <a:cubicBezTo>
                  <a:pt x="917" y="43"/>
                  <a:pt x="917" y="43"/>
                  <a:pt x="917" y="43"/>
                </a:cubicBezTo>
                <a:cubicBezTo>
                  <a:pt x="918" y="43"/>
                  <a:pt x="918" y="43"/>
                  <a:pt x="918" y="43"/>
                </a:cubicBezTo>
                <a:cubicBezTo>
                  <a:pt x="920" y="43"/>
                  <a:pt x="920" y="43"/>
                  <a:pt x="920" y="43"/>
                </a:cubicBezTo>
                <a:cubicBezTo>
                  <a:pt x="922" y="44"/>
                  <a:pt x="922" y="44"/>
                  <a:pt x="922" y="44"/>
                </a:cubicBezTo>
                <a:cubicBezTo>
                  <a:pt x="925" y="45"/>
                  <a:pt x="925" y="45"/>
                  <a:pt x="925" y="45"/>
                </a:cubicBezTo>
                <a:cubicBezTo>
                  <a:pt x="926" y="46"/>
                  <a:pt x="926" y="46"/>
                  <a:pt x="926" y="46"/>
                </a:cubicBezTo>
                <a:cubicBezTo>
                  <a:pt x="930" y="47"/>
                  <a:pt x="930" y="47"/>
                  <a:pt x="930" y="47"/>
                </a:cubicBezTo>
                <a:cubicBezTo>
                  <a:pt x="930" y="45"/>
                  <a:pt x="930" y="45"/>
                  <a:pt x="930" y="45"/>
                </a:cubicBezTo>
                <a:cubicBezTo>
                  <a:pt x="932" y="45"/>
                  <a:pt x="932" y="45"/>
                  <a:pt x="932" y="45"/>
                </a:cubicBezTo>
                <a:cubicBezTo>
                  <a:pt x="932" y="44"/>
                  <a:pt x="932" y="44"/>
                  <a:pt x="932" y="44"/>
                </a:cubicBezTo>
                <a:cubicBezTo>
                  <a:pt x="929" y="43"/>
                  <a:pt x="929" y="43"/>
                  <a:pt x="929" y="43"/>
                </a:cubicBezTo>
                <a:cubicBezTo>
                  <a:pt x="930" y="41"/>
                  <a:pt x="930" y="41"/>
                  <a:pt x="930" y="41"/>
                </a:cubicBezTo>
                <a:cubicBezTo>
                  <a:pt x="930" y="40"/>
                  <a:pt x="930" y="40"/>
                  <a:pt x="930" y="40"/>
                </a:cubicBezTo>
                <a:cubicBezTo>
                  <a:pt x="929" y="38"/>
                  <a:pt x="929" y="38"/>
                  <a:pt x="929" y="38"/>
                </a:cubicBezTo>
                <a:cubicBezTo>
                  <a:pt x="930" y="36"/>
                  <a:pt x="930" y="36"/>
                  <a:pt x="930" y="36"/>
                </a:cubicBezTo>
                <a:cubicBezTo>
                  <a:pt x="929" y="35"/>
                  <a:pt x="929" y="35"/>
                  <a:pt x="929" y="35"/>
                </a:cubicBezTo>
                <a:cubicBezTo>
                  <a:pt x="930" y="34"/>
                  <a:pt x="930" y="34"/>
                  <a:pt x="930" y="34"/>
                </a:cubicBezTo>
                <a:cubicBezTo>
                  <a:pt x="928" y="32"/>
                  <a:pt x="928" y="32"/>
                  <a:pt x="928" y="32"/>
                </a:cubicBezTo>
                <a:cubicBezTo>
                  <a:pt x="928" y="31"/>
                  <a:pt x="928" y="31"/>
                  <a:pt x="928" y="31"/>
                </a:cubicBezTo>
                <a:cubicBezTo>
                  <a:pt x="929" y="29"/>
                  <a:pt x="929" y="29"/>
                  <a:pt x="929" y="29"/>
                </a:cubicBezTo>
                <a:cubicBezTo>
                  <a:pt x="928" y="27"/>
                  <a:pt x="928" y="27"/>
                  <a:pt x="928" y="27"/>
                </a:cubicBezTo>
                <a:cubicBezTo>
                  <a:pt x="925" y="25"/>
                  <a:pt x="925" y="25"/>
                  <a:pt x="925" y="25"/>
                </a:cubicBezTo>
                <a:cubicBezTo>
                  <a:pt x="924" y="23"/>
                  <a:pt x="924" y="23"/>
                  <a:pt x="924" y="23"/>
                </a:cubicBezTo>
                <a:cubicBezTo>
                  <a:pt x="923" y="22"/>
                  <a:pt x="923" y="22"/>
                  <a:pt x="923" y="22"/>
                </a:cubicBezTo>
                <a:cubicBezTo>
                  <a:pt x="920" y="22"/>
                  <a:pt x="920" y="22"/>
                  <a:pt x="920" y="22"/>
                </a:cubicBezTo>
                <a:cubicBezTo>
                  <a:pt x="916" y="21"/>
                  <a:pt x="916" y="21"/>
                  <a:pt x="916" y="21"/>
                </a:cubicBezTo>
                <a:cubicBezTo>
                  <a:pt x="916" y="22"/>
                  <a:pt x="916" y="22"/>
                  <a:pt x="916" y="22"/>
                </a:cubicBezTo>
                <a:cubicBezTo>
                  <a:pt x="913" y="21"/>
                  <a:pt x="913" y="21"/>
                  <a:pt x="913" y="21"/>
                </a:cubicBezTo>
                <a:cubicBezTo>
                  <a:pt x="912" y="20"/>
                  <a:pt x="912" y="20"/>
                  <a:pt x="912" y="20"/>
                </a:cubicBezTo>
                <a:cubicBezTo>
                  <a:pt x="908" y="19"/>
                  <a:pt x="908" y="19"/>
                  <a:pt x="908" y="19"/>
                </a:cubicBezTo>
                <a:cubicBezTo>
                  <a:pt x="908" y="17"/>
                  <a:pt x="908" y="17"/>
                  <a:pt x="908" y="17"/>
                </a:cubicBezTo>
                <a:cubicBezTo>
                  <a:pt x="906" y="16"/>
                  <a:pt x="906" y="16"/>
                  <a:pt x="906" y="16"/>
                </a:cubicBezTo>
                <a:cubicBezTo>
                  <a:pt x="905" y="16"/>
                  <a:pt x="905" y="16"/>
                  <a:pt x="905" y="16"/>
                </a:cubicBezTo>
                <a:cubicBezTo>
                  <a:pt x="904" y="19"/>
                  <a:pt x="904" y="19"/>
                  <a:pt x="904" y="19"/>
                </a:cubicBezTo>
                <a:cubicBezTo>
                  <a:pt x="903" y="20"/>
                  <a:pt x="903" y="20"/>
                  <a:pt x="903" y="20"/>
                </a:cubicBezTo>
                <a:cubicBezTo>
                  <a:pt x="903" y="22"/>
                  <a:pt x="903" y="22"/>
                  <a:pt x="903" y="22"/>
                </a:cubicBezTo>
                <a:cubicBezTo>
                  <a:pt x="903" y="24"/>
                  <a:pt x="903" y="24"/>
                  <a:pt x="903" y="24"/>
                </a:cubicBezTo>
                <a:cubicBezTo>
                  <a:pt x="901" y="23"/>
                  <a:pt x="901" y="23"/>
                  <a:pt x="901" y="23"/>
                </a:cubicBezTo>
                <a:cubicBezTo>
                  <a:pt x="899" y="28"/>
                  <a:pt x="899" y="28"/>
                  <a:pt x="899" y="28"/>
                </a:cubicBezTo>
                <a:lnTo>
                  <a:pt x="901" y="29"/>
                </a:lnTo>
                <a:close/>
                <a:moveTo>
                  <a:pt x="996" y="182"/>
                </a:moveTo>
                <a:cubicBezTo>
                  <a:pt x="997" y="180"/>
                  <a:pt x="997" y="180"/>
                  <a:pt x="997" y="180"/>
                </a:cubicBezTo>
                <a:cubicBezTo>
                  <a:pt x="996" y="180"/>
                  <a:pt x="996" y="180"/>
                  <a:pt x="996" y="180"/>
                </a:cubicBezTo>
                <a:cubicBezTo>
                  <a:pt x="995" y="180"/>
                  <a:pt x="995" y="180"/>
                  <a:pt x="995" y="180"/>
                </a:cubicBezTo>
                <a:cubicBezTo>
                  <a:pt x="994" y="181"/>
                  <a:pt x="994" y="181"/>
                  <a:pt x="994" y="181"/>
                </a:cubicBezTo>
                <a:cubicBezTo>
                  <a:pt x="994" y="183"/>
                  <a:pt x="994" y="183"/>
                  <a:pt x="994" y="183"/>
                </a:cubicBezTo>
                <a:cubicBezTo>
                  <a:pt x="994" y="183"/>
                  <a:pt x="995" y="182"/>
                  <a:pt x="995" y="182"/>
                </a:cubicBezTo>
                <a:lnTo>
                  <a:pt x="996" y="182"/>
                </a:lnTo>
                <a:close/>
                <a:moveTo>
                  <a:pt x="987" y="173"/>
                </a:moveTo>
                <a:cubicBezTo>
                  <a:pt x="988" y="173"/>
                  <a:pt x="988" y="173"/>
                  <a:pt x="988" y="173"/>
                </a:cubicBezTo>
                <a:cubicBezTo>
                  <a:pt x="988" y="171"/>
                  <a:pt x="988" y="171"/>
                  <a:pt x="988" y="171"/>
                </a:cubicBezTo>
                <a:cubicBezTo>
                  <a:pt x="987" y="170"/>
                  <a:pt x="987" y="170"/>
                  <a:pt x="987" y="170"/>
                </a:cubicBezTo>
                <a:cubicBezTo>
                  <a:pt x="985" y="171"/>
                  <a:pt x="985" y="171"/>
                  <a:pt x="985" y="171"/>
                </a:cubicBezTo>
                <a:cubicBezTo>
                  <a:pt x="986" y="173"/>
                  <a:pt x="986" y="173"/>
                  <a:pt x="986" y="173"/>
                </a:cubicBezTo>
                <a:lnTo>
                  <a:pt x="987" y="173"/>
                </a:lnTo>
                <a:close/>
                <a:moveTo>
                  <a:pt x="940" y="82"/>
                </a:moveTo>
                <a:cubicBezTo>
                  <a:pt x="941" y="83"/>
                  <a:pt x="941" y="83"/>
                  <a:pt x="941" y="83"/>
                </a:cubicBezTo>
                <a:cubicBezTo>
                  <a:pt x="942" y="83"/>
                  <a:pt x="942" y="83"/>
                  <a:pt x="942" y="83"/>
                </a:cubicBezTo>
                <a:cubicBezTo>
                  <a:pt x="942" y="81"/>
                  <a:pt x="942" y="81"/>
                  <a:pt x="942" y="81"/>
                </a:cubicBezTo>
                <a:cubicBezTo>
                  <a:pt x="944" y="80"/>
                  <a:pt x="944" y="80"/>
                  <a:pt x="944" y="80"/>
                </a:cubicBezTo>
                <a:cubicBezTo>
                  <a:pt x="943" y="79"/>
                  <a:pt x="943" y="79"/>
                  <a:pt x="943" y="79"/>
                </a:cubicBezTo>
                <a:cubicBezTo>
                  <a:pt x="942" y="80"/>
                  <a:pt x="942" y="80"/>
                  <a:pt x="942" y="80"/>
                </a:cubicBezTo>
                <a:cubicBezTo>
                  <a:pt x="942" y="78"/>
                  <a:pt x="942" y="78"/>
                  <a:pt x="942" y="78"/>
                </a:cubicBezTo>
                <a:cubicBezTo>
                  <a:pt x="941" y="79"/>
                  <a:pt x="941" y="79"/>
                  <a:pt x="941" y="79"/>
                </a:cubicBezTo>
                <a:cubicBezTo>
                  <a:pt x="941" y="81"/>
                  <a:pt x="941" y="81"/>
                  <a:pt x="941" y="81"/>
                </a:cubicBezTo>
                <a:lnTo>
                  <a:pt x="940" y="82"/>
                </a:lnTo>
                <a:close/>
                <a:moveTo>
                  <a:pt x="1004" y="468"/>
                </a:moveTo>
                <a:cubicBezTo>
                  <a:pt x="1004" y="469"/>
                  <a:pt x="1004" y="469"/>
                  <a:pt x="1004" y="469"/>
                </a:cubicBezTo>
                <a:cubicBezTo>
                  <a:pt x="1004" y="470"/>
                  <a:pt x="1004" y="470"/>
                  <a:pt x="1004" y="470"/>
                </a:cubicBezTo>
                <a:cubicBezTo>
                  <a:pt x="1003" y="470"/>
                  <a:pt x="1003" y="470"/>
                  <a:pt x="1003" y="470"/>
                </a:cubicBezTo>
                <a:cubicBezTo>
                  <a:pt x="1002" y="470"/>
                  <a:pt x="1002" y="470"/>
                  <a:pt x="1002" y="470"/>
                </a:cubicBezTo>
                <a:cubicBezTo>
                  <a:pt x="1002" y="470"/>
                  <a:pt x="1002" y="470"/>
                  <a:pt x="1002" y="470"/>
                </a:cubicBezTo>
                <a:cubicBezTo>
                  <a:pt x="1002" y="471"/>
                  <a:pt x="1002" y="471"/>
                  <a:pt x="1002" y="471"/>
                </a:cubicBezTo>
                <a:cubicBezTo>
                  <a:pt x="1003" y="472"/>
                  <a:pt x="1003" y="472"/>
                  <a:pt x="1003" y="472"/>
                </a:cubicBezTo>
                <a:cubicBezTo>
                  <a:pt x="1004" y="471"/>
                  <a:pt x="1004" y="471"/>
                  <a:pt x="1004" y="471"/>
                </a:cubicBezTo>
                <a:cubicBezTo>
                  <a:pt x="1005" y="470"/>
                  <a:pt x="1005" y="470"/>
                  <a:pt x="1005" y="470"/>
                </a:cubicBezTo>
                <a:cubicBezTo>
                  <a:pt x="1005" y="469"/>
                  <a:pt x="1005" y="469"/>
                  <a:pt x="1005" y="469"/>
                </a:cubicBezTo>
                <a:lnTo>
                  <a:pt x="1004" y="468"/>
                </a:lnTo>
                <a:close/>
                <a:moveTo>
                  <a:pt x="1005" y="437"/>
                </a:moveTo>
                <a:cubicBezTo>
                  <a:pt x="1005" y="436"/>
                  <a:pt x="1005" y="436"/>
                  <a:pt x="1005" y="436"/>
                </a:cubicBezTo>
                <a:cubicBezTo>
                  <a:pt x="1003" y="437"/>
                  <a:pt x="1003" y="437"/>
                  <a:pt x="1003" y="437"/>
                </a:cubicBezTo>
                <a:cubicBezTo>
                  <a:pt x="1003" y="439"/>
                  <a:pt x="1003" y="439"/>
                  <a:pt x="1003" y="439"/>
                </a:cubicBezTo>
                <a:cubicBezTo>
                  <a:pt x="1003" y="439"/>
                  <a:pt x="1003" y="439"/>
                  <a:pt x="1003" y="439"/>
                </a:cubicBezTo>
                <a:cubicBezTo>
                  <a:pt x="1004" y="438"/>
                  <a:pt x="1004" y="438"/>
                  <a:pt x="1004" y="438"/>
                </a:cubicBezTo>
                <a:lnTo>
                  <a:pt x="1005" y="437"/>
                </a:lnTo>
                <a:close/>
                <a:moveTo>
                  <a:pt x="971" y="157"/>
                </a:moveTo>
                <a:cubicBezTo>
                  <a:pt x="971" y="157"/>
                  <a:pt x="970" y="158"/>
                  <a:pt x="970" y="158"/>
                </a:cubicBezTo>
                <a:cubicBezTo>
                  <a:pt x="972" y="159"/>
                  <a:pt x="972" y="159"/>
                  <a:pt x="972" y="159"/>
                </a:cubicBezTo>
                <a:cubicBezTo>
                  <a:pt x="973" y="158"/>
                  <a:pt x="973" y="158"/>
                  <a:pt x="973" y="158"/>
                </a:cubicBezTo>
                <a:cubicBezTo>
                  <a:pt x="973" y="157"/>
                  <a:pt x="973" y="157"/>
                  <a:pt x="973" y="157"/>
                </a:cubicBezTo>
                <a:lnTo>
                  <a:pt x="971" y="157"/>
                </a:lnTo>
                <a:close/>
                <a:moveTo>
                  <a:pt x="962" y="149"/>
                </a:moveTo>
                <a:cubicBezTo>
                  <a:pt x="963" y="150"/>
                  <a:pt x="963" y="150"/>
                  <a:pt x="963" y="150"/>
                </a:cubicBezTo>
                <a:cubicBezTo>
                  <a:pt x="964" y="149"/>
                  <a:pt x="964" y="149"/>
                  <a:pt x="964" y="149"/>
                </a:cubicBezTo>
                <a:cubicBezTo>
                  <a:pt x="963" y="149"/>
                  <a:pt x="963" y="149"/>
                  <a:pt x="963" y="149"/>
                </a:cubicBezTo>
                <a:lnTo>
                  <a:pt x="962" y="149"/>
                </a:lnTo>
                <a:close/>
                <a:moveTo>
                  <a:pt x="1086" y="59"/>
                </a:moveTo>
                <a:cubicBezTo>
                  <a:pt x="1086" y="60"/>
                  <a:pt x="1086" y="60"/>
                  <a:pt x="1086" y="60"/>
                </a:cubicBezTo>
                <a:cubicBezTo>
                  <a:pt x="1086" y="60"/>
                  <a:pt x="1086" y="60"/>
                  <a:pt x="1086" y="60"/>
                </a:cubicBezTo>
                <a:cubicBezTo>
                  <a:pt x="1087" y="60"/>
                  <a:pt x="1087" y="60"/>
                  <a:pt x="1087" y="60"/>
                </a:cubicBezTo>
                <a:lnTo>
                  <a:pt x="1086" y="59"/>
                </a:lnTo>
                <a:close/>
                <a:moveTo>
                  <a:pt x="945" y="78"/>
                </a:moveTo>
                <a:cubicBezTo>
                  <a:pt x="946" y="76"/>
                  <a:pt x="946" y="76"/>
                  <a:pt x="946" y="76"/>
                </a:cubicBezTo>
                <a:cubicBezTo>
                  <a:pt x="945" y="75"/>
                  <a:pt x="945" y="75"/>
                  <a:pt x="945" y="75"/>
                </a:cubicBezTo>
                <a:cubicBezTo>
                  <a:pt x="944" y="76"/>
                  <a:pt x="944" y="76"/>
                  <a:pt x="944" y="76"/>
                </a:cubicBezTo>
                <a:cubicBezTo>
                  <a:pt x="944" y="77"/>
                  <a:pt x="944" y="77"/>
                  <a:pt x="944" y="77"/>
                </a:cubicBezTo>
                <a:cubicBezTo>
                  <a:pt x="944" y="78"/>
                  <a:pt x="944" y="78"/>
                  <a:pt x="944" y="78"/>
                </a:cubicBezTo>
                <a:lnTo>
                  <a:pt x="945" y="78"/>
                </a:lnTo>
                <a:close/>
                <a:moveTo>
                  <a:pt x="942" y="76"/>
                </a:moveTo>
                <a:cubicBezTo>
                  <a:pt x="942" y="74"/>
                  <a:pt x="942" y="74"/>
                  <a:pt x="942" y="74"/>
                </a:cubicBezTo>
                <a:cubicBezTo>
                  <a:pt x="942" y="75"/>
                  <a:pt x="942" y="75"/>
                  <a:pt x="942" y="75"/>
                </a:cubicBezTo>
                <a:cubicBezTo>
                  <a:pt x="942" y="76"/>
                  <a:pt x="942" y="76"/>
                  <a:pt x="942" y="76"/>
                </a:cubicBezTo>
                <a:close/>
                <a:moveTo>
                  <a:pt x="950" y="93"/>
                </a:moveTo>
                <a:cubicBezTo>
                  <a:pt x="949" y="92"/>
                  <a:pt x="949" y="92"/>
                  <a:pt x="949" y="92"/>
                </a:cubicBezTo>
                <a:cubicBezTo>
                  <a:pt x="948" y="91"/>
                  <a:pt x="948" y="91"/>
                  <a:pt x="948" y="91"/>
                </a:cubicBezTo>
                <a:cubicBezTo>
                  <a:pt x="946" y="92"/>
                  <a:pt x="946" y="92"/>
                  <a:pt x="946" y="92"/>
                </a:cubicBezTo>
                <a:cubicBezTo>
                  <a:pt x="945" y="94"/>
                  <a:pt x="945" y="94"/>
                  <a:pt x="945" y="94"/>
                </a:cubicBezTo>
                <a:cubicBezTo>
                  <a:pt x="946" y="95"/>
                  <a:pt x="946" y="95"/>
                  <a:pt x="946" y="95"/>
                </a:cubicBezTo>
                <a:cubicBezTo>
                  <a:pt x="946" y="97"/>
                  <a:pt x="946" y="97"/>
                  <a:pt x="946" y="97"/>
                </a:cubicBezTo>
                <a:cubicBezTo>
                  <a:pt x="946" y="97"/>
                  <a:pt x="947" y="97"/>
                  <a:pt x="947" y="97"/>
                </a:cubicBezTo>
                <a:cubicBezTo>
                  <a:pt x="947" y="96"/>
                  <a:pt x="947" y="96"/>
                  <a:pt x="947" y="96"/>
                </a:cubicBezTo>
                <a:cubicBezTo>
                  <a:pt x="948" y="95"/>
                  <a:pt x="948" y="95"/>
                  <a:pt x="948" y="95"/>
                </a:cubicBezTo>
                <a:cubicBezTo>
                  <a:pt x="949" y="96"/>
                  <a:pt x="949" y="96"/>
                  <a:pt x="949" y="96"/>
                </a:cubicBezTo>
                <a:cubicBezTo>
                  <a:pt x="951" y="96"/>
                  <a:pt x="951" y="96"/>
                  <a:pt x="951" y="96"/>
                </a:cubicBezTo>
                <a:cubicBezTo>
                  <a:pt x="952" y="94"/>
                  <a:pt x="952" y="94"/>
                  <a:pt x="952" y="94"/>
                </a:cubicBezTo>
                <a:cubicBezTo>
                  <a:pt x="951" y="93"/>
                  <a:pt x="951" y="93"/>
                  <a:pt x="951" y="93"/>
                </a:cubicBezTo>
                <a:lnTo>
                  <a:pt x="950" y="93"/>
                </a:lnTo>
                <a:close/>
                <a:moveTo>
                  <a:pt x="972" y="128"/>
                </a:moveTo>
                <a:cubicBezTo>
                  <a:pt x="972" y="129"/>
                  <a:pt x="972" y="129"/>
                  <a:pt x="972" y="129"/>
                </a:cubicBezTo>
                <a:cubicBezTo>
                  <a:pt x="973" y="129"/>
                  <a:pt x="973" y="129"/>
                  <a:pt x="973" y="129"/>
                </a:cubicBezTo>
                <a:cubicBezTo>
                  <a:pt x="974" y="128"/>
                  <a:pt x="974" y="128"/>
                  <a:pt x="974" y="128"/>
                </a:cubicBezTo>
                <a:cubicBezTo>
                  <a:pt x="973" y="127"/>
                  <a:pt x="973" y="127"/>
                  <a:pt x="973" y="127"/>
                </a:cubicBezTo>
                <a:lnTo>
                  <a:pt x="972" y="128"/>
                </a:lnTo>
                <a:close/>
                <a:moveTo>
                  <a:pt x="887" y="113"/>
                </a:moveTo>
                <a:cubicBezTo>
                  <a:pt x="886" y="114"/>
                  <a:pt x="886" y="114"/>
                  <a:pt x="886" y="114"/>
                </a:cubicBezTo>
                <a:cubicBezTo>
                  <a:pt x="885" y="114"/>
                  <a:pt x="885" y="114"/>
                  <a:pt x="885" y="114"/>
                </a:cubicBezTo>
                <a:cubicBezTo>
                  <a:pt x="884" y="116"/>
                  <a:pt x="884" y="116"/>
                  <a:pt x="884" y="116"/>
                </a:cubicBezTo>
                <a:cubicBezTo>
                  <a:pt x="883" y="117"/>
                  <a:pt x="883" y="117"/>
                  <a:pt x="883" y="117"/>
                </a:cubicBezTo>
                <a:cubicBezTo>
                  <a:pt x="884" y="117"/>
                  <a:pt x="884" y="117"/>
                  <a:pt x="884" y="117"/>
                </a:cubicBezTo>
                <a:cubicBezTo>
                  <a:pt x="885" y="117"/>
                  <a:pt x="885" y="117"/>
                  <a:pt x="885" y="117"/>
                </a:cubicBezTo>
                <a:cubicBezTo>
                  <a:pt x="887" y="116"/>
                  <a:pt x="887" y="116"/>
                  <a:pt x="887" y="116"/>
                </a:cubicBezTo>
                <a:cubicBezTo>
                  <a:pt x="889" y="115"/>
                  <a:pt x="889" y="115"/>
                  <a:pt x="889" y="115"/>
                </a:cubicBezTo>
                <a:cubicBezTo>
                  <a:pt x="889" y="114"/>
                  <a:pt x="889" y="114"/>
                  <a:pt x="889" y="114"/>
                </a:cubicBezTo>
                <a:cubicBezTo>
                  <a:pt x="888" y="113"/>
                  <a:pt x="888" y="113"/>
                  <a:pt x="888" y="113"/>
                </a:cubicBezTo>
                <a:lnTo>
                  <a:pt x="887" y="113"/>
                </a:lnTo>
                <a:close/>
                <a:moveTo>
                  <a:pt x="873" y="253"/>
                </a:moveTo>
                <a:cubicBezTo>
                  <a:pt x="871" y="251"/>
                  <a:pt x="871" y="251"/>
                  <a:pt x="871" y="251"/>
                </a:cubicBezTo>
                <a:cubicBezTo>
                  <a:pt x="870" y="251"/>
                  <a:pt x="870" y="251"/>
                  <a:pt x="870" y="251"/>
                </a:cubicBezTo>
                <a:cubicBezTo>
                  <a:pt x="869" y="251"/>
                  <a:pt x="869" y="251"/>
                  <a:pt x="869" y="251"/>
                </a:cubicBezTo>
                <a:cubicBezTo>
                  <a:pt x="871" y="252"/>
                  <a:pt x="871" y="252"/>
                  <a:pt x="871" y="252"/>
                </a:cubicBezTo>
                <a:cubicBezTo>
                  <a:pt x="872" y="254"/>
                  <a:pt x="872" y="254"/>
                  <a:pt x="872" y="254"/>
                </a:cubicBezTo>
                <a:cubicBezTo>
                  <a:pt x="874" y="254"/>
                  <a:pt x="874" y="254"/>
                  <a:pt x="874" y="254"/>
                </a:cubicBezTo>
                <a:cubicBezTo>
                  <a:pt x="876" y="255"/>
                  <a:pt x="876" y="255"/>
                  <a:pt x="876" y="255"/>
                </a:cubicBezTo>
                <a:cubicBezTo>
                  <a:pt x="875" y="254"/>
                  <a:pt x="875" y="254"/>
                  <a:pt x="875" y="254"/>
                </a:cubicBezTo>
                <a:lnTo>
                  <a:pt x="873" y="253"/>
                </a:lnTo>
                <a:close/>
                <a:moveTo>
                  <a:pt x="905" y="151"/>
                </a:moveTo>
                <a:cubicBezTo>
                  <a:pt x="904" y="151"/>
                  <a:pt x="904" y="151"/>
                  <a:pt x="904" y="151"/>
                </a:cubicBezTo>
                <a:cubicBezTo>
                  <a:pt x="902" y="151"/>
                  <a:pt x="902" y="151"/>
                  <a:pt x="902" y="151"/>
                </a:cubicBezTo>
                <a:cubicBezTo>
                  <a:pt x="902" y="152"/>
                  <a:pt x="902" y="152"/>
                  <a:pt x="902" y="152"/>
                </a:cubicBezTo>
                <a:cubicBezTo>
                  <a:pt x="902" y="154"/>
                  <a:pt x="902" y="154"/>
                  <a:pt x="902" y="154"/>
                </a:cubicBezTo>
                <a:cubicBezTo>
                  <a:pt x="903" y="156"/>
                  <a:pt x="903" y="156"/>
                  <a:pt x="903" y="156"/>
                </a:cubicBezTo>
                <a:cubicBezTo>
                  <a:pt x="904" y="157"/>
                  <a:pt x="904" y="157"/>
                  <a:pt x="904" y="157"/>
                </a:cubicBezTo>
                <a:cubicBezTo>
                  <a:pt x="905" y="156"/>
                  <a:pt x="905" y="156"/>
                  <a:pt x="905" y="156"/>
                </a:cubicBezTo>
                <a:cubicBezTo>
                  <a:pt x="907" y="157"/>
                  <a:pt x="907" y="157"/>
                  <a:pt x="907" y="157"/>
                </a:cubicBezTo>
                <a:cubicBezTo>
                  <a:pt x="908" y="157"/>
                  <a:pt x="908" y="157"/>
                  <a:pt x="908" y="157"/>
                </a:cubicBezTo>
                <a:cubicBezTo>
                  <a:pt x="909" y="157"/>
                  <a:pt x="909" y="157"/>
                  <a:pt x="909" y="157"/>
                </a:cubicBezTo>
                <a:cubicBezTo>
                  <a:pt x="911" y="158"/>
                  <a:pt x="911" y="158"/>
                  <a:pt x="911" y="158"/>
                </a:cubicBezTo>
                <a:cubicBezTo>
                  <a:pt x="912" y="156"/>
                  <a:pt x="912" y="156"/>
                  <a:pt x="912" y="156"/>
                </a:cubicBezTo>
                <a:cubicBezTo>
                  <a:pt x="911" y="155"/>
                  <a:pt x="911" y="155"/>
                  <a:pt x="911" y="155"/>
                </a:cubicBezTo>
                <a:cubicBezTo>
                  <a:pt x="911" y="153"/>
                  <a:pt x="911" y="153"/>
                  <a:pt x="911" y="153"/>
                </a:cubicBezTo>
                <a:cubicBezTo>
                  <a:pt x="909" y="153"/>
                  <a:pt x="909" y="153"/>
                  <a:pt x="909" y="153"/>
                </a:cubicBezTo>
                <a:cubicBezTo>
                  <a:pt x="908" y="151"/>
                  <a:pt x="908" y="151"/>
                  <a:pt x="908" y="151"/>
                </a:cubicBezTo>
                <a:cubicBezTo>
                  <a:pt x="907" y="151"/>
                  <a:pt x="907" y="151"/>
                  <a:pt x="907" y="151"/>
                </a:cubicBezTo>
                <a:cubicBezTo>
                  <a:pt x="906" y="152"/>
                  <a:pt x="906" y="152"/>
                  <a:pt x="906" y="152"/>
                </a:cubicBezTo>
                <a:cubicBezTo>
                  <a:pt x="906" y="151"/>
                  <a:pt x="906" y="151"/>
                  <a:pt x="906" y="151"/>
                </a:cubicBezTo>
                <a:cubicBezTo>
                  <a:pt x="906" y="150"/>
                  <a:pt x="906" y="150"/>
                  <a:pt x="906" y="150"/>
                </a:cubicBezTo>
                <a:cubicBezTo>
                  <a:pt x="905" y="150"/>
                  <a:pt x="905" y="150"/>
                  <a:pt x="905" y="150"/>
                </a:cubicBezTo>
                <a:lnTo>
                  <a:pt x="905" y="151"/>
                </a:lnTo>
                <a:close/>
                <a:moveTo>
                  <a:pt x="852" y="233"/>
                </a:moveTo>
                <a:cubicBezTo>
                  <a:pt x="852" y="234"/>
                  <a:pt x="852" y="234"/>
                  <a:pt x="852" y="234"/>
                </a:cubicBezTo>
                <a:cubicBezTo>
                  <a:pt x="853" y="235"/>
                  <a:pt x="853" y="235"/>
                  <a:pt x="853" y="235"/>
                </a:cubicBezTo>
                <a:cubicBezTo>
                  <a:pt x="854" y="236"/>
                  <a:pt x="854" y="236"/>
                  <a:pt x="854" y="236"/>
                </a:cubicBezTo>
                <a:cubicBezTo>
                  <a:pt x="854" y="237"/>
                  <a:pt x="854" y="237"/>
                  <a:pt x="854" y="237"/>
                </a:cubicBezTo>
                <a:cubicBezTo>
                  <a:pt x="855" y="238"/>
                  <a:pt x="855" y="238"/>
                  <a:pt x="855" y="238"/>
                </a:cubicBezTo>
                <a:cubicBezTo>
                  <a:pt x="856" y="238"/>
                  <a:pt x="856" y="238"/>
                  <a:pt x="856" y="238"/>
                </a:cubicBezTo>
                <a:cubicBezTo>
                  <a:pt x="856" y="239"/>
                  <a:pt x="856" y="239"/>
                  <a:pt x="856" y="239"/>
                </a:cubicBezTo>
                <a:cubicBezTo>
                  <a:pt x="857" y="238"/>
                  <a:pt x="857" y="238"/>
                  <a:pt x="857" y="238"/>
                </a:cubicBezTo>
                <a:cubicBezTo>
                  <a:pt x="858" y="237"/>
                  <a:pt x="858" y="237"/>
                  <a:pt x="858" y="237"/>
                </a:cubicBezTo>
                <a:cubicBezTo>
                  <a:pt x="858" y="237"/>
                  <a:pt x="858" y="237"/>
                  <a:pt x="858" y="237"/>
                </a:cubicBezTo>
                <a:cubicBezTo>
                  <a:pt x="858" y="236"/>
                  <a:pt x="858" y="236"/>
                  <a:pt x="858" y="236"/>
                </a:cubicBezTo>
                <a:cubicBezTo>
                  <a:pt x="857" y="236"/>
                  <a:pt x="857" y="236"/>
                  <a:pt x="857" y="236"/>
                </a:cubicBezTo>
                <a:cubicBezTo>
                  <a:pt x="858" y="235"/>
                  <a:pt x="858" y="235"/>
                  <a:pt x="858" y="235"/>
                </a:cubicBezTo>
                <a:cubicBezTo>
                  <a:pt x="858" y="234"/>
                  <a:pt x="858" y="234"/>
                  <a:pt x="858" y="234"/>
                </a:cubicBezTo>
                <a:cubicBezTo>
                  <a:pt x="857" y="233"/>
                  <a:pt x="857" y="233"/>
                  <a:pt x="857" y="233"/>
                </a:cubicBezTo>
                <a:cubicBezTo>
                  <a:pt x="855" y="233"/>
                  <a:pt x="855" y="233"/>
                  <a:pt x="855" y="233"/>
                </a:cubicBezTo>
                <a:cubicBezTo>
                  <a:pt x="855" y="232"/>
                  <a:pt x="855" y="232"/>
                  <a:pt x="855" y="232"/>
                </a:cubicBezTo>
                <a:cubicBezTo>
                  <a:pt x="854" y="232"/>
                  <a:pt x="854" y="232"/>
                  <a:pt x="854" y="232"/>
                </a:cubicBezTo>
                <a:cubicBezTo>
                  <a:pt x="853" y="232"/>
                  <a:pt x="853" y="232"/>
                  <a:pt x="853" y="232"/>
                </a:cubicBezTo>
                <a:cubicBezTo>
                  <a:pt x="852" y="231"/>
                  <a:pt x="852" y="231"/>
                  <a:pt x="852" y="231"/>
                </a:cubicBezTo>
                <a:cubicBezTo>
                  <a:pt x="851" y="232"/>
                  <a:pt x="851" y="232"/>
                  <a:pt x="851" y="232"/>
                </a:cubicBezTo>
                <a:cubicBezTo>
                  <a:pt x="851" y="232"/>
                  <a:pt x="851" y="232"/>
                  <a:pt x="851" y="232"/>
                </a:cubicBezTo>
                <a:cubicBezTo>
                  <a:pt x="851" y="233"/>
                  <a:pt x="851" y="233"/>
                  <a:pt x="851" y="233"/>
                </a:cubicBezTo>
                <a:lnTo>
                  <a:pt x="852" y="233"/>
                </a:lnTo>
                <a:close/>
                <a:moveTo>
                  <a:pt x="963" y="245"/>
                </a:moveTo>
                <a:cubicBezTo>
                  <a:pt x="963" y="245"/>
                  <a:pt x="963" y="245"/>
                  <a:pt x="963" y="245"/>
                </a:cubicBezTo>
                <a:cubicBezTo>
                  <a:pt x="962" y="248"/>
                  <a:pt x="962" y="248"/>
                  <a:pt x="962" y="248"/>
                </a:cubicBezTo>
                <a:cubicBezTo>
                  <a:pt x="962" y="250"/>
                  <a:pt x="962" y="250"/>
                  <a:pt x="962" y="250"/>
                </a:cubicBezTo>
                <a:cubicBezTo>
                  <a:pt x="963" y="252"/>
                  <a:pt x="963" y="252"/>
                  <a:pt x="963" y="252"/>
                </a:cubicBezTo>
                <a:cubicBezTo>
                  <a:pt x="963" y="251"/>
                  <a:pt x="963" y="251"/>
                  <a:pt x="963" y="251"/>
                </a:cubicBezTo>
                <a:cubicBezTo>
                  <a:pt x="963" y="250"/>
                  <a:pt x="963" y="250"/>
                  <a:pt x="963" y="250"/>
                </a:cubicBezTo>
                <a:cubicBezTo>
                  <a:pt x="964" y="247"/>
                  <a:pt x="964" y="247"/>
                  <a:pt x="964" y="247"/>
                </a:cubicBezTo>
                <a:lnTo>
                  <a:pt x="963" y="245"/>
                </a:lnTo>
                <a:close/>
                <a:moveTo>
                  <a:pt x="852" y="225"/>
                </a:moveTo>
                <a:cubicBezTo>
                  <a:pt x="851" y="224"/>
                  <a:pt x="851" y="224"/>
                  <a:pt x="851" y="224"/>
                </a:cubicBezTo>
                <a:cubicBezTo>
                  <a:pt x="850" y="224"/>
                  <a:pt x="850" y="224"/>
                  <a:pt x="850" y="224"/>
                </a:cubicBezTo>
                <a:cubicBezTo>
                  <a:pt x="849" y="225"/>
                  <a:pt x="849" y="225"/>
                  <a:pt x="849" y="225"/>
                </a:cubicBezTo>
                <a:cubicBezTo>
                  <a:pt x="851" y="226"/>
                  <a:pt x="851" y="226"/>
                  <a:pt x="851" y="226"/>
                </a:cubicBezTo>
                <a:lnTo>
                  <a:pt x="852" y="225"/>
                </a:lnTo>
                <a:close/>
                <a:moveTo>
                  <a:pt x="904" y="257"/>
                </a:moveTo>
                <a:cubicBezTo>
                  <a:pt x="905" y="258"/>
                  <a:pt x="905" y="258"/>
                  <a:pt x="905" y="258"/>
                </a:cubicBezTo>
                <a:cubicBezTo>
                  <a:pt x="906" y="258"/>
                  <a:pt x="906" y="258"/>
                  <a:pt x="906" y="258"/>
                </a:cubicBezTo>
                <a:cubicBezTo>
                  <a:pt x="907" y="258"/>
                  <a:pt x="907" y="258"/>
                  <a:pt x="907" y="258"/>
                </a:cubicBezTo>
                <a:cubicBezTo>
                  <a:pt x="907" y="258"/>
                  <a:pt x="907" y="258"/>
                  <a:pt x="907" y="258"/>
                </a:cubicBezTo>
                <a:cubicBezTo>
                  <a:pt x="908" y="257"/>
                  <a:pt x="908" y="257"/>
                  <a:pt x="908" y="257"/>
                </a:cubicBezTo>
                <a:cubicBezTo>
                  <a:pt x="908" y="256"/>
                  <a:pt x="908" y="256"/>
                  <a:pt x="908" y="256"/>
                </a:cubicBezTo>
                <a:cubicBezTo>
                  <a:pt x="907" y="255"/>
                  <a:pt x="907" y="255"/>
                  <a:pt x="907" y="255"/>
                </a:cubicBezTo>
                <a:cubicBezTo>
                  <a:pt x="905" y="254"/>
                  <a:pt x="905" y="254"/>
                  <a:pt x="905" y="254"/>
                </a:cubicBezTo>
                <a:cubicBezTo>
                  <a:pt x="905" y="254"/>
                  <a:pt x="905" y="254"/>
                  <a:pt x="905" y="254"/>
                </a:cubicBezTo>
                <a:cubicBezTo>
                  <a:pt x="903" y="253"/>
                  <a:pt x="903" y="253"/>
                  <a:pt x="903" y="253"/>
                </a:cubicBezTo>
                <a:cubicBezTo>
                  <a:pt x="902" y="253"/>
                  <a:pt x="902" y="253"/>
                  <a:pt x="902" y="253"/>
                </a:cubicBezTo>
                <a:cubicBezTo>
                  <a:pt x="901" y="253"/>
                  <a:pt x="901" y="253"/>
                  <a:pt x="901" y="253"/>
                </a:cubicBezTo>
                <a:cubicBezTo>
                  <a:pt x="901" y="254"/>
                  <a:pt x="901" y="254"/>
                  <a:pt x="901" y="254"/>
                </a:cubicBezTo>
                <a:cubicBezTo>
                  <a:pt x="904" y="254"/>
                  <a:pt x="904" y="254"/>
                  <a:pt x="904" y="254"/>
                </a:cubicBezTo>
                <a:cubicBezTo>
                  <a:pt x="904" y="255"/>
                  <a:pt x="904" y="255"/>
                  <a:pt x="904" y="255"/>
                </a:cubicBezTo>
                <a:cubicBezTo>
                  <a:pt x="904" y="256"/>
                  <a:pt x="904" y="256"/>
                  <a:pt x="904" y="256"/>
                </a:cubicBezTo>
                <a:lnTo>
                  <a:pt x="904" y="257"/>
                </a:lnTo>
                <a:close/>
                <a:moveTo>
                  <a:pt x="959" y="225"/>
                </a:moveTo>
                <a:cubicBezTo>
                  <a:pt x="958" y="228"/>
                  <a:pt x="958" y="228"/>
                  <a:pt x="958" y="228"/>
                </a:cubicBezTo>
                <a:cubicBezTo>
                  <a:pt x="959" y="228"/>
                  <a:pt x="959" y="228"/>
                  <a:pt x="959" y="228"/>
                </a:cubicBezTo>
                <a:cubicBezTo>
                  <a:pt x="959" y="227"/>
                  <a:pt x="959" y="227"/>
                  <a:pt x="959" y="227"/>
                </a:cubicBezTo>
                <a:cubicBezTo>
                  <a:pt x="961" y="226"/>
                  <a:pt x="961" y="226"/>
                  <a:pt x="961" y="226"/>
                </a:cubicBezTo>
                <a:cubicBezTo>
                  <a:pt x="961" y="225"/>
                  <a:pt x="961" y="225"/>
                  <a:pt x="961" y="225"/>
                </a:cubicBezTo>
                <a:lnTo>
                  <a:pt x="959" y="225"/>
                </a:lnTo>
                <a:close/>
                <a:moveTo>
                  <a:pt x="955" y="265"/>
                </a:moveTo>
                <a:cubicBezTo>
                  <a:pt x="953" y="266"/>
                  <a:pt x="953" y="266"/>
                  <a:pt x="953" y="266"/>
                </a:cubicBezTo>
                <a:cubicBezTo>
                  <a:pt x="952" y="267"/>
                  <a:pt x="952" y="267"/>
                  <a:pt x="952" y="267"/>
                </a:cubicBezTo>
                <a:cubicBezTo>
                  <a:pt x="952" y="267"/>
                  <a:pt x="952" y="267"/>
                  <a:pt x="952" y="267"/>
                </a:cubicBezTo>
                <a:cubicBezTo>
                  <a:pt x="954" y="267"/>
                  <a:pt x="954" y="267"/>
                  <a:pt x="954" y="267"/>
                </a:cubicBezTo>
                <a:cubicBezTo>
                  <a:pt x="956" y="269"/>
                  <a:pt x="956" y="269"/>
                  <a:pt x="956" y="269"/>
                </a:cubicBezTo>
                <a:cubicBezTo>
                  <a:pt x="957" y="268"/>
                  <a:pt x="957" y="268"/>
                  <a:pt x="957" y="268"/>
                </a:cubicBezTo>
                <a:cubicBezTo>
                  <a:pt x="957" y="267"/>
                  <a:pt x="957" y="267"/>
                  <a:pt x="957" y="267"/>
                </a:cubicBezTo>
                <a:cubicBezTo>
                  <a:pt x="958" y="266"/>
                  <a:pt x="958" y="266"/>
                  <a:pt x="958" y="266"/>
                </a:cubicBezTo>
                <a:cubicBezTo>
                  <a:pt x="958" y="265"/>
                  <a:pt x="958" y="265"/>
                  <a:pt x="958" y="265"/>
                </a:cubicBezTo>
                <a:cubicBezTo>
                  <a:pt x="957" y="265"/>
                  <a:pt x="957" y="265"/>
                  <a:pt x="957" y="265"/>
                </a:cubicBezTo>
                <a:lnTo>
                  <a:pt x="955" y="265"/>
                </a:lnTo>
                <a:close/>
                <a:moveTo>
                  <a:pt x="950" y="280"/>
                </a:moveTo>
                <a:cubicBezTo>
                  <a:pt x="950" y="279"/>
                  <a:pt x="950" y="279"/>
                  <a:pt x="950" y="279"/>
                </a:cubicBezTo>
                <a:cubicBezTo>
                  <a:pt x="950" y="278"/>
                  <a:pt x="950" y="278"/>
                  <a:pt x="950" y="278"/>
                </a:cubicBezTo>
                <a:cubicBezTo>
                  <a:pt x="949" y="277"/>
                  <a:pt x="949" y="277"/>
                  <a:pt x="949" y="277"/>
                </a:cubicBezTo>
                <a:cubicBezTo>
                  <a:pt x="949" y="276"/>
                  <a:pt x="949" y="276"/>
                  <a:pt x="949" y="276"/>
                </a:cubicBezTo>
                <a:cubicBezTo>
                  <a:pt x="948" y="274"/>
                  <a:pt x="948" y="274"/>
                  <a:pt x="948" y="274"/>
                </a:cubicBezTo>
                <a:cubicBezTo>
                  <a:pt x="947" y="275"/>
                  <a:pt x="947" y="275"/>
                  <a:pt x="947" y="275"/>
                </a:cubicBezTo>
                <a:cubicBezTo>
                  <a:pt x="947" y="276"/>
                  <a:pt x="947" y="276"/>
                  <a:pt x="947" y="276"/>
                </a:cubicBezTo>
                <a:cubicBezTo>
                  <a:pt x="948" y="277"/>
                  <a:pt x="948" y="277"/>
                  <a:pt x="948" y="277"/>
                </a:cubicBezTo>
                <a:cubicBezTo>
                  <a:pt x="948" y="278"/>
                  <a:pt x="948" y="278"/>
                  <a:pt x="948" y="278"/>
                </a:cubicBezTo>
                <a:lnTo>
                  <a:pt x="950" y="280"/>
                </a:lnTo>
                <a:close/>
                <a:moveTo>
                  <a:pt x="919" y="294"/>
                </a:moveTo>
                <a:cubicBezTo>
                  <a:pt x="917" y="295"/>
                  <a:pt x="917" y="295"/>
                  <a:pt x="917" y="295"/>
                </a:cubicBezTo>
                <a:cubicBezTo>
                  <a:pt x="915" y="296"/>
                  <a:pt x="915" y="296"/>
                  <a:pt x="915" y="296"/>
                </a:cubicBezTo>
                <a:cubicBezTo>
                  <a:pt x="915" y="297"/>
                  <a:pt x="915" y="297"/>
                  <a:pt x="915" y="297"/>
                </a:cubicBezTo>
                <a:cubicBezTo>
                  <a:pt x="914" y="298"/>
                  <a:pt x="914" y="298"/>
                  <a:pt x="914" y="298"/>
                </a:cubicBezTo>
                <a:cubicBezTo>
                  <a:pt x="913" y="300"/>
                  <a:pt x="913" y="300"/>
                  <a:pt x="913" y="300"/>
                </a:cubicBezTo>
                <a:cubicBezTo>
                  <a:pt x="913" y="301"/>
                  <a:pt x="913" y="301"/>
                  <a:pt x="913" y="301"/>
                </a:cubicBezTo>
                <a:cubicBezTo>
                  <a:pt x="914" y="301"/>
                  <a:pt x="914" y="301"/>
                  <a:pt x="914" y="301"/>
                </a:cubicBezTo>
                <a:cubicBezTo>
                  <a:pt x="916" y="300"/>
                  <a:pt x="916" y="300"/>
                  <a:pt x="916" y="300"/>
                </a:cubicBezTo>
                <a:cubicBezTo>
                  <a:pt x="917" y="300"/>
                  <a:pt x="917" y="300"/>
                  <a:pt x="917" y="300"/>
                </a:cubicBezTo>
                <a:cubicBezTo>
                  <a:pt x="918" y="298"/>
                  <a:pt x="918" y="298"/>
                  <a:pt x="918" y="298"/>
                </a:cubicBezTo>
                <a:cubicBezTo>
                  <a:pt x="920" y="297"/>
                  <a:pt x="920" y="297"/>
                  <a:pt x="920" y="297"/>
                </a:cubicBezTo>
                <a:cubicBezTo>
                  <a:pt x="920" y="296"/>
                  <a:pt x="920" y="296"/>
                  <a:pt x="920" y="296"/>
                </a:cubicBezTo>
                <a:cubicBezTo>
                  <a:pt x="919" y="296"/>
                  <a:pt x="919" y="296"/>
                  <a:pt x="919" y="296"/>
                </a:cubicBezTo>
                <a:cubicBezTo>
                  <a:pt x="919" y="295"/>
                  <a:pt x="919" y="295"/>
                  <a:pt x="919" y="295"/>
                </a:cubicBezTo>
                <a:lnTo>
                  <a:pt x="919" y="294"/>
                </a:lnTo>
                <a:close/>
                <a:moveTo>
                  <a:pt x="945" y="280"/>
                </a:moveTo>
                <a:cubicBezTo>
                  <a:pt x="944" y="280"/>
                  <a:pt x="944" y="280"/>
                  <a:pt x="944" y="280"/>
                </a:cubicBezTo>
                <a:cubicBezTo>
                  <a:pt x="944" y="281"/>
                  <a:pt x="944" y="281"/>
                  <a:pt x="944" y="281"/>
                </a:cubicBezTo>
                <a:cubicBezTo>
                  <a:pt x="945" y="283"/>
                  <a:pt x="945" y="283"/>
                  <a:pt x="945" y="283"/>
                </a:cubicBezTo>
                <a:cubicBezTo>
                  <a:pt x="946" y="283"/>
                  <a:pt x="946" y="283"/>
                  <a:pt x="946" y="283"/>
                </a:cubicBezTo>
                <a:cubicBezTo>
                  <a:pt x="947" y="284"/>
                  <a:pt x="947" y="284"/>
                  <a:pt x="947" y="284"/>
                </a:cubicBezTo>
                <a:cubicBezTo>
                  <a:pt x="947" y="285"/>
                  <a:pt x="947" y="285"/>
                  <a:pt x="947" y="285"/>
                </a:cubicBezTo>
                <a:cubicBezTo>
                  <a:pt x="948" y="286"/>
                  <a:pt x="948" y="286"/>
                  <a:pt x="948" y="286"/>
                </a:cubicBezTo>
                <a:cubicBezTo>
                  <a:pt x="949" y="286"/>
                  <a:pt x="949" y="286"/>
                  <a:pt x="949" y="286"/>
                </a:cubicBezTo>
                <a:cubicBezTo>
                  <a:pt x="949" y="285"/>
                  <a:pt x="949" y="285"/>
                  <a:pt x="949" y="285"/>
                </a:cubicBezTo>
                <a:cubicBezTo>
                  <a:pt x="950" y="284"/>
                  <a:pt x="950" y="284"/>
                  <a:pt x="950" y="284"/>
                </a:cubicBezTo>
                <a:cubicBezTo>
                  <a:pt x="950" y="283"/>
                  <a:pt x="950" y="283"/>
                  <a:pt x="950" y="283"/>
                </a:cubicBezTo>
                <a:cubicBezTo>
                  <a:pt x="951" y="282"/>
                  <a:pt x="951" y="282"/>
                  <a:pt x="951" y="282"/>
                </a:cubicBezTo>
                <a:cubicBezTo>
                  <a:pt x="951" y="281"/>
                  <a:pt x="951" y="281"/>
                  <a:pt x="951" y="281"/>
                </a:cubicBezTo>
                <a:cubicBezTo>
                  <a:pt x="949" y="280"/>
                  <a:pt x="949" y="280"/>
                  <a:pt x="949" y="280"/>
                </a:cubicBezTo>
                <a:cubicBezTo>
                  <a:pt x="946" y="280"/>
                  <a:pt x="946" y="280"/>
                  <a:pt x="946" y="280"/>
                </a:cubicBezTo>
                <a:lnTo>
                  <a:pt x="945" y="280"/>
                </a:lnTo>
                <a:close/>
                <a:moveTo>
                  <a:pt x="892" y="106"/>
                </a:moveTo>
                <a:cubicBezTo>
                  <a:pt x="891" y="107"/>
                  <a:pt x="891" y="107"/>
                  <a:pt x="891" y="107"/>
                </a:cubicBezTo>
                <a:cubicBezTo>
                  <a:pt x="891" y="108"/>
                  <a:pt x="891" y="108"/>
                  <a:pt x="891" y="108"/>
                </a:cubicBezTo>
                <a:cubicBezTo>
                  <a:pt x="891" y="108"/>
                  <a:pt x="891" y="108"/>
                  <a:pt x="891" y="108"/>
                </a:cubicBezTo>
                <a:lnTo>
                  <a:pt x="892" y="106"/>
                </a:lnTo>
                <a:close/>
                <a:moveTo>
                  <a:pt x="997" y="453"/>
                </a:moveTo>
                <a:cubicBezTo>
                  <a:pt x="997" y="454"/>
                  <a:pt x="997" y="454"/>
                  <a:pt x="997" y="454"/>
                </a:cubicBezTo>
                <a:cubicBezTo>
                  <a:pt x="997" y="455"/>
                  <a:pt x="997" y="455"/>
                  <a:pt x="997" y="455"/>
                </a:cubicBezTo>
                <a:cubicBezTo>
                  <a:pt x="998" y="454"/>
                  <a:pt x="998" y="454"/>
                  <a:pt x="998" y="454"/>
                </a:cubicBezTo>
                <a:cubicBezTo>
                  <a:pt x="998" y="454"/>
                  <a:pt x="998" y="454"/>
                  <a:pt x="998" y="454"/>
                </a:cubicBezTo>
                <a:cubicBezTo>
                  <a:pt x="998" y="453"/>
                  <a:pt x="998" y="453"/>
                  <a:pt x="998" y="453"/>
                </a:cubicBezTo>
                <a:cubicBezTo>
                  <a:pt x="998" y="453"/>
                  <a:pt x="998" y="453"/>
                  <a:pt x="998" y="453"/>
                </a:cubicBezTo>
                <a:lnTo>
                  <a:pt x="997" y="453"/>
                </a:lnTo>
                <a:close/>
                <a:moveTo>
                  <a:pt x="875" y="136"/>
                </a:moveTo>
                <a:cubicBezTo>
                  <a:pt x="875" y="135"/>
                  <a:pt x="875" y="135"/>
                  <a:pt x="875" y="135"/>
                </a:cubicBezTo>
                <a:cubicBezTo>
                  <a:pt x="874" y="134"/>
                  <a:pt x="874" y="134"/>
                  <a:pt x="874" y="134"/>
                </a:cubicBezTo>
                <a:cubicBezTo>
                  <a:pt x="873" y="134"/>
                  <a:pt x="873" y="134"/>
                  <a:pt x="873" y="134"/>
                </a:cubicBezTo>
                <a:cubicBezTo>
                  <a:pt x="874" y="136"/>
                  <a:pt x="874" y="136"/>
                  <a:pt x="874" y="136"/>
                </a:cubicBezTo>
                <a:cubicBezTo>
                  <a:pt x="873" y="137"/>
                  <a:pt x="873" y="137"/>
                  <a:pt x="873" y="137"/>
                </a:cubicBezTo>
                <a:cubicBezTo>
                  <a:pt x="873" y="138"/>
                  <a:pt x="873" y="138"/>
                  <a:pt x="873" y="138"/>
                </a:cubicBezTo>
                <a:cubicBezTo>
                  <a:pt x="874" y="137"/>
                  <a:pt x="874" y="137"/>
                  <a:pt x="874" y="137"/>
                </a:cubicBezTo>
                <a:lnTo>
                  <a:pt x="875" y="136"/>
                </a:lnTo>
                <a:close/>
                <a:moveTo>
                  <a:pt x="873" y="109"/>
                </a:moveTo>
                <a:cubicBezTo>
                  <a:pt x="871" y="108"/>
                  <a:pt x="871" y="108"/>
                  <a:pt x="871" y="108"/>
                </a:cubicBezTo>
                <a:cubicBezTo>
                  <a:pt x="870" y="107"/>
                  <a:pt x="870" y="107"/>
                  <a:pt x="870" y="107"/>
                </a:cubicBezTo>
                <a:cubicBezTo>
                  <a:pt x="869" y="108"/>
                  <a:pt x="869" y="108"/>
                  <a:pt x="869" y="108"/>
                </a:cubicBezTo>
                <a:cubicBezTo>
                  <a:pt x="869" y="108"/>
                  <a:pt x="868" y="109"/>
                  <a:pt x="868" y="110"/>
                </a:cubicBezTo>
                <a:cubicBezTo>
                  <a:pt x="869" y="110"/>
                  <a:pt x="869" y="110"/>
                  <a:pt x="869" y="110"/>
                </a:cubicBezTo>
                <a:cubicBezTo>
                  <a:pt x="870" y="111"/>
                  <a:pt x="870" y="111"/>
                  <a:pt x="870" y="111"/>
                </a:cubicBezTo>
                <a:cubicBezTo>
                  <a:pt x="870" y="112"/>
                  <a:pt x="870" y="112"/>
                  <a:pt x="870" y="112"/>
                </a:cubicBezTo>
                <a:cubicBezTo>
                  <a:pt x="870" y="112"/>
                  <a:pt x="870" y="112"/>
                  <a:pt x="870" y="112"/>
                </a:cubicBezTo>
                <a:cubicBezTo>
                  <a:pt x="870" y="113"/>
                  <a:pt x="870" y="113"/>
                  <a:pt x="870" y="113"/>
                </a:cubicBezTo>
                <a:cubicBezTo>
                  <a:pt x="871" y="113"/>
                  <a:pt x="871" y="113"/>
                  <a:pt x="871" y="113"/>
                </a:cubicBezTo>
                <a:cubicBezTo>
                  <a:pt x="872" y="112"/>
                  <a:pt x="872" y="112"/>
                  <a:pt x="872" y="112"/>
                </a:cubicBezTo>
                <a:cubicBezTo>
                  <a:pt x="873" y="112"/>
                  <a:pt x="873" y="112"/>
                  <a:pt x="873" y="112"/>
                </a:cubicBezTo>
                <a:cubicBezTo>
                  <a:pt x="874" y="112"/>
                  <a:pt x="874" y="112"/>
                  <a:pt x="874" y="112"/>
                </a:cubicBezTo>
                <a:cubicBezTo>
                  <a:pt x="875" y="112"/>
                  <a:pt x="875" y="112"/>
                  <a:pt x="875" y="112"/>
                </a:cubicBezTo>
                <a:cubicBezTo>
                  <a:pt x="876" y="111"/>
                  <a:pt x="876" y="111"/>
                  <a:pt x="876" y="111"/>
                </a:cubicBezTo>
                <a:cubicBezTo>
                  <a:pt x="875" y="110"/>
                  <a:pt x="875" y="110"/>
                  <a:pt x="875" y="110"/>
                </a:cubicBezTo>
                <a:lnTo>
                  <a:pt x="873" y="109"/>
                </a:lnTo>
                <a:close/>
                <a:moveTo>
                  <a:pt x="881" y="122"/>
                </a:moveTo>
                <a:cubicBezTo>
                  <a:pt x="880" y="122"/>
                  <a:pt x="880" y="122"/>
                  <a:pt x="880" y="122"/>
                </a:cubicBezTo>
                <a:cubicBezTo>
                  <a:pt x="878" y="123"/>
                  <a:pt x="878" y="123"/>
                  <a:pt x="878" y="123"/>
                </a:cubicBezTo>
                <a:cubicBezTo>
                  <a:pt x="877" y="124"/>
                  <a:pt x="877" y="124"/>
                  <a:pt x="877" y="124"/>
                </a:cubicBezTo>
                <a:cubicBezTo>
                  <a:pt x="874" y="124"/>
                  <a:pt x="874" y="124"/>
                  <a:pt x="874" y="124"/>
                </a:cubicBezTo>
                <a:cubicBezTo>
                  <a:pt x="873" y="125"/>
                  <a:pt x="873" y="125"/>
                  <a:pt x="873" y="125"/>
                </a:cubicBezTo>
                <a:cubicBezTo>
                  <a:pt x="872" y="127"/>
                  <a:pt x="872" y="127"/>
                  <a:pt x="872" y="127"/>
                </a:cubicBezTo>
                <a:cubicBezTo>
                  <a:pt x="871" y="128"/>
                  <a:pt x="871" y="128"/>
                  <a:pt x="871" y="128"/>
                </a:cubicBezTo>
                <a:cubicBezTo>
                  <a:pt x="871" y="130"/>
                  <a:pt x="871" y="130"/>
                  <a:pt x="871" y="130"/>
                </a:cubicBezTo>
                <a:cubicBezTo>
                  <a:pt x="872" y="129"/>
                  <a:pt x="872" y="129"/>
                  <a:pt x="872" y="129"/>
                </a:cubicBezTo>
                <a:cubicBezTo>
                  <a:pt x="874" y="130"/>
                  <a:pt x="874" y="130"/>
                  <a:pt x="874" y="130"/>
                </a:cubicBezTo>
                <a:cubicBezTo>
                  <a:pt x="875" y="130"/>
                  <a:pt x="875" y="130"/>
                  <a:pt x="875" y="130"/>
                </a:cubicBezTo>
                <a:cubicBezTo>
                  <a:pt x="879" y="127"/>
                  <a:pt x="879" y="127"/>
                  <a:pt x="879" y="127"/>
                </a:cubicBezTo>
                <a:cubicBezTo>
                  <a:pt x="880" y="125"/>
                  <a:pt x="880" y="125"/>
                  <a:pt x="880" y="125"/>
                </a:cubicBezTo>
                <a:cubicBezTo>
                  <a:pt x="881" y="125"/>
                  <a:pt x="881" y="125"/>
                  <a:pt x="881" y="125"/>
                </a:cubicBezTo>
                <a:cubicBezTo>
                  <a:pt x="882" y="123"/>
                  <a:pt x="882" y="123"/>
                  <a:pt x="882" y="123"/>
                </a:cubicBezTo>
                <a:cubicBezTo>
                  <a:pt x="884" y="122"/>
                  <a:pt x="884" y="122"/>
                  <a:pt x="884" y="122"/>
                </a:cubicBezTo>
                <a:cubicBezTo>
                  <a:pt x="884" y="120"/>
                  <a:pt x="884" y="120"/>
                  <a:pt x="884" y="120"/>
                </a:cubicBezTo>
                <a:cubicBezTo>
                  <a:pt x="883" y="120"/>
                  <a:pt x="883" y="120"/>
                  <a:pt x="883" y="120"/>
                </a:cubicBezTo>
                <a:cubicBezTo>
                  <a:pt x="882" y="120"/>
                  <a:pt x="882" y="120"/>
                  <a:pt x="882" y="120"/>
                </a:cubicBezTo>
                <a:lnTo>
                  <a:pt x="881" y="122"/>
                </a:lnTo>
                <a:close/>
                <a:moveTo>
                  <a:pt x="871" y="140"/>
                </a:moveTo>
                <a:cubicBezTo>
                  <a:pt x="870" y="141"/>
                  <a:pt x="870" y="141"/>
                  <a:pt x="870" y="141"/>
                </a:cubicBezTo>
                <a:cubicBezTo>
                  <a:pt x="871" y="144"/>
                  <a:pt x="871" y="144"/>
                  <a:pt x="871" y="144"/>
                </a:cubicBezTo>
                <a:cubicBezTo>
                  <a:pt x="872" y="143"/>
                  <a:pt x="872" y="143"/>
                  <a:pt x="872" y="143"/>
                </a:cubicBezTo>
                <a:cubicBezTo>
                  <a:pt x="872" y="142"/>
                  <a:pt x="872" y="142"/>
                  <a:pt x="872" y="142"/>
                </a:cubicBezTo>
                <a:cubicBezTo>
                  <a:pt x="873" y="142"/>
                  <a:pt x="873" y="142"/>
                  <a:pt x="873" y="142"/>
                </a:cubicBezTo>
                <a:cubicBezTo>
                  <a:pt x="873" y="140"/>
                  <a:pt x="873" y="140"/>
                  <a:pt x="873" y="140"/>
                </a:cubicBezTo>
                <a:cubicBezTo>
                  <a:pt x="872" y="140"/>
                  <a:pt x="872" y="140"/>
                  <a:pt x="872" y="140"/>
                </a:cubicBezTo>
                <a:lnTo>
                  <a:pt x="871" y="140"/>
                </a:lnTo>
                <a:close/>
                <a:moveTo>
                  <a:pt x="960" y="233"/>
                </a:moveTo>
                <a:cubicBezTo>
                  <a:pt x="961" y="234"/>
                  <a:pt x="961" y="234"/>
                  <a:pt x="961" y="234"/>
                </a:cubicBezTo>
                <a:cubicBezTo>
                  <a:pt x="961" y="234"/>
                  <a:pt x="961" y="234"/>
                  <a:pt x="961" y="234"/>
                </a:cubicBezTo>
                <a:cubicBezTo>
                  <a:pt x="961" y="233"/>
                  <a:pt x="961" y="233"/>
                  <a:pt x="961" y="233"/>
                </a:cubicBezTo>
                <a:cubicBezTo>
                  <a:pt x="961" y="232"/>
                  <a:pt x="961" y="232"/>
                  <a:pt x="961" y="232"/>
                </a:cubicBezTo>
                <a:lnTo>
                  <a:pt x="960" y="233"/>
                </a:lnTo>
                <a:close/>
                <a:moveTo>
                  <a:pt x="832" y="21"/>
                </a:moveTo>
                <a:cubicBezTo>
                  <a:pt x="829" y="25"/>
                  <a:pt x="829" y="25"/>
                  <a:pt x="829" y="25"/>
                </a:cubicBezTo>
                <a:cubicBezTo>
                  <a:pt x="830" y="26"/>
                  <a:pt x="830" y="26"/>
                  <a:pt x="830" y="26"/>
                </a:cubicBezTo>
                <a:cubicBezTo>
                  <a:pt x="829" y="27"/>
                  <a:pt x="829" y="27"/>
                  <a:pt x="829" y="27"/>
                </a:cubicBezTo>
                <a:cubicBezTo>
                  <a:pt x="828" y="26"/>
                  <a:pt x="828" y="26"/>
                  <a:pt x="828" y="26"/>
                </a:cubicBezTo>
                <a:cubicBezTo>
                  <a:pt x="827" y="26"/>
                  <a:pt x="827" y="26"/>
                  <a:pt x="827" y="26"/>
                </a:cubicBezTo>
                <a:cubicBezTo>
                  <a:pt x="827" y="29"/>
                  <a:pt x="827" y="29"/>
                  <a:pt x="827" y="29"/>
                </a:cubicBezTo>
                <a:cubicBezTo>
                  <a:pt x="826" y="29"/>
                  <a:pt x="826" y="29"/>
                  <a:pt x="826" y="29"/>
                </a:cubicBezTo>
                <a:cubicBezTo>
                  <a:pt x="824" y="29"/>
                  <a:pt x="824" y="29"/>
                  <a:pt x="824" y="29"/>
                </a:cubicBezTo>
                <a:cubicBezTo>
                  <a:pt x="823" y="31"/>
                  <a:pt x="823" y="31"/>
                  <a:pt x="823" y="31"/>
                </a:cubicBezTo>
                <a:cubicBezTo>
                  <a:pt x="822" y="31"/>
                  <a:pt x="822" y="31"/>
                  <a:pt x="822" y="31"/>
                </a:cubicBezTo>
                <a:cubicBezTo>
                  <a:pt x="821" y="34"/>
                  <a:pt x="821" y="34"/>
                  <a:pt x="821" y="34"/>
                </a:cubicBezTo>
                <a:cubicBezTo>
                  <a:pt x="819" y="37"/>
                  <a:pt x="819" y="37"/>
                  <a:pt x="819" y="37"/>
                </a:cubicBezTo>
                <a:cubicBezTo>
                  <a:pt x="819" y="39"/>
                  <a:pt x="819" y="39"/>
                  <a:pt x="819" y="39"/>
                </a:cubicBezTo>
                <a:cubicBezTo>
                  <a:pt x="820" y="38"/>
                  <a:pt x="820" y="38"/>
                  <a:pt x="820" y="38"/>
                </a:cubicBezTo>
                <a:cubicBezTo>
                  <a:pt x="820" y="38"/>
                  <a:pt x="820" y="38"/>
                  <a:pt x="820" y="38"/>
                </a:cubicBezTo>
                <a:cubicBezTo>
                  <a:pt x="820" y="40"/>
                  <a:pt x="820" y="40"/>
                  <a:pt x="820" y="40"/>
                </a:cubicBezTo>
                <a:cubicBezTo>
                  <a:pt x="818" y="40"/>
                  <a:pt x="818" y="40"/>
                  <a:pt x="818" y="40"/>
                </a:cubicBezTo>
                <a:cubicBezTo>
                  <a:pt x="816" y="41"/>
                  <a:pt x="816" y="41"/>
                  <a:pt x="816" y="41"/>
                </a:cubicBezTo>
                <a:cubicBezTo>
                  <a:pt x="815" y="43"/>
                  <a:pt x="815" y="43"/>
                  <a:pt x="815" y="43"/>
                </a:cubicBezTo>
                <a:cubicBezTo>
                  <a:pt x="814" y="44"/>
                  <a:pt x="814" y="44"/>
                  <a:pt x="814" y="44"/>
                </a:cubicBezTo>
                <a:cubicBezTo>
                  <a:pt x="813" y="45"/>
                  <a:pt x="813" y="45"/>
                  <a:pt x="813" y="45"/>
                </a:cubicBezTo>
                <a:cubicBezTo>
                  <a:pt x="813" y="49"/>
                  <a:pt x="813" y="49"/>
                  <a:pt x="813" y="49"/>
                </a:cubicBezTo>
                <a:cubicBezTo>
                  <a:pt x="812" y="51"/>
                  <a:pt x="812" y="51"/>
                  <a:pt x="812" y="51"/>
                </a:cubicBezTo>
                <a:cubicBezTo>
                  <a:pt x="810" y="51"/>
                  <a:pt x="810" y="51"/>
                  <a:pt x="810" y="51"/>
                </a:cubicBezTo>
                <a:cubicBezTo>
                  <a:pt x="810" y="53"/>
                  <a:pt x="810" y="53"/>
                  <a:pt x="810" y="53"/>
                </a:cubicBezTo>
                <a:cubicBezTo>
                  <a:pt x="810" y="54"/>
                  <a:pt x="810" y="54"/>
                  <a:pt x="810" y="54"/>
                </a:cubicBezTo>
                <a:cubicBezTo>
                  <a:pt x="808" y="55"/>
                  <a:pt x="808" y="55"/>
                  <a:pt x="808" y="55"/>
                </a:cubicBezTo>
                <a:cubicBezTo>
                  <a:pt x="808" y="59"/>
                  <a:pt x="808" y="59"/>
                  <a:pt x="808" y="59"/>
                </a:cubicBezTo>
                <a:cubicBezTo>
                  <a:pt x="808" y="60"/>
                  <a:pt x="808" y="60"/>
                  <a:pt x="808" y="60"/>
                </a:cubicBezTo>
                <a:cubicBezTo>
                  <a:pt x="812" y="62"/>
                  <a:pt x="812" y="62"/>
                  <a:pt x="812" y="62"/>
                </a:cubicBezTo>
                <a:cubicBezTo>
                  <a:pt x="814" y="62"/>
                  <a:pt x="814" y="62"/>
                  <a:pt x="814" y="62"/>
                </a:cubicBezTo>
                <a:cubicBezTo>
                  <a:pt x="816" y="64"/>
                  <a:pt x="816" y="64"/>
                  <a:pt x="816" y="64"/>
                </a:cubicBezTo>
                <a:cubicBezTo>
                  <a:pt x="818" y="64"/>
                  <a:pt x="818" y="64"/>
                  <a:pt x="818" y="64"/>
                </a:cubicBezTo>
                <a:cubicBezTo>
                  <a:pt x="820" y="65"/>
                  <a:pt x="820" y="65"/>
                  <a:pt x="820" y="65"/>
                </a:cubicBezTo>
                <a:cubicBezTo>
                  <a:pt x="823" y="65"/>
                  <a:pt x="823" y="65"/>
                  <a:pt x="823" y="65"/>
                </a:cubicBezTo>
                <a:cubicBezTo>
                  <a:pt x="823" y="68"/>
                  <a:pt x="823" y="68"/>
                  <a:pt x="823" y="68"/>
                </a:cubicBezTo>
                <a:cubicBezTo>
                  <a:pt x="826" y="70"/>
                  <a:pt x="826" y="70"/>
                  <a:pt x="826" y="70"/>
                </a:cubicBezTo>
                <a:cubicBezTo>
                  <a:pt x="826" y="71"/>
                  <a:pt x="826" y="71"/>
                  <a:pt x="826" y="71"/>
                </a:cubicBezTo>
                <a:cubicBezTo>
                  <a:pt x="827" y="72"/>
                  <a:pt x="827" y="72"/>
                  <a:pt x="827" y="72"/>
                </a:cubicBezTo>
                <a:cubicBezTo>
                  <a:pt x="824" y="72"/>
                  <a:pt x="824" y="72"/>
                  <a:pt x="824" y="72"/>
                </a:cubicBezTo>
                <a:cubicBezTo>
                  <a:pt x="823" y="73"/>
                  <a:pt x="823" y="73"/>
                  <a:pt x="823" y="73"/>
                </a:cubicBezTo>
                <a:cubicBezTo>
                  <a:pt x="820" y="73"/>
                  <a:pt x="820" y="73"/>
                  <a:pt x="820" y="73"/>
                </a:cubicBezTo>
                <a:cubicBezTo>
                  <a:pt x="817" y="71"/>
                  <a:pt x="817" y="71"/>
                  <a:pt x="817" y="71"/>
                </a:cubicBezTo>
                <a:cubicBezTo>
                  <a:pt x="816" y="69"/>
                  <a:pt x="816" y="69"/>
                  <a:pt x="816" y="69"/>
                </a:cubicBezTo>
                <a:cubicBezTo>
                  <a:pt x="814" y="68"/>
                  <a:pt x="814" y="68"/>
                  <a:pt x="814" y="68"/>
                </a:cubicBezTo>
                <a:cubicBezTo>
                  <a:pt x="811" y="68"/>
                  <a:pt x="811" y="68"/>
                  <a:pt x="811" y="68"/>
                </a:cubicBezTo>
                <a:cubicBezTo>
                  <a:pt x="810" y="67"/>
                  <a:pt x="810" y="67"/>
                  <a:pt x="810" y="67"/>
                </a:cubicBezTo>
                <a:cubicBezTo>
                  <a:pt x="808" y="66"/>
                  <a:pt x="808" y="66"/>
                  <a:pt x="808" y="66"/>
                </a:cubicBezTo>
                <a:cubicBezTo>
                  <a:pt x="808" y="67"/>
                  <a:pt x="808" y="67"/>
                  <a:pt x="808" y="67"/>
                </a:cubicBezTo>
                <a:cubicBezTo>
                  <a:pt x="809" y="69"/>
                  <a:pt x="809" y="69"/>
                  <a:pt x="809" y="69"/>
                </a:cubicBezTo>
                <a:cubicBezTo>
                  <a:pt x="809" y="71"/>
                  <a:pt x="809" y="71"/>
                  <a:pt x="809" y="71"/>
                </a:cubicBezTo>
                <a:cubicBezTo>
                  <a:pt x="808" y="71"/>
                  <a:pt x="808" y="71"/>
                  <a:pt x="808" y="71"/>
                </a:cubicBezTo>
                <a:cubicBezTo>
                  <a:pt x="807" y="72"/>
                  <a:pt x="807" y="72"/>
                  <a:pt x="807" y="72"/>
                </a:cubicBezTo>
                <a:cubicBezTo>
                  <a:pt x="808" y="75"/>
                  <a:pt x="808" y="75"/>
                  <a:pt x="808" y="75"/>
                </a:cubicBezTo>
                <a:cubicBezTo>
                  <a:pt x="808" y="78"/>
                  <a:pt x="808" y="78"/>
                  <a:pt x="808" y="78"/>
                </a:cubicBezTo>
                <a:cubicBezTo>
                  <a:pt x="808" y="80"/>
                  <a:pt x="808" y="80"/>
                  <a:pt x="808" y="80"/>
                </a:cubicBezTo>
                <a:cubicBezTo>
                  <a:pt x="808" y="81"/>
                  <a:pt x="808" y="81"/>
                  <a:pt x="808" y="81"/>
                </a:cubicBezTo>
                <a:cubicBezTo>
                  <a:pt x="811" y="83"/>
                  <a:pt x="811" y="83"/>
                  <a:pt x="811" y="83"/>
                </a:cubicBezTo>
                <a:cubicBezTo>
                  <a:pt x="812" y="85"/>
                  <a:pt x="812" y="85"/>
                  <a:pt x="812" y="85"/>
                </a:cubicBezTo>
                <a:cubicBezTo>
                  <a:pt x="812" y="85"/>
                  <a:pt x="812" y="85"/>
                  <a:pt x="812" y="85"/>
                </a:cubicBezTo>
                <a:cubicBezTo>
                  <a:pt x="811" y="85"/>
                  <a:pt x="811" y="85"/>
                  <a:pt x="811" y="85"/>
                </a:cubicBezTo>
                <a:cubicBezTo>
                  <a:pt x="811" y="84"/>
                  <a:pt x="811" y="84"/>
                  <a:pt x="811" y="84"/>
                </a:cubicBezTo>
                <a:cubicBezTo>
                  <a:pt x="811" y="86"/>
                  <a:pt x="811" y="86"/>
                  <a:pt x="811" y="86"/>
                </a:cubicBezTo>
                <a:cubicBezTo>
                  <a:pt x="813" y="88"/>
                  <a:pt x="813" y="88"/>
                  <a:pt x="813" y="88"/>
                </a:cubicBezTo>
                <a:cubicBezTo>
                  <a:pt x="814" y="88"/>
                  <a:pt x="814" y="88"/>
                  <a:pt x="814" y="88"/>
                </a:cubicBezTo>
                <a:cubicBezTo>
                  <a:pt x="814" y="86"/>
                  <a:pt x="814" y="86"/>
                  <a:pt x="814" y="86"/>
                </a:cubicBezTo>
                <a:cubicBezTo>
                  <a:pt x="815" y="86"/>
                  <a:pt x="815" y="86"/>
                  <a:pt x="815" y="86"/>
                </a:cubicBezTo>
                <a:cubicBezTo>
                  <a:pt x="817" y="86"/>
                  <a:pt x="817" y="86"/>
                  <a:pt x="817" y="86"/>
                </a:cubicBezTo>
                <a:cubicBezTo>
                  <a:pt x="818" y="88"/>
                  <a:pt x="818" y="88"/>
                  <a:pt x="818" y="88"/>
                </a:cubicBezTo>
                <a:cubicBezTo>
                  <a:pt x="820" y="88"/>
                  <a:pt x="820" y="88"/>
                  <a:pt x="820" y="88"/>
                </a:cubicBezTo>
                <a:cubicBezTo>
                  <a:pt x="820" y="87"/>
                  <a:pt x="820" y="87"/>
                  <a:pt x="820" y="87"/>
                </a:cubicBezTo>
                <a:cubicBezTo>
                  <a:pt x="820" y="86"/>
                  <a:pt x="820" y="86"/>
                  <a:pt x="820" y="86"/>
                </a:cubicBezTo>
                <a:cubicBezTo>
                  <a:pt x="820" y="85"/>
                  <a:pt x="820" y="85"/>
                  <a:pt x="820" y="85"/>
                </a:cubicBezTo>
                <a:cubicBezTo>
                  <a:pt x="821" y="85"/>
                  <a:pt x="821" y="85"/>
                  <a:pt x="821" y="85"/>
                </a:cubicBezTo>
                <a:cubicBezTo>
                  <a:pt x="822" y="85"/>
                  <a:pt x="822" y="85"/>
                  <a:pt x="822" y="85"/>
                </a:cubicBezTo>
                <a:cubicBezTo>
                  <a:pt x="822" y="87"/>
                  <a:pt x="822" y="87"/>
                  <a:pt x="822" y="87"/>
                </a:cubicBezTo>
                <a:cubicBezTo>
                  <a:pt x="822" y="88"/>
                  <a:pt x="822" y="88"/>
                  <a:pt x="822" y="88"/>
                </a:cubicBezTo>
                <a:cubicBezTo>
                  <a:pt x="823" y="88"/>
                  <a:pt x="823" y="88"/>
                  <a:pt x="823" y="88"/>
                </a:cubicBezTo>
                <a:cubicBezTo>
                  <a:pt x="824" y="86"/>
                  <a:pt x="824" y="86"/>
                  <a:pt x="824" y="86"/>
                </a:cubicBezTo>
                <a:cubicBezTo>
                  <a:pt x="826" y="86"/>
                  <a:pt x="826" y="86"/>
                  <a:pt x="826" y="86"/>
                </a:cubicBezTo>
                <a:cubicBezTo>
                  <a:pt x="828" y="85"/>
                  <a:pt x="828" y="85"/>
                  <a:pt x="828" y="85"/>
                </a:cubicBezTo>
                <a:cubicBezTo>
                  <a:pt x="828" y="85"/>
                  <a:pt x="828" y="85"/>
                  <a:pt x="828" y="85"/>
                </a:cubicBezTo>
                <a:cubicBezTo>
                  <a:pt x="828" y="86"/>
                  <a:pt x="828" y="86"/>
                  <a:pt x="828" y="86"/>
                </a:cubicBezTo>
                <a:cubicBezTo>
                  <a:pt x="824" y="88"/>
                  <a:pt x="824" y="88"/>
                  <a:pt x="824" y="88"/>
                </a:cubicBezTo>
                <a:cubicBezTo>
                  <a:pt x="824" y="90"/>
                  <a:pt x="824" y="90"/>
                  <a:pt x="824" y="90"/>
                </a:cubicBezTo>
                <a:cubicBezTo>
                  <a:pt x="826" y="91"/>
                  <a:pt x="826" y="91"/>
                  <a:pt x="826" y="91"/>
                </a:cubicBezTo>
                <a:cubicBezTo>
                  <a:pt x="826" y="94"/>
                  <a:pt x="826" y="94"/>
                  <a:pt x="826" y="94"/>
                </a:cubicBezTo>
                <a:cubicBezTo>
                  <a:pt x="828" y="96"/>
                  <a:pt x="828" y="96"/>
                  <a:pt x="828" y="96"/>
                </a:cubicBezTo>
                <a:cubicBezTo>
                  <a:pt x="831" y="96"/>
                  <a:pt x="831" y="96"/>
                  <a:pt x="831" y="96"/>
                </a:cubicBezTo>
                <a:cubicBezTo>
                  <a:pt x="832" y="95"/>
                  <a:pt x="832" y="95"/>
                  <a:pt x="832" y="95"/>
                </a:cubicBezTo>
                <a:cubicBezTo>
                  <a:pt x="830" y="94"/>
                  <a:pt x="830" y="94"/>
                  <a:pt x="830" y="94"/>
                </a:cubicBezTo>
                <a:cubicBezTo>
                  <a:pt x="831" y="94"/>
                  <a:pt x="831" y="94"/>
                  <a:pt x="831" y="94"/>
                </a:cubicBezTo>
                <a:cubicBezTo>
                  <a:pt x="833" y="94"/>
                  <a:pt x="833" y="94"/>
                  <a:pt x="833" y="94"/>
                </a:cubicBezTo>
                <a:cubicBezTo>
                  <a:pt x="835" y="95"/>
                  <a:pt x="835" y="95"/>
                  <a:pt x="835" y="95"/>
                </a:cubicBezTo>
                <a:cubicBezTo>
                  <a:pt x="836" y="95"/>
                  <a:pt x="836" y="95"/>
                  <a:pt x="836" y="95"/>
                </a:cubicBezTo>
                <a:cubicBezTo>
                  <a:pt x="837" y="93"/>
                  <a:pt x="837" y="93"/>
                  <a:pt x="837" y="93"/>
                </a:cubicBezTo>
                <a:cubicBezTo>
                  <a:pt x="839" y="92"/>
                  <a:pt x="839" y="92"/>
                  <a:pt x="839" y="92"/>
                </a:cubicBezTo>
                <a:cubicBezTo>
                  <a:pt x="840" y="92"/>
                  <a:pt x="840" y="92"/>
                  <a:pt x="840" y="92"/>
                </a:cubicBezTo>
                <a:cubicBezTo>
                  <a:pt x="840" y="92"/>
                  <a:pt x="840" y="92"/>
                  <a:pt x="840" y="92"/>
                </a:cubicBezTo>
                <a:cubicBezTo>
                  <a:pt x="839" y="93"/>
                  <a:pt x="839" y="93"/>
                  <a:pt x="839" y="93"/>
                </a:cubicBezTo>
                <a:cubicBezTo>
                  <a:pt x="836" y="96"/>
                  <a:pt x="836" y="96"/>
                  <a:pt x="836" y="96"/>
                </a:cubicBezTo>
                <a:cubicBezTo>
                  <a:pt x="836" y="97"/>
                  <a:pt x="836" y="97"/>
                  <a:pt x="836" y="97"/>
                </a:cubicBezTo>
                <a:cubicBezTo>
                  <a:pt x="839" y="98"/>
                  <a:pt x="839" y="98"/>
                  <a:pt x="839" y="98"/>
                </a:cubicBezTo>
                <a:cubicBezTo>
                  <a:pt x="840" y="100"/>
                  <a:pt x="840" y="100"/>
                  <a:pt x="840" y="100"/>
                </a:cubicBezTo>
                <a:cubicBezTo>
                  <a:pt x="841" y="100"/>
                  <a:pt x="841" y="100"/>
                  <a:pt x="841" y="100"/>
                </a:cubicBezTo>
                <a:cubicBezTo>
                  <a:pt x="844" y="100"/>
                  <a:pt x="844" y="100"/>
                  <a:pt x="844" y="100"/>
                </a:cubicBezTo>
                <a:cubicBezTo>
                  <a:pt x="845" y="101"/>
                  <a:pt x="845" y="101"/>
                  <a:pt x="845" y="101"/>
                </a:cubicBezTo>
                <a:cubicBezTo>
                  <a:pt x="847" y="100"/>
                  <a:pt x="847" y="100"/>
                  <a:pt x="847" y="100"/>
                </a:cubicBezTo>
                <a:cubicBezTo>
                  <a:pt x="850" y="100"/>
                  <a:pt x="850" y="100"/>
                  <a:pt x="850" y="100"/>
                </a:cubicBezTo>
                <a:cubicBezTo>
                  <a:pt x="851" y="102"/>
                  <a:pt x="851" y="102"/>
                  <a:pt x="851" y="102"/>
                </a:cubicBezTo>
                <a:cubicBezTo>
                  <a:pt x="853" y="102"/>
                  <a:pt x="853" y="102"/>
                  <a:pt x="853" y="102"/>
                </a:cubicBezTo>
                <a:cubicBezTo>
                  <a:pt x="854" y="104"/>
                  <a:pt x="854" y="104"/>
                  <a:pt x="854" y="104"/>
                </a:cubicBezTo>
                <a:cubicBezTo>
                  <a:pt x="855" y="103"/>
                  <a:pt x="855" y="103"/>
                  <a:pt x="855" y="103"/>
                </a:cubicBezTo>
                <a:cubicBezTo>
                  <a:pt x="857" y="105"/>
                  <a:pt x="857" y="105"/>
                  <a:pt x="857" y="105"/>
                </a:cubicBezTo>
                <a:cubicBezTo>
                  <a:pt x="858" y="104"/>
                  <a:pt x="858" y="104"/>
                  <a:pt x="858" y="104"/>
                </a:cubicBezTo>
                <a:cubicBezTo>
                  <a:pt x="859" y="105"/>
                  <a:pt x="859" y="105"/>
                  <a:pt x="859" y="105"/>
                </a:cubicBezTo>
                <a:cubicBezTo>
                  <a:pt x="860" y="104"/>
                  <a:pt x="860" y="104"/>
                  <a:pt x="860" y="104"/>
                </a:cubicBezTo>
                <a:cubicBezTo>
                  <a:pt x="860" y="102"/>
                  <a:pt x="860" y="102"/>
                  <a:pt x="860" y="102"/>
                </a:cubicBezTo>
                <a:cubicBezTo>
                  <a:pt x="858" y="101"/>
                  <a:pt x="858" y="101"/>
                  <a:pt x="858" y="101"/>
                </a:cubicBezTo>
                <a:cubicBezTo>
                  <a:pt x="857" y="99"/>
                  <a:pt x="857" y="99"/>
                  <a:pt x="857" y="99"/>
                </a:cubicBezTo>
                <a:cubicBezTo>
                  <a:pt x="856" y="98"/>
                  <a:pt x="856" y="98"/>
                  <a:pt x="856" y="98"/>
                </a:cubicBezTo>
                <a:cubicBezTo>
                  <a:pt x="852" y="95"/>
                  <a:pt x="852" y="95"/>
                  <a:pt x="852" y="95"/>
                </a:cubicBezTo>
                <a:cubicBezTo>
                  <a:pt x="852" y="93"/>
                  <a:pt x="852" y="93"/>
                  <a:pt x="852" y="93"/>
                </a:cubicBezTo>
                <a:cubicBezTo>
                  <a:pt x="853" y="94"/>
                  <a:pt x="853" y="94"/>
                  <a:pt x="853" y="94"/>
                </a:cubicBezTo>
                <a:cubicBezTo>
                  <a:pt x="854" y="95"/>
                  <a:pt x="854" y="95"/>
                  <a:pt x="854" y="95"/>
                </a:cubicBezTo>
                <a:cubicBezTo>
                  <a:pt x="855" y="95"/>
                  <a:pt x="855" y="95"/>
                  <a:pt x="855" y="95"/>
                </a:cubicBezTo>
                <a:cubicBezTo>
                  <a:pt x="857" y="98"/>
                  <a:pt x="857" y="98"/>
                  <a:pt x="857" y="98"/>
                </a:cubicBezTo>
                <a:cubicBezTo>
                  <a:pt x="858" y="98"/>
                  <a:pt x="858" y="98"/>
                  <a:pt x="858" y="98"/>
                </a:cubicBezTo>
                <a:cubicBezTo>
                  <a:pt x="858" y="99"/>
                  <a:pt x="858" y="99"/>
                  <a:pt x="858" y="99"/>
                </a:cubicBezTo>
                <a:cubicBezTo>
                  <a:pt x="860" y="101"/>
                  <a:pt x="860" y="101"/>
                  <a:pt x="860" y="101"/>
                </a:cubicBezTo>
                <a:cubicBezTo>
                  <a:pt x="862" y="103"/>
                  <a:pt x="862" y="103"/>
                  <a:pt x="862" y="103"/>
                </a:cubicBezTo>
                <a:cubicBezTo>
                  <a:pt x="862" y="104"/>
                  <a:pt x="862" y="104"/>
                  <a:pt x="862" y="104"/>
                </a:cubicBezTo>
                <a:cubicBezTo>
                  <a:pt x="863" y="104"/>
                  <a:pt x="863" y="104"/>
                  <a:pt x="863" y="104"/>
                </a:cubicBezTo>
                <a:cubicBezTo>
                  <a:pt x="865" y="106"/>
                  <a:pt x="865" y="106"/>
                  <a:pt x="865" y="106"/>
                </a:cubicBezTo>
                <a:cubicBezTo>
                  <a:pt x="866" y="108"/>
                  <a:pt x="866" y="108"/>
                  <a:pt x="866" y="108"/>
                </a:cubicBezTo>
                <a:cubicBezTo>
                  <a:pt x="867" y="108"/>
                  <a:pt x="867" y="108"/>
                  <a:pt x="867" y="108"/>
                </a:cubicBezTo>
                <a:cubicBezTo>
                  <a:pt x="868" y="108"/>
                  <a:pt x="868" y="108"/>
                  <a:pt x="868" y="108"/>
                </a:cubicBezTo>
                <a:cubicBezTo>
                  <a:pt x="867" y="106"/>
                  <a:pt x="867" y="106"/>
                  <a:pt x="867" y="106"/>
                </a:cubicBezTo>
                <a:cubicBezTo>
                  <a:pt x="865" y="102"/>
                  <a:pt x="865" y="102"/>
                  <a:pt x="865" y="102"/>
                </a:cubicBezTo>
                <a:cubicBezTo>
                  <a:pt x="868" y="102"/>
                  <a:pt x="868" y="102"/>
                  <a:pt x="868" y="102"/>
                </a:cubicBezTo>
                <a:cubicBezTo>
                  <a:pt x="871" y="104"/>
                  <a:pt x="871" y="104"/>
                  <a:pt x="871" y="104"/>
                </a:cubicBezTo>
                <a:cubicBezTo>
                  <a:pt x="875" y="104"/>
                  <a:pt x="875" y="104"/>
                  <a:pt x="875" y="104"/>
                </a:cubicBezTo>
                <a:cubicBezTo>
                  <a:pt x="875" y="106"/>
                  <a:pt x="875" y="106"/>
                  <a:pt x="875" y="106"/>
                </a:cubicBezTo>
                <a:cubicBezTo>
                  <a:pt x="874" y="107"/>
                  <a:pt x="874" y="107"/>
                  <a:pt x="874" y="107"/>
                </a:cubicBezTo>
                <a:cubicBezTo>
                  <a:pt x="876" y="108"/>
                  <a:pt x="876" y="108"/>
                  <a:pt x="876" y="108"/>
                </a:cubicBezTo>
                <a:cubicBezTo>
                  <a:pt x="878" y="108"/>
                  <a:pt x="878" y="108"/>
                  <a:pt x="878" y="108"/>
                </a:cubicBezTo>
                <a:cubicBezTo>
                  <a:pt x="878" y="108"/>
                  <a:pt x="878" y="108"/>
                  <a:pt x="878" y="108"/>
                </a:cubicBezTo>
                <a:cubicBezTo>
                  <a:pt x="883" y="108"/>
                  <a:pt x="883" y="108"/>
                  <a:pt x="883" y="108"/>
                </a:cubicBezTo>
                <a:cubicBezTo>
                  <a:pt x="884" y="107"/>
                  <a:pt x="884" y="107"/>
                  <a:pt x="884" y="107"/>
                </a:cubicBezTo>
                <a:cubicBezTo>
                  <a:pt x="886" y="105"/>
                  <a:pt x="886" y="105"/>
                  <a:pt x="886" y="105"/>
                </a:cubicBezTo>
                <a:cubicBezTo>
                  <a:pt x="886" y="104"/>
                  <a:pt x="886" y="104"/>
                  <a:pt x="886" y="104"/>
                </a:cubicBezTo>
                <a:cubicBezTo>
                  <a:pt x="886" y="102"/>
                  <a:pt x="886" y="102"/>
                  <a:pt x="886" y="102"/>
                </a:cubicBezTo>
                <a:cubicBezTo>
                  <a:pt x="885" y="101"/>
                  <a:pt x="885" y="101"/>
                  <a:pt x="885" y="101"/>
                </a:cubicBezTo>
                <a:cubicBezTo>
                  <a:pt x="884" y="97"/>
                  <a:pt x="884" y="97"/>
                  <a:pt x="884" y="97"/>
                </a:cubicBezTo>
                <a:cubicBezTo>
                  <a:pt x="883" y="97"/>
                  <a:pt x="883" y="97"/>
                  <a:pt x="883" y="97"/>
                </a:cubicBezTo>
                <a:cubicBezTo>
                  <a:pt x="881" y="95"/>
                  <a:pt x="881" y="95"/>
                  <a:pt x="881" y="95"/>
                </a:cubicBezTo>
                <a:cubicBezTo>
                  <a:pt x="881" y="93"/>
                  <a:pt x="881" y="93"/>
                  <a:pt x="881" y="93"/>
                </a:cubicBezTo>
                <a:cubicBezTo>
                  <a:pt x="882" y="93"/>
                  <a:pt x="882" y="93"/>
                  <a:pt x="882" y="93"/>
                </a:cubicBezTo>
                <a:cubicBezTo>
                  <a:pt x="883" y="91"/>
                  <a:pt x="883" y="91"/>
                  <a:pt x="883" y="91"/>
                </a:cubicBezTo>
                <a:cubicBezTo>
                  <a:pt x="883" y="91"/>
                  <a:pt x="883" y="91"/>
                  <a:pt x="883" y="91"/>
                </a:cubicBezTo>
                <a:cubicBezTo>
                  <a:pt x="884" y="92"/>
                  <a:pt x="884" y="92"/>
                  <a:pt x="884" y="92"/>
                </a:cubicBezTo>
                <a:cubicBezTo>
                  <a:pt x="884" y="93"/>
                  <a:pt x="884" y="93"/>
                  <a:pt x="884" y="93"/>
                </a:cubicBezTo>
                <a:cubicBezTo>
                  <a:pt x="886" y="92"/>
                  <a:pt x="886" y="92"/>
                  <a:pt x="886" y="92"/>
                </a:cubicBezTo>
                <a:cubicBezTo>
                  <a:pt x="886" y="89"/>
                  <a:pt x="886" y="89"/>
                  <a:pt x="886" y="89"/>
                </a:cubicBezTo>
                <a:cubicBezTo>
                  <a:pt x="887" y="88"/>
                  <a:pt x="887" y="88"/>
                  <a:pt x="887" y="88"/>
                </a:cubicBezTo>
                <a:cubicBezTo>
                  <a:pt x="888" y="87"/>
                  <a:pt x="888" y="87"/>
                  <a:pt x="888" y="87"/>
                </a:cubicBezTo>
                <a:cubicBezTo>
                  <a:pt x="888" y="90"/>
                  <a:pt x="888" y="90"/>
                  <a:pt x="888" y="90"/>
                </a:cubicBezTo>
                <a:cubicBezTo>
                  <a:pt x="889" y="91"/>
                  <a:pt x="889" y="91"/>
                  <a:pt x="889" y="91"/>
                </a:cubicBezTo>
                <a:cubicBezTo>
                  <a:pt x="888" y="92"/>
                  <a:pt x="888" y="92"/>
                  <a:pt x="888" y="92"/>
                </a:cubicBezTo>
                <a:cubicBezTo>
                  <a:pt x="886" y="92"/>
                  <a:pt x="886" y="92"/>
                  <a:pt x="886" y="92"/>
                </a:cubicBezTo>
                <a:cubicBezTo>
                  <a:pt x="886" y="95"/>
                  <a:pt x="886" y="95"/>
                  <a:pt x="886" y="95"/>
                </a:cubicBezTo>
                <a:cubicBezTo>
                  <a:pt x="887" y="95"/>
                  <a:pt x="887" y="95"/>
                  <a:pt x="887" y="95"/>
                </a:cubicBezTo>
                <a:cubicBezTo>
                  <a:pt x="888" y="96"/>
                  <a:pt x="888" y="96"/>
                  <a:pt x="888" y="96"/>
                </a:cubicBezTo>
                <a:cubicBezTo>
                  <a:pt x="888" y="98"/>
                  <a:pt x="888" y="98"/>
                  <a:pt x="888" y="98"/>
                </a:cubicBezTo>
                <a:cubicBezTo>
                  <a:pt x="890" y="100"/>
                  <a:pt x="890" y="100"/>
                  <a:pt x="890" y="100"/>
                </a:cubicBezTo>
                <a:cubicBezTo>
                  <a:pt x="892" y="101"/>
                  <a:pt x="892" y="101"/>
                  <a:pt x="892" y="101"/>
                </a:cubicBezTo>
                <a:cubicBezTo>
                  <a:pt x="892" y="99"/>
                  <a:pt x="892" y="99"/>
                  <a:pt x="892" y="99"/>
                </a:cubicBezTo>
                <a:cubicBezTo>
                  <a:pt x="892" y="99"/>
                  <a:pt x="892" y="99"/>
                  <a:pt x="892" y="99"/>
                </a:cubicBezTo>
                <a:cubicBezTo>
                  <a:pt x="893" y="100"/>
                  <a:pt x="893" y="100"/>
                  <a:pt x="893" y="100"/>
                </a:cubicBezTo>
                <a:cubicBezTo>
                  <a:pt x="895" y="99"/>
                  <a:pt x="895" y="99"/>
                  <a:pt x="895" y="99"/>
                </a:cubicBezTo>
                <a:cubicBezTo>
                  <a:pt x="896" y="100"/>
                  <a:pt x="896" y="100"/>
                  <a:pt x="896" y="100"/>
                </a:cubicBezTo>
                <a:cubicBezTo>
                  <a:pt x="895" y="101"/>
                  <a:pt x="895" y="101"/>
                  <a:pt x="895" y="101"/>
                </a:cubicBezTo>
                <a:cubicBezTo>
                  <a:pt x="895" y="103"/>
                  <a:pt x="895" y="103"/>
                  <a:pt x="895" y="103"/>
                </a:cubicBezTo>
                <a:cubicBezTo>
                  <a:pt x="894" y="106"/>
                  <a:pt x="894" y="106"/>
                  <a:pt x="894" y="106"/>
                </a:cubicBezTo>
                <a:cubicBezTo>
                  <a:pt x="894" y="106"/>
                  <a:pt x="894" y="106"/>
                  <a:pt x="894" y="106"/>
                </a:cubicBezTo>
                <a:cubicBezTo>
                  <a:pt x="892" y="109"/>
                  <a:pt x="892" y="109"/>
                  <a:pt x="892" y="109"/>
                </a:cubicBezTo>
                <a:cubicBezTo>
                  <a:pt x="891" y="112"/>
                  <a:pt x="891" y="112"/>
                  <a:pt x="891" y="112"/>
                </a:cubicBezTo>
                <a:cubicBezTo>
                  <a:pt x="891" y="113"/>
                  <a:pt x="891" y="113"/>
                  <a:pt x="891" y="113"/>
                </a:cubicBezTo>
                <a:cubicBezTo>
                  <a:pt x="892" y="113"/>
                  <a:pt x="892" y="113"/>
                  <a:pt x="892" y="113"/>
                </a:cubicBezTo>
                <a:cubicBezTo>
                  <a:pt x="892" y="111"/>
                  <a:pt x="892" y="111"/>
                  <a:pt x="892" y="111"/>
                </a:cubicBezTo>
                <a:cubicBezTo>
                  <a:pt x="894" y="112"/>
                  <a:pt x="894" y="112"/>
                  <a:pt x="894" y="112"/>
                </a:cubicBezTo>
                <a:cubicBezTo>
                  <a:pt x="894" y="112"/>
                  <a:pt x="894" y="112"/>
                  <a:pt x="894" y="112"/>
                </a:cubicBezTo>
                <a:cubicBezTo>
                  <a:pt x="895" y="112"/>
                  <a:pt x="895" y="112"/>
                  <a:pt x="895" y="112"/>
                </a:cubicBezTo>
                <a:cubicBezTo>
                  <a:pt x="896" y="114"/>
                  <a:pt x="896" y="114"/>
                  <a:pt x="896" y="114"/>
                </a:cubicBezTo>
                <a:cubicBezTo>
                  <a:pt x="899" y="114"/>
                  <a:pt x="899" y="114"/>
                  <a:pt x="899" y="114"/>
                </a:cubicBezTo>
                <a:cubicBezTo>
                  <a:pt x="897" y="115"/>
                  <a:pt x="897" y="115"/>
                  <a:pt x="897" y="115"/>
                </a:cubicBezTo>
                <a:cubicBezTo>
                  <a:pt x="897" y="116"/>
                  <a:pt x="897" y="116"/>
                  <a:pt x="897" y="116"/>
                </a:cubicBezTo>
                <a:cubicBezTo>
                  <a:pt x="896" y="117"/>
                  <a:pt x="896" y="117"/>
                  <a:pt x="896" y="117"/>
                </a:cubicBezTo>
                <a:cubicBezTo>
                  <a:pt x="896" y="116"/>
                  <a:pt x="896" y="116"/>
                  <a:pt x="896" y="116"/>
                </a:cubicBezTo>
                <a:cubicBezTo>
                  <a:pt x="894" y="116"/>
                  <a:pt x="894" y="116"/>
                  <a:pt x="894" y="116"/>
                </a:cubicBezTo>
                <a:cubicBezTo>
                  <a:pt x="894" y="118"/>
                  <a:pt x="894" y="118"/>
                  <a:pt x="894" y="118"/>
                </a:cubicBezTo>
                <a:cubicBezTo>
                  <a:pt x="896" y="118"/>
                  <a:pt x="896" y="118"/>
                  <a:pt x="896" y="118"/>
                </a:cubicBezTo>
                <a:cubicBezTo>
                  <a:pt x="896" y="119"/>
                  <a:pt x="896" y="119"/>
                  <a:pt x="896" y="119"/>
                </a:cubicBezTo>
                <a:cubicBezTo>
                  <a:pt x="898" y="119"/>
                  <a:pt x="898" y="119"/>
                  <a:pt x="898" y="119"/>
                </a:cubicBezTo>
                <a:cubicBezTo>
                  <a:pt x="898" y="120"/>
                  <a:pt x="898" y="120"/>
                  <a:pt x="898" y="120"/>
                </a:cubicBezTo>
                <a:cubicBezTo>
                  <a:pt x="898" y="121"/>
                  <a:pt x="898" y="121"/>
                  <a:pt x="898" y="121"/>
                </a:cubicBezTo>
                <a:cubicBezTo>
                  <a:pt x="898" y="123"/>
                  <a:pt x="898" y="123"/>
                  <a:pt x="898" y="123"/>
                </a:cubicBezTo>
                <a:cubicBezTo>
                  <a:pt x="899" y="124"/>
                  <a:pt x="899" y="124"/>
                  <a:pt x="899" y="124"/>
                </a:cubicBezTo>
                <a:cubicBezTo>
                  <a:pt x="901" y="125"/>
                  <a:pt x="901" y="125"/>
                  <a:pt x="901" y="125"/>
                </a:cubicBezTo>
                <a:cubicBezTo>
                  <a:pt x="902" y="126"/>
                  <a:pt x="902" y="126"/>
                  <a:pt x="902" y="126"/>
                </a:cubicBezTo>
                <a:cubicBezTo>
                  <a:pt x="903" y="127"/>
                  <a:pt x="903" y="127"/>
                  <a:pt x="903" y="127"/>
                </a:cubicBezTo>
                <a:cubicBezTo>
                  <a:pt x="902" y="129"/>
                  <a:pt x="902" y="129"/>
                  <a:pt x="902" y="129"/>
                </a:cubicBezTo>
                <a:cubicBezTo>
                  <a:pt x="901" y="130"/>
                  <a:pt x="901" y="130"/>
                  <a:pt x="901" y="130"/>
                </a:cubicBezTo>
                <a:cubicBezTo>
                  <a:pt x="900" y="130"/>
                  <a:pt x="900" y="130"/>
                  <a:pt x="900" y="130"/>
                </a:cubicBezTo>
                <a:cubicBezTo>
                  <a:pt x="899" y="131"/>
                  <a:pt x="899" y="131"/>
                  <a:pt x="899" y="131"/>
                </a:cubicBezTo>
                <a:cubicBezTo>
                  <a:pt x="897" y="130"/>
                  <a:pt x="897" y="130"/>
                  <a:pt x="897" y="130"/>
                </a:cubicBezTo>
                <a:cubicBezTo>
                  <a:pt x="896" y="130"/>
                  <a:pt x="896" y="130"/>
                  <a:pt x="896" y="130"/>
                </a:cubicBezTo>
                <a:cubicBezTo>
                  <a:pt x="895" y="130"/>
                  <a:pt x="895" y="130"/>
                  <a:pt x="895" y="130"/>
                </a:cubicBezTo>
                <a:cubicBezTo>
                  <a:pt x="894" y="132"/>
                  <a:pt x="894" y="132"/>
                  <a:pt x="894" y="132"/>
                </a:cubicBezTo>
                <a:cubicBezTo>
                  <a:pt x="895" y="132"/>
                  <a:pt x="895" y="132"/>
                  <a:pt x="895" y="132"/>
                </a:cubicBezTo>
                <a:cubicBezTo>
                  <a:pt x="895" y="133"/>
                  <a:pt x="895" y="133"/>
                  <a:pt x="895" y="133"/>
                </a:cubicBezTo>
                <a:cubicBezTo>
                  <a:pt x="894" y="135"/>
                  <a:pt x="894" y="135"/>
                  <a:pt x="894" y="135"/>
                </a:cubicBezTo>
                <a:cubicBezTo>
                  <a:pt x="894" y="136"/>
                  <a:pt x="894" y="136"/>
                  <a:pt x="894" y="136"/>
                </a:cubicBezTo>
                <a:cubicBezTo>
                  <a:pt x="895" y="136"/>
                  <a:pt x="895" y="136"/>
                  <a:pt x="895" y="136"/>
                </a:cubicBezTo>
                <a:cubicBezTo>
                  <a:pt x="895" y="135"/>
                  <a:pt x="895" y="135"/>
                  <a:pt x="895" y="135"/>
                </a:cubicBezTo>
                <a:cubicBezTo>
                  <a:pt x="897" y="135"/>
                  <a:pt x="897" y="135"/>
                  <a:pt x="897" y="135"/>
                </a:cubicBezTo>
                <a:cubicBezTo>
                  <a:pt x="899" y="135"/>
                  <a:pt x="899" y="135"/>
                  <a:pt x="899" y="135"/>
                </a:cubicBezTo>
                <a:cubicBezTo>
                  <a:pt x="900" y="134"/>
                  <a:pt x="900" y="134"/>
                  <a:pt x="900" y="134"/>
                </a:cubicBezTo>
                <a:cubicBezTo>
                  <a:pt x="901" y="134"/>
                  <a:pt x="901" y="134"/>
                  <a:pt x="901" y="134"/>
                </a:cubicBezTo>
                <a:cubicBezTo>
                  <a:pt x="902" y="132"/>
                  <a:pt x="902" y="132"/>
                  <a:pt x="902" y="132"/>
                </a:cubicBezTo>
                <a:cubicBezTo>
                  <a:pt x="903" y="131"/>
                  <a:pt x="903" y="131"/>
                  <a:pt x="903" y="131"/>
                </a:cubicBezTo>
                <a:cubicBezTo>
                  <a:pt x="903" y="134"/>
                  <a:pt x="903" y="134"/>
                  <a:pt x="903" y="134"/>
                </a:cubicBezTo>
                <a:cubicBezTo>
                  <a:pt x="904" y="134"/>
                  <a:pt x="904" y="134"/>
                  <a:pt x="904" y="134"/>
                </a:cubicBezTo>
                <a:cubicBezTo>
                  <a:pt x="905" y="133"/>
                  <a:pt x="905" y="133"/>
                  <a:pt x="905" y="133"/>
                </a:cubicBezTo>
                <a:cubicBezTo>
                  <a:pt x="907" y="131"/>
                  <a:pt x="907" y="131"/>
                  <a:pt x="907" y="131"/>
                </a:cubicBezTo>
                <a:cubicBezTo>
                  <a:pt x="909" y="130"/>
                  <a:pt x="909" y="130"/>
                  <a:pt x="909" y="130"/>
                </a:cubicBezTo>
                <a:cubicBezTo>
                  <a:pt x="910" y="131"/>
                  <a:pt x="910" y="131"/>
                  <a:pt x="910" y="131"/>
                </a:cubicBezTo>
                <a:cubicBezTo>
                  <a:pt x="909" y="132"/>
                  <a:pt x="909" y="132"/>
                  <a:pt x="909" y="132"/>
                </a:cubicBezTo>
                <a:cubicBezTo>
                  <a:pt x="908" y="132"/>
                  <a:pt x="908" y="132"/>
                  <a:pt x="908" y="132"/>
                </a:cubicBezTo>
                <a:cubicBezTo>
                  <a:pt x="907" y="133"/>
                  <a:pt x="907" y="133"/>
                  <a:pt x="907" y="133"/>
                </a:cubicBezTo>
                <a:cubicBezTo>
                  <a:pt x="908" y="134"/>
                  <a:pt x="908" y="134"/>
                  <a:pt x="908" y="134"/>
                </a:cubicBezTo>
                <a:cubicBezTo>
                  <a:pt x="908" y="134"/>
                  <a:pt x="908" y="134"/>
                  <a:pt x="908" y="134"/>
                </a:cubicBezTo>
                <a:cubicBezTo>
                  <a:pt x="906" y="135"/>
                  <a:pt x="906" y="135"/>
                  <a:pt x="906" y="135"/>
                </a:cubicBezTo>
                <a:cubicBezTo>
                  <a:pt x="906" y="136"/>
                  <a:pt x="906" y="136"/>
                  <a:pt x="906" y="136"/>
                </a:cubicBezTo>
                <a:cubicBezTo>
                  <a:pt x="908" y="135"/>
                  <a:pt x="908" y="135"/>
                  <a:pt x="908" y="135"/>
                </a:cubicBezTo>
                <a:cubicBezTo>
                  <a:pt x="909" y="137"/>
                  <a:pt x="909" y="137"/>
                  <a:pt x="909" y="137"/>
                </a:cubicBezTo>
                <a:cubicBezTo>
                  <a:pt x="907" y="138"/>
                  <a:pt x="907" y="138"/>
                  <a:pt x="907" y="138"/>
                </a:cubicBezTo>
                <a:cubicBezTo>
                  <a:pt x="908" y="141"/>
                  <a:pt x="908" y="141"/>
                  <a:pt x="908" y="141"/>
                </a:cubicBezTo>
                <a:cubicBezTo>
                  <a:pt x="908" y="141"/>
                  <a:pt x="908" y="141"/>
                  <a:pt x="908" y="141"/>
                </a:cubicBezTo>
                <a:cubicBezTo>
                  <a:pt x="909" y="143"/>
                  <a:pt x="909" y="143"/>
                  <a:pt x="909" y="143"/>
                </a:cubicBezTo>
                <a:cubicBezTo>
                  <a:pt x="912" y="142"/>
                  <a:pt x="912" y="142"/>
                  <a:pt x="912" y="142"/>
                </a:cubicBezTo>
                <a:cubicBezTo>
                  <a:pt x="912" y="141"/>
                  <a:pt x="912" y="141"/>
                  <a:pt x="912" y="141"/>
                </a:cubicBezTo>
                <a:cubicBezTo>
                  <a:pt x="911" y="140"/>
                  <a:pt x="911" y="140"/>
                  <a:pt x="911" y="140"/>
                </a:cubicBezTo>
                <a:cubicBezTo>
                  <a:pt x="912" y="139"/>
                  <a:pt x="912" y="139"/>
                  <a:pt x="912" y="139"/>
                </a:cubicBezTo>
                <a:cubicBezTo>
                  <a:pt x="912" y="138"/>
                  <a:pt x="912" y="138"/>
                  <a:pt x="912" y="138"/>
                </a:cubicBezTo>
                <a:cubicBezTo>
                  <a:pt x="915" y="140"/>
                  <a:pt x="915" y="140"/>
                  <a:pt x="915" y="140"/>
                </a:cubicBezTo>
                <a:cubicBezTo>
                  <a:pt x="915" y="141"/>
                  <a:pt x="915" y="141"/>
                  <a:pt x="915" y="141"/>
                </a:cubicBezTo>
                <a:cubicBezTo>
                  <a:pt x="914" y="143"/>
                  <a:pt x="914" y="143"/>
                  <a:pt x="914" y="143"/>
                </a:cubicBezTo>
                <a:cubicBezTo>
                  <a:pt x="915" y="144"/>
                  <a:pt x="915" y="144"/>
                  <a:pt x="915" y="144"/>
                </a:cubicBezTo>
                <a:cubicBezTo>
                  <a:pt x="915" y="145"/>
                  <a:pt x="915" y="145"/>
                  <a:pt x="915" y="145"/>
                </a:cubicBezTo>
                <a:cubicBezTo>
                  <a:pt x="913" y="146"/>
                  <a:pt x="913" y="146"/>
                  <a:pt x="913" y="146"/>
                </a:cubicBezTo>
                <a:cubicBezTo>
                  <a:pt x="912" y="147"/>
                  <a:pt x="912" y="147"/>
                  <a:pt x="912" y="147"/>
                </a:cubicBezTo>
                <a:cubicBezTo>
                  <a:pt x="913" y="148"/>
                  <a:pt x="913" y="148"/>
                  <a:pt x="913" y="148"/>
                </a:cubicBezTo>
                <a:cubicBezTo>
                  <a:pt x="917" y="148"/>
                  <a:pt x="917" y="148"/>
                  <a:pt x="917" y="148"/>
                </a:cubicBezTo>
                <a:cubicBezTo>
                  <a:pt x="918" y="149"/>
                  <a:pt x="918" y="149"/>
                  <a:pt x="918" y="149"/>
                </a:cubicBezTo>
                <a:cubicBezTo>
                  <a:pt x="918" y="150"/>
                  <a:pt x="918" y="150"/>
                  <a:pt x="918" y="150"/>
                </a:cubicBezTo>
                <a:cubicBezTo>
                  <a:pt x="918" y="152"/>
                  <a:pt x="918" y="152"/>
                  <a:pt x="918" y="152"/>
                </a:cubicBezTo>
                <a:cubicBezTo>
                  <a:pt x="919" y="151"/>
                  <a:pt x="919" y="151"/>
                  <a:pt x="919" y="151"/>
                </a:cubicBezTo>
                <a:cubicBezTo>
                  <a:pt x="919" y="150"/>
                  <a:pt x="919" y="150"/>
                  <a:pt x="919" y="150"/>
                </a:cubicBezTo>
                <a:cubicBezTo>
                  <a:pt x="920" y="149"/>
                  <a:pt x="920" y="149"/>
                  <a:pt x="920" y="149"/>
                </a:cubicBezTo>
                <a:cubicBezTo>
                  <a:pt x="921" y="149"/>
                  <a:pt x="921" y="149"/>
                  <a:pt x="921" y="149"/>
                </a:cubicBezTo>
                <a:cubicBezTo>
                  <a:pt x="921" y="150"/>
                  <a:pt x="921" y="150"/>
                  <a:pt x="921" y="150"/>
                </a:cubicBezTo>
                <a:cubicBezTo>
                  <a:pt x="920" y="152"/>
                  <a:pt x="920" y="152"/>
                  <a:pt x="920" y="152"/>
                </a:cubicBezTo>
                <a:cubicBezTo>
                  <a:pt x="920" y="153"/>
                  <a:pt x="920" y="153"/>
                  <a:pt x="920" y="153"/>
                </a:cubicBezTo>
                <a:cubicBezTo>
                  <a:pt x="919" y="153"/>
                  <a:pt x="919" y="153"/>
                  <a:pt x="919" y="153"/>
                </a:cubicBezTo>
                <a:cubicBezTo>
                  <a:pt x="918" y="156"/>
                  <a:pt x="918" y="156"/>
                  <a:pt x="918" y="156"/>
                </a:cubicBezTo>
                <a:cubicBezTo>
                  <a:pt x="918" y="157"/>
                  <a:pt x="918" y="157"/>
                  <a:pt x="918" y="157"/>
                </a:cubicBezTo>
                <a:cubicBezTo>
                  <a:pt x="919" y="158"/>
                  <a:pt x="919" y="158"/>
                  <a:pt x="919" y="158"/>
                </a:cubicBezTo>
                <a:cubicBezTo>
                  <a:pt x="919" y="159"/>
                  <a:pt x="919" y="159"/>
                  <a:pt x="919" y="159"/>
                </a:cubicBezTo>
                <a:cubicBezTo>
                  <a:pt x="918" y="161"/>
                  <a:pt x="918" y="161"/>
                  <a:pt x="918" y="161"/>
                </a:cubicBezTo>
                <a:cubicBezTo>
                  <a:pt x="918" y="163"/>
                  <a:pt x="918" y="163"/>
                  <a:pt x="918" y="163"/>
                </a:cubicBezTo>
                <a:cubicBezTo>
                  <a:pt x="919" y="163"/>
                  <a:pt x="919" y="163"/>
                  <a:pt x="919" y="163"/>
                </a:cubicBezTo>
                <a:cubicBezTo>
                  <a:pt x="918" y="164"/>
                  <a:pt x="918" y="164"/>
                  <a:pt x="918" y="164"/>
                </a:cubicBezTo>
                <a:cubicBezTo>
                  <a:pt x="918" y="168"/>
                  <a:pt x="918" y="168"/>
                  <a:pt x="918" y="168"/>
                </a:cubicBezTo>
                <a:cubicBezTo>
                  <a:pt x="917" y="169"/>
                  <a:pt x="917" y="169"/>
                  <a:pt x="917" y="169"/>
                </a:cubicBezTo>
                <a:cubicBezTo>
                  <a:pt x="918" y="171"/>
                  <a:pt x="918" y="171"/>
                  <a:pt x="918" y="171"/>
                </a:cubicBezTo>
                <a:cubicBezTo>
                  <a:pt x="918" y="172"/>
                  <a:pt x="918" y="172"/>
                  <a:pt x="918" y="172"/>
                </a:cubicBezTo>
                <a:cubicBezTo>
                  <a:pt x="915" y="173"/>
                  <a:pt x="915" y="173"/>
                  <a:pt x="915" y="173"/>
                </a:cubicBezTo>
                <a:cubicBezTo>
                  <a:pt x="912" y="173"/>
                  <a:pt x="912" y="173"/>
                  <a:pt x="912" y="173"/>
                </a:cubicBezTo>
                <a:cubicBezTo>
                  <a:pt x="911" y="173"/>
                  <a:pt x="911" y="173"/>
                  <a:pt x="911" y="173"/>
                </a:cubicBezTo>
                <a:cubicBezTo>
                  <a:pt x="910" y="175"/>
                  <a:pt x="910" y="175"/>
                  <a:pt x="910" y="175"/>
                </a:cubicBezTo>
                <a:cubicBezTo>
                  <a:pt x="907" y="178"/>
                  <a:pt x="907" y="178"/>
                  <a:pt x="907" y="178"/>
                </a:cubicBezTo>
                <a:cubicBezTo>
                  <a:pt x="907" y="179"/>
                  <a:pt x="907" y="179"/>
                  <a:pt x="907" y="179"/>
                </a:cubicBezTo>
                <a:cubicBezTo>
                  <a:pt x="909" y="181"/>
                  <a:pt x="909" y="181"/>
                  <a:pt x="909" y="181"/>
                </a:cubicBezTo>
                <a:cubicBezTo>
                  <a:pt x="908" y="181"/>
                  <a:pt x="908" y="181"/>
                  <a:pt x="908" y="181"/>
                </a:cubicBezTo>
                <a:cubicBezTo>
                  <a:pt x="907" y="181"/>
                  <a:pt x="907" y="181"/>
                  <a:pt x="907" y="181"/>
                </a:cubicBezTo>
                <a:cubicBezTo>
                  <a:pt x="906" y="180"/>
                  <a:pt x="906" y="180"/>
                  <a:pt x="906" y="180"/>
                </a:cubicBezTo>
                <a:cubicBezTo>
                  <a:pt x="905" y="180"/>
                  <a:pt x="905" y="180"/>
                  <a:pt x="905" y="180"/>
                </a:cubicBezTo>
                <a:cubicBezTo>
                  <a:pt x="902" y="183"/>
                  <a:pt x="902" y="183"/>
                  <a:pt x="902" y="183"/>
                </a:cubicBezTo>
                <a:cubicBezTo>
                  <a:pt x="901" y="184"/>
                  <a:pt x="901" y="184"/>
                  <a:pt x="901" y="184"/>
                </a:cubicBezTo>
                <a:cubicBezTo>
                  <a:pt x="897" y="186"/>
                  <a:pt x="897" y="186"/>
                  <a:pt x="897" y="186"/>
                </a:cubicBezTo>
                <a:cubicBezTo>
                  <a:pt x="894" y="188"/>
                  <a:pt x="894" y="188"/>
                  <a:pt x="894" y="188"/>
                </a:cubicBezTo>
                <a:cubicBezTo>
                  <a:pt x="893" y="188"/>
                  <a:pt x="893" y="188"/>
                  <a:pt x="893" y="188"/>
                </a:cubicBezTo>
                <a:cubicBezTo>
                  <a:pt x="892" y="189"/>
                  <a:pt x="892" y="189"/>
                  <a:pt x="892" y="189"/>
                </a:cubicBezTo>
                <a:cubicBezTo>
                  <a:pt x="892" y="192"/>
                  <a:pt x="892" y="192"/>
                  <a:pt x="892" y="192"/>
                </a:cubicBezTo>
                <a:cubicBezTo>
                  <a:pt x="893" y="193"/>
                  <a:pt x="893" y="193"/>
                  <a:pt x="893" y="193"/>
                </a:cubicBezTo>
                <a:cubicBezTo>
                  <a:pt x="893" y="195"/>
                  <a:pt x="893" y="195"/>
                  <a:pt x="893" y="195"/>
                </a:cubicBezTo>
                <a:cubicBezTo>
                  <a:pt x="895" y="198"/>
                  <a:pt x="895" y="198"/>
                  <a:pt x="895" y="198"/>
                </a:cubicBezTo>
                <a:cubicBezTo>
                  <a:pt x="896" y="203"/>
                  <a:pt x="896" y="203"/>
                  <a:pt x="896" y="203"/>
                </a:cubicBezTo>
                <a:cubicBezTo>
                  <a:pt x="895" y="204"/>
                  <a:pt x="895" y="204"/>
                  <a:pt x="895" y="204"/>
                </a:cubicBezTo>
                <a:cubicBezTo>
                  <a:pt x="894" y="203"/>
                  <a:pt x="894" y="203"/>
                  <a:pt x="894" y="203"/>
                </a:cubicBezTo>
                <a:cubicBezTo>
                  <a:pt x="893" y="204"/>
                  <a:pt x="893" y="204"/>
                  <a:pt x="893" y="204"/>
                </a:cubicBezTo>
                <a:cubicBezTo>
                  <a:pt x="892" y="206"/>
                  <a:pt x="892" y="206"/>
                  <a:pt x="892" y="206"/>
                </a:cubicBezTo>
                <a:cubicBezTo>
                  <a:pt x="892" y="204"/>
                  <a:pt x="892" y="204"/>
                  <a:pt x="892" y="204"/>
                </a:cubicBezTo>
                <a:cubicBezTo>
                  <a:pt x="892" y="201"/>
                  <a:pt x="892" y="201"/>
                  <a:pt x="892" y="201"/>
                </a:cubicBezTo>
                <a:cubicBezTo>
                  <a:pt x="891" y="200"/>
                  <a:pt x="891" y="200"/>
                  <a:pt x="891" y="200"/>
                </a:cubicBezTo>
                <a:cubicBezTo>
                  <a:pt x="889" y="201"/>
                  <a:pt x="889" y="201"/>
                  <a:pt x="889" y="201"/>
                </a:cubicBezTo>
                <a:cubicBezTo>
                  <a:pt x="888" y="203"/>
                  <a:pt x="888" y="203"/>
                  <a:pt x="888" y="203"/>
                </a:cubicBezTo>
                <a:cubicBezTo>
                  <a:pt x="886" y="205"/>
                  <a:pt x="886" y="205"/>
                  <a:pt x="886" y="205"/>
                </a:cubicBezTo>
                <a:cubicBezTo>
                  <a:pt x="885" y="204"/>
                  <a:pt x="885" y="204"/>
                  <a:pt x="885" y="204"/>
                </a:cubicBezTo>
                <a:cubicBezTo>
                  <a:pt x="885" y="203"/>
                  <a:pt x="885" y="203"/>
                  <a:pt x="885" y="203"/>
                </a:cubicBezTo>
                <a:cubicBezTo>
                  <a:pt x="885" y="203"/>
                  <a:pt x="885" y="203"/>
                  <a:pt x="885" y="203"/>
                </a:cubicBezTo>
                <a:cubicBezTo>
                  <a:pt x="883" y="203"/>
                  <a:pt x="883" y="203"/>
                  <a:pt x="883" y="203"/>
                </a:cubicBezTo>
                <a:cubicBezTo>
                  <a:pt x="882" y="204"/>
                  <a:pt x="882" y="204"/>
                  <a:pt x="882" y="204"/>
                </a:cubicBezTo>
                <a:cubicBezTo>
                  <a:pt x="881" y="206"/>
                  <a:pt x="881" y="206"/>
                  <a:pt x="881" y="206"/>
                </a:cubicBezTo>
                <a:cubicBezTo>
                  <a:pt x="878" y="205"/>
                  <a:pt x="878" y="205"/>
                  <a:pt x="878" y="205"/>
                </a:cubicBezTo>
                <a:cubicBezTo>
                  <a:pt x="877" y="205"/>
                  <a:pt x="877" y="205"/>
                  <a:pt x="877" y="205"/>
                </a:cubicBezTo>
                <a:cubicBezTo>
                  <a:pt x="876" y="204"/>
                  <a:pt x="876" y="204"/>
                  <a:pt x="876" y="204"/>
                </a:cubicBezTo>
                <a:cubicBezTo>
                  <a:pt x="875" y="204"/>
                  <a:pt x="875" y="204"/>
                  <a:pt x="875" y="204"/>
                </a:cubicBezTo>
                <a:cubicBezTo>
                  <a:pt x="873" y="205"/>
                  <a:pt x="873" y="205"/>
                  <a:pt x="873" y="205"/>
                </a:cubicBezTo>
                <a:cubicBezTo>
                  <a:pt x="871" y="204"/>
                  <a:pt x="871" y="204"/>
                  <a:pt x="871" y="204"/>
                </a:cubicBezTo>
                <a:cubicBezTo>
                  <a:pt x="870" y="204"/>
                  <a:pt x="870" y="204"/>
                  <a:pt x="870" y="204"/>
                </a:cubicBezTo>
                <a:cubicBezTo>
                  <a:pt x="869" y="202"/>
                  <a:pt x="869" y="202"/>
                  <a:pt x="869" y="202"/>
                </a:cubicBezTo>
                <a:cubicBezTo>
                  <a:pt x="867" y="201"/>
                  <a:pt x="867" y="201"/>
                  <a:pt x="867" y="201"/>
                </a:cubicBezTo>
                <a:cubicBezTo>
                  <a:pt x="864" y="201"/>
                  <a:pt x="864" y="201"/>
                  <a:pt x="864" y="201"/>
                </a:cubicBezTo>
                <a:cubicBezTo>
                  <a:pt x="862" y="197"/>
                  <a:pt x="862" y="197"/>
                  <a:pt x="862" y="197"/>
                </a:cubicBezTo>
                <a:cubicBezTo>
                  <a:pt x="862" y="198"/>
                  <a:pt x="862" y="198"/>
                  <a:pt x="862" y="198"/>
                </a:cubicBezTo>
                <a:cubicBezTo>
                  <a:pt x="862" y="199"/>
                  <a:pt x="862" y="199"/>
                  <a:pt x="862" y="199"/>
                </a:cubicBezTo>
                <a:cubicBezTo>
                  <a:pt x="862" y="200"/>
                  <a:pt x="862" y="200"/>
                  <a:pt x="862" y="200"/>
                </a:cubicBezTo>
                <a:cubicBezTo>
                  <a:pt x="860" y="200"/>
                  <a:pt x="860" y="200"/>
                  <a:pt x="860" y="200"/>
                </a:cubicBezTo>
                <a:cubicBezTo>
                  <a:pt x="860" y="200"/>
                  <a:pt x="860" y="200"/>
                  <a:pt x="860" y="200"/>
                </a:cubicBezTo>
                <a:cubicBezTo>
                  <a:pt x="860" y="202"/>
                  <a:pt x="860" y="202"/>
                  <a:pt x="860" y="202"/>
                </a:cubicBezTo>
                <a:cubicBezTo>
                  <a:pt x="861" y="203"/>
                  <a:pt x="861" y="203"/>
                  <a:pt x="861" y="203"/>
                </a:cubicBezTo>
                <a:cubicBezTo>
                  <a:pt x="861" y="204"/>
                  <a:pt x="861" y="204"/>
                  <a:pt x="861" y="204"/>
                </a:cubicBezTo>
                <a:cubicBezTo>
                  <a:pt x="860" y="204"/>
                  <a:pt x="860" y="204"/>
                  <a:pt x="860" y="204"/>
                </a:cubicBezTo>
                <a:cubicBezTo>
                  <a:pt x="858" y="205"/>
                  <a:pt x="858" y="205"/>
                  <a:pt x="858" y="205"/>
                </a:cubicBezTo>
                <a:cubicBezTo>
                  <a:pt x="857" y="206"/>
                  <a:pt x="857" y="206"/>
                  <a:pt x="857" y="206"/>
                </a:cubicBezTo>
                <a:cubicBezTo>
                  <a:pt x="855" y="206"/>
                  <a:pt x="855" y="206"/>
                  <a:pt x="855" y="206"/>
                </a:cubicBezTo>
                <a:cubicBezTo>
                  <a:pt x="853" y="208"/>
                  <a:pt x="853" y="208"/>
                  <a:pt x="853" y="208"/>
                </a:cubicBezTo>
                <a:cubicBezTo>
                  <a:pt x="853" y="210"/>
                  <a:pt x="853" y="210"/>
                  <a:pt x="853" y="210"/>
                </a:cubicBezTo>
                <a:cubicBezTo>
                  <a:pt x="852" y="211"/>
                  <a:pt x="852" y="211"/>
                  <a:pt x="852" y="211"/>
                </a:cubicBezTo>
                <a:cubicBezTo>
                  <a:pt x="851" y="213"/>
                  <a:pt x="851" y="213"/>
                  <a:pt x="851" y="213"/>
                </a:cubicBezTo>
                <a:cubicBezTo>
                  <a:pt x="852" y="217"/>
                  <a:pt x="852" y="217"/>
                  <a:pt x="852" y="217"/>
                </a:cubicBezTo>
                <a:cubicBezTo>
                  <a:pt x="854" y="218"/>
                  <a:pt x="854" y="218"/>
                  <a:pt x="854" y="218"/>
                </a:cubicBezTo>
                <a:cubicBezTo>
                  <a:pt x="855" y="218"/>
                  <a:pt x="855" y="218"/>
                  <a:pt x="855" y="218"/>
                </a:cubicBezTo>
                <a:cubicBezTo>
                  <a:pt x="857" y="220"/>
                  <a:pt x="857" y="220"/>
                  <a:pt x="857" y="220"/>
                </a:cubicBezTo>
                <a:cubicBezTo>
                  <a:pt x="857" y="221"/>
                  <a:pt x="857" y="221"/>
                  <a:pt x="857" y="221"/>
                </a:cubicBezTo>
                <a:cubicBezTo>
                  <a:pt x="860" y="222"/>
                  <a:pt x="860" y="222"/>
                  <a:pt x="860" y="222"/>
                </a:cubicBezTo>
                <a:cubicBezTo>
                  <a:pt x="861" y="222"/>
                  <a:pt x="861" y="222"/>
                  <a:pt x="861" y="222"/>
                </a:cubicBezTo>
                <a:cubicBezTo>
                  <a:pt x="862" y="221"/>
                  <a:pt x="862" y="221"/>
                  <a:pt x="862" y="221"/>
                </a:cubicBezTo>
                <a:cubicBezTo>
                  <a:pt x="864" y="221"/>
                  <a:pt x="864" y="221"/>
                  <a:pt x="864" y="221"/>
                </a:cubicBezTo>
                <a:cubicBezTo>
                  <a:pt x="865" y="220"/>
                  <a:pt x="865" y="220"/>
                  <a:pt x="865" y="220"/>
                </a:cubicBezTo>
                <a:cubicBezTo>
                  <a:pt x="867" y="220"/>
                  <a:pt x="867" y="220"/>
                  <a:pt x="867" y="220"/>
                </a:cubicBezTo>
                <a:cubicBezTo>
                  <a:pt x="868" y="220"/>
                  <a:pt x="868" y="220"/>
                  <a:pt x="868" y="220"/>
                </a:cubicBezTo>
                <a:cubicBezTo>
                  <a:pt x="870" y="220"/>
                  <a:pt x="870" y="220"/>
                  <a:pt x="870" y="220"/>
                </a:cubicBezTo>
                <a:cubicBezTo>
                  <a:pt x="871" y="220"/>
                  <a:pt x="871" y="220"/>
                  <a:pt x="871" y="220"/>
                </a:cubicBezTo>
                <a:cubicBezTo>
                  <a:pt x="871" y="218"/>
                  <a:pt x="871" y="218"/>
                  <a:pt x="871" y="218"/>
                </a:cubicBezTo>
                <a:cubicBezTo>
                  <a:pt x="871" y="216"/>
                  <a:pt x="871" y="216"/>
                  <a:pt x="871" y="216"/>
                </a:cubicBezTo>
                <a:cubicBezTo>
                  <a:pt x="872" y="216"/>
                  <a:pt x="872" y="216"/>
                  <a:pt x="872" y="216"/>
                </a:cubicBezTo>
                <a:cubicBezTo>
                  <a:pt x="874" y="219"/>
                  <a:pt x="874" y="219"/>
                  <a:pt x="874" y="219"/>
                </a:cubicBezTo>
                <a:cubicBezTo>
                  <a:pt x="876" y="219"/>
                  <a:pt x="876" y="219"/>
                  <a:pt x="876" y="219"/>
                </a:cubicBezTo>
                <a:cubicBezTo>
                  <a:pt x="877" y="221"/>
                  <a:pt x="877" y="221"/>
                  <a:pt x="877" y="221"/>
                </a:cubicBezTo>
                <a:cubicBezTo>
                  <a:pt x="879" y="221"/>
                  <a:pt x="879" y="221"/>
                  <a:pt x="879" y="221"/>
                </a:cubicBezTo>
                <a:cubicBezTo>
                  <a:pt x="880" y="220"/>
                  <a:pt x="880" y="220"/>
                  <a:pt x="880" y="220"/>
                </a:cubicBezTo>
                <a:cubicBezTo>
                  <a:pt x="881" y="219"/>
                  <a:pt x="881" y="219"/>
                  <a:pt x="881" y="219"/>
                </a:cubicBezTo>
                <a:cubicBezTo>
                  <a:pt x="882" y="219"/>
                  <a:pt x="882" y="219"/>
                  <a:pt x="882" y="219"/>
                </a:cubicBezTo>
                <a:cubicBezTo>
                  <a:pt x="884" y="217"/>
                  <a:pt x="884" y="217"/>
                  <a:pt x="884" y="217"/>
                </a:cubicBezTo>
                <a:cubicBezTo>
                  <a:pt x="885" y="216"/>
                  <a:pt x="885" y="216"/>
                  <a:pt x="885" y="216"/>
                </a:cubicBezTo>
                <a:cubicBezTo>
                  <a:pt x="885" y="218"/>
                  <a:pt x="885" y="218"/>
                  <a:pt x="885" y="218"/>
                </a:cubicBezTo>
                <a:cubicBezTo>
                  <a:pt x="885" y="220"/>
                  <a:pt x="885" y="220"/>
                  <a:pt x="885" y="220"/>
                </a:cubicBezTo>
                <a:cubicBezTo>
                  <a:pt x="884" y="221"/>
                  <a:pt x="884" y="221"/>
                  <a:pt x="884" y="221"/>
                </a:cubicBezTo>
                <a:cubicBezTo>
                  <a:pt x="884" y="223"/>
                  <a:pt x="884" y="223"/>
                  <a:pt x="884" y="223"/>
                </a:cubicBezTo>
                <a:cubicBezTo>
                  <a:pt x="885" y="222"/>
                  <a:pt x="885" y="222"/>
                  <a:pt x="885" y="222"/>
                </a:cubicBezTo>
                <a:cubicBezTo>
                  <a:pt x="887" y="219"/>
                  <a:pt x="887" y="219"/>
                  <a:pt x="887" y="219"/>
                </a:cubicBezTo>
                <a:cubicBezTo>
                  <a:pt x="887" y="220"/>
                  <a:pt x="887" y="220"/>
                  <a:pt x="887" y="220"/>
                </a:cubicBezTo>
                <a:cubicBezTo>
                  <a:pt x="888" y="219"/>
                  <a:pt x="888" y="219"/>
                  <a:pt x="888" y="219"/>
                </a:cubicBezTo>
                <a:cubicBezTo>
                  <a:pt x="890" y="220"/>
                  <a:pt x="890" y="220"/>
                  <a:pt x="890" y="220"/>
                </a:cubicBezTo>
                <a:cubicBezTo>
                  <a:pt x="888" y="222"/>
                  <a:pt x="888" y="222"/>
                  <a:pt x="888" y="222"/>
                </a:cubicBezTo>
                <a:cubicBezTo>
                  <a:pt x="889" y="223"/>
                  <a:pt x="889" y="223"/>
                  <a:pt x="889" y="223"/>
                </a:cubicBezTo>
                <a:cubicBezTo>
                  <a:pt x="889" y="221"/>
                  <a:pt x="889" y="221"/>
                  <a:pt x="889" y="221"/>
                </a:cubicBezTo>
                <a:cubicBezTo>
                  <a:pt x="893" y="219"/>
                  <a:pt x="893" y="219"/>
                  <a:pt x="893" y="219"/>
                </a:cubicBezTo>
                <a:cubicBezTo>
                  <a:pt x="893" y="220"/>
                  <a:pt x="893" y="220"/>
                  <a:pt x="893" y="220"/>
                </a:cubicBezTo>
                <a:cubicBezTo>
                  <a:pt x="891" y="222"/>
                  <a:pt x="891" y="222"/>
                  <a:pt x="891" y="222"/>
                </a:cubicBezTo>
                <a:cubicBezTo>
                  <a:pt x="891" y="223"/>
                  <a:pt x="891" y="223"/>
                  <a:pt x="891" y="223"/>
                </a:cubicBezTo>
                <a:cubicBezTo>
                  <a:pt x="892" y="224"/>
                  <a:pt x="892" y="224"/>
                  <a:pt x="892" y="224"/>
                </a:cubicBezTo>
                <a:cubicBezTo>
                  <a:pt x="893" y="227"/>
                  <a:pt x="893" y="227"/>
                  <a:pt x="893" y="227"/>
                </a:cubicBezTo>
                <a:cubicBezTo>
                  <a:pt x="893" y="228"/>
                  <a:pt x="893" y="228"/>
                  <a:pt x="893" y="228"/>
                </a:cubicBezTo>
                <a:cubicBezTo>
                  <a:pt x="894" y="230"/>
                  <a:pt x="894" y="230"/>
                  <a:pt x="894" y="230"/>
                </a:cubicBezTo>
                <a:cubicBezTo>
                  <a:pt x="895" y="230"/>
                  <a:pt x="895" y="230"/>
                  <a:pt x="895" y="230"/>
                </a:cubicBezTo>
                <a:cubicBezTo>
                  <a:pt x="895" y="232"/>
                  <a:pt x="895" y="232"/>
                  <a:pt x="895" y="232"/>
                </a:cubicBezTo>
                <a:cubicBezTo>
                  <a:pt x="896" y="233"/>
                  <a:pt x="896" y="233"/>
                  <a:pt x="896" y="233"/>
                </a:cubicBezTo>
                <a:cubicBezTo>
                  <a:pt x="897" y="231"/>
                  <a:pt x="897" y="231"/>
                  <a:pt x="897" y="231"/>
                </a:cubicBezTo>
                <a:cubicBezTo>
                  <a:pt x="897" y="234"/>
                  <a:pt x="897" y="234"/>
                  <a:pt x="897" y="234"/>
                </a:cubicBezTo>
                <a:cubicBezTo>
                  <a:pt x="896" y="235"/>
                  <a:pt x="896" y="235"/>
                  <a:pt x="896" y="235"/>
                </a:cubicBezTo>
                <a:cubicBezTo>
                  <a:pt x="897" y="237"/>
                  <a:pt x="897" y="237"/>
                  <a:pt x="897" y="237"/>
                </a:cubicBezTo>
                <a:cubicBezTo>
                  <a:pt x="898" y="235"/>
                  <a:pt x="898" y="235"/>
                  <a:pt x="898" y="235"/>
                </a:cubicBezTo>
                <a:cubicBezTo>
                  <a:pt x="899" y="234"/>
                  <a:pt x="899" y="234"/>
                  <a:pt x="899" y="234"/>
                </a:cubicBezTo>
                <a:cubicBezTo>
                  <a:pt x="900" y="233"/>
                  <a:pt x="900" y="233"/>
                  <a:pt x="900" y="233"/>
                </a:cubicBezTo>
                <a:cubicBezTo>
                  <a:pt x="899" y="234"/>
                  <a:pt x="899" y="234"/>
                  <a:pt x="899" y="234"/>
                </a:cubicBezTo>
                <a:cubicBezTo>
                  <a:pt x="900" y="236"/>
                  <a:pt x="900" y="236"/>
                  <a:pt x="900" y="236"/>
                </a:cubicBezTo>
                <a:cubicBezTo>
                  <a:pt x="901" y="238"/>
                  <a:pt x="901" y="238"/>
                  <a:pt x="901" y="238"/>
                </a:cubicBezTo>
                <a:cubicBezTo>
                  <a:pt x="904" y="238"/>
                  <a:pt x="904" y="238"/>
                  <a:pt x="904" y="238"/>
                </a:cubicBezTo>
                <a:cubicBezTo>
                  <a:pt x="904" y="239"/>
                  <a:pt x="904" y="239"/>
                  <a:pt x="904" y="239"/>
                </a:cubicBezTo>
                <a:cubicBezTo>
                  <a:pt x="900" y="241"/>
                  <a:pt x="900" y="241"/>
                  <a:pt x="900" y="241"/>
                </a:cubicBezTo>
                <a:cubicBezTo>
                  <a:pt x="897" y="241"/>
                  <a:pt x="897" y="241"/>
                  <a:pt x="897" y="241"/>
                </a:cubicBezTo>
                <a:cubicBezTo>
                  <a:pt x="897" y="242"/>
                  <a:pt x="897" y="242"/>
                  <a:pt x="897" y="242"/>
                </a:cubicBezTo>
                <a:cubicBezTo>
                  <a:pt x="898" y="243"/>
                  <a:pt x="898" y="243"/>
                  <a:pt x="898" y="243"/>
                </a:cubicBezTo>
                <a:cubicBezTo>
                  <a:pt x="899" y="245"/>
                  <a:pt x="899" y="245"/>
                  <a:pt x="899" y="245"/>
                </a:cubicBezTo>
                <a:cubicBezTo>
                  <a:pt x="900" y="247"/>
                  <a:pt x="900" y="247"/>
                  <a:pt x="900" y="247"/>
                </a:cubicBezTo>
                <a:cubicBezTo>
                  <a:pt x="901" y="248"/>
                  <a:pt x="901" y="248"/>
                  <a:pt x="901" y="248"/>
                </a:cubicBezTo>
                <a:cubicBezTo>
                  <a:pt x="902" y="249"/>
                  <a:pt x="902" y="249"/>
                  <a:pt x="902" y="249"/>
                </a:cubicBezTo>
                <a:cubicBezTo>
                  <a:pt x="902" y="250"/>
                  <a:pt x="902" y="250"/>
                  <a:pt x="902" y="250"/>
                </a:cubicBezTo>
                <a:cubicBezTo>
                  <a:pt x="904" y="251"/>
                  <a:pt x="904" y="251"/>
                  <a:pt x="904" y="251"/>
                </a:cubicBezTo>
                <a:cubicBezTo>
                  <a:pt x="905" y="252"/>
                  <a:pt x="905" y="252"/>
                  <a:pt x="905" y="252"/>
                </a:cubicBezTo>
                <a:cubicBezTo>
                  <a:pt x="906" y="252"/>
                  <a:pt x="906" y="252"/>
                  <a:pt x="906" y="252"/>
                </a:cubicBezTo>
                <a:cubicBezTo>
                  <a:pt x="909" y="254"/>
                  <a:pt x="909" y="254"/>
                  <a:pt x="909" y="254"/>
                </a:cubicBezTo>
                <a:cubicBezTo>
                  <a:pt x="911" y="254"/>
                  <a:pt x="911" y="254"/>
                  <a:pt x="911" y="254"/>
                </a:cubicBezTo>
                <a:cubicBezTo>
                  <a:pt x="911" y="255"/>
                  <a:pt x="911" y="255"/>
                  <a:pt x="911" y="255"/>
                </a:cubicBezTo>
                <a:cubicBezTo>
                  <a:pt x="912" y="256"/>
                  <a:pt x="912" y="256"/>
                  <a:pt x="912" y="256"/>
                </a:cubicBezTo>
                <a:cubicBezTo>
                  <a:pt x="913" y="255"/>
                  <a:pt x="913" y="255"/>
                  <a:pt x="913" y="255"/>
                </a:cubicBezTo>
                <a:cubicBezTo>
                  <a:pt x="913" y="255"/>
                  <a:pt x="913" y="255"/>
                  <a:pt x="913" y="255"/>
                </a:cubicBezTo>
                <a:cubicBezTo>
                  <a:pt x="915" y="255"/>
                  <a:pt x="915" y="255"/>
                  <a:pt x="915" y="255"/>
                </a:cubicBezTo>
                <a:cubicBezTo>
                  <a:pt x="914" y="256"/>
                  <a:pt x="914" y="256"/>
                  <a:pt x="914" y="256"/>
                </a:cubicBezTo>
                <a:cubicBezTo>
                  <a:pt x="913" y="257"/>
                  <a:pt x="913" y="257"/>
                  <a:pt x="913" y="257"/>
                </a:cubicBezTo>
                <a:cubicBezTo>
                  <a:pt x="914" y="259"/>
                  <a:pt x="914" y="259"/>
                  <a:pt x="914" y="259"/>
                </a:cubicBezTo>
                <a:cubicBezTo>
                  <a:pt x="915" y="259"/>
                  <a:pt x="915" y="259"/>
                  <a:pt x="915" y="259"/>
                </a:cubicBezTo>
                <a:cubicBezTo>
                  <a:pt x="916" y="259"/>
                  <a:pt x="916" y="259"/>
                  <a:pt x="916" y="259"/>
                </a:cubicBezTo>
                <a:cubicBezTo>
                  <a:pt x="916" y="261"/>
                  <a:pt x="916" y="261"/>
                  <a:pt x="916" y="261"/>
                </a:cubicBezTo>
                <a:cubicBezTo>
                  <a:pt x="918" y="263"/>
                  <a:pt x="918" y="263"/>
                  <a:pt x="918" y="263"/>
                </a:cubicBezTo>
                <a:cubicBezTo>
                  <a:pt x="920" y="263"/>
                  <a:pt x="920" y="263"/>
                  <a:pt x="920" y="263"/>
                </a:cubicBezTo>
                <a:cubicBezTo>
                  <a:pt x="921" y="264"/>
                  <a:pt x="921" y="264"/>
                  <a:pt x="921" y="264"/>
                </a:cubicBezTo>
                <a:cubicBezTo>
                  <a:pt x="921" y="265"/>
                  <a:pt x="921" y="265"/>
                  <a:pt x="921" y="265"/>
                </a:cubicBezTo>
                <a:cubicBezTo>
                  <a:pt x="924" y="266"/>
                  <a:pt x="924" y="266"/>
                  <a:pt x="924" y="266"/>
                </a:cubicBezTo>
                <a:cubicBezTo>
                  <a:pt x="925" y="266"/>
                  <a:pt x="925" y="266"/>
                  <a:pt x="925" y="266"/>
                </a:cubicBezTo>
                <a:cubicBezTo>
                  <a:pt x="926" y="266"/>
                  <a:pt x="926" y="266"/>
                  <a:pt x="926" y="266"/>
                </a:cubicBezTo>
                <a:cubicBezTo>
                  <a:pt x="927" y="266"/>
                  <a:pt x="927" y="266"/>
                  <a:pt x="927" y="266"/>
                </a:cubicBezTo>
                <a:cubicBezTo>
                  <a:pt x="929" y="267"/>
                  <a:pt x="929" y="267"/>
                  <a:pt x="929" y="267"/>
                </a:cubicBezTo>
                <a:cubicBezTo>
                  <a:pt x="929" y="268"/>
                  <a:pt x="929" y="268"/>
                  <a:pt x="929" y="268"/>
                </a:cubicBezTo>
                <a:cubicBezTo>
                  <a:pt x="932" y="270"/>
                  <a:pt x="932" y="270"/>
                  <a:pt x="932" y="270"/>
                </a:cubicBezTo>
                <a:cubicBezTo>
                  <a:pt x="933" y="271"/>
                  <a:pt x="933" y="271"/>
                  <a:pt x="933" y="271"/>
                </a:cubicBezTo>
                <a:cubicBezTo>
                  <a:pt x="935" y="272"/>
                  <a:pt x="935" y="272"/>
                  <a:pt x="935" y="272"/>
                </a:cubicBezTo>
                <a:cubicBezTo>
                  <a:pt x="938" y="273"/>
                  <a:pt x="938" y="273"/>
                  <a:pt x="938" y="273"/>
                </a:cubicBezTo>
                <a:cubicBezTo>
                  <a:pt x="940" y="274"/>
                  <a:pt x="940" y="274"/>
                  <a:pt x="940" y="274"/>
                </a:cubicBezTo>
                <a:cubicBezTo>
                  <a:pt x="941" y="274"/>
                  <a:pt x="941" y="274"/>
                  <a:pt x="941" y="274"/>
                </a:cubicBezTo>
                <a:cubicBezTo>
                  <a:pt x="942" y="273"/>
                  <a:pt x="942" y="273"/>
                  <a:pt x="942" y="273"/>
                </a:cubicBezTo>
                <a:cubicBezTo>
                  <a:pt x="942" y="272"/>
                  <a:pt x="942" y="272"/>
                  <a:pt x="942" y="272"/>
                </a:cubicBezTo>
                <a:cubicBezTo>
                  <a:pt x="941" y="271"/>
                  <a:pt x="941" y="271"/>
                  <a:pt x="941" y="271"/>
                </a:cubicBezTo>
                <a:cubicBezTo>
                  <a:pt x="940" y="270"/>
                  <a:pt x="940" y="270"/>
                  <a:pt x="940" y="270"/>
                </a:cubicBezTo>
                <a:cubicBezTo>
                  <a:pt x="941" y="269"/>
                  <a:pt x="941" y="269"/>
                  <a:pt x="941" y="269"/>
                </a:cubicBezTo>
                <a:cubicBezTo>
                  <a:pt x="942" y="269"/>
                  <a:pt x="942" y="269"/>
                  <a:pt x="942" y="269"/>
                </a:cubicBezTo>
                <a:cubicBezTo>
                  <a:pt x="943" y="268"/>
                  <a:pt x="943" y="268"/>
                  <a:pt x="943" y="268"/>
                </a:cubicBezTo>
                <a:cubicBezTo>
                  <a:pt x="942" y="267"/>
                  <a:pt x="942" y="267"/>
                  <a:pt x="942" y="267"/>
                </a:cubicBezTo>
                <a:cubicBezTo>
                  <a:pt x="941" y="267"/>
                  <a:pt x="941" y="267"/>
                  <a:pt x="941" y="267"/>
                </a:cubicBezTo>
                <a:cubicBezTo>
                  <a:pt x="941" y="267"/>
                  <a:pt x="941" y="267"/>
                  <a:pt x="941" y="267"/>
                </a:cubicBezTo>
                <a:cubicBezTo>
                  <a:pt x="941" y="264"/>
                  <a:pt x="941" y="264"/>
                  <a:pt x="941" y="264"/>
                </a:cubicBezTo>
                <a:cubicBezTo>
                  <a:pt x="941" y="264"/>
                  <a:pt x="941" y="264"/>
                  <a:pt x="941" y="264"/>
                </a:cubicBezTo>
                <a:cubicBezTo>
                  <a:pt x="939" y="266"/>
                  <a:pt x="939" y="266"/>
                  <a:pt x="939" y="266"/>
                </a:cubicBezTo>
                <a:cubicBezTo>
                  <a:pt x="939" y="265"/>
                  <a:pt x="939" y="265"/>
                  <a:pt x="939" y="265"/>
                </a:cubicBezTo>
                <a:cubicBezTo>
                  <a:pt x="938" y="263"/>
                  <a:pt x="938" y="263"/>
                  <a:pt x="938" y="263"/>
                </a:cubicBezTo>
                <a:cubicBezTo>
                  <a:pt x="937" y="263"/>
                  <a:pt x="937" y="263"/>
                  <a:pt x="937" y="263"/>
                </a:cubicBezTo>
                <a:cubicBezTo>
                  <a:pt x="939" y="262"/>
                  <a:pt x="939" y="262"/>
                  <a:pt x="939" y="262"/>
                </a:cubicBezTo>
                <a:cubicBezTo>
                  <a:pt x="938" y="259"/>
                  <a:pt x="938" y="259"/>
                  <a:pt x="938" y="259"/>
                </a:cubicBezTo>
                <a:cubicBezTo>
                  <a:pt x="937" y="259"/>
                  <a:pt x="937" y="259"/>
                  <a:pt x="937" y="259"/>
                </a:cubicBezTo>
                <a:cubicBezTo>
                  <a:pt x="936" y="259"/>
                  <a:pt x="936" y="259"/>
                  <a:pt x="936" y="259"/>
                </a:cubicBezTo>
                <a:cubicBezTo>
                  <a:pt x="936" y="257"/>
                  <a:pt x="936" y="257"/>
                  <a:pt x="936" y="257"/>
                </a:cubicBezTo>
                <a:cubicBezTo>
                  <a:pt x="935" y="255"/>
                  <a:pt x="935" y="255"/>
                  <a:pt x="935" y="255"/>
                </a:cubicBezTo>
                <a:cubicBezTo>
                  <a:pt x="934" y="254"/>
                  <a:pt x="934" y="254"/>
                  <a:pt x="934" y="254"/>
                </a:cubicBezTo>
                <a:cubicBezTo>
                  <a:pt x="933" y="254"/>
                  <a:pt x="933" y="254"/>
                  <a:pt x="933" y="254"/>
                </a:cubicBezTo>
                <a:cubicBezTo>
                  <a:pt x="934" y="253"/>
                  <a:pt x="934" y="253"/>
                  <a:pt x="934" y="253"/>
                </a:cubicBezTo>
                <a:cubicBezTo>
                  <a:pt x="932" y="252"/>
                  <a:pt x="932" y="252"/>
                  <a:pt x="932" y="252"/>
                </a:cubicBezTo>
                <a:cubicBezTo>
                  <a:pt x="932" y="252"/>
                  <a:pt x="932" y="252"/>
                  <a:pt x="932" y="252"/>
                </a:cubicBezTo>
                <a:cubicBezTo>
                  <a:pt x="932" y="251"/>
                  <a:pt x="932" y="251"/>
                  <a:pt x="932" y="251"/>
                </a:cubicBezTo>
                <a:cubicBezTo>
                  <a:pt x="931" y="250"/>
                  <a:pt x="931" y="250"/>
                  <a:pt x="931" y="250"/>
                </a:cubicBezTo>
                <a:cubicBezTo>
                  <a:pt x="928" y="249"/>
                  <a:pt x="928" y="249"/>
                  <a:pt x="928" y="249"/>
                </a:cubicBezTo>
                <a:cubicBezTo>
                  <a:pt x="928" y="249"/>
                  <a:pt x="928" y="249"/>
                  <a:pt x="928" y="249"/>
                </a:cubicBezTo>
                <a:cubicBezTo>
                  <a:pt x="927" y="247"/>
                  <a:pt x="927" y="247"/>
                  <a:pt x="927" y="247"/>
                </a:cubicBezTo>
                <a:cubicBezTo>
                  <a:pt x="927" y="246"/>
                  <a:pt x="927" y="246"/>
                  <a:pt x="927" y="246"/>
                </a:cubicBezTo>
                <a:cubicBezTo>
                  <a:pt x="927" y="245"/>
                  <a:pt x="927" y="245"/>
                  <a:pt x="927" y="245"/>
                </a:cubicBezTo>
                <a:cubicBezTo>
                  <a:pt x="924" y="242"/>
                  <a:pt x="924" y="242"/>
                  <a:pt x="924" y="242"/>
                </a:cubicBezTo>
                <a:cubicBezTo>
                  <a:pt x="924" y="240"/>
                  <a:pt x="924" y="240"/>
                  <a:pt x="924" y="240"/>
                </a:cubicBezTo>
                <a:cubicBezTo>
                  <a:pt x="924" y="238"/>
                  <a:pt x="924" y="238"/>
                  <a:pt x="924" y="238"/>
                </a:cubicBezTo>
                <a:cubicBezTo>
                  <a:pt x="925" y="239"/>
                  <a:pt x="925" y="239"/>
                  <a:pt x="925" y="239"/>
                </a:cubicBezTo>
                <a:cubicBezTo>
                  <a:pt x="926" y="238"/>
                  <a:pt x="926" y="238"/>
                  <a:pt x="926" y="238"/>
                </a:cubicBezTo>
                <a:cubicBezTo>
                  <a:pt x="928" y="238"/>
                  <a:pt x="928" y="238"/>
                  <a:pt x="928" y="238"/>
                </a:cubicBezTo>
                <a:cubicBezTo>
                  <a:pt x="928" y="240"/>
                  <a:pt x="928" y="240"/>
                  <a:pt x="928" y="240"/>
                </a:cubicBezTo>
                <a:cubicBezTo>
                  <a:pt x="930" y="242"/>
                  <a:pt x="930" y="242"/>
                  <a:pt x="930" y="242"/>
                </a:cubicBezTo>
                <a:cubicBezTo>
                  <a:pt x="932" y="244"/>
                  <a:pt x="932" y="244"/>
                  <a:pt x="932" y="244"/>
                </a:cubicBezTo>
                <a:cubicBezTo>
                  <a:pt x="933" y="244"/>
                  <a:pt x="933" y="244"/>
                  <a:pt x="933" y="244"/>
                </a:cubicBezTo>
                <a:cubicBezTo>
                  <a:pt x="933" y="246"/>
                  <a:pt x="933" y="246"/>
                  <a:pt x="933" y="246"/>
                </a:cubicBezTo>
                <a:cubicBezTo>
                  <a:pt x="934" y="247"/>
                  <a:pt x="934" y="247"/>
                  <a:pt x="934" y="247"/>
                </a:cubicBezTo>
                <a:cubicBezTo>
                  <a:pt x="934" y="245"/>
                  <a:pt x="934" y="245"/>
                  <a:pt x="934" y="245"/>
                </a:cubicBezTo>
                <a:cubicBezTo>
                  <a:pt x="933" y="243"/>
                  <a:pt x="933" y="243"/>
                  <a:pt x="933" y="243"/>
                </a:cubicBezTo>
                <a:cubicBezTo>
                  <a:pt x="933" y="242"/>
                  <a:pt x="933" y="242"/>
                  <a:pt x="933" y="242"/>
                </a:cubicBezTo>
                <a:cubicBezTo>
                  <a:pt x="934" y="241"/>
                  <a:pt x="934" y="241"/>
                  <a:pt x="934" y="241"/>
                </a:cubicBezTo>
                <a:cubicBezTo>
                  <a:pt x="935" y="243"/>
                  <a:pt x="935" y="243"/>
                  <a:pt x="935" y="243"/>
                </a:cubicBezTo>
                <a:cubicBezTo>
                  <a:pt x="935" y="244"/>
                  <a:pt x="935" y="244"/>
                  <a:pt x="935" y="244"/>
                </a:cubicBezTo>
                <a:cubicBezTo>
                  <a:pt x="936" y="245"/>
                  <a:pt x="936" y="245"/>
                  <a:pt x="936" y="245"/>
                </a:cubicBezTo>
                <a:cubicBezTo>
                  <a:pt x="937" y="248"/>
                  <a:pt x="937" y="248"/>
                  <a:pt x="937" y="248"/>
                </a:cubicBezTo>
                <a:cubicBezTo>
                  <a:pt x="938" y="248"/>
                  <a:pt x="938" y="248"/>
                  <a:pt x="938" y="248"/>
                </a:cubicBezTo>
                <a:cubicBezTo>
                  <a:pt x="938" y="249"/>
                  <a:pt x="938" y="249"/>
                  <a:pt x="938" y="249"/>
                </a:cubicBezTo>
                <a:cubicBezTo>
                  <a:pt x="939" y="250"/>
                  <a:pt x="939" y="250"/>
                  <a:pt x="939" y="250"/>
                </a:cubicBezTo>
                <a:cubicBezTo>
                  <a:pt x="941" y="254"/>
                  <a:pt x="941" y="254"/>
                  <a:pt x="941" y="254"/>
                </a:cubicBezTo>
                <a:cubicBezTo>
                  <a:pt x="942" y="252"/>
                  <a:pt x="942" y="252"/>
                  <a:pt x="942" y="252"/>
                </a:cubicBezTo>
                <a:cubicBezTo>
                  <a:pt x="941" y="251"/>
                  <a:pt x="941" y="251"/>
                  <a:pt x="941" y="251"/>
                </a:cubicBezTo>
                <a:cubicBezTo>
                  <a:pt x="941" y="248"/>
                  <a:pt x="941" y="248"/>
                  <a:pt x="941" y="248"/>
                </a:cubicBezTo>
                <a:cubicBezTo>
                  <a:pt x="942" y="246"/>
                  <a:pt x="942" y="246"/>
                  <a:pt x="942" y="246"/>
                </a:cubicBezTo>
                <a:cubicBezTo>
                  <a:pt x="942" y="247"/>
                  <a:pt x="942" y="247"/>
                  <a:pt x="942" y="247"/>
                </a:cubicBezTo>
                <a:cubicBezTo>
                  <a:pt x="943" y="250"/>
                  <a:pt x="943" y="250"/>
                  <a:pt x="943" y="250"/>
                </a:cubicBezTo>
                <a:cubicBezTo>
                  <a:pt x="943" y="252"/>
                  <a:pt x="943" y="252"/>
                  <a:pt x="943" y="252"/>
                </a:cubicBezTo>
                <a:cubicBezTo>
                  <a:pt x="943" y="253"/>
                  <a:pt x="943" y="253"/>
                  <a:pt x="943" y="253"/>
                </a:cubicBezTo>
                <a:cubicBezTo>
                  <a:pt x="944" y="254"/>
                  <a:pt x="944" y="254"/>
                  <a:pt x="944" y="254"/>
                </a:cubicBezTo>
                <a:cubicBezTo>
                  <a:pt x="945" y="255"/>
                  <a:pt x="945" y="255"/>
                  <a:pt x="945" y="255"/>
                </a:cubicBezTo>
                <a:cubicBezTo>
                  <a:pt x="946" y="253"/>
                  <a:pt x="946" y="253"/>
                  <a:pt x="946" y="253"/>
                </a:cubicBezTo>
                <a:cubicBezTo>
                  <a:pt x="945" y="252"/>
                  <a:pt x="945" y="252"/>
                  <a:pt x="945" y="252"/>
                </a:cubicBezTo>
                <a:cubicBezTo>
                  <a:pt x="945" y="252"/>
                  <a:pt x="945" y="252"/>
                  <a:pt x="945" y="252"/>
                </a:cubicBezTo>
                <a:cubicBezTo>
                  <a:pt x="946" y="252"/>
                  <a:pt x="946" y="252"/>
                  <a:pt x="946" y="252"/>
                </a:cubicBezTo>
                <a:cubicBezTo>
                  <a:pt x="947" y="254"/>
                  <a:pt x="947" y="254"/>
                  <a:pt x="947" y="254"/>
                </a:cubicBezTo>
                <a:cubicBezTo>
                  <a:pt x="947" y="255"/>
                  <a:pt x="947" y="255"/>
                  <a:pt x="947" y="255"/>
                </a:cubicBezTo>
                <a:cubicBezTo>
                  <a:pt x="947" y="256"/>
                  <a:pt x="947" y="256"/>
                  <a:pt x="947" y="256"/>
                </a:cubicBezTo>
                <a:cubicBezTo>
                  <a:pt x="947" y="254"/>
                  <a:pt x="947" y="254"/>
                  <a:pt x="947" y="254"/>
                </a:cubicBezTo>
                <a:cubicBezTo>
                  <a:pt x="948" y="254"/>
                  <a:pt x="948" y="254"/>
                  <a:pt x="948" y="254"/>
                </a:cubicBezTo>
                <a:cubicBezTo>
                  <a:pt x="948" y="256"/>
                  <a:pt x="948" y="256"/>
                  <a:pt x="948" y="256"/>
                </a:cubicBezTo>
                <a:cubicBezTo>
                  <a:pt x="949" y="258"/>
                  <a:pt x="949" y="258"/>
                  <a:pt x="949" y="258"/>
                </a:cubicBezTo>
                <a:cubicBezTo>
                  <a:pt x="951" y="257"/>
                  <a:pt x="951" y="257"/>
                  <a:pt x="951" y="257"/>
                </a:cubicBezTo>
                <a:cubicBezTo>
                  <a:pt x="952" y="256"/>
                  <a:pt x="952" y="256"/>
                  <a:pt x="952" y="256"/>
                </a:cubicBezTo>
                <a:cubicBezTo>
                  <a:pt x="952" y="258"/>
                  <a:pt x="952" y="258"/>
                  <a:pt x="952" y="258"/>
                </a:cubicBezTo>
                <a:cubicBezTo>
                  <a:pt x="951" y="259"/>
                  <a:pt x="951" y="259"/>
                  <a:pt x="951" y="259"/>
                </a:cubicBezTo>
                <a:cubicBezTo>
                  <a:pt x="952" y="262"/>
                  <a:pt x="952" y="262"/>
                  <a:pt x="952" y="262"/>
                </a:cubicBezTo>
                <a:cubicBezTo>
                  <a:pt x="953" y="264"/>
                  <a:pt x="953" y="264"/>
                  <a:pt x="953" y="264"/>
                </a:cubicBezTo>
                <a:cubicBezTo>
                  <a:pt x="955" y="264"/>
                  <a:pt x="955" y="264"/>
                  <a:pt x="955" y="264"/>
                </a:cubicBezTo>
                <a:cubicBezTo>
                  <a:pt x="955" y="263"/>
                  <a:pt x="955" y="263"/>
                  <a:pt x="955" y="263"/>
                </a:cubicBezTo>
                <a:cubicBezTo>
                  <a:pt x="954" y="262"/>
                  <a:pt x="954" y="262"/>
                  <a:pt x="954" y="262"/>
                </a:cubicBezTo>
                <a:cubicBezTo>
                  <a:pt x="954" y="260"/>
                  <a:pt x="954" y="260"/>
                  <a:pt x="954" y="260"/>
                </a:cubicBezTo>
                <a:cubicBezTo>
                  <a:pt x="953" y="256"/>
                  <a:pt x="953" y="256"/>
                  <a:pt x="953" y="256"/>
                </a:cubicBezTo>
                <a:cubicBezTo>
                  <a:pt x="955" y="256"/>
                  <a:pt x="955" y="256"/>
                  <a:pt x="955" y="256"/>
                </a:cubicBezTo>
                <a:cubicBezTo>
                  <a:pt x="955" y="257"/>
                  <a:pt x="955" y="257"/>
                  <a:pt x="955" y="257"/>
                </a:cubicBezTo>
                <a:cubicBezTo>
                  <a:pt x="957" y="258"/>
                  <a:pt x="957" y="258"/>
                  <a:pt x="957" y="258"/>
                </a:cubicBezTo>
                <a:cubicBezTo>
                  <a:pt x="958" y="257"/>
                  <a:pt x="958" y="257"/>
                  <a:pt x="958" y="257"/>
                </a:cubicBezTo>
                <a:cubicBezTo>
                  <a:pt x="957" y="255"/>
                  <a:pt x="957" y="255"/>
                  <a:pt x="957" y="255"/>
                </a:cubicBezTo>
                <a:cubicBezTo>
                  <a:pt x="957" y="253"/>
                  <a:pt x="957" y="253"/>
                  <a:pt x="957" y="253"/>
                </a:cubicBezTo>
                <a:cubicBezTo>
                  <a:pt x="958" y="250"/>
                  <a:pt x="958" y="250"/>
                  <a:pt x="958" y="250"/>
                </a:cubicBezTo>
                <a:cubicBezTo>
                  <a:pt x="956" y="247"/>
                  <a:pt x="956" y="247"/>
                  <a:pt x="956" y="247"/>
                </a:cubicBezTo>
                <a:cubicBezTo>
                  <a:pt x="957" y="244"/>
                  <a:pt x="957" y="244"/>
                  <a:pt x="957" y="244"/>
                </a:cubicBezTo>
                <a:cubicBezTo>
                  <a:pt x="957" y="242"/>
                  <a:pt x="957" y="242"/>
                  <a:pt x="957" y="242"/>
                </a:cubicBezTo>
                <a:cubicBezTo>
                  <a:pt x="958" y="244"/>
                  <a:pt x="958" y="244"/>
                  <a:pt x="958" y="244"/>
                </a:cubicBezTo>
                <a:cubicBezTo>
                  <a:pt x="957" y="246"/>
                  <a:pt x="957" y="246"/>
                  <a:pt x="957" y="246"/>
                </a:cubicBezTo>
                <a:cubicBezTo>
                  <a:pt x="958" y="249"/>
                  <a:pt x="958" y="249"/>
                  <a:pt x="958" y="249"/>
                </a:cubicBezTo>
                <a:cubicBezTo>
                  <a:pt x="960" y="252"/>
                  <a:pt x="960" y="252"/>
                  <a:pt x="960" y="252"/>
                </a:cubicBezTo>
                <a:cubicBezTo>
                  <a:pt x="961" y="251"/>
                  <a:pt x="961" y="251"/>
                  <a:pt x="961" y="251"/>
                </a:cubicBezTo>
                <a:cubicBezTo>
                  <a:pt x="961" y="249"/>
                  <a:pt x="961" y="249"/>
                  <a:pt x="961" y="249"/>
                </a:cubicBezTo>
                <a:cubicBezTo>
                  <a:pt x="962" y="247"/>
                  <a:pt x="962" y="247"/>
                  <a:pt x="962" y="247"/>
                </a:cubicBezTo>
                <a:cubicBezTo>
                  <a:pt x="962" y="244"/>
                  <a:pt x="962" y="244"/>
                  <a:pt x="962" y="244"/>
                </a:cubicBezTo>
                <a:cubicBezTo>
                  <a:pt x="963" y="243"/>
                  <a:pt x="963" y="243"/>
                  <a:pt x="963" y="243"/>
                </a:cubicBezTo>
                <a:cubicBezTo>
                  <a:pt x="962" y="243"/>
                  <a:pt x="962" y="243"/>
                  <a:pt x="962" y="243"/>
                </a:cubicBezTo>
                <a:cubicBezTo>
                  <a:pt x="960" y="239"/>
                  <a:pt x="960" y="239"/>
                  <a:pt x="960" y="239"/>
                </a:cubicBezTo>
                <a:cubicBezTo>
                  <a:pt x="960" y="237"/>
                  <a:pt x="960" y="237"/>
                  <a:pt x="960" y="237"/>
                </a:cubicBezTo>
                <a:cubicBezTo>
                  <a:pt x="959" y="237"/>
                  <a:pt x="959" y="237"/>
                  <a:pt x="959" y="237"/>
                </a:cubicBezTo>
                <a:cubicBezTo>
                  <a:pt x="959" y="235"/>
                  <a:pt x="959" y="235"/>
                  <a:pt x="959" y="235"/>
                </a:cubicBezTo>
                <a:cubicBezTo>
                  <a:pt x="958" y="233"/>
                  <a:pt x="958" y="233"/>
                  <a:pt x="958" y="233"/>
                </a:cubicBezTo>
                <a:cubicBezTo>
                  <a:pt x="957" y="232"/>
                  <a:pt x="957" y="232"/>
                  <a:pt x="957" y="232"/>
                </a:cubicBezTo>
                <a:cubicBezTo>
                  <a:pt x="959" y="231"/>
                  <a:pt x="959" y="231"/>
                  <a:pt x="959" y="231"/>
                </a:cubicBezTo>
                <a:cubicBezTo>
                  <a:pt x="960" y="231"/>
                  <a:pt x="960" y="231"/>
                  <a:pt x="960" y="231"/>
                </a:cubicBezTo>
                <a:cubicBezTo>
                  <a:pt x="961" y="229"/>
                  <a:pt x="961" y="229"/>
                  <a:pt x="961" y="229"/>
                </a:cubicBezTo>
                <a:cubicBezTo>
                  <a:pt x="960" y="229"/>
                  <a:pt x="960" y="229"/>
                  <a:pt x="960" y="229"/>
                </a:cubicBezTo>
                <a:cubicBezTo>
                  <a:pt x="959" y="229"/>
                  <a:pt x="959" y="229"/>
                  <a:pt x="959" y="229"/>
                </a:cubicBezTo>
                <a:cubicBezTo>
                  <a:pt x="957" y="229"/>
                  <a:pt x="957" y="229"/>
                  <a:pt x="957" y="229"/>
                </a:cubicBezTo>
                <a:cubicBezTo>
                  <a:pt x="956" y="229"/>
                  <a:pt x="956" y="229"/>
                  <a:pt x="956" y="229"/>
                </a:cubicBezTo>
                <a:cubicBezTo>
                  <a:pt x="956" y="228"/>
                  <a:pt x="956" y="228"/>
                  <a:pt x="956" y="228"/>
                </a:cubicBezTo>
                <a:cubicBezTo>
                  <a:pt x="956" y="227"/>
                  <a:pt x="956" y="227"/>
                  <a:pt x="956" y="227"/>
                </a:cubicBezTo>
                <a:cubicBezTo>
                  <a:pt x="958" y="226"/>
                  <a:pt x="958" y="226"/>
                  <a:pt x="958" y="226"/>
                </a:cubicBezTo>
                <a:cubicBezTo>
                  <a:pt x="958" y="224"/>
                  <a:pt x="958" y="224"/>
                  <a:pt x="958" y="224"/>
                </a:cubicBezTo>
                <a:cubicBezTo>
                  <a:pt x="957" y="222"/>
                  <a:pt x="957" y="222"/>
                  <a:pt x="957" y="222"/>
                </a:cubicBezTo>
                <a:cubicBezTo>
                  <a:pt x="956" y="222"/>
                  <a:pt x="956" y="222"/>
                  <a:pt x="956" y="222"/>
                </a:cubicBezTo>
                <a:cubicBezTo>
                  <a:pt x="956" y="223"/>
                  <a:pt x="956" y="223"/>
                  <a:pt x="956" y="223"/>
                </a:cubicBezTo>
                <a:cubicBezTo>
                  <a:pt x="955" y="225"/>
                  <a:pt x="955" y="225"/>
                  <a:pt x="955" y="225"/>
                </a:cubicBezTo>
                <a:cubicBezTo>
                  <a:pt x="955" y="223"/>
                  <a:pt x="955" y="223"/>
                  <a:pt x="955" y="223"/>
                </a:cubicBezTo>
                <a:cubicBezTo>
                  <a:pt x="955" y="224"/>
                  <a:pt x="955" y="224"/>
                  <a:pt x="955" y="224"/>
                </a:cubicBezTo>
                <a:cubicBezTo>
                  <a:pt x="952" y="224"/>
                  <a:pt x="952" y="224"/>
                  <a:pt x="952" y="224"/>
                </a:cubicBezTo>
                <a:cubicBezTo>
                  <a:pt x="952" y="223"/>
                  <a:pt x="952" y="223"/>
                  <a:pt x="952" y="223"/>
                </a:cubicBezTo>
                <a:cubicBezTo>
                  <a:pt x="953" y="222"/>
                  <a:pt x="953" y="222"/>
                  <a:pt x="953" y="222"/>
                </a:cubicBezTo>
                <a:cubicBezTo>
                  <a:pt x="954" y="222"/>
                  <a:pt x="954" y="222"/>
                  <a:pt x="954" y="222"/>
                </a:cubicBezTo>
                <a:cubicBezTo>
                  <a:pt x="953" y="221"/>
                  <a:pt x="953" y="221"/>
                  <a:pt x="953" y="221"/>
                </a:cubicBezTo>
                <a:cubicBezTo>
                  <a:pt x="953" y="219"/>
                  <a:pt x="953" y="219"/>
                  <a:pt x="953" y="219"/>
                </a:cubicBezTo>
                <a:cubicBezTo>
                  <a:pt x="951" y="218"/>
                  <a:pt x="951" y="218"/>
                  <a:pt x="951" y="218"/>
                </a:cubicBezTo>
                <a:cubicBezTo>
                  <a:pt x="951" y="218"/>
                  <a:pt x="951" y="218"/>
                  <a:pt x="951" y="218"/>
                </a:cubicBezTo>
                <a:cubicBezTo>
                  <a:pt x="950" y="220"/>
                  <a:pt x="950" y="220"/>
                  <a:pt x="950" y="220"/>
                </a:cubicBezTo>
                <a:cubicBezTo>
                  <a:pt x="950" y="221"/>
                  <a:pt x="950" y="221"/>
                  <a:pt x="950" y="221"/>
                </a:cubicBezTo>
                <a:cubicBezTo>
                  <a:pt x="949" y="221"/>
                  <a:pt x="949" y="221"/>
                  <a:pt x="949" y="221"/>
                </a:cubicBezTo>
                <a:cubicBezTo>
                  <a:pt x="949" y="219"/>
                  <a:pt x="949" y="219"/>
                  <a:pt x="949" y="219"/>
                </a:cubicBezTo>
                <a:cubicBezTo>
                  <a:pt x="949" y="217"/>
                  <a:pt x="949" y="217"/>
                  <a:pt x="949" y="217"/>
                </a:cubicBezTo>
                <a:cubicBezTo>
                  <a:pt x="948" y="217"/>
                  <a:pt x="948" y="217"/>
                  <a:pt x="948" y="217"/>
                </a:cubicBezTo>
                <a:cubicBezTo>
                  <a:pt x="948" y="215"/>
                  <a:pt x="948" y="215"/>
                  <a:pt x="948" y="215"/>
                </a:cubicBezTo>
                <a:cubicBezTo>
                  <a:pt x="948" y="215"/>
                  <a:pt x="948" y="215"/>
                  <a:pt x="948" y="215"/>
                </a:cubicBezTo>
                <a:cubicBezTo>
                  <a:pt x="947" y="215"/>
                  <a:pt x="947" y="215"/>
                  <a:pt x="947" y="215"/>
                </a:cubicBezTo>
                <a:cubicBezTo>
                  <a:pt x="948" y="215"/>
                  <a:pt x="948" y="215"/>
                  <a:pt x="948" y="215"/>
                </a:cubicBezTo>
                <a:cubicBezTo>
                  <a:pt x="947" y="213"/>
                  <a:pt x="947" y="213"/>
                  <a:pt x="947" y="213"/>
                </a:cubicBezTo>
                <a:cubicBezTo>
                  <a:pt x="946" y="213"/>
                  <a:pt x="946" y="213"/>
                  <a:pt x="946" y="213"/>
                </a:cubicBezTo>
                <a:cubicBezTo>
                  <a:pt x="947" y="212"/>
                  <a:pt x="947" y="212"/>
                  <a:pt x="947" y="212"/>
                </a:cubicBezTo>
                <a:cubicBezTo>
                  <a:pt x="949" y="212"/>
                  <a:pt x="949" y="212"/>
                  <a:pt x="949" y="212"/>
                </a:cubicBezTo>
                <a:cubicBezTo>
                  <a:pt x="950" y="211"/>
                  <a:pt x="950" y="211"/>
                  <a:pt x="950" y="211"/>
                </a:cubicBezTo>
                <a:cubicBezTo>
                  <a:pt x="948" y="210"/>
                  <a:pt x="948" y="210"/>
                  <a:pt x="948" y="210"/>
                </a:cubicBezTo>
                <a:cubicBezTo>
                  <a:pt x="947" y="210"/>
                  <a:pt x="947" y="210"/>
                  <a:pt x="947" y="210"/>
                </a:cubicBezTo>
                <a:cubicBezTo>
                  <a:pt x="946" y="209"/>
                  <a:pt x="946" y="209"/>
                  <a:pt x="946" y="209"/>
                </a:cubicBezTo>
                <a:cubicBezTo>
                  <a:pt x="947" y="208"/>
                  <a:pt x="947" y="208"/>
                  <a:pt x="947" y="208"/>
                </a:cubicBezTo>
                <a:cubicBezTo>
                  <a:pt x="949" y="207"/>
                  <a:pt x="949" y="207"/>
                  <a:pt x="949" y="207"/>
                </a:cubicBezTo>
                <a:cubicBezTo>
                  <a:pt x="949" y="207"/>
                  <a:pt x="949" y="207"/>
                  <a:pt x="949" y="207"/>
                </a:cubicBezTo>
                <a:cubicBezTo>
                  <a:pt x="948" y="206"/>
                  <a:pt x="948" y="206"/>
                  <a:pt x="948" y="206"/>
                </a:cubicBezTo>
                <a:cubicBezTo>
                  <a:pt x="945" y="206"/>
                  <a:pt x="945" y="206"/>
                  <a:pt x="945" y="206"/>
                </a:cubicBezTo>
                <a:cubicBezTo>
                  <a:pt x="945" y="207"/>
                  <a:pt x="945" y="207"/>
                  <a:pt x="945" y="207"/>
                </a:cubicBezTo>
                <a:cubicBezTo>
                  <a:pt x="944" y="208"/>
                  <a:pt x="944" y="208"/>
                  <a:pt x="944" y="208"/>
                </a:cubicBezTo>
                <a:cubicBezTo>
                  <a:pt x="940" y="209"/>
                  <a:pt x="940" y="209"/>
                  <a:pt x="940" y="209"/>
                </a:cubicBezTo>
                <a:cubicBezTo>
                  <a:pt x="942" y="207"/>
                  <a:pt x="942" y="207"/>
                  <a:pt x="942" y="207"/>
                </a:cubicBezTo>
                <a:cubicBezTo>
                  <a:pt x="944" y="205"/>
                  <a:pt x="944" y="205"/>
                  <a:pt x="944" y="205"/>
                </a:cubicBezTo>
                <a:cubicBezTo>
                  <a:pt x="945" y="203"/>
                  <a:pt x="945" y="203"/>
                  <a:pt x="945" y="203"/>
                </a:cubicBezTo>
                <a:cubicBezTo>
                  <a:pt x="945" y="202"/>
                  <a:pt x="945" y="202"/>
                  <a:pt x="945" y="202"/>
                </a:cubicBezTo>
                <a:cubicBezTo>
                  <a:pt x="944" y="202"/>
                  <a:pt x="944" y="202"/>
                  <a:pt x="944" y="202"/>
                </a:cubicBezTo>
                <a:cubicBezTo>
                  <a:pt x="943" y="202"/>
                  <a:pt x="943" y="202"/>
                  <a:pt x="943" y="202"/>
                </a:cubicBezTo>
                <a:cubicBezTo>
                  <a:pt x="944" y="201"/>
                  <a:pt x="944" y="201"/>
                  <a:pt x="944" y="201"/>
                </a:cubicBezTo>
                <a:cubicBezTo>
                  <a:pt x="943" y="200"/>
                  <a:pt x="943" y="200"/>
                  <a:pt x="943" y="200"/>
                </a:cubicBezTo>
                <a:cubicBezTo>
                  <a:pt x="942" y="200"/>
                  <a:pt x="942" y="200"/>
                  <a:pt x="942" y="200"/>
                </a:cubicBezTo>
                <a:cubicBezTo>
                  <a:pt x="942" y="199"/>
                  <a:pt x="942" y="199"/>
                  <a:pt x="942" y="199"/>
                </a:cubicBezTo>
                <a:cubicBezTo>
                  <a:pt x="943" y="198"/>
                  <a:pt x="943" y="198"/>
                  <a:pt x="943" y="198"/>
                </a:cubicBezTo>
                <a:cubicBezTo>
                  <a:pt x="943" y="196"/>
                  <a:pt x="943" y="196"/>
                  <a:pt x="943" y="196"/>
                </a:cubicBezTo>
                <a:cubicBezTo>
                  <a:pt x="941" y="195"/>
                  <a:pt x="941" y="195"/>
                  <a:pt x="941" y="195"/>
                </a:cubicBezTo>
                <a:cubicBezTo>
                  <a:pt x="939" y="194"/>
                  <a:pt x="939" y="194"/>
                  <a:pt x="939" y="194"/>
                </a:cubicBezTo>
                <a:cubicBezTo>
                  <a:pt x="937" y="194"/>
                  <a:pt x="937" y="194"/>
                  <a:pt x="937" y="194"/>
                </a:cubicBezTo>
                <a:cubicBezTo>
                  <a:pt x="936" y="193"/>
                  <a:pt x="936" y="193"/>
                  <a:pt x="936" y="193"/>
                </a:cubicBezTo>
                <a:cubicBezTo>
                  <a:pt x="938" y="193"/>
                  <a:pt x="938" y="193"/>
                  <a:pt x="938" y="193"/>
                </a:cubicBezTo>
                <a:cubicBezTo>
                  <a:pt x="940" y="193"/>
                  <a:pt x="940" y="193"/>
                  <a:pt x="940" y="193"/>
                </a:cubicBezTo>
                <a:cubicBezTo>
                  <a:pt x="941" y="192"/>
                  <a:pt x="941" y="192"/>
                  <a:pt x="941" y="192"/>
                </a:cubicBezTo>
                <a:cubicBezTo>
                  <a:pt x="942" y="194"/>
                  <a:pt x="942" y="194"/>
                  <a:pt x="942" y="194"/>
                </a:cubicBezTo>
                <a:cubicBezTo>
                  <a:pt x="942" y="195"/>
                  <a:pt x="942" y="195"/>
                  <a:pt x="942" y="195"/>
                </a:cubicBezTo>
                <a:cubicBezTo>
                  <a:pt x="944" y="195"/>
                  <a:pt x="944" y="195"/>
                  <a:pt x="944" y="195"/>
                </a:cubicBezTo>
                <a:cubicBezTo>
                  <a:pt x="945" y="196"/>
                  <a:pt x="945" y="196"/>
                  <a:pt x="945" y="196"/>
                </a:cubicBezTo>
                <a:cubicBezTo>
                  <a:pt x="946" y="197"/>
                  <a:pt x="946" y="197"/>
                  <a:pt x="946" y="197"/>
                </a:cubicBezTo>
                <a:cubicBezTo>
                  <a:pt x="945" y="198"/>
                  <a:pt x="945" y="198"/>
                  <a:pt x="945" y="198"/>
                </a:cubicBezTo>
                <a:cubicBezTo>
                  <a:pt x="945" y="199"/>
                  <a:pt x="945" y="199"/>
                  <a:pt x="945" y="199"/>
                </a:cubicBezTo>
                <a:cubicBezTo>
                  <a:pt x="947" y="201"/>
                  <a:pt x="947" y="201"/>
                  <a:pt x="947" y="201"/>
                </a:cubicBezTo>
                <a:cubicBezTo>
                  <a:pt x="948" y="201"/>
                  <a:pt x="948" y="201"/>
                  <a:pt x="948" y="201"/>
                </a:cubicBezTo>
                <a:cubicBezTo>
                  <a:pt x="948" y="200"/>
                  <a:pt x="948" y="200"/>
                  <a:pt x="948" y="200"/>
                </a:cubicBezTo>
                <a:cubicBezTo>
                  <a:pt x="949" y="201"/>
                  <a:pt x="949" y="201"/>
                  <a:pt x="949" y="201"/>
                </a:cubicBezTo>
                <a:cubicBezTo>
                  <a:pt x="951" y="201"/>
                  <a:pt x="951" y="201"/>
                  <a:pt x="951" y="201"/>
                </a:cubicBezTo>
                <a:cubicBezTo>
                  <a:pt x="952" y="201"/>
                  <a:pt x="952" y="201"/>
                  <a:pt x="952" y="201"/>
                </a:cubicBezTo>
                <a:cubicBezTo>
                  <a:pt x="952" y="200"/>
                  <a:pt x="952" y="200"/>
                  <a:pt x="952" y="200"/>
                </a:cubicBezTo>
                <a:cubicBezTo>
                  <a:pt x="952" y="199"/>
                  <a:pt x="952" y="199"/>
                  <a:pt x="952" y="199"/>
                </a:cubicBezTo>
                <a:cubicBezTo>
                  <a:pt x="952" y="198"/>
                  <a:pt x="952" y="198"/>
                  <a:pt x="952" y="198"/>
                </a:cubicBezTo>
                <a:cubicBezTo>
                  <a:pt x="951" y="197"/>
                  <a:pt x="951" y="197"/>
                  <a:pt x="951" y="197"/>
                </a:cubicBezTo>
                <a:cubicBezTo>
                  <a:pt x="950" y="195"/>
                  <a:pt x="950" y="195"/>
                  <a:pt x="950" y="195"/>
                </a:cubicBezTo>
                <a:cubicBezTo>
                  <a:pt x="949" y="195"/>
                  <a:pt x="949" y="195"/>
                  <a:pt x="949" y="195"/>
                </a:cubicBezTo>
                <a:cubicBezTo>
                  <a:pt x="949" y="193"/>
                  <a:pt x="949" y="193"/>
                  <a:pt x="949" y="193"/>
                </a:cubicBezTo>
                <a:cubicBezTo>
                  <a:pt x="949" y="192"/>
                  <a:pt x="949" y="192"/>
                  <a:pt x="949" y="192"/>
                </a:cubicBezTo>
                <a:cubicBezTo>
                  <a:pt x="948" y="191"/>
                  <a:pt x="948" y="191"/>
                  <a:pt x="948" y="191"/>
                </a:cubicBezTo>
                <a:cubicBezTo>
                  <a:pt x="949" y="190"/>
                  <a:pt x="949" y="190"/>
                  <a:pt x="949" y="190"/>
                </a:cubicBezTo>
                <a:cubicBezTo>
                  <a:pt x="949" y="191"/>
                  <a:pt x="949" y="191"/>
                  <a:pt x="949" y="191"/>
                </a:cubicBezTo>
                <a:cubicBezTo>
                  <a:pt x="950" y="193"/>
                  <a:pt x="950" y="193"/>
                  <a:pt x="950" y="193"/>
                </a:cubicBezTo>
                <a:cubicBezTo>
                  <a:pt x="951" y="194"/>
                  <a:pt x="951" y="194"/>
                  <a:pt x="951" y="194"/>
                </a:cubicBezTo>
                <a:cubicBezTo>
                  <a:pt x="952" y="194"/>
                  <a:pt x="952" y="194"/>
                  <a:pt x="952" y="194"/>
                </a:cubicBezTo>
                <a:cubicBezTo>
                  <a:pt x="952" y="193"/>
                  <a:pt x="952" y="193"/>
                  <a:pt x="952" y="193"/>
                </a:cubicBezTo>
                <a:cubicBezTo>
                  <a:pt x="952" y="193"/>
                  <a:pt x="952" y="193"/>
                  <a:pt x="952" y="193"/>
                </a:cubicBezTo>
                <a:cubicBezTo>
                  <a:pt x="954" y="193"/>
                  <a:pt x="954" y="193"/>
                  <a:pt x="954" y="193"/>
                </a:cubicBezTo>
                <a:cubicBezTo>
                  <a:pt x="953" y="191"/>
                  <a:pt x="953" y="191"/>
                  <a:pt x="953" y="191"/>
                </a:cubicBezTo>
                <a:cubicBezTo>
                  <a:pt x="952" y="189"/>
                  <a:pt x="952" y="189"/>
                  <a:pt x="952" y="189"/>
                </a:cubicBezTo>
                <a:cubicBezTo>
                  <a:pt x="950" y="188"/>
                  <a:pt x="950" y="188"/>
                  <a:pt x="950" y="188"/>
                </a:cubicBezTo>
                <a:cubicBezTo>
                  <a:pt x="952" y="188"/>
                  <a:pt x="952" y="188"/>
                  <a:pt x="952" y="188"/>
                </a:cubicBezTo>
                <a:cubicBezTo>
                  <a:pt x="953" y="189"/>
                  <a:pt x="953" y="189"/>
                  <a:pt x="953" y="189"/>
                </a:cubicBezTo>
                <a:cubicBezTo>
                  <a:pt x="954" y="190"/>
                  <a:pt x="954" y="190"/>
                  <a:pt x="954" y="190"/>
                </a:cubicBezTo>
                <a:cubicBezTo>
                  <a:pt x="956" y="189"/>
                  <a:pt x="956" y="189"/>
                  <a:pt x="956" y="189"/>
                </a:cubicBezTo>
                <a:cubicBezTo>
                  <a:pt x="955" y="188"/>
                  <a:pt x="955" y="188"/>
                  <a:pt x="955" y="188"/>
                </a:cubicBezTo>
                <a:cubicBezTo>
                  <a:pt x="955" y="187"/>
                  <a:pt x="955" y="187"/>
                  <a:pt x="955" y="187"/>
                </a:cubicBezTo>
                <a:cubicBezTo>
                  <a:pt x="956" y="187"/>
                  <a:pt x="956" y="187"/>
                  <a:pt x="956" y="187"/>
                </a:cubicBezTo>
                <a:cubicBezTo>
                  <a:pt x="956" y="188"/>
                  <a:pt x="956" y="188"/>
                  <a:pt x="956" y="188"/>
                </a:cubicBezTo>
                <a:cubicBezTo>
                  <a:pt x="958" y="189"/>
                  <a:pt x="958" y="189"/>
                  <a:pt x="958" y="189"/>
                </a:cubicBezTo>
                <a:cubicBezTo>
                  <a:pt x="957" y="190"/>
                  <a:pt x="957" y="190"/>
                  <a:pt x="957" y="190"/>
                </a:cubicBezTo>
                <a:cubicBezTo>
                  <a:pt x="957" y="190"/>
                  <a:pt x="957" y="190"/>
                  <a:pt x="957" y="190"/>
                </a:cubicBezTo>
                <a:cubicBezTo>
                  <a:pt x="957" y="192"/>
                  <a:pt x="957" y="192"/>
                  <a:pt x="957" y="192"/>
                </a:cubicBezTo>
                <a:cubicBezTo>
                  <a:pt x="957" y="193"/>
                  <a:pt x="957" y="193"/>
                  <a:pt x="957" y="193"/>
                </a:cubicBezTo>
                <a:cubicBezTo>
                  <a:pt x="958" y="193"/>
                  <a:pt x="958" y="193"/>
                  <a:pt x="958" y="193"/>
                </a:cubicBezTo>
                <a:cubicBezTo>
                  <a:pt x="958" y="193"/>
                  <a:pt x="958" y="193"/>
                  <a:pt x="958" y="193"/>
                </a:cubicBezTo>
                <a:cubicBezTo>
                  <a:pt x="958" y="194"/>
                  <a:pt x="958" y="194"/>
                  <a:pt x="958" y="194"/>
                </a:cubicBezTo>
                <a:cubicBezTo>
                  <a:pt x="957" y="194"/>
                  <a:pt x="957" y="194"/>
                  <a:pt x="957" y="194"/>
                </a:cubicBezTo>
                <a:cubicBezTo>
                  <a:pt x="957" y="195"/>
                  <a:pt x="957" y="195"/>
                  <a:pt x="957" y="195"/>
                </a:cubicBezTo>
                <a:cubicBezTo>
                  <a:pt x="958" y="196"/>
                  <a:pt x="958" y="196"/>
                  <a:pt x="958" y="196"/>
                </a:cubicBezTo>
                <a:cubicBezTo>
                  <a:pt x="959" y="195"/>
                  <a:pt x="959" y="195"/>
                  <a:pt x="959" y="195"/>
                </a:cubicBezTo>
                <a:cubicBezTo>
                  <a:pt x="960" y="196"/>
                  <a:pt x="960" y="196"/>
                  <a:pt x="960" y="196"/>
                </a:cubicBezTo>
                <a:cubicBezTo>
                  <a:pt x="959" y="197"/>
                  <a:pt x="959" y="197"/>
                  <a:pt x="959" y="197"/>
                </a:cubicBezTo>
                <a:cubicBezTo>
                  <a:pt x="960" y="198"/>
                  <a:pt x="960" y="198"/>
                  <a:pt x="960" y="198"/>
                </a:cubicBezTo>
                <a:cubicBezTo>
                  <a:pt x="961" y="198"/>
                  <a:pt x="961" y="198"/>
                  <a:pt x="961" y="198"/>
                </a:cubicBezTo>
                <a:cubicBezTo>
                  <a:pt x="962" y="198"/>
                  <a:pt x="962" y="198"/>
                  <a:pt x="962" y="198"/>
                </a:cubicBezTo>
                <a:cubicBezTo>
                  <a:pt x="966" y="196"/>
                  <a:pt x="966" y="196"/>
                  <a:pt x="966" y="196"/>
                </a:cubicBezTo>
                <a:cubicBezTo>
                  <a:pt x="967" y="193"/>
                  <a:pt x="967" y="193"/>
                  <a:pt x="967" y="193"/>
                </a:cubicBezTo>
                <a:cubicBezTo>
                  <a:pt x="967" y="195"/>
                  <a:pt x="967" y="195"/>
                  <a:pt x="967" y="195"/>
                </a:cubicBezTo>
                <a:cubicBezTo>
                  <a:pt x="967" y="196"/>
                  <a:pt x="967" y="196"/>
                  <a:pt x="967" y="196"/>
                </a:cubicBezTo>
                <a:cubicBezTo>
                  <a:pt x="966" y="197"/>
                  <a:pt x="966" y="197"/>
                  <a:pt x="966" y="197"/>
                </a:cubicBezTo>
                <a:cubicBezTo>
                  <a:pt x="964" y="198"/>
                  <a:pt x="964" y="198"/>
                  <a:pt x="964" y="198"/>
                </a:cubicBezTo>
                <a:cubicBezTo>
                  <a:pt x="961" y="201"/>
                  <a:pt x="961" y="201"/>
                  <a:pt x="961" y="201"/>
                </a:cubicBezTo>
                <a:cubicBezTo>
                  <a:pt x="961" y="201"/>
                  <a:pt x="961" y="201"/>
                  <a:pt x="961" y="201"/>
                </a:cubicBezTo>
                <a:cubicBezTo>
                  <a:pt x="962" y="202"/>
                  <a:pt x="962" y="202"/>
                  <a:pt x="962" y="202"/>
                </a:cubicBezTo>
                <a:cubicBezTo>
                  <a:pt x="964" y="202"/>
                  <a:pt x="964" y="202"/>
                  <a:pt x="964" y="202"/>
                </a:cubicBezTo>
                <a:cubicBezTo>
                  <a:pt x="967" y="200"/>
                  <a:pt x="967" y="200"/>
                  <a:pt x="967" y="200"/>
                </a:cubicBezTo>
                <a:cubicBezTo>
                  <a:pt x="968" y="200"/>
                  <a:pt x="968" y="200"/>
                  <a:pt x="968" y="200"/>
                </a:cubicBezTo>
                <a:cubicBezTo>
                  <a:pt x="971" y="199"/>
                  <a:pt x="971" y="199"/>
                  <a:pt x="971" y="199"/>
                </a:cubicBezTo>
                <a:cubicBezTo>
                  <a:pt x="971" y="197"/>
                  <a:pt x="971" y="197"/>
                  <a:pt x="971" y="197"/>
                </a:cubicBezTo>
                <a:cubicBezTo>
                  <a:pt x="972" y="197"/>
                  <a:pt x="972" y="197"/>
                  <a:pt x="972" y="197"/>
                </a:cubicBezTo>
                <a:cubicBezTo>
                  <a:pt x="974" y="195"/>
                  <a:pt x="974" y="195"/>
                  <a:pt x="974" y="195"/>
                </a:cubicBezTo>
                <a:cubicBezTo>
                  <a:pt x="975" y="195"/>
                  <a:pt x="975" y="195"/>
                  <a:pt x="975" y="195"/>
                </a:cubicBezTo>
                <a:cubicBezTo>
                  <a:pt x="975" y="196"/>
                  <a:pt x="975" y="196"/>
                  <a:pt x="975" y="196"/>
                </a:cubicBezTo>
                <a:cubicBezTo>
                  <a:pt x="974" y="196"/>
                  <a:pt x="974" y="196"/>
                  <a:pt x="974" y="196"/>
                </a:cubicBezTo>
                <a:cubicBezTo>
                  <a:pt x="973" y="198"/>
                  <a:pt x="973" y="198"/>
                  <a:pt x="973" y="198"/>
                </a:cubicBezTo>
                <a:cubicBezTo>
                  <a:pt x="972" y="199"/>
                  <a:pt x="972" y="199"/>
                  <a:pt x="972" y="199"/>
                </a:cubicBezTo>
                <a:cubicBezTo>
                  <a:pt x="971" y="200"/>
                  <a:pt x="971" y="200"/>
                  <a:pt x="971" y="200"/>
                </a:cubicBezTo>
                <a:cubicBezTo>
                  <a:pt x="969" y="202"/>
                  <a:pt x="969" y="202"/>
                  <a:pt x="969" y="202"/>
                </a:cubicBezTo>
                <a:cubicBezTo>
                  <a:pt x="967" y="202"/>
                  <a:pt x="967" y="202"/>
                  <a:pt x="967" y="202"/>
                </a:cubicBezTo>
                <a:cubicBezTo>
                  <a:pt x="966" y="202"/>
                  <a:pt x="966" y="202"/>
                  <a:pt x="966" y="202"/>
                </a:cubicBezTo>
                <a:cubicBezTo>
                  <a:pt x="965" y="204"/>
                  <a:pt x="965" y="204"/>
                  <a:pt x="965" y="204"/>
                </a:cubicBezTo>
                <a:cubicBezTo>
                  <a:pt x="965" y="205"/>
                  <a:pt x="965" y="205"/>
                  <a:pt x="965" y="205"/>
                </a:cubicBezTo>
                <a:cubicBezTo>
                  <a:pt x="965" y="206"/>
                  <a:pt x="965" y="206"/>
                  <a:pt x="965" y="206"/>
                </a:cubicBezTo>
                <a:cubicBezTo>
                  <a:pt x="966" y="205"/>
                  <a:pt x="966" y="205"/>
                  <a:pt x="966" y="205"/>
                </a:cubicBezTo>
                <a:cubicBezTo>
                  <a:pt x="968" y="205"/>
                  <a:pt x="968" y="205"/>
                  <a:pt x="968" y="205"/>
                </a:cubicBezTo>
                <a:cubicBezTo>
                  <a:pt x="969" y="206"/>
                  <a:pt x="969" y="206"/>
                  <a:pt x="969" y="206"/>
                </a:cubicBezTo>
                <a:cubicBezTo>
                  <a:pt x="968" y="206"/>
                  <a:pt x="968" y="206"/>
                  <a:pt x="968" y="206"/>
                </a:cubicBezTo>
                <a:cubicBezTo>
                  <a:pt x="966" y="207"/>
                  <a:pt x="966" y="207"/>
                  <a:pt x="966" y="207"/>
                </a:cubicBezTo>
                <a:cubicBezTo>
                  <a:pt x="965" y="207"/>
                  <a:pt x="965" y="207"/>
                  <a:pt x="965" y="207"/>
                </a:cubicBezTo>
                <a:cubicBezTo>
                  <a:pt x="965" y="208"/>
                  <a:pt x="965" y="208"/>
                  <a:pt x="965" y="208"/>
                </a:cubicBezTo>
                <a:cubicBezTo>
                  <a:pt x="966" y="208"/>
                  <a:pt x="966" y="208"/>
                  <a:pt x="966" y="208"/>
                </a:cubicBezTo>
                <a:cubicBezTo>
                  <a:pt x="967" y="208"/>
                  <a:pt x="967" y="208"/>
                  <a:pt x="967" y="208"/>
                </a:cubicBezTo>
                <a:cubicBezTo>
                  <a:pt x="968" y="208"/>
                  <a:pt x="968" y="208"/>
                  <a:pt x="968" y="208"/>
                </a:cubicBezTo>
                <a:cubicBezTo>
                  <a:pt x="967" y="209"/>
                  <a:pt x="967" y="209"/>
                  <a:pt x="967" y="209"/>
                </a:cubicBezTo>
                <a:cubicBezTo>
                  <a:pt x="965" y="210"/>
                  <a:pt x="965" y="210"/>
                  <a:pt x="965" y="210"/>
                </a:cubicBezTo>
                <a:cubicBezTo>
                  <a:pt x="965" y="210"/>
                  <a:pt x="965" y="210"/>
                  <a:pt x="965" y="210"/>
                </a:cubicBezTo>
                <a:cubicBezTo>
                  <a:pt x="965" y="211"/>
                  <a:pt x="965" y="211"/>
                  <a:pt x="965" y="211"/>
                </a:cubicBezTo>
                <a:cubicBezTo>
                  <a:pt x="967" y="211"/>
                  <a:pt x="967" y="211"/>
                  <a:pt x="967" y="211"/>
                </a:cubicBezTo>
                <a:cubicBezTo>
                  <a:pt x="968" y="211"/>
                  <a:pt x="968" y="211"/>
                  <a:pt x="968" y="211"/>
                </a:cubicBezTo>
                <a:cubicBezTo>
                  <a:pt x="969" y="211"/>
                  <a:pt x="969" y="211"/>
                  <a:pt x="969" y="211"/>
                </a:cubicBezTo>
                <a:cubicBezTo>
                  <a:pt x="970" y="212"/>
                  <a:pt x="970" y="212"/>
                  <a:pt x="970" y="212"/>
                </a:cubicBezTo>
                <a:cubicBezTo>
                  <a:pt x="969" y="212"/>
                  <a:pt x="969" y="212"/>
                  <a:pt x="969" y="212"/>
                </a:cubicBezTo>
                <a:cubicBezTo>
                  <a:pt x="969" y="213"/>
                  <a:pt x="969" y="213"/>
                  <a:pt x="969" y="213"/>
                </a:cubicBezTo>
                <a:cubicBezTo>
                  <a:pt x="967" y="213"/>
                  <a:pt x="967" y="213"/>
                  <a:pt x="967" y="213"/>
                </a:cubicBezTo>
                <a:cubicBezTo>
                  <a:pt x="966" y="214"/>
                  <a:pt x="966" y="214"/>
                  <a:pt x="966" y="214"/>
                </a:cubicBezTo>
                <a:cubicBezTo>
                  <a:pt x="967" y="215"/>
                  <a:pt x="967" y="215"/>
                  <a:pt x="967" y="215"/>
                </a:cubicBezTo>
                <a:cubicBezTo>
                  <a:pt x="967" y="217"/>
                  <a:pt x="967" y="217"/>
                  <a:pt x="967" y="217"/>
                </a:cubicBezTo>
                <a:cubicBezTo>
                  <a:pt x="967" y="218"/>
                  <a:pt x="967" y="218"/>
                  <a:pt x="967" y="218"/>
                </a:cubicBezTo>
                <a:cubicBezTo>
                  <a:pt x="968" y="218"/>
                  <a:pt x="968" y="218"/>
                  <a:pt x="968" y="218"/>
                </a:cubicBezTo>
                <a:cubicBezTo>
                  <a:pt x="969" y="217"/>
                  <a:pt x="969" y="217"/>
                  <a:pt x="969" y="217"/>
                </a:cubicBezTo>
                <a:cubicBezTo>
                  <a:pt x="970" y="215"/>
                  <a:pt x="970" y="215"/>
                  <a:pt x="970" y="215"/>
                </a:cubicBezTo>
                <a:cubicBezTo>
                  <a:pt x="971" y="214"/>
                  <a:pt x="971" y="214"/>
                  <a:pt x="971" y="214"/>
                </a:cubicBezTo>
                <a:cubicBezTo>
                  <a:pt x="971" y="214"/>
                  <a:pt x="971" y="214"/>
                  <a:pt x="971" y="214"/>
                </a:cubicBezTo>
                <a:cubicBezTo>
                  <a:pt x="971" y="215"/>
                  <a:pt x="971" y="215"/>
                  <a:pt x="971" y="215"/>
                </a:cubicBezTo>
                <a:cubicBezTo>
                  <a:pt x="971" y="216"/>
                  <a:pt x="971" y="216"/>
                  <a:pt x="971" y="216"/>
                </a:cubicBezTo>
                <a:cubicBezTo>
                  <a:pt x="970" y="216"/>
                  <a:pt x="970" y="216"/>
                  <a:pt x="970" y="216"/>
                </a:cubicBezTo>
                <a:cubicBezTo>
                  <a:pt x="970" y="217"/>
                  <a:pt x="970" y="217"/>
                  <a:pt x="970" y="217"/>
                </a:cubicBezTo>
                <a:cubicBezTo>
                  <a:pt x="971" y="218"/>
                  <a:pt x="971" y="218"/>
                  <a:pt x="971" y="218"/>
                </a:cubicBezTo>
                <a:cubicBezTo>
                  <a:pt x="970" y="219"/>
                  <a:pt x="970" y="219"/>
                  <a:pt x="970" y="219"/>
                </a:cubicBezTo>
                <a:cubicBezTo>
                  <a:pt x="971" y="220"/>
                  <a:pt x="971" y="220"/>
                  <a:pt x="971" y="220"/>
                </a:cubicBezTo>
                <a:cubicBezTo>
                  <a:pt x="972" y="220"/>
                  <a:pt x="972" y="220"/>
                  <a:pt x="972" y="220"/>
                </a:cubicBezTo>
                <a:cubicBezTo>
                  <a:pt x="972" y="219"/>
                  <a:pt x="972" y="219"/>
                  <a:pt x="972" y="219"/>
                </a:cubicBezTo>
                <a:cubicBezTo>
                  <a:pt x="973" y="218"/>
                  <a:pt x="973" y="218"/>
                  <a:pt x="973" y="218"/>
                </a:cubicBezTo>
                <a:cubicBezTo>
                  <a:pt x="974" y="218"/>
                  <a:pt x="974" y="218"/>
                  <a:pt x="974" y="218"/>
                </a:cubicBezTo>
                <a:cubicBezTo>
                  <a:pt x="974" y="219"/>
                  <a:pt x="974" y="219"/>
                  <a:pt x="974" y="219"/>
                </a:cubicBezTo>
                <a:cubicBezTo>
                  <a:pt x="973" y="220"/>
                  <a:pt x="973" y="220"/>
                  <a:pt x="973" y="220"/>
                </a:cubicBezTo>
                <a:cubicBezTo>
                  <a:pt x="974" y="221"/>
                  <a:pt x="974" y="221"/>
                  <a:pt x="974" y="221"/>
                </a:cubicBezTo>
                <a:cubicBezTo>
                  <a:pt x="975" y="221"/>
                  <a:pt x="975" y="221"/>
                  <a:pt x="975" y="221"/>
                </a:cubicBezTo>
                <a:cubicBezTo>
                  <a:pt x="975" y="222"/>
                  <a:pt x="975" y="222"/>
                  <a:pt x="975" y="222"/>
                </a:cubicBezTo>
                <a:cubicBezTo>
                  <a:pt x="975" y="222"/>
                  <a:pt x="975" y="222"/>
                  <a:pt x="975" y="222"/>
                </a:cubicBezTo>
                <a:cubicBezTo>
                  <a:pt x="975" y="223"/>
                  <a:pt x="975" y="223"/>
                  <a:pt x="975" y="223"/>
                </a:cubicBezTo>
                <a:cubicBezTo>
                  <a:pt x="976" y="224"/>
                  <a:pt x="976" y="224"/>
                  <a:pt x="976" y="224"/>
                </a:cubicBezTo>
                <a:cubicBezTo>
                  <a:pt x="976" y="223"/>
                  <a:pt x="976" y="223"/>
                  <a:pt x="976" y="223"/>
                </a:cubicBezTo>
                <a:cubicBezTo>
                  <a:pt x="978" y="222"/>
                  <a:pt x="978" y="222"/>
                  <a:pt x="978" y="222"/>
                </a:cubicBezTo>
                <a:cubicBezTo>
                  <a:pt x="979" y="221"/>
                  <a:pt x="979" y="221"/>
                  <a:pt x="979" y="221"/>
                </a:cubicBezTo>
                <a:cubicBezTo>
                  <a:pt x="978" y="220"/>
                  <a:pt x="978" y="220"/>
                  <a:pt x="978" y="220"/>
                </a:cubicBezTo>
                <a:cubicBezTo>
                  <a:pt x="977" y="218"/>
                  <a:pt x="977" y="218"/>
                  <a:pt x="977" y="218"/>
                </a:cubicBezTo>
                <a:cubicBezTo>
                  <a:pt x="978" y="218"/>
                  <a:pt x="978" y="218"/>
                  <a:pt x="978" y="218"/>
                </a:cubicBezTo>
                <a:cubicBezTo>
                  <a:pt x="978" y="219"/>
                  <a:pt x="978" y="219"/>
                  <a:pt x="978" y="219"/>
                </a:cubicBezTo>
                <a:cubicBezTo>
                  <a:pt x="979" y="219"/>
                  <a:pt x="979" y="219"/>
                  <a:pt x="979" y="219"/>
                </a:cubicBezTo>
                <a:cubicBezTo>
                  <a:pt x="979" y="218"/>
                  <a:pt x="979" y="218"/>
                  <a:pt x="979" y="218"/>
                </a:cubicBezTo>
                <a:cubicBezTo>
                  <a:pt x="978" y="216"/>
                  <a:pt x="978" y="216"/>
                  <a:pt x="978" y="216"/>
                </a:cubicBezTo>
                <a:cubicBezTo>
                  <a:pt x="979" y="215"/>
                  <a:pt x="979" y="215"/>
                  <a:pt x="979" y="215"/>
                </a:cubicBezTo>
                <a:cubicBezTo>
                  <a:pt x="979" y="215"/>
                  <a:pt x="979" y="215"/>
                  <a:pt x="979" y="215"/>
                </a:cubicBezTo>
                <a:cubicBezTo>
                  <a:pt x="980" y="214"/>
                  <a:pt x="980" y="214"/>
                  <a:pt x="980" y="214"/>
                </a:cubicBezTo>
                <a:cubicBezTo>
                  <a:pt x="979" y="213"/>
                  <a:pt x="979" y="213"/>
                  <a:pt x="979" y="213"/>
                </a:cubicBezTo>
                <a:cubicBezTo>
                  <a:pt x="979" y="213"/>
                  <a:pt x="979" y="213"/>
                  <a:pt x="979" y="213"/>
                </a:cubicBezTo>
                <a:cubicBezTo>
                  <a:pt x="977" y="212"/>
                  <a:pt x="977" y="212"/>
                  <a:pt x="977" y="212"/>
                </a:cubicBezTo>
                <a:cubicBezTo>
                  <a:pt x="978" y="211"/>
                  <a:pt x="978" y="211"/>
                  <a:pt x="978" y="211"/>
                </a:cubicBezTo>
                <a:cubicBezTo>
                  <a:pt x="978" y="212"/>
                  <a:pt x="978" y="212"/>
                  <a:pt x="978" y="212"/>
                </a:cubicBezTo>
                <a:cubicBezTo>
                  <a:pt x="979" y="212"/>
                  <a:pt x="979" y="212"/>
                  <a:pt x="979" y="212"/>
                </a:cubicBezTo>
                <a:cubicBezTo>
                  <a:pt x="980" y="211"/>
                  <a:pt x="980" y="211"/>
                  <a:pt x="980" y="211"/>
                </a:cubicBezTo>
                <a:cubicBezTo>
                  <a:pt x="980" y="210"/>
                  <a:pt x="980" y="210"/>
                  <a:pt x="980" y="210"/>
                </a:cubicBezTo>
                <a:cubicBezTo>
                  <a:pt x="979" y="210"/>
                  <a:pt x="979" y="210"/>
                  <a:pt x="979" y="210"/>
                </a:cubicBezTo>
                <a:cubicBezTo>
                  <a:pt x="978" y="209"/>
                  <a:pt x="978" y="209"/>
                  <a:pt x="978" y="209"/>
                </a:cubicBezTo>
                <a:cubicBezTo>
                  <a:pt x="980" y="209"/>
                  <a:pt x="980" y="209"/>
                  <a:pt x="980" y="209"/>
                </a:cubicBezTo>
                <a:cubicBezTo>
                  <a:pt x="980" y="209"/>
                  <a:pt x="980" y="209"/>
                  <a:pt x="980" y="209"/>
                </a:cubicBezTo>
                <a:cubicBezTo>
                  <a:pt x="980" y="206"/>
                  <a:pt x="980" y="206"/>
                  <a:pt x="980" y="206"/>
                </a:cubicBezTo>
                <a:cubicBezTo>
                  <a:pt x="981" y="205"/>
                  <a:pt x="981" y="205"/>
                  <a:pt x="981" y="205"/>
                </a:cubicBezTo>
                <a:cubicBezTo>
                  <a:pt x="981" y="206"/>
                  <a:pt x="981" y="206"/>
                  <a:pt x="981" y="206"/>
                </a:cubicBezTo>
                <a:cubicBezTo>
                  <a:pt x="981" y="207"/>
                  <a:pt x="981" y="207"/>
                  <a:pt x="981" y="207"/>
                </a:cubicBezTo>
                <a:cubicBezTo>
                  <a:pt x="982" y="209"/>
                  <a:pt x="982" y="209"/>
                  <a:pt x="982" y="209"/>
                </a:cubicBezTo>
                <a:cubicBezTo>
                  <a:pt x="982" y="210"/>
                  <a:pt x="982" y="210"/>
                  <a:pt x="982" y="210"/>
                </a:cubicBezTo>
                <a:cubicBezTo>
                  <a:pt x="983" y="210"/>
                  <a:pt x="983" y="210"/>
                  <a:pt x="983" y="210"/>
                </a:cubicBezTo>
                <a:cubicBezTo>
                  <a:pt x="984" y="210"/>
                  <a:pt x="984" y="210"/>
                  <a:pt x="984" y="210"/>
                </a:cubicBezTo>
                <a:cubicBezTo>
                  <a:pt x="984" y="209"/>
                  <a:pt x="984" y="209"/>
                  <a:pt x="984" y="209"/>
                </a:cubicBezTo>
                <a:cubicBezTo>
                  <a:pt x="985" y="209"/>
                  <a:pt x="985" y="209"/>
                  <a:pt x="985" y="209"/>
                </a:cubicBezTo>
                <a:cubicBezTo>
                  <a:pt x="985" y="210"/>
                  <a:pt x="985" y="210"/>
                  <a:pt x="985" y="210"/>
                </a:cubicBezTo>
                <a:cubicBezTo>
                  <a:pt x="985" y="211"/>
                  <a:pt x="985" y="211"/>
                  <a:pt x="985" y="211"/>
                </a:cubicBezTo>
                <a:cubicBezTo>
                  <a:pt x="986" y="211"/>
                  <a:pt x="986" y="211"/>
                  <a:pt x="986" y="211"/>
                </a:cubicBezTo>
                <a:cubicBezTo>
                  <a:pt x="987" y="211"/>
                  <a:pt x="987" y="211"/>
                  <a:pt x="987" y="211"/>
                </a:cubicBezTo>
                <a:cubicBezTo>
                  <a:pt x="987" y="208"/>
                  <a:pt x="987" y="208"/>
                  <a:pt x="987" y="208"/>
                </a:cubicBezTo>
                <a:cubicBezTo>
                  <a:pt x="987" y="206"/>
                  <a:pt x="987" y="206"/>
                  <a:pt x="987" y="206"/>
                </a:cubicBezTo>
                <a:cubicBezTo>
                  <a:pt x="986" y="206"/>
                  <a:pt x="986" y="206"/>
                  <a:pt x="986" y="206"/>
                </a:cubicBezTo>
                <a:cubicBezTo>
                  <a:pt x="986" y="205"/>
                  <a:pt x="986" y="205"/>
                  <a:pt x="986" y="205"/>
                </a:cubicBezTo>
                <a:cubicBezTo>
                  <a:pt x="987" y="206"/>
                  <a:pt x="987" y="206"/>
                  <a:pt x="987" y="206"/>
                </a:cubicBezTo>
                <a:cubicBezTo>
                  <a:pt x="989" y="207"/>
                  <a:pt x="989" y="207"/>
                  <a:pt x="989" y="207"/>
                </a:cubicBezTo>
                <a:cubicBezTo>
                  <a:pt x="989" y="208"/>
                  <a:pt x="989" y="208"/>
                  <a:pt x="989" y="208"/>
                </a:cubicBezTo>
                <a:cubicBezTo>
                  <a:pt x="990" y="208"/>
                  <a:pt x="990" y="208"/>
                  <a:pt x="990" y="208"/>
                </a:cubicBezTo>
                <a:cubicBezTo>
                  <a:pt x="991" y="207"/>
                  <a:pt x="991" y="207"/>
                  <a:pt x="991" y="207"/>
                </a:cubicBezTo>
                <a:cubicBezTo>
                  <a:pt x="991" y="205"/>
                  <a:pt x="991" y="205"/>
                  <a:pt x="991" y="205"/>
                </a:cubicBezTo>
                <a:cubicBezTo>
                  <a:pt x="990" y="203"/>
                  <a:pt x="990" y="203"/>
                  <a:pt x="990" y="203"/>
                </a:cubicBezTo>
                <a:cubicBezTo>
                  <a:pt x="988" y="202"/>
                  <a:pt x="988" y="202"/>
                  <a:pt x="988" y="202"/>
                </a:cubicBezTo>
                <a:cubicBezTo>
                  <a:pt x="988" y="201"/>
                  <a:pt x="988" y="201"/>
                  <a:pt x="988" y="201"/>
                </a:cubicBezTo>
                <a:cubicBezTo>
                  <a:pt x="988" y="201"/>
                  <a:pt x="988" y="201"/>
                  <a:pt x="988" y="201"/>
                </a:cubicBezTo>
                <a:cubicBezTo>
                  <a:pt x="989" y="202"/>
                  <a:pt x="989" y="202"/>
                  <a:pt x="989" y="202"/>
                </a:cubicBezTo>
                <a:cubicBezTo>
                  <a:pt x="991" y="203"/>
                  <a:pt x="991" y="203"/>
                  <a:pt x="991" y="203"/>
                </a:cubicBezTo>
                <a:cubicBezTo>
                  <a:pt x="991" y="204"/>
                  <a:pt x="991" y="204"/>
                  <a:pt x="991" y="204"/>
                </a:cubicBezTo>
                <a:cubicBezTo>
                  <a:pt x="994" y="204"/>
                  <a:pt x="994" y="204"/>
                  <a:pt x="994" y="204"/>
                </a:cubicBezTo>
                <a:cubicBezTo>
                  <a:pt x="995" y="203"/>
                  <a:pt x="995" y="203"/>
                  <a:pt x="995" y="203"/>
                </a:cubicBezTo>
                <a:cubicBezTo>
                  <a:pt x="995" y="202"/>
                  <a:pt x="995" y="202"/>
                  <a:pt x="995" y="202"/>
                </a:cubicBezTo>
                <a:cubicBezTo>
                  <a:pt x="993" y="202"/>
                  <a:pt x="993" y="202"/>
                  <a:pt x="993" y="202"/>
                </a:cubicBezTo>
                <a:cubicBezTo>
                  <a:pt x="992" y="201"/>
                  <a:pt x="992" y="201"/>
                  <a:pt x="992" y="201"/>
                </a:cubicBezTo>
                <a:cubicBezTo>
                  <a:pt x="990" y="201"/>
                  <a:pt x="990" y="201"/>
                  <a:pt x="990" y="201"/>
                </a:cubicBezTo>
                <a:cubicBezTo>
                  <a:pt x="989" y="200"/>
                  <a:pt x="989" y="200"/>
                  <a:pt x="989" y="200"/>
                </a:cubicBezTo>
                <a:cubicBezTo>
                  <a:pt x="990" y="198"/>
                  <a:pt x="990" y="198"/>
                  <a:pt x="990" y="198"/>
                </a:cubicBezTo>
                <a:cubicBezTo>
                  <a:pt x="990" y="199"/>
                  <a:pt x="990" y="199"/>
                  <a:pt x="990" y="199"/>
                </a:cubicBezTo>
                <a:cubicBezTo>
                  <a:pt x="991" y="200"/>
                  <a:pt x="991" y="200"/>
                  <a:pt x="991" y="200"/>
                </a:cubicBezTo>
                <a:cubicBezTo>
                  <a:pt x="993" y="200"/>
                  <a:pt x="993" y="200"/>
                  <a:pt x="993" y="200"/>
                </a:cubicBezTo>
                <a:cubicBezTo>
                  <a:pt x="993" y="199"/>
                  <a:pt x="993" y="199"/>
                  <a:pt x="993" y="199"/>
                </a:cubicBezTo>
                <a:cubicBezTo>
                  <a:pt x="993" y="197"/>
                  <a:pt x="993" y="197"/>
                  <a:pt x="993" y="197"/>
                </a:cubicBezTo>
                <a:cubicBezTo>
                  <a:pt x="992" y="197"/>
                  <a:pt x="992" y="197"/>
                  <a:pt x="992" y="197"/>
                </a:cubicBezTo>
                <a:cubicBezTo>
                  <a:pt x="992" y="195"/>
                  <a:pt x="992" y="195"/>
                  <a:pt x="992" y="195"/>
                </a:cubicBezTo>
                <a:cubicBezTo>
                  <a:pt x="992" y="195"/>
                  <a:pt x="992" y="195"/>
                  <a:pt x="992" y="195"/>
                </a:cubicBezTo>
                <a:cubicBezTo>
                  <a:pt x="993" y="196"/>
                  <a:pt x="993" y="196"/>
                  <a:pt x="993" y="196"/>
                </a:cubicBezTo>
                <a:cubicBezTo>
                  <a:pt x="994" y="197"/>
                  <a:pt x="994" y="197"/>
                  <a:pt x="994" y="197"/>
                </a:cubicBezTo>
                <a:cubicBezTo>
                  <a:pt x="994" y="198"/>
                  <a:pt x="994" y="198"/>
                  <a:pt x="994" y="198"/>
                </a:cubicBezTo>
                <a:cubicBezTo>
                  <a:pt x="994" y="199"/>
                  <a:pt x="994" y="199"/>
                  <a:pt x="994" y="199"/>
                </a:cubicBezTo>
                <a:cubicBezTo>
                  <a:pt x="996" y="199"/>
                  <a:pt x="996" y="199"/>
                  <a:pt x="996" y="199"/>
                </a:cubicBezTo>
                <a:cubicBezTo>
                  <a:pt x="998" y="200"/>
                  <a:pt x="998" y="200"/>
                  <a:pt x="998" y="200"/>
                </a:cubicBezTo>
                <a:cubicBezTo>
                  <a:pt x="999" y="199"/>
                  <a:pt x="999" y="199"/>
                  <a:pt x="999" y="199"/>
                </a:cubicBezTo>
                <a:cubicBezTo>
                  <a:pt x="1000" y="199"/>
                  <a:pt x="1000" y="199"/>
                  <a:pt x="1000" y="199"/>
                </a:cubicBezTo>
                <a:cubicBezTo>
                  <a:pt x="1001" y="198"/>
                  <a:pt x="1001" y="198"/>
                  <a:pt x="1001" y="198"/>
                </a:cubicBezTo>
                <a:cubicBezTo>
                  <a:pt x="1001" y="197"/>
                  <a:pt x="1001" y="197"/>
                  <a:pt x="1001" y="197"/>
                </a:cubicBezTo>
                <a:cubicBezTo>
                  <a:pt x="1000" y="197"/>
                  <a:pt x="1000" y="197"/>
                  <a:pt x="1000" y="197"/>
                </a:cubicBezTo>
                <a:cubicBezTo>
                  <a:pt x="998" y="197"/>
                  <a:pt x="998" y="197"/>
                  <a:pt x="998" y="197"/>
                </a:cubicBezTo>
                <a:cubicBezTo>
                  <a:pt x="997" y="197"/>
                  <a:pt x="997" y="197"/>
                  <a:pt x="997" y="197"/>
                </a:cubicBezTo>
                <a:cubicBezTo>
                  <a:pt x="998" y="196"/>
                  <a:pt x="998" y="196"/>
                  <a:pt x="998" y="196"/>
                </a:cubicBezTo>
                <a:cubicBezTo>
                  <a:pt x="1000" y="196"/>
                  <a:pt x="1000" y="196"/>
                  <a:pt x="1000" y="196"/>
                </a:cubicBezTo>
                <a:cubicBezTo>
                  <a:pt x="1001" y="196"/>
                  <a:pt x="1001" y="196"/>
                  <a:pt x="1001" y="196"/>
                </a:cubicBezTo>
                <a:cubicBezTo>
                  <a:pt x="1000" y="195"/>
                  <a:pt x="1000" y="195"/>
                  <a:pt x="1000" y="195"/>
                </a:cubicBezTo>
                <a:cubicBezTo>
                  <a:pt x="999" y="194"/>
                  <a:pt x="999" y="194"/>
                  <a:pt x="999" y="194"/>
                </a:cubicBezTo>
                <a:cubicBezTo>
                  <a:pt x="1000" y="194"/>
                  <a:pt x="1000" y="194"/>
                  <a:pt x="1000" y="194"/>
                </a:cubicBezTo>
                <a:cubicBezTo>
                  <a:pt x="999" y="193"/>
                  <a:pt x="999" y="193"/>
                  <a:pt x="999" y="193"/>
                </a:cubicBezTo>
                <a:cubicBezTo>
                  <a:pt x="998" y="193"/>
                  <a:pt x="998" y="193"/>
                  <a:pt x="998" y="193"/>
                </a:cubicBezTo>
                <a:cubicBezTo>
                  <a:pt x="997" y="194"/>
                  <a:pt x="997" y="194"/>
                  <a:pt x="997" y="194"/>
                </a:cubicBezTo>
                <a:cubicBezTo>
                  <a:pt x="998" y="192"/>
                  <a:pt x="998" y="192"/>
                  <a:pt x="998" y="192"/>
                </a:cubicBezTo>
                <a:cubicBezTo>
                  <a:pt x="999" y="191"/>
                  <a:pt x="999" y="191"/>
                  <a:pt x="999" y="191"/>
                </a:cubicBezTo>
                <a:cubicBezTo>
                  <a:pt x="1000" y="192"/>
                  <a:pt x="1000" y="192"/>
                  <a:pt x="1000" y="192"/>
                </a:cubicBezTo>
                <a:cubicBezTo>
                  <a:pt x="1001" y="192"/>
                  <a:pt x="1001" y="192"/>
                  <a:pt x="1001" y="192"/>
                </a:cubicBezTo>
                <a:cubicBezTo>
                  <a:pt x="1002" y="194"/>
                  <a:pt x="1002" y="194"/>
                  <a:pt x="1002" y="194"/>
                </a:cubicBezTo>
                <a:cubicBezTo>
                  <a:pt x="1001" y="195"/>
                  <a:pt x="1001" y="195"/>
                  <a:pt x="1001" y="195"/>
                </a:cubicBezTo>
                <a:cubicBezTo>
                  <a:pt x="1003" y="195"/>
                  <a:pt x="1003" y="195"/>
                  <a:pt x="1003" y="195"/>
                </a:cubicBezTo>
                <a:cubicBezTo>
                  <a:pt x="1004" y="194"/>
                  <a:pt x="1004" y="194"/>
                  <a:pt x="1004" y="194"/>
                </a:cubicBezTo>
                <a:cubicBezTo>
                  <a:pt x="1005" y="194"/>
                  <a:pt x="1005" y="194"/>
                  <a:pt x="1005" y="194"/>
                </a:cubicBezTo>
                <a:cubicBezTo>
                  <a:pt x="1005" y="193"/>
                  <a:pt x="1005" y="193"/>
                  <a:pt x="1005" y="193"/>
                </a:cubicBezTo>
                <a:cubicBezTo>
                  <a:pt x="1003" y="192"/>
                  <a:pt x="1003" y="192"/>
                  <a:pt x="1003" y="192"/>
                </a:cubicBezTo>
                <a:cubicBezTo>
                  <a:pt x="1003" y="190"/>
                  <a:pt x="1003" y="190"/>
                  <a:pt x="1003" y="190"/>
                </a:cubicBezTo>
                <a:cubicBezTo>
                  <a:pt x="1003" y="189"/>
                  <a:pt x="1003" y="189"/>
                  <a:pt x="1003" y="189"/>
                </a:cubicBezTo>
                <a:cubicBezTo>
                  <a:pt x="1001" y="190"/>
                  <a:pt x="1001" y="190"/>
                  <a:pt x="1001" y="190"/>
                </a:cubicBezTo>
                <a:cubicBezTo>
                  <a:pt x="1002" y="187"/>
                  <a:pt x="1002" y="187"/>
                  <a:pt x="1002" y="187"/>
                </a:cubicBezTo>
                <a:cubicBezTo>
                  <a:pt x="1001" y="186"/>
                  <a:pt x="1001" y="186"/>
                  <a:pt x="1001" y="186"/>
                </a:cubicBezTo>
                <a:cubicBezTo>
                  <a:pt x="999" y="186"/>
                  <a:pt x="999" y="186"/>
                  <a:pt x="999" y="186"/>
                </a:cubicBezTo>
                <a:cubicBezTo>
                  <a:pt x="998" y="186"/>
                  <a:pt x="998" y="186"/>
                  <a:pt x="998" y="186"/>
                </a:cubicBezTo>
                <a:cubicBezTo>
                  <a:pt x="999" y="185"/>
                  <a:pt x="999" y="185"/>
                  <a:pt x="999" y="185"/>
                </a:cubicBezTo>
                <a:cubicBezTo>
                  <a:pt x="999" y="184"/>
                  <a:pt x="999" y="184"/>
                  <a:pt x="999" y="184"/>
                </a:cubicBezTo>
                <a:cubicBezTo>
                  <a:pt x="996" y="186"/>
                  <a:pt x="996" y="186"/>
                  <a:pt x="996" y="186"/>
                </a:cubicBezTo>
                <a:cubicBezTo>
                  <a:pt x="996" y="187"/>
                  <a:pt x="996" y="187"/>
                  <a:pt x="996" y="187"/>
                </a:cubicBezTo>
                <a:cubicBezTo>
                  <a:pt x="996" y="189"/>
                  <a:pt x="996" y="189"/>
                  <a:pt x="996" y="189"/>
                </a:cubicBezTo>
                <a:cubicBezTo>
                  <a:pt x="995" y="189"/>
                  <a:pt x="995" y="189"/>
                  <a:pt x="995" y="189"/>
                </a:cubicBezTo>
                <a:cubicBezTo>
                  <a:pt x="994" y="188"/>
                  <a:pt x="994" y="188"/>
                  <a:pt x="994" y="188"/>
                </a:cubicBezTo>
                <a:cubicBezTo>
                  <a:pt x="994" y="185"/>
                  <a:pt x="994" y="185"/>
                  <a:pt x="994" y="185"/>
                </a:cubicBezTo>
                <a:cubicBezTo>
                  <a:pt x="993" y="185"/>
                  <a:pt x="993" y="185"/>
                  <a:pt x="993" y="185"/>
                </a:cubicBezTo>
                <a:cubicBezTo>
                  <a:pt x="993" y="185"/>
                  <a:pt x="993" y="185"/>
                  <a:pt x="993" y="185"/>
                </a:cubicBezTo>
                <a:cubicBezTo>
                  <a:pt x="993" y="187"/>
                  <a:pt x="993" y="187"/>
                  <a:pt x="993" y="187"/>
                </a:cubicBezTo>
                <a:cubicBezTo>
                  <a:pt x="991" y="189"/>
                  <a:pt x="991" y="189"/>
                  <a:pt x="991" y="189"/>
                </a:cubicBezTo>
                <a:cubicBezTo>
                  <a:pt x="990" y="190"/>
                  <a:pt x="990" y="190"/>
                  <a:pt x="990" y="190"/>
                </a:cubicBezTo>
                <a:cubicBezTo>
                  <a:pt x="991" y="189"/>
                  <a:pt x="991" y="189"/>
                  <a:pt x="991" y="189"/>
                </a:cubicBezTo>
                <a:cubicBezTo>
                  <a:pt x="991" y="186"/>
                  <a:pt x="991" y="186"/>
                  <a:pt x="991" y="186"/>
                </a:cubicBezTo>
                <a:cubicBezTo>
                  <a:pt x="992" y="184"/>
                  <a:pt x="992" y="184"/>
                  <a:pt x="992" y="184"/>
                </a:cubicBezTo>
                <a:cubicBezTo>
                  <a:pt x="992" y="183"/>
                  <a:pt x="992" y="183"/>
                  <a:pt x="992" y="183"/>
                </a:cubicBezTo>
                <a:cubicBezTo>
                  <a:pt x="991" y="183"/>
                  <a:pt x="991" y="183"/>
                  <a:pt x="991" y="183"/>
                </a:cubicBezTo>
                <a:cubicBezTo>
                  <a:pt x="989" y="186"/>
                  <a:pt x="989" y="186"/>
                  <a:pt x="989" y="186"/>
                </a:cubicBezTo>
                <a:cubicBezTo>
                  <a:pt x="989" y="187"/>
                  <a:pt x="989" y="187"/>
                  <a:pt x="989" y="187"/>
                </a:cubicBezTo>
                <a:cubicBezTo>
                  <a:pt x="987" y="188"/>
                  <a:pt x="987" y="188"/>
                  <a:pt x="987" y="188"/>
                </a:cubicBezTo>
                <a:cubicBezTo>
                  <a:pt x="986" y="188"/>
                  <a:pt x="986" y="188"/>
                  <a:pt x="986" y="188"/>
                </a:cubicBezTo>
                <a:cubicBezTo>
                  <a:pt x="986" y="187"/>
                  <a:pt x="986" y="187"/>
                  <a:pt x="986" y="187"/>
                </a:cubicBezTo>
                <a:cubicBezTo>
                  <a:pt x="987" y="185"/>
                  <a:pt x="987" y="185"/>
                  <a:pt x="987" y="185"/>
                </a:cubicBezTo>
                <a:cubicBezTo>
                  <a:pt x="989" y="184"/>
                  <a:pt x="989" y="184"/>
                  <a:pt x="989" y="184"/>
                </a:cubicBezTo>
                <a:cubicBezTo>
                  <a:pt x="990" y="182"/>
                  <a:pt x="990" y="182"/>
                  <a:pt x="990" y="182"/>
                </a:cubicBezTo>
                <a:cubicBezTo>
                  <a:pt x="991" y="181"/>
                  <a:pt x="991" y="181"/>
                  <a:pt x="991" y="181"/>
                </a:cubicBezTo>
                <a:cubicBezTo>
                  <a:pt x="992" y="181"/>
                  <a:pt x="992" y="181"/>
                  <a:pt x="992" y="181"/>
                </a:cubicBezTo>
                <a:cubicBezTo>
                  <a:pt x="993" y="179"/>
                  <a:pt x="993" y="179"/>
                  <a:pt x="993" y="179"/>
                </a:cubicBezTo>
                <a:cubicBezTo>
                  <a:pt x="993" y="178"/>
                  <a:pt x="993" y="178"/>
                  <a:pt x="993" y="178"/>
                </a:cubicBezTo>
                <a:cubicBezTo>
                  <a:pt x="992" y="178"/>
                  <a:pt x="992" y="178"/>
                  <a:pt x="992" y="178"/>
                </a:cubicBezTo>
                <a:cubicBezTo>
                  <a:pt x="990" y="179"/>
                  <a:pt x="990" y="179"/>
                  <a:pt x="990" y="179"/>
                </a:cubicBezTo>
                <a:cubicBezTo>
                  <a:pt x="989" y="181"/>
                  <a:pt x="989" y="181"/>
                  <a:pt x="989" y="181"/>
                </a:cubicBezTo>
                <a:cubicBezTo>
                  <a:pt x="987" y="181"/>
                  <a:pt x="987" y="181"/>
                  <a:pt x="987" y="181"/>
                </a:cubicBezTo>
                <a:cubicBezTo>
                  <a:pt x="985" y="183"/>
                  <a:pt x="985" y="183"/>
                  <a:pt x="985" y="183"/>
                </a:cubicBezTo>
                <a:cubicBezTo>
                  <a:pt x="986" y="181"/>
                  <a:pt x="986" y="181"/>
                  <a:pt x="986" y="181"/>
                </a:cubicBezTo>
                <a:cubicBezTo>
                  <a:pt x="988" y="179"/>
                  <a:pt x="988" y="179"/>
                  <a:pt x="988" y="179"/>
                </a:cubicBezTo>
                <a:cubicBezTo>
                  <a:pt x="987" y="179"/>
                  <a:pt x="987" y="179"/>
                  <a:pt x="987" y="179"/>
                </a:cubicBezTo>
                <a:cubicBezTo>
                  <a:pt x="985" y="179"/>
                  <a:pt x="985" y="179"/>
                  <a:pt x="985" y="179"/>
                </a:cubicBezTo>
                <a:cubicBezTo>
                  <a:pt x="985" y="180"/>
                  <a:pt x="985" y="180"/>
                  <a:pt x="985" y="180"/>
                </a:cubicBezTo>
                <a:cubicBezTo>
                  <a:pt x="982" y="179"/>
                  <a:pt x="982" y="179"/>
                  <a:pt x="982" y="179"/>
                </a:cubicBezTo>
                <a:cubicBezTo>
                  <a:pt x="980" y="180"/>
                  <a:pt x="980" y="180"/>
                  <a:pt x="980" y="180"/>
                </a:cubicBezTo>
                <a:cubicBezTo>
                  <a:pt x="979" y="179"/>
                  <a:pt x="979" y="179"/>
                  <a:pt x="979" y="179"/>
                </a:cubicBezTo>
                <a:cubicBezTo>
                  <a:pt x="981" y="179"/>
                  <a:pt x="981" y="179"/>
                  <a:pt x="981" y="179"/>
                </a:cubicBezTo>
                <a:cubicBezTo>
                  <a:pt x="985" y="178"/>
                  <a:pt x="985" y="178"/>
                  <a:pt x="985" y="178"/>
                </a:cubicBezTo>
                <a:cubicBezTo>
                  <a:pt x="983" y="177"/>
                  <a:pt x="983" y="177"/>
                  <a:pt x="983" y="177"/>
                </a:cubicBezTo>
                <a:cubicBezTo>
                  <a:pt x="982" y="176"/>
                  <a:pt x="982" y="176"/>
                  <a:pt x="982" y="176"/>
                </a:cubicBezTo>
                <a:cubicBezTo>
                  <a:pt x="983" y="177"/>
                  <a:pt x="983" y="177"/>
                  <a:pt x="983" y="177"/>
                </a:cubicBezTo>
                <a:cubicBezTo>
                  <a:pt x="985" y="176"/>
                  <a:pt x="985" y="176"/>
                  <a:pt x="985" y="176"/>
                </a:cubicBezTo>
                <a:cubicBezTo>
                  <a:pt x="984" y="174"/>
                  <a:pt x="984" y="174"/>
                  <a:pt x="984" y="174"/>
                </a:cubicBezTo>
                <a:cubicBezTo>
                  <a:pt x="983" y="174"/>
                  <a:pt x="983" y="174"/>
                  <a:pt x="983" y="174"/>
                </a:cubicBezTo>
                <a:cubicBezTo>
                  <a:pt x="983" y="174"/>
                  <a:pt x="983" y="174"/>
                  <a:pt x="983" y="174"/>
                </a:cubicBezTo>
                <a:cubicBezTo>
                  <a:pt x="984" y="173"/>
                  <a:pt x="984" y="173"/>
                  <a:pt x="984" y="173"/>
                </a:cubicBezTo>
                <a:cubicBezTo>
                  <a:pt x="984" y="172"/>
                  <a:pt x="984" y="172"/>
                  <a:pt x="984" y="172"/>
                </a:cubicBezTo>
                <a:cubicBezTo>
                  <a:pt x="984" y="169"/>
                  <a:pt x="984" y="169"/>
                  <a:pt x="984" y="169"/>
                </a:cubicBezTo>
                <a:cubicBezTo>
                  <a:pt x="983" y="168"/>
                  <a:pt x="983" y="168"/>
                  <a:pt x="983" y="168"/>
                </a:cubicBezTo>
                <a:cubicBezTo>
                  <a:pt x="981" y="169"/>
                  <a:pt x="981" y="169"/>
                  <a:pt x="981" y="169"/>
                </a:cubicBezTo>
                <a:cubicBezTo>
                  <a:pt x="980" y="170"/>
                  <a:pt x="980" y="170"/>
                  <a:pt x="980" y="170"/>
                </a:cubicBezTo>
                <a:cubicBezTo>
                  <a:pt x="979" y="169"/>
                  <a:pt x="979" y="169"/>
                  <a:pt x="979" y="169"/>
                </a:cubicBezTo>
                <a:cubicBezTo>
                  <a:pt x="978" y="170"/>
                  <a:pt x="978" y="170"/>
                  <a:pt x="978" y="170"/>
                </a:cubicBezTo>
                <a:cubicBezTo>
                  <a:pt x="978" y="169"/>
                  <a:pt x="978" y="169"/>
                  <a:pt x="978" y="169"/>
                </a:cubicBezTo>
                <a:cubicBezTo>
                  <a:pt x="978" y="168"/>
                  <a:pt x="978" y="168"/>
                  <a:pt x="978" y="168"/>
                </a:cubicBezTo>
                <a:cubicBezTo>
                  <a:pt x="979" y="166"/>
                  <a:pt x="979" y="166"/>
                  <a:pt x="979" y="166"/>
                </a:cubicBezTo>
                <a:cubicBezTo>
                  <a:pt x="981" y="166"/>
                  <a:pt x="981" y="166"/>
                  <a:pt x="981" y="166"/>
                </a:cubicBezTo>
                <a:cubicBezTo>
                  <a:pt x="982" y="165"/>
                  <a:pt x="982" y="165"/>
                  <a:pt x="982" y="165"/>
                </a:cubicBezTo>
                <a:cubicBezTo>
                  <a:pt x="982" y="163"/>
                  <a:pt x="982" y="163"/>
                  <a:pt x="982" y="163"/>
                </a:cubicBezTo>
                <a:cubicBezTo>
                  <a:pt x="981" y="162"/>
                  <a:pt x="981" y="162"/>
                  <a:pt x="981" y="162"/>
                </a:cubicBezTo>
                <a:cubicBezTo>
                  <a:pt x="980" y="163"/>
                  <a:pt x="980" y="163"/>
                  <a:pt x="980" y="163"/>
                </a:cubicBezTo>
                <a:cubicBezTo>
                  <a:pt x="978" y="165"/>
                  <a:pt x="978" y="165"/>
                  <a:pt x="978" y="165"/>
                </a:cubicBezTo>
                <a:cubicBezTo>
                  <a:pt x="976" y="166"/>
                  <a:pt x="976" y="166"/>
                  <a:pt x="976" y="166"/>
                </a:cubicBezTo>
                <a:cubicBezTo>
                  <a:pt x="975" y="168"/>
                  <a:pt x="975" y="168"/>
                  <a:pt x="975" y="168"/>
                </a:cubicBezTo>
                <a:cubicBezTo>
                  <a:pt x="975" y="169"/>
                  <a:pt x="975" y="169"/>
                  <a:pt x="975" y="169"/>
                </a:cubicBezTo>
                <a:cubicBezTo>
                  <a:pt x="975" y="171"/>
                  <a:pt x="975" y="171"/>
                  <a:pt x="975" y="171"/>
                </a:cubicBezTo>
                <a:cubicBezTo>
                  <a:pt x="974" y="171"/>
                  <a:pt x="974" y="171"/>
                  <a:pt x="974" y="171"/>
                </a:cubicBezTo>
                <a:cubicBezTo>
                  <a:pt x="974" y="169"/>
                  <a:pt x="974" y="169"/>
                  <a:pt x="974" y="169"/>
                </a:cubicBezTo>
                <a:cubicBezTo>
                  <a:pt x="974" y="168"/>
                  <a:pt x="974" y="168"/>
                  <a:pt x="974" y="168"/>
                </a:cubicBezTo>
                <a:cubicBezTo>
                  <a:pt x="975" y="166"/>
                  <a:pt x="975" y="166"/>
                  <a:pt x="975" y="166"/>
                </a:cubicBezTo>
                <a:cubicBezTo>
                  <a:pt x="977" y="164"/>
                  <a:pt x="977" y="164"/>
                  <a:pt x="977" y="164"/>
                </a:cubicBezTo>
                <a:cubicBezTo>
                  <a:pt x="977" y="162"/>
                  <a:pt x="977" y="162"/>
                  <a:pt x="977" y="162"/>
                </a:cubicBezTo>
                <a:cubicBezTo>
                  <a:pt x="977" y="162"/>
                  <a:pt x="977" y="162"/>
                  <a:pt x="977" y="162"/>
                </a:cubicBezTo>
                <a:cubicBezTo>
                  <a:pt x="975" y="163"/>
                  <a:pt x="975" y="163"/>
                  <a:pt x="975" y="163"/>
                </a:cubicBezTo>
                <a:cubicBezTo>
                  <a:pt x="975" y="164"/>
                  <a:pt x="975" y="164"/>
                  <a:pt x="975" y="164"/>
                </a:cubicBezTo>
                <a:cubicBezTo>
                  <a:pt x="975" y="165"/>
                  <a:pt x="975" y="165"/>
                  <a:pt x="975" y="165"/>
                </a:cubicBezTo>
                <a:cubicBezTo>
                  <a:pt x="973" y="166"/>
                  <a:pt x="973" y="166"/>
                  <a:pt x="973" y="166"/>
                </a:cubicBezTo>
                <a:cubicBezTo>
                  <a:pt x="972" y="167"/>
                  <a:pt x="972" y="167"/>
                  <a:pt x="972" y="167"/>
                </a:cubicBezTo>
                <a:cubicBezTo>
                  <a:pt x="972" y="168"/>
                  <a:pt x="972" y="168"/>
                  <a:pt x="972" y="168"/>
                </a:cubicBezTo>
                <a:cubicBezTo>
                  <a:pt x="971" y="170"/>
                  <a:pt x="971" y="170"/>
                  <a:pt x="971" y="170"/>
                </a:cubicBezTo>
                <a:cubicBezTo>
                  <a:pt x="970" y="171"/>
                  <a:pt x="970" y="171"/>
                  <a:pt x="970" y="171"/>
                </a:cubicBezTo>
                <a:cubicBezTo>
                  <a:pt x="970" y="170"/>
                  <a:pt x="970" y="170"/>
                  <a:pt x="970" y="170"/>
                </a:cubicBezTo>
                <a:cubicBezTo>
                  <a:pt x="971" y="168"/>
                  <a:pt x="971" y="168"/>
                  <a:pt x="971" y="168"/>
                </a:cubicBezTo>
                <a:cubicBezTo>
                  <a:pt x="972" y="165"/>
                  <a:pt x="972" y="165"/>
                  <a:pt x="972" y="165"/>
                </a:cubicBezTo>
                <a:cubicBezTo>
                  <a:pt x="973" y="163"/>
                  <a:pt x="973" y="163"/>
                  <a:pt x="973" y="163"/>
                </a:cubicBezTo>
                <a:cubicBezTo>
                  <a:pt x="973" y="162"/>
                  <a:pt x="973" y="162"/>
                  <a:pt x="973" y="162"/>
                </a:cubicBezTo>
                <a:cubicBezTo>
                  <a:pt x="971" y="162"/>
                  <a:pt x="971" y="162"/>
                  <a:pt x="971" y="162"/>
                </a:cubicBezTo>
                <a:cubicBezTo>
                  <a:pt x="970" y="163"/>
                  <a:pt x="970" y="163"/>
                  <a:pt x="970" y="163"/>
                </a:cubicBezTo>
                <a:cubicBezTo>
                  <a:pt x="970" y="165"/>
                  <a:pt x="970" y="165"/>
                  <a:pt x="970" y="165"/>
                </a:cubicBezTo>
                <a:cubicBezTo>
                  <a:pt x="969" y="165"/>
                  <a:pt x="969" y="165"/>
                  <a:pt x="969" y="165"/>
                </a:cubicBezTo>
                <a:cubicBezTo>
                  <a:pt x="969" y="164"/>
                  <a:pt x="969" y="164"/>
                  <a:pt x="969" y="164"/>
                </a:cubicBezTo>
                <a:cubicBezTo>
                  <a:pt x="970" y="162"/>
                  <a:pt x="970" y="162"/>
                  <a:pt x="970" y="162"/>
                </a:cubicBezTo>
                <a:cubicBezTo>
                  <a:pt x="971" y="161"/>
                  <a:pt x="971" y="161"/>
                  <a:pt x="971" y="161"/>
                </a:cubicBezTo>
                <a:cubicBezTo>
                  <a:pt x="970" y="160"/>
                  <a:pt x="970" y="160"/>
                  <a:pt x="970" y="160"/>
                </a:cubicBezTo>
                <a:cubicBezTo>
                  <a:pt x="968" y="159"/>
                  <a:pt x="968" y="159"/>
                  <a:pt x="968" y="159"/>
                </a:cubicBezTo>
                <a:cubicBezTo>
                  <a:pt x="969" y="158"/>
                  <a:pt x="969" y="158"/>
                  <a:pt x="969" y="158"/>
                </a:cubicBezTo>
                <a:cubicBezTo>
                  <a:pt x="968" y="157"/>
                  <a:pt x="968" y="157"/>
                  <a:pt x="968" y="157"/>
                </a:cubicBezTo>
                <a:cubicBezTo>
                  <a:pt x="965" y="157"/>
                  <a:pt x="965" y="157"/>
                  <a:pt x="965" y="157"/>
                </a:cubicBezTo>
                <a:cubicBezTo>
                  <a:pt x="964" y="158"/>
                  <a:pt x="964" y="158"/>
                  <a:pt x="964" y="158"/>
                </a:cubicBezTo>
                <a:cubicBezTo>
                  <a:pt x="965" y="157"/>
                  <a:pt x="965" y="157"/>
                  <a:pt x="965" y="157"/>
                </a:cubicBezTo>
                <a:cubicBezTo>
                  <a:pt x="966" y="156"/>
                  <a:pt x="966" y="156"/>
                  <a:pt x="966" y="156"/>
                </a:cubicBezTo>
                <a:cubicBezTo>
                  <a:pt x="965" y="156"/>
                  <a:pt x="965" y="156"/>
                  <a:pt x="965" y="156"/>
                </a:cubicBezTo>
                <a:cubicBezTo>
                  <a:pt x="962" y="156"/>
                  <a:pt x="962" y="156"/>
                  <a:pt x="962" y="156"/>
                </a:cubicBezTo>
                <a:cubicBezTo>
                  <a:pt x="961" y="157"/>
                  <a:pt x="961" y="157"/>
                  <a:pt x="961" y="157"/>
                </a:cubicBezTo>
                <a:cubicBezTo>
                  <a:pt x="961" y="156"/>
                  <a:pt x="961" y="156"/>
                  <a:pt x="961" y="156"/>
                </a:cubicBezTo>
                <a:cubicBezTo>
                  <a:pt x="964" y="154"/>
                  <a:pt x="964" y="154"/>
                  <a:pt x="964" y="154"/>
                </a:cubicBezTo>
                <a:cubicBezTo>
                  <a:pt x="966" y="154"/>
                  <a:pt x="966" y="154"/>
                  <a:pt x="966" y="154"/>
                </a:cubicBezTo>
                <a:cubicBezTo>
                  <a:pt x="967" y="155"/>
                  <a:pt x="967" y="155"/>
                  <a:pt x="967" y="155"/>
                </a:cubicBezTo>
                <a:cubicBezTo>
                  <a:pt x="969" y="155"/>
                  <a:pt x="969" y="155"/>
                  <a:pt x="969" y="155"/>
                </a:cubicBezTo>
                <a:cubicBezTo>
                  <a:pt x="969" y="154"/>
                  <a:pt x="969" y="154"/>
                  <a:pt x="969" y="154"/>
                </a:cubicBezTo>
                <a:cubicBezTo>
                  <a:pt x="970" y="153"/>
                  <a:pt x="970" y="153"/>
                  <a:pt x="970" y="153"/>
                </a:cubicBezTo>
                <a:cubicBezTo>
                  <a:pt x="969" y="153"/>
                  <a:pt x="969" y="153"/>
                  <a:pt x="969" y="153"/>
                </a:cubicBezTo>
                <a:cubicBezTo>
                  <a:pt x="967" y="152"/>
                  <a:pt x="967" y="152"/>
                  <a:pt x="967" y="152"/>
                </a:cubicBezTo>
                <a:cubicBezTo>
                  <a:pt x="965" y="151"/>
                  <a:pt x="965" y="151"/>
                  <a:pt x="965" y="151"/>
                </a:cubicBezTo>
                <a:cubicBezTo>
                  <a:pt x="963" y="151"/>
                  <a:pt x="963" y="151"/>
                  <a:pt x="963" y="151"/>
                </a:cubicBezTo>
                <a:cubicBezTo>
                  <a:pt x="963" y="153"/>
                  <a:pt x="963" y="153"/>
                  <a:pt x="963" y="153"/>
                </a:cubicBezTo>
                <a:cubicBezTo>
                  <a:pt x="962" y="153"/>
                  <a:pt x="962" y="153"/>
                  <a:pt x="962" y="153"/>
                </a:cubicBezTo>
                <a:cubicBezTo>
                  <a:pt x="962" y="152"/>
                  <a:pt x="962" y="152"/>
                  <a:pt x="962" y="152"/>
                </a:cubicBezTo>
                <a:cubicBezTo>
                  <a:pt x="963" y="152"/>
                  <a:pt x="963" y="152"/>
                  <a:pt x="963" y="152"/>
                </a:cubicBezTo>
                <a:cubicBezTo>
                  <a:pt x="963" y="151"/>
                  <a:pt x="963" y="151"/>
                  <a:pt x="963" y="151"/>
                </a:cubicBezTo>
                <a:cubicBezTo>
                  <a:pt x="961" y="151"/>
                  <a:pt x="961" y="151"/>
                  <a:pt x="961" y="151"/>
                </a:cubicBezTo>
                <a:cubicBezTo>
                  <a:pt x="961" y="152"/>
                  <a:pt x="961" y="152"/>
                  <a:pt x="961" y="152"/>
                </a:cubicBezTo>
                <a:cubicBezTo>
                  <a:pt x="960" y="152"/>
                  <a:pt x="960" y="152"/>
                  <a:pt x="960" y="152"/>
                </a:cubicBezTo>
                <a:cubicBezTo>
                  <a:pt x="960" y="151"/>
                  <a:pt x="960" y="151"/>
                  <a:pt x="960" y="151"/>
                </a:cubicBezTo>
                <a:cubicBezTo>
                  <a:pt x="960" y="150"/>
                  <a:pt x="960" y="150"/>
                  <a:pt x="960" y="150"/>
                </a:cubicBezTo>
                <a:cubicBezTo>
                  <a:pt x="959" y="149"/>
                  <a:pt x="959" y="149"/>
                  <a:pt x="959" y="149"/>
                </a:cubicBezTo>
                <a:cubicBezTo>
                  <a:pt x="958" y="150"/>
                  <a:pt x="958" y="150"/>
                  <a:pt x="958" y="150"/>
                </a:cubicBezTo>
                <a:cubicBezTo>
                  <a:pt x="957" y="149"/>
                  <a:pt x="957" y="149"/>
                  <a:pt x="957" y="149"/>
                </a:cubicBezTo>
                <a:cubicBezTo>
                  <a:pt x="956" y="148"/>
                  <a:pt x="956" y="148"/>
                  <a:pt x="956" y="148"/>
                </a:cubicBezTo>
                <a:cubicBezTo>
                  <a:pt x="955" y="148"/>
                  <a:pt x="955" y="148"/>
                  <a:pt x="955" y="148"/>
                </a:cubicBezTo>
                <a:cubicBezTo>
                  <a:pt x="956" y="147"/>
                  <a:pt x="956" y="147"/>
                  <a:pt x="956" y="147"/>
                </a:cubicBezTo>
                <a:cubicBezTo>
                  <a:pt x="957" y="147"/>
                  <a:pt x="957" y="147"/>
                  <a:pt x="957" y="147"/>
                </a:cubicBezTo>
                <a:cubicBezTo>
                  <a:pt x="960" y="148"/>
                  <a:pt x="960" y="148"/>
                  <a:pt x="960" y="148"/>
                </a:cubicBezTo>
                <a:cubicBezTo>
                  <a:pt x="961" y="148"/>
                  <a:pt x="961" y="148"/>
                  <a:pt x="961" y="148"/>
                </a:cubicBezTo>
                <a:cubicBezTo>
                  <a:pt x="960" y="147"/>
                  <a:pt x="960" y="147"/>
                  <a:pt x="960" y="147"/>
                </a:cubicBezTo>
                <a:cubicBezTo>
                  <a:pt x="955" y="145"/>
                  <a:pt x="955" y="145"/>
                  <a:pt x="955" y="145"/>
                </a:cubicBezTo>
                <a:cubicBezTo>
                  <a:pt x="953" y="144"/>
                  <a:pt x="953" y="144"/>
                  <a:pt x="953" y="144"/>
                </a:cubicBezTo>
                <a:cubicBezTo>
                  <a:pt x="953" y="143"/>
                  <a:pt x="953" y="143"/>
                  <a:pt x="953" y="143"/>
                </a:cubicBezTo>
                <a:cubicBezTo>
                  <a:pt x="954" y="143"/>
                  <a:pt x="954" y="143"/>
                  <a:pt x="954" y="143"/>
                </a:cubicBezTo>
                <a:cubicBezTo>
                  <a:pt x="958" y="144"/>
                  <a:pt x="958" y="144"/>
                  <a:pt x="958" y="144"/>
                </a:cubicBezTo>
                <a:cubicBezTo>
                  <a:pt x="960" y="145"/>
                  <a:pt x="960" y="145"/>
                  <a:pt x="960" y="145"/>
                </a:cubicBezTo>
                <a:cubicBezTo>
                  <a:pt x="964" y="146"/>
                  <a:pt x="964" y="146"/>
                  <a:pt x="964" y="146"/>
                </a:cubicBezTo>
                <a:cubicBezTo>
                  <a:pt x="965" y="145"/>
                  <a:pt x="965" y="145"/>
                  <a:pt x="965" y="145"/>
                </a:cubicBezTo>
                <a:cubicBezTo>
                  <a:pt x="964" y="145"/>
                  <a:pt x="964" y="145"/>
                  <a:pt x="964" y="145"/>
                </a:cubicBezTo>
                <a:cubicBezTo>
                  <a:pt x="964" y="143"/>
                  <a:pt x="964" y="143"/>
                  <a:pt x="964" y="143"/>
                </a:cubicBezTo>
                <a:cubicBezTo>
                  <a:pt x="964" y="142"/>
                  <a:pt x="964" y="142"/>
                  <a:pt x="964" y="142"/>
                </a:cubicBezTo>
                <a:cubicBezTo>
                  <a:pt x="962" y="142"/>
                  <a:pt x="962" y="142"/>
                  <a:pt x="962" y="142"/>
                </a:cubicBezTo>
                <a:cubicBezTo>
                  <a:pt x="961" y="141"/>
                  <a:pt x="961" y="141"/>
                  <a:pt x="961" y="141"/>
                </a:cubicBezTo>
                <a:cubicBezTo>
                  <a:pt x="961" y="140"/>
                  <a:pt x="961" y="140"/>
                  <a:pt x="961" y="140"/>
                </a:cubicBezTo>
                <a:cubicBezTo>
                  <a:pt x="962" y="140"/>
                  <a:pt x="962" y="140"/>
                  <a:pt x="962" y="140"/>
                </a:cubicBezTo>
                <a:cubicBezTo>
                  <a:pt x="963" y="141"/>
                  <a:pt x="963" y="141"/>
                  <a:pt x="963" y="141"/>
                </a:cubicBezTo>
                <a:cubicBezTo>
                  <a:pt x="964" y="142"/>
                  <a:pt x="964" y="142"/>
                  <a:pt x="964" y="142"/>
                </a:cubicBezTo>
                <a:cubicBezTo>
                  <a:pt x="965" y="141"/>
                  <a:pt x="965" y="141"/>
                  <a:pt x="965" y="141"/>
                </a:cubicBezTo>
                <a:cubicBezTo>
                  <a:pt x="967" y="141"/>
                  <a:pt x="967" y="141"/>
                  <a:pt x="967" y="141"/>
                </a:cubicBezTo>
                <a:cubicBezTo>
                  <a:pt x="967" y="141"/>
                  <a:pt x="967" y="141"/>
                  <a:pt x="967" y="141"/>
                </a:cubicBezTo>
                <a:cubicBezTo>
                  <a:pt x="967" y="140"/>
                  <a:pt x="967" y="140"/>
                  <a:pt x="967" y="140"/>
                </a:cubicBezTo>
                <a:cubicBezTo>
                  <a:pt x="966" y="139"/>
                  <a:pt x="966" y="139"/>
                  <a:pt x="966" y="139"/>
                </a:cubicBezTo>
                <a:cubicBezTo>
                  <a:pt x="966" y="139"/>
                  <a:pt x="966" y="139"/>
                  <a:pt x="966" y="139"/>
                </a:cubicBezTo>
                <a:cubicBezTo>
                  <a:pt x="965" y="137"/>
                  <a:pt x="965" y="137"/>
                  <a:pt x="965" y="137"/>
                </a:cubicBezTo>
                <a:cubicBezTo>
                  <a:pt x="963" y="138"/>
                  <a:pt x="963" y="138"/>
                  <a:pt x="963" y="138"/>
                </a:cubicBezTo>
                <a:cubicBezTo>
                  <a:pt x="962" y="138"/>
                  <a:pt x="962" y="138"/>
                  <a:pt x="962" y="138"/>
                </a:cubicBezTo>
                <a:cubicBezTo>
                  <a:pt x="959" y="138"/>
                  <a:pt x="959" y="138"/>
                  <a:pt x="959" y="138"/>
                </a:cubicBezTo>
                <a:cubicBezTo>
                  <a:pt x="959" y="139"/>
                  <a:pt x="959" y="139"/>
                  <a:pt x="959" y="139"/>
                </a:cubicBezTo>
                <a:cubicBezTo>
                  <a:pt x="958" y="139"/>
                  <a:pt x="958" y="139"/>
                  <a:pt x="958" y="139"/>
                </a:cubicBezTo>
                <a:cubicBezTo>
                  <a:pt x="957" y="138"/>
                  <a:pt x="957" y="138"/>
                  <a:pt x="957" y="138"/>
                </a:cubicBezTo>
                <a:cubicBezTo>
                  <a:pt x="959" y="137"/>
                  <a:pt x="959" y="137"/>
                  <a:pt x="959" y="137"/>
                </a:cubicBezTo>
                <a:cubicBezTo>
                  <a:pt x="961" y="137"/>
                  <a:pt x="961" y="137"/>
                  <a:pt x="961" y="137"/>
                </a:cubicBezTo>
                <a:cubicBezTo>
                  <a:pt x="962" y="137"/>
                  <a:pt x="962" y="137"/>
                  <a:pt x="962" y="137"/>
                </a:cubicBezTo>
                <a:cubicBezTo>
                  <a:pt x="965" y="136"/>
                  <a:pt x="965" y="136"/>
                  <a:pt x="965" y="136"/>
                </a:cubicBezTo>
                <a:cubicBezTo>
                  <a:pt x="965" y="136"/>
                  <a:pt x="965" y="136"/>
                  <a:pt x="965" y="136"/>
                </a:cubicBezTo>
                <a:cubicBezTo>
                  <a:pt x="963" y="135"/>
                  <a:pt x="963" y="135"/>
                  <a:pt x="963" y="135"/>
                </a:cubicBezTo>
                <a:cubicBezTo>
                  <a:pt x="962" y="135"/>
                  <a:pt x="962" y="135"/>
                  <a:pt x="962" y="135"/>
                </a:cubicBezTo>
                <a:cubicBezTo>
                  <a:pt x="961" y="134"/>
                  <a:pt x="961" y="134"/>
                  <a:pt x="961" y="134"/>
                </a:cubicBezTo>
                <a:cubicBezTo>
                  <a:pt x="962" y="134"/>
                  <a:pt x="962" y="134"/>
                  <a:pt x="962" y="134"/>
                </a:cubicBezTo>
                <a:cubicBezTo>
                  <a:pt x="964" y="134"/>
                  <a:pt x="964" y="134"/>
                  <a:pt x="964" y="134"/>
                </a:cubicBezTo>
                <a:cubicBezTo>
                  <a:pt x="965" y="134"/>
                  <a:pt x="965" y="134"/>
                  <a:pt x="965" y="134"/>
                </a:cubicBezTo>
                <a:cubicBezTo>
                  <a:pt x="966" y="134"/>
                  <a:pt x="966" y="134"/>
                  <a:pt x="966" y="134"/>
                </a:cubicBezTo>
                <a:cubicBezTo>
                  <a:pt x="969" y="137"/>
                  <a:pt x="969" y="137"/>
                  <a:pt x="969" y="137"/>
                </a:cubicBezTo>
                <a:cubicBezTo>
                  <a:pt x="970" y="137"/>
                  <a:pt x="970" y="137"/>
                  <a:pt x="970" y="137"/>
                </a:cubicBezTo>
                <a:cubicBezTo>
                  <a:pt x="971" y="137"/>
                  <a:pt x="971" y="137"/>
                  <a:pt x="971" y="137"/>
                </a:cubicBezTo>
                <a:cubicBezTo>
                  <a:pt x="972" y="138"/>
                  <a:pt x="972" y="138"/>
                  <a:pt x="972" y="138"/>
                </a:cubicBezTo>
                <a:cubicBezTo>
                  <a:pt x="973" y="138"/>
                  <a:pt x="973" y="138"/>
                  <a:pt x="973" y="138"/>
                </a:cubicBezTo>
                <a:cubicBezTo>
                  <a:pt x="974" y="137"/>
                  <a:pt x="974" y="137"/>
                  <a:pt x="974" y="137"/>
                </a:cubicBezTo>
                <a:cubicBezTo>
                  <a:pt x="974" y="137"/>
                  <a:pt x="974" y="137"/>
                  <a:pt x="974" y="137"/>
                </a:cubicBezTo>
                <a:cubicBezTo>
                  <a:pt x="975" y="139"/>
                  <a:pt x="975" y="139"/>
                  <a:pt x="975" y="139"/>
                </a:cubicBezTo>
                <a:cubicBezTo>
                  <a:pt x="977" y="139"/>
                  <a:pt x="977" y="139"/>
                  <a:pt x="977" y="139"/>
                </a:cubicBezTo>
                <a:cubicBezTo>
                  <a:pt x="977" y="138"/>
                  <a:pt x="977" y="138"/>
                  <a:pt x="977" y="138"/>
                </a:cubicBezTo>
                <a:cubicBezTo>
                  <a:pt x="977" y="136"/>
                  <a:pt x="977" y="136"/>
                  <a:pt x="977" y="136"/>
                </a:cubicBezTo>
                <a:cubicBezTo>
                  <a:pt x="976" y="134"/>
                  <a:pt x="976" y="134"/>
                  <a:pt x="976" y="134"/>
                </a:cubicBezTo>
                <a:cubicBezTo>
                  <a:pt x="976" y="133"/>
                  <a:pt x="976" y="133"/>
                  <a:pt x="976" y="133"/>
                </a:cubicBezTo>
                <a:cubicBezTo>
                  <a:pt x="974" y="132"/>
                  <a:pt x="974" y="132"/>
                  <a:pt x="974" y="132"/>
                </a:cubicBezTo>
                <a:cubicBezTo>
                  <a:pt x="972" y="131"/>
                  <a:pt x="972" y="131"/>
                  <a:pt x="972" y="131"/>
                </a:cubicBezTo>
                <a:cubicBezTo>
                  <a:pt x="971" y="130"/>
                  <a:pt x="971" y="130"/>
                  <a:pt x="971" y="130"/>
                </a:cubicBezTo>
                <a:cubicBezTo>
                  <a:pt x="970" y="131"/>
                  <a:pt x="970" y="131"/>
                  <a:pt x="970" y="131"/>
                </a:cubicBezTo>
                <a:cubicBezTo>
                  <a:pt x="969" y="131"/>
                  <a:pt x="969" y="131"/>
                  <a:pt x="969" y="131"/>
                </a:cubicBezTo>
                <a:cubicBezTo>
                  <a:pt x="968" y="131"/>
                  <a:pt x="968" y="131"/>
                  <a:pt x="968" y="131"/>
                </a:cubicBezTo>
                <a:cubicBezTo>
                  <a:pt x="965" y="128"/>
                  <a:pt x="965" y="128"/>
                  <a:pt x="965" y="128"/>
                </a:cubicBezTo>
                <a:cubicBezTo>
                  <a:pt x="963" y="127"/>
                  <a:pt x="963" y="127"/>
                  <a:pt x="963" y="127"/>
                </a:cubicBezTo>
                <a:cubicBezTo>
                  <a:pt x="960" y="128"/>
                  <a:pt x="960" y="128"/>
                  <a:pt x="960" y="128"/>
                </a:cubicBezTo>
                <a:cubicBezTo>
                  <a:pt x="959" y="127"/>
                  <a:pt x="959" y="127"/>
                  <a:pt x="959" y="127"/>
                </a:cubicBezTo>
                <a:cubicBezTo>
                  <a:pt x="962" y="127"/>
                  <a:pt x="962" y="127"/>
                  <a:pt x="962" y="127"/>
                </a:cubicBezTo>
                <a:cubicBezTo>
                  <a:pt x="963" y="126"/>
                  <a:pt x="963" y="126"/>
                  <a:pt x="963" y="126"/>
                </a:cubicBezTo>
                <a:cubicBezTo>
                  <a:pt x="964" y="126"/>
                  <a:pt x="964" y="126"/>
                  <a:pt x="964" y="126"/>
                </a:cubicBezTo>
                <a:cubicBezTo>
                  <a:pt x="965" y="126"/>
                  <a:pt x="965" y="126"/>
                  <a:pt x="965" y="126"/>
                </a:cubicBezTo>
                <a:cubicBezTo>
                  <a:pt x="966" y="126"/>
                  <a:pt x="966" y="126"/>
                  <a:pt x="966" y="126"/>
                </a:cubicBezTo>
                <a:cubicBezTo>
                  <a:pt x="968" y="125"/>
                  <a:pt x="968" y="125"/>
                  <a:pt x="968" y="125"/>
                </a:cubicBezTo>
                <a:cubicBezTo>
                  <a:pt x="969" y="124"/>
                  <a:pt x="969" y="124"/>
                  <a:pt x="969" y="124"/>
                </a:cubicBezTo>
                <a:cubicBezTo>
                  <a:pt x="972" y="125"/>
                  <a:pt x="972" y="125"/>
                  <a:pt x="972" y="125"/>
                </a:cubicBezTo>
                <a:cubicBezTo>
                  <a:pt x="973" y="126"/>
                  <a:pt x="973" y="126"/>
                  <a:pt x="973" y="126"/>
                </a:cubicBezTo>
                <a:cubicBezTo>
                  <a:pt x="976" y="126"/>
                  <a:pt x="976" y="126"/>
                  <a:pt x="976" y="126"/>
                </a:cubicBezTo>
                <a:cubicBezTo>
                  <a:pt x="976" y="124"/>
                  <a:pt x="976" y="124"/>
                  <a:pt x="976" y="124"/>
                </a:cubicBezTo>
                <a:cubicBezTo>
                  <a:pt x="977" y="123"/>
                  <a:pt x="977" y="123"/>
                  <a:pt x="977" y="123"/>
                </a:cubicBezTo>
                <a:cubicBezTo>
                  <a:pt x="976" y="121"/>
                  <a:pt x="976" y="121"/>
                  <a:pt x="976" y="121"/>
                </a:cubicBezTo>
                <a:cubicBezTo>
                  <a:pt x="975" y="119"/>
                  <a:pt x="975" y="119"/>
                  <a:pt x="975" y="119"/>
                </a:cubicBezTo>
                <a:cubicBezTo>
                  <a:pt x="973" y="115"/>
                  <a:pt x="973" y="115"/>
                  <a:pt x="973" y="115"/>
                </a:cubicBezTo>
                <a:cubicBezTo>
                  <a:pt x="973" y="113"/>
                  <a:pt x="973" y="113"/>
                  <a:pt x="973" y="113"/>
                </a:cubicBezTo>
                <a:cubicBezTo>
                  <a:pt x="972" y="113"/>
                  <a:pt x="972" y="113"/>
                  <a:pt x="972" y="113"/>
                </a:cubicBezTo>
                <a:cubicBezTo>
                  <a:pt x="972" y="113"/>
                  <a:pt x="972" y="113"/>
                  <a:pt x="972" y="113"/>
                </a:cubicBezTo>
                <a:cubicBezTo>
                  <a:pt x="970" y="113"/>
                  <a:pt x="970" y="113"/>
                  <a:pt x="970" y="113"/>
                </a:cubicBezTo>
                <a:cubicBezTo>
                  <a:pt x="970" y="114"/>
                  <a:pt x="970" y="114"/>
                  <a:pt x="970" y="114"/>
                </a:cubicBezTo>
                <a:cubicBezTo>
                  <a:pt x="969" y="116"/>
                  <a:pt x="969" y="116"/>
                  <a:pt x="969" y="116"/>
                </a:cubicBezTo>
                <a:cubicBezTo>
                  <a:pt x="970" y="116"/>
                  <a:pt x="970" y="116"/>
                  <a:pt x="970" y="116"/>
                </a:cubicBezTo>
                <a:cubicBezTo>
                  <a:pt x="970" y="117"/>
                  <a:pt x="970" y="117"/>
                  <a:pt x="970" y="117"/>
                </a:cubicBezTo>
                <a:cubicBezTo>
                  <a:pt x="969" y="118"/>
                  <a:pt x="969" y="118"/>
                  <a:pt x="969" y="118"/>
                </a:cubicBezTo>
                <a:cubicBezTo>
                  <a:pt x="967" y="119"/>
                  <a:pt x="967" y="119"/>
                  <a:pt x="967" y="119"/>
                </a:cubicBezTo>
                <a:cubicBezTo>
                  <a:pt x="966" y="120"/>
                  <a:pt x="966" y="120"/>
                  <a:pt x="966" y="120"/>
                </a:cubicBezTo>
                <a:cubicBezTo>
                  <a:pt x="964" y="120"/>
                  <a:pt x="964" y="120"/>
                  <a:pt x="964" y="120"/>
                </a:cubicBezTo>
                <a:cubicBezTo>
                  <a:pt x="963" y="120"/>
                  <a:pt x="963" y="120"/>
                  <a:pt x="963" y="120"/>
                </a:cubicBezTo>
                <a:cubicBezTo>
                  <a:pt x="961" y="120"/>
                  <a:pt x="961" y="120"/>
                  <a:pt x="961" y="120"/>
                </a:cubicBezTo>
                <a:cubicBezTo>
                  <a:pt x="960" y="122"/>
                  <a:pt x="960" y="122"/>
                  <a:pt x="960" y="122"/>
                </a:cubicBezTo>
                <a:cubicBezTo>
                  <a:pt x="958" y="124"/>
                  <a:pt x="958" y="124"/>
                  <a:pt x="958" y="124"/>
                </a:cubicBezTo>
                <a:cubicBezTo>
                  <a:pt x="957" y="123"/>
                  <a:pt x="957" y="123"/>
                  <a:pt x="957" y="123"/>
                </a:cubicBezTo>
                <a:cubicBezTo>
                  <a:pt x="955" y="123"/>
                  <a:pt x="955" y="123"/>
                  <a:pt x="955" y="123"/>
                </a:cubicBezTo>
                <a:cubicBezTo>
                  <a:pt x="954" y="123"/>
                  <a:pt x="954" y="123"/>
                  <a:pt x="954" y="123"/>
                </a:cubicBezTo>
                <a:cubicBezTo>
                  <a:pt x="953" y="124"/>
                  <a:pt x="953" y="124"/>
                  <a:pt x="953" y="124"/>
                </a:cubicBezTo>
                <a:cubicBezTo>
                  <a:pt x="954" y="122"/>
                  <a:pt x="954" y="122"/>
                  <a:pt x="954" y="122"/>
                </a:cubicBezTo>
                <a:cubicBezTo>
                  <a:pt x="955" y="121"/>
                  <a:pt x="955" y="121"/>
                  <a:pt x="955" y="121"/>
                </a:cubicBezTo>
                <a:cubicBezTo>
                  <a:pt x="957" y="122"/>
                  <a:pt x="957" y="122"/>
                  <a:pt x="957" y="122"/>
                </a:cubicBezTo>
                <a:cubicBezTo>
                  <a:pt x="958" y="122"/>
                  <a:pt x="958" y="122"/>
                  <a:pt x="958" y="122"/>
                </a:cubicBezTo>
                <a:cubicBezTo>
                  <a:pt x="960" y="120"/>
                  <a:pt x="960" y="120"/>
                  <a:pt x="960" y="120"/>
                </a:cubicBezTo>
                <a:cubicBezTo>
                  <a:pt x="961" y="119"/>
                  <a:pt x="961" y="119"/>
                  <a:pt x="961" y="119"/>
                </a:cubicBezTo>
                <a:cubicBezTo>
                  <a:pt x="962" y="119"/>
                  <a:pt x="962" y="119"/>
                  <a:pt x="962" y="119"/>
                </a:cubicBezTo>
                <a:cubicBezTo>
                  <a:pt x="964" y="118"/>
                  <a:pt x="964" y="118"/>
                  <a:pt x="964" y="118"/>
                </a:cubicBezTo>
                <a:cubicBezTo>
                  <a:pt x="965" y="117"/>
                  <a:pt x="965" y="117"/>
                  <a:pt x="965" y="117"/>
                </a:cubicBezTo>
                <a:cubicBezTo>
                  <a:pt x="966" y="115"/>
                  <a:pt x="966" y="115"/>
                  <a:pt x="966" y="115"/>
                </a:cubicBezTo>
                <a:cubicBezTo>
                  <a:pt x="965" y="114"/>
                  <a:pt x="965" y="114"/>
                  <a:pt x="965" y="114"/>
                </a:cubicBezTo>
                <a:cubicBezTo>
                  <a:pt x="964" y="114"/>
                  <a:pt x="964" y="114"/>
                  <a:pt x="964" y="114"/>
                </a:cubicBezTo>
                <a:cubicBezTo>
                  <a:pt x="963" y="115"/>
                  <a:pt x="963" y="115"/>
                  <a:pt x="963" y="115"/>
                </a:cubicBezTo>
                <a:cubicBezTo>
                  <a:pt x="961" y="114"/>
                  <a:pt x="961" y="114"/>
                  <a:pt x="961" y="114"/>
                </a:cubicBezTo>
                <a:cubicBezTo>
                  <a:pt x="959" y="115"/>
                  <a:pt x="959" y="115"/>
                  <a:pt x="959" y="115"/>
                </a:cubicBezTo>
                <a:cubicBezTo>
                  <a:pt x="956" y="117"/>
                  <a:pt x="956" y="117"/>
                  <a:pt x="956" y="117"/>
                </a:cubicBezTo>
                <a:cubicBezTo>
                  <a:pt x="954" y="119"/>
                  <a:pt x="954" y="119"/>
                  <a:pt x="954" y="119"/>
                </a:cubicBezTo>
                <a:cubicBezTo>
                  <a:pt x="951" y="120"/>
                  <a:pt x="951" y="120"/>
                  <a:pt x="951" y="120"/>
                </a:cubicBezTo>
                <a:cubicBezTo>
                  <a:pt x="952" y="119"/>
                  <a:pt x="952" y="119"/>
                  <a:pt x="952" y="119"/>
                </a:cubicBezTo>
                <a:cubicBezTo>
                  <a:pt x="954" y="118"/>
                  <a:pt x="954" y="118"/>
                  <a:pt x="954" y="118"/>
                </a:cubicBezTo>
                <a:cubicBezTo>
                  <a:pt x="955" y="117"/>
                  <a:pt x="955" y="117"/>
                  <a:pt x="955" y="117"/>
                </a:cubicBezTo>
                <a:cubicBezTo>
                  <a:pt x="954" y="116"/>
                  <a:pt x="954" y="116"/>
                  <a:pt x="954" y="116"/>
                </a:cubicBezTo>
                <a:cubicBezTo>
                  <a:pt x="952" y="117"/>
                  <a:pt x="952" y="117"/>
                  <a:pt x="952" y="117"/>
                </a:cubicBezTo>
                <a:cubicBezTo>
                  <a:pt x="955" y="115"/>
                  <a:pt x="955" y="115"/>
                  <a:pt x="955" y="115"/>
                </a:cubicBezTo>
                <a:cubicBezTo>
                  <a:pt x="956" y="115"/>
                  <a:pt x="956" y="115"/>
                  <a:pt x="956" y="115"/>
                </a:cubicBezTo>
                <a:cubicBezTo>
                  <a:pt x="959" y="113"/>
                  <a:pt x="959" y="113"/>
                  <a:pt x="959" y="113"/>
                </a:cubicBezTo>
                <a:cubicBezTo>
                  <a:pt x="961" y="113"/>
                  <a:pt x="961" y="113"/>
                  <a:pt x="961" y="113"/>
                </a:cubicBezTo>
                <a:cubicBezTo>
                  <a:pt x="963" y="113"/>
                  <a:pt x="963" y="113"/>
                  <a:pt x="963" y="113"/>
                </a:cubicBezTo>
                <a:cubicBezTo>
                  <a:pt x="966" y="112"/>
                  <a:pt x="966" y="112"/>
                  <a:pt x="966" y="112"/>
                </a:cubicBezTo>
                <a:cubicBezTo>
                  <a:pt x="967" y="111"/>
                  <a:pt x="967" y="111"/>
                  <a:pt x="967" y="111"/>
                </a:cubicBezTo>
                <a:cubicBezTo>
                  <a:pt x="968" y="110"/>
                  <a:pt x="968" y="110"/>
                  <a:pt x="968" y="110"/>
                </a:cubicBezTo>
                <a:cubicBezTo>
                  <a:pt x="968" y="109"/>
                  <a:pt x="968" y="109"/>
                  <a:pt x="968" y="109"/>
                </a:cubicBezTo>
                <a:cubicBezTo>
                  <a:pt x="969" y="109"/>
                  <a:pt x="969" y="109"/>
                  <a:pt x="969" y="109"/>
                </a:cubicBezTo>
                <a:cubicBezTo>
                  <a:pt x="969" y="111"/>
                  <a:pt x="969" y="111"/>
                  <a:pt x="969" y="111"/>
                </a:cubicBezTo>
                <a:cubicBezTo>
                  <a:pt x="970" y="111"/>
                  <a:pt x="970" y="111"/>
                  <a:pt x="970" y="111"/>
                </a:cubicBezTo>
                <a:cubicBezTo>
                  <a:pt x="972" y="109"/>
                  <a:pt x="972" y="109"/>
                  <a:pt x="972" y="109"/>
                </a:cubicBezTo>
                <a:cubicBezTo>
                  <a:pt x="972" y="108"/>
                  <a:pt x="972" y="108"/>
                  <a:pt x="972" y="108"/>
                </a:cubicBezTo>
                <a:cubicBezTo>
                  <a:pt x="972" y="106"/>
                  <a:pt x="972" y="106"/>
                  <a:pt x="972" y="106"/>
                </a:cubicBezTo>
                <a:cubicBezTo>
                  <a:pt x="970" y="106"/>
                  <a:pt x="970" y="106"/>
                  <a:pt x="970" y="106"/>
                </a:cubicBezTo>
                <a:cubicBezTo>
                  <a:pt x="969" y="104"/>
                  <a:pt x="969" y="104"/>
                  <a:pt x="969" y="104"/>
                </a:cubicBezTo>
                <a:cubicBezTo>
                  <a:pt x="967" y="102"/>
                  <a:pt x="967" y="102"/>
                  <a:pt x="967" y="102"/>
                </a:cubicBezTo>
                <a:cubicBezTo>
                  <a:pt x="966" y="100"/>
                  <a:pt x="966" y="100"/>
                  <a:pt x="966" y="100"/>
                </a:cubicBezTo>
                <a:cubicBezTo>
                  <a:pt x="965" y="100"/>
                  <a:pt x="965" y="100"/>
                  <a:pt x="965" y="100"/>
                </a:cubicBezTo>
                <a:cubicBezTo>
                  <a:pt x="963" y="100"/>
                  <a:pt x="963" y="100"/>
                  <a:pt x="963" y="100"/>
                </a:cubicBezTo>
                <a:cubicBezTo>
                  <a:pt x="963" y="101"/>
                  <a:pt x="963" y="101"/>
                  <a:pt x="963" y="101"/>
                </a:cubicBezTo>
                <a:cubicBezTo>
                  <a:pt x="961" y="102"/>
                  <a:pt x="961" y="102"/>
                  <a:pt x="961" y="102"/>
                </a:cubicBezTo>
                <a:cubicBezTo>
                  <a:pt x="959" y="103"/>
                  <a:pt x="959" y="103"/>
                  <a:pt x="959" y="103"/>
                </a:cubicBezTo>
                <a:cubicBezTo>
                  <a:pt x="957" y="104"/>
                  <a:pt x="957" y="104"/>
                  <a:pt x="957" y="104"/>
                </a:cubicBezTo>
                <a:cubicBezTo>
                  <a:pt x="956" y="105"/>
                  <a:pt x="956" y="105"/>
                  <a:pt x="956" y="105"/>
                </a:cubicBezTo>
                <a:cubicBezTo>
                  <a:pt x="955" y="105"/>
                  <a:pt x="955" y="105"/>
                  <a:pt x="955" y="105"/>
                </a:cubicBezTo>
                <a:cubicBezTo>
                  <a:pt x="956" y="103"/>
                  <a:pt x="956" y="103"/>
                  <a:pt x="956" y="103"/>
                </a:cubicBezTo>
                <a:cubicBezTo>
                  <a:pt x="957" y="102"/>
                  <a:pt x="957" y="102"/>
                  <a:pt x="957" y="102"/>
                </a:cubicBezTo>
                <a:cubicBezTo>
                  <a:pt x="959" y="102"/>
                  <a:pt x="959" y="102"/>
                  <a:pt x="959" y="102"/>
                </a:cubicBezTo>
                <a:cubicBezTo>
                  <a:pt x="961" y="100"/>
                  <a:pt x="961" y="100"/>
                  <a:pt x="961" y="100"/>
                </a:cubicBezTo>
                <a:cubicBezTo>
                  <a:pt x="962" y="99"/>
                  <a:pt x="962" y="99"/>
                  <a:pt x="962" y="99"/>
                </a:cubicBezTo>
                <a:cubicBezTo>
                  <a:pt x="961" y="98"/>
                  <a:pt x="961" y="98"/>
                  <a:pt x="961" y="98"/>
                </a:cubicBezTo>
                <a:cubicBezTo>
                  <a:pt x="960" y="98"/>
                  <a:pt x="960" y="98"/>
                  <a:pt x="960" y="98"/>
                </a:cubicBezTo>
                <a:cubicBezTo>
                  <a:pt x="958" y="99"/>
                  <a:pt x="958" y="99"/>
                  <a:pt x="958" y="99"/>
                </a:cubicBezTo>
                <a:cubicBezTo>
                  <a:pt x="955" y="101"/>
                  <a:pt x="955" y="101"/>
                  <a:pt x="955" y="101"/>
                </a:cubicBezTo>
                <a:cubicBezTo>
                  <a:pt x="954" y="101"/>
                  <a:pt x="954" y="101"/>
                  <a:pt x="954" y="101"/>
                </a:cubicBezTo>
                <a:cubicBezTo>
                  <a:pt x="953" y="102"/>
                  <a:pt x="953" y="102"/>
                  <a:pt x="953" y="102"/>
                </a:cubicBezTo>
                <a:cubicBezTo>
                  <a:pt x="952" y="104"/>
                  <a:pt x="952" y="104"/>
                  <a:pt x="952" y="104"/>
                </a:cubicBezTo>
                <a:cubicBezTo>
                  <a:pt x="951" y="107"/>
                  <a:pt x="951" y="107"/>
                  <a:pt x="951" y="107"/>
                </a:cubicBezTo>
                <a:cubicBezTo>
                  <a:pt x="948" y="111"/>
                  <a:pt x="948" y="111"/>
                  <a:pt x="948" y="111"/>
                </a:cubicBezTo>
                <a:cubicBezTo>
                  <a:pt x="945" y="112"/>
                  <a:pt x="945" y="112"/>
                  <a:pt x="945" y="112"/>
                </a:cubicBezTo>
                <a:cubicBezTo>
                  <a:pt x="944" y="112"/>
                  <a:pt x="944" y="112"/>
                  <a:pt x="944" y="112"/>
                </a:cubicBezTo>
                <a:cubicBezTo>
                  <a:pt x="946" y="110"/>
                  <a:pt x="946" y="110"/>
                  <a:pt x="946" y="110"/>
                </a:cubicBezTo>
                <a:cubicBezTo>
                  <a:pt x="949" y="108"/>
                  <a:pt x="949" y="108"/>
                  <a:pt x="949" y="108"/>
                </a:cubicBezTo>
                <a:cubicBezTo>
                  <a:pt x="950" y="106"/>
                  <a:pt x="950" y="106"/>
                  <a:pt x="950" y="106"/>
                </a:cubicBezTo>
                <a:cubicBezTo>
                  <a:pt x="951" y="105"/>
                  <a:pt x="951" y="105"/>
                  <a:pt x="951" y="105"/>
                </a:cubicBezTo>
                <a:cubicBezTo>
                  <a:pt x="950" y="104"/>
                  <a:pt x="950" y="104"/>
                  <a:pt x="950" y="104"/>
                </a:cubicBezTo>
                <a:cubicBezTo>
                  <a:pt x="950" y="104"/>
                  <a:pt x="950" y="104"/>
                  <a:pt x="950" y="104"/>
                </a:cubicBezTo>
                <a:cubicBezTo>
                  <a:pt x="949" y="103"/>
                  <a:pt x="949" y="103"/>
                  <a:pt x="949" y="103"/>
                </a:cubicBezTo>
                <a:cubicBezTo>
                  <a:pt x="948" y="104"/>
                  <a:pt x="948" y="104"/>
                  <a:pt x="948" y="104"/>
                </a:cubicBezTo>
                <a:cubicBezTo>
                  <a:pt x="947" y="106"/>
                  <a:pt x="947" y="106"/>
                  <a:pt x="947" y="106"/>
                </a:cubicBezTo>
                <a:cubicBezTo>
                  <a:pt x="944" y="109"/>
                  <a:pt x="944" y="109"/>
                  <a:pt x="944" y="109"/>
                </a:cubicBezTo>
                <a:cubicBezTo>
                  <a:pt x="943" y="109"/>
                  <a:pt x="943" y="109"/>
                  <a:pt x="943" y="109"/>
                </a:cubicBezTo>
                <a:cubicBezTo>
                  <a:pt x="944" y="108"/>
                  <a:pt x="944" y="108"/>
                  <a:pt x="944" y="108"/>
                </a:cubicBezTo>
                <a:cubicBezTo>
                  <a:pt x="944" y="106"/>
                  <a:pt x="944" y="106"/>
                  <a:pt x="944" y="106"/>
                </a:cubicBezTo>
                <a:cubicBezTo>
                  <a:pt x="946" y="105"/>
                  <a:pt x="946" y="105"/>
                  <a:pt x="946" y="105"/>
                </a:cubicBezTo>
                <a:cubicBezTo>
                  <a:pt x="946" y="103"/>
                  <a:pt x="946" y="103"/>
                  <a:pt x="946" y="103"/>
                </a:cubicBezTo>
                <a:cubicBezTo>
                  <a:pt x="947" y="102"/>
                  <a:pt x="947" y="102"/>
                  <a:pt x="947" y="102"/>
                </a:cubicBezTo>
                <a:cubicBezTo>
                  <a:pt x="948" y="102"/>
                  <a:pt x="948" y="102"/>
                  <a:pt x="948" y="102"/>
                </a:cubicBezTo>
                <a:cubicBezTo>
                  <a:pt x="950" y="102"/>
                  <a:pt x="950" y="102"/>
                  <a:pt x="950" y="102"/>
                </a:cubicBezTo>
                <a:cubicBezTo>
                  <a:pt x="951" y="102"/>
                  <a:pt x="951" y="102"/>
                  <a:pt x="951" y="102"/>
                </a:cubicBezTo>
                <a:cubicBezTo>
                  <a:pt x="952" y="102"/>
                  <a:pt x="952" y="102"/>
                  <a:pt x="952" y="102"/>
                </a:cubicBezTo>
                <a:cubicBezTo>
                  <a:pt x="953" y="100"/>
                  <a:pt x="953" y="100"/>
                  <a:pt x="953" y="100"/>
                </a:cubicBezTo>
                <a:cubicBezTo>
                  <a:pt x="955" y="100"/>
                  <a:pt x="955" y="100"/>
                  <a:pt x="955" y="100"/>
                </a:cubicBezTo>
                <a:cubicBezTo>
                  <a:pt x="957" y="97"/>
                  <a:pt x="957" y="97"/>
                  <a:pt x="957" y="97"/>
                </a:cubicBezTo>
                <a:cubicBezTo>
                  <a:pt x="958" y="95"/>
                  <a:pt x="958" y="95"/>
                  <a:pt x="958" y="95"/>
                </a:cubicBezTo>
                <a:cubicBezTo>
                  <a:pt x="957" y="94"/>
                  <a:pt x="957" y="94"/>
                  <a:pt x="957" y="94"/>
                </a:cubicBezTo>
                <a:cubicBezTo>
                  <a:pt x="958" y="93"/>
                  <a:pt x="958" y="93"/>
                  <a:pt x="958" y="93"/>
                </a:cubicBezTo>
                <a:cubicBezTo>
                  <a:pt x="957" y="92"/>
                  <a:pt x="957" y="92"/>
                  <a:pt x="957" y="92"/>
                </a:cubicBezTo>
                <a:cubicBezTo>
                  <a:pt x="954" y="93"/>
                  <a:pt x="954" y="93"/>
                  <a:pt x="954" y="93"/>
                </a:cubicBezTo>
                <a:cubicBezTo>
                  <a:pt x="953" y="95"/>
                  <a:pt x="953" y="95"/>
                  <a:pt x="953" y="95"/>
                </a:cubicBezTo>
                <a:cubicBezTo>
                  <a:pt x="953" y="97"/>
                  <a:pt x="953" y="97"/>
                  <a:pt x="953" y="97"/>
                </a:cubicBezTo>
                <a:cubicBezTo>
                  <a:pt x="953" y="99"/>
                  <a:pt x="953" y="99"/>
                  <a:pt x="953" y="99"/>
                </a:cubicBezTo>
                <a:cubicBezTo>
                  <a:pt x="952" y="99"/>
                  <a:pt x="952" y="99"/>
                  <a:pt x="952" y="99"/>
                </a:cubicBezTo>
                <a:cubicBezTo>
                  <a:pt x="952" y="99"/>
                  <a:pt x="952" y="99"/>
                  <a:pt x="952" y="99"/>
                </a:cubicBezTo>
                <a:cubicBezTo>
                  <a:pt x="952" y="98"/>
                  <a:pt x="952" y="98"/>
                  <a:pt x="952" y="98"/>
                </a:cubicBezTo>
                <a:cubicBezTo>
                  <a:pt x="951" y="97"/>
                  <a:pt x="951" y="97"/>
                  <a:pt x="951" y="97"/>
                </a:cubicBezTo>
                <a:cubicBezTo>
                  <a:pt x="949" y="97"/>
                  <a:pt x="949" y="97"/>
                  <a:pt x="949" y="97"/>
                </a:cubicBezTo>
                <a:cubicBezTo>
                  <a:pt x="947" y="98"/>
                  <a:pt x="947" y="98"/>
                  <a:pt x="947" y="98"/>
                </a:cubicBezTo>
                <a:cubicBezTo>
                  <a:pt x="946" y="98"/>
                  <a:pt x="946" y="98"/>
                  <a:pt x="946" y="98"/>
                </a:cubicBezTo>
                <a:cubicBezTo>
                  <a:pt x="944" y="98"/>
                  <a:pt x="944" y="98"/>
                  <a:pt x="944" y="98"/>
                </a:cubicBezTo>
                <a:cubicBezTo>
                  <a:pt x="942" y="99"/>
                  <a:pt x="942" y="99"/>
                  <a:pt x="942" y="99"/>
                </a:cubicBezTo>
                <a:cubicBezTo>
                  <a:pt x="940" y="99"/>
                  <a:pt x="940" y="99"/>
                  <a:pt x="940" y="99"/>
                </a:cubicBezTo>
                <a:cubicBezTo>
                  <a:pt x="941" y="98"/>
                  <a:pt x="941" y="98"/>
                  <a:pt x="941" y="98"/>
                </a:cubicBezTo>
                <a:cubicBezTo>
                  <a:pt x="943" y="97"/>
                  <a:pt x="943" y="97"/>
                  <a:pt x="943" y="97"/>
                </a:cubicBezTo>
                <a:cubicBezTo>
                  <a:pt x="944" y="96"/>
                  <a:pt x="944" y="96"/>
                  <a:pt x="944" y="96"/>
                </a:cubicBezTo>
                <a:cubicBezTo>
                  <a:pt x="944" y="95"/>
                  <a:pt x="944" y="95"/>
                  <a:pt x="944" y="95"/>
                </a:cubicBezTo>
                <a:cubicBezTo>
                  <a:pt x="943" y="95"/>
                  <a:pt x="943" y="95"/>
                  <a:pt x="943" y="95"/>
                </a:cubicBezTo>
                <a:cubicBezTo>
                  <a:pt x="941" y="95"/>
                  <a:pt x="941" y="95"/>
                  <a:pt x="941" y="95"/>
                </a:cubicBezTo>
                <a:cubicBezTo>
                  <a:pt x="942" y="94"/>
                  <a:pt x="942" y="94"/>
                  <a:pt x="942" y="94"/>
                </a:cubicBezTo>
                <a:cubicBezTo>
                  <a:pt x="943" y="94"/>
                  <a:pt x="943" y="94"/>
                  <a:pt x="943" y="94"/>
                </a:cubicBezTo>
                <a:cubicBezTo>
                  <a:pt x="944" y="93"/>
                  <a:pt x="944" y="93"/>
                  <a:pt x="944" y="93"/>
                </a:cubicBezTo>
                <a:cubicBezTo>
                  <a:pt x="945" y="91"/>
                  <a:pt x="945" y="91"/>
                  <a:pt x="945" y="91"/>
                </a:cubicBezTo>
                <a:cubicBezTo>
                  <a:pt x="947" y="90"/>
                  <a:pt x="947" y="90"/>
                  <a:pt x="947" y="90"/>
                </a:cubicBezTo>
                <a:cubicBezTo>
                  <a:pt x="947" y="90"/>
                  <a:pt x="947" y="90"/>
                  <a:pt x="947" y="90"/>
                </a:cubicBezTo>
                <a:cubicBezTo>
                  <a:pt x="948" y="90"/>
                  <a:pt x="948" y="90"/>
                  <a:pt x="948" y="90"/>
                </a:cubicBezTo>
                <a:cubicBezTo>
                  <a:pt x="950" y="91"/>
                  <a:pt x="950" y="91"/>
                  <a:pt x="950" y="91"/>
                </a:cubicBezTo>
                <a:cubicBezTo>
                  <a:pt x="951" y="92"/>
                  <a:pt x="951" y="92"/>
                  <a:pt x="951" y="92"/>
                </a:cubicBezTo>
                <a:cubicBezTo>
                  <a:pt x="953" y="92"/>
                  <a:pt x="953" y="92"/>
                  <a:pt x="953" y="92"/>
                </a:cubicBezTo>
                <a:cubicBezTo>
                  <a:pt x="955" y="90"/>
                  <a:pt x="955" y="90"/>
                  <a:pt x="955" y="90"/>
                </a:cubicBezTo>
                <a:cubicBezTo>
                  <a:pt x="956" y="88"/>
                  <a:pt x="956" y="88"/>
                  <a:pt x="956" y="88"/>
                </a:cubicBezTo>
                <a:cubicBezTo>
                  <a:pt x="956" y="87"/>
                  <a:pt x="956" y="87"/>
                  <a:pt x="956" y="87"/>
                </a:cubicBezTo>
                <a:cubicBezTo>
                  <a:pt x="954" y="85"/>
                  <a:pt x="954" y="85"/>
                  <a:pt x="954" y="85"/>
                </a:cubicBezTo>
                <a:cubicBezTo>
                  <a:pt x="953" y="83"/>
                  <a:pt x="953" y="83"/>
                  <a:pt x="953" y="83"/>
                </a:cubicBezTo>
                <a:cubicBezTo>
                  <a:pt x="953" y="82"/>
                  <a:pt x="953" y="82"/>
                  <a:pt x="953" y="82"/>
                </a:cubicBezTo>
                <a:cubicBezTo>
                  <a:pt x="951" y="80"/>
                  <a:pt x="951" y="80"/>
                  <a:pt x="951" y="80"/>
                </a:cubicBezTo>
                <a:cubicBezTo>
                  <a:pt x="950" y="79"/>
                  <a:pt x="950" y="79"/>
                  <a:pt x="950" y="79"/>
                </a:cubicBezTo>
                <a:cubicBezTo>
                  <a:pt x="948" y="76"/>
                  <a:pt x="948" y="76"/>
                  <a:pt x="948" y="76"/>
                </a:cubicBezTo>
                <a:cubicBezTo>
                  <a:pt x="948" y="76"/>
                  <a:pt x="948" y="76"/>
                  <a:pt x="948" y="76"/>
                </a:cubicBezTo>
                <a:cubicBezTo>
                  <a:pt x="947" y="78"/>
                  <a:pt x="947" y="78"/>
                  <a:pt x="947" y="78"/>
                </a:cubicBezTo>
                <a:cubicBezTo>
                  <a:pt x="946" y="79"/>
                  <a:pt x="946" y="79"/>
                  <a:pt x="946" y="79"/>
                </a:cubicBezTo>
                <a:cubicBezTo>
                  <a:pt x="946" y="79"/>
                  <a:pt x="946" y="79"/>
                  <a:pt x="946" y="79"/>
                </a:cubicBezTo>
                <a:cubicBezTo>
                  <a:pt x="945" y="81"/>
                  <a:pt x="945" y="81"/>
                  <a:pt x="945" y="81"/>
                </a:cubicBezTo>
                <a:cubicBezTo>
                  <a:pt x="945" y="82"/>
                  <a:pt x="945" y="82"/>
                  <a:pt x="945" y="82"/>
                </a:cubicBezTo>
                <a:cubicBezTo>
                  <a:pt x="943" y="83"/>
                  <a:pt x="943" y="83"/>
                  <a:pt x="943" y="83"/>
                </a:cubicBezTo>
                <a:cubicBezTo>
                  <a:pt x="942" y="84"/>
                  <a:pt x="942" y="84"/>
                  <a:pt x="942" y="84"/>
                </a:cubicBezTo>
                <a:cubicBezTo>
                  <a:pt x="942" y="86"/>
                  <a:pt x="942" y="86"/>
                  <a:pt x="942" y="86"/>
                </a:cubicBezTo>
                <a:cubicBezTo>
                  <a:pt x="940" y="87"/>
                  <a:pt x="940" y="87"/>
                  <a:pt x="940" y="87"/>
                </a:cubicBezTo>
                <a:cubicBezTo>
                  <a:pt x="939" y="89"/>
                  <a:pt x="939" y="89"/>
                  <a:pt x="939" y="89"/>
                </a:cubicBezTo>
                <a:cubicBezTo>
                  <a:pt x="939" y="91"/>
                  <a:pt x="939" y="91"/>
                  <a:pt x="939" y="91"/>
                </a:cubicBezTo>
                <a:cubicBezTo>
                  <a:pt x="938" y="92"/>
                  <a:pt x="938" y="92"/>
                  <a:pt x="938" y="92"/>
                </a:cubicBezTo>
                <a:cubicBezTo>
                  <a:pt x="937" y="92"/>
                  <a:pt x="937" y="92"/>
                  <a:pt x="937" y="92"/>
                </a:cubicBezTo>
                <a:cubicBezTo>
                  <a:pt x="938" y="89"/>
                  <a:pt x="938" y="89"/>
                  <a:pt x="938" y="89"/>
                </a:cubicBezTo>
                <a:cubicBezTo>
                  <a:pt x="939" y="87"/>
                  <a:pt x="939" y="87"/>
                  <a:pt x="939" y="87"/>
                </a:cubicBezTo>
                <a:cubicBezTo>
                  <a:pt x="941" y="86"/>
                  <a:pt x="941" y="86"/>
                  <a:pt x="941" y="86"/>
                </a:cubicBezTo>
                <a:cubicBezTo>
                  <a:pt x="941" y="85"/>
                  <a:pt x="941" y="85"/>
                  <a:pt x="941" y="85"/>
                </a:cubicBezTo>
                <a:cubicBezTo>
                  <a:pt x="940" y="85"/>
                  <a:pt x="940" y="85"/>
                  <a:pt x="940" y="85"/>
                </a:cubicBezTo>
                <a:cubicBezTo>
                  <a:pt x="940" y="83"/>
                  <a:pt x="940" y="83"/>
                  <a:pt x="940" y="83"/>
                </a:cubicBezTo>
                <a:cubicBezTo>
                  <a:pt x="938" y="84"/>
                  <a:pt x="938" y="84"/>
                  <a:pt x="938" y="84"/>
                </a:cubicBezTo>
                <a:cubicBezTo>
                  <a:pt x="935" y="87"/>
                  <a:pt x="935" y="87"/>
                  <a:pt x="935" y="87"/>
                </a:cubicBezTo>
                <a:cubicBezTo>
                  <a:pt x="935" y="89"/>
                  <a:pt x="935" y="89"/>
                  <a:pt x="935" y="89"/>
                </a:cubicBezTo>
                <a:cubicBezTo>
                  <a:pt x="933" y="90"/>
                  <a:pt x="933" y="90"/>
                  <a:pt x="933" y="90"/>
                </a:cubicBezTo>
                <a:cubicBezTo>
                  <a:pt x="933" y="89"/>
                  <a:pt x="933" y="89"/>
                  <a:pt x="933" y="89"/>
                </a:cubicBezTo>
                <a:cubicBezTo>
                  <a:pt x="934" y="88"/>
                  <a:pt x="934" y="88"/>
                  <a:pt x="934" y="88"/>
                </a:cubicBezTo>
                <a:cubicBezTo>
                  <a:pt x="935" y="85"/>
                  <a:pt x="935" y="85"/>
                  <a:pt x="935" y="85"/>
                </a:cubicBezTo>
                <a:cubicBezTo>
                  <a:pt x="936" y="84"/>
                  <a:pt x="936" y="84"/>
                  <a:pt x="936" y="84"/>
                </a:cubicBezTo>
                <a:cubicBezTo>
                  <a:pt x="938" y="82"/>
                  <a:pt x="938" y="82"/>
                  <a:pt x="938" y="82"/>
                </a:cubicBezTo>
                <a:cubicBezTo>
                  <a:pt x="939" y="81"/>
                  <a:pt x="939" y="81"/>
                  <a:pt x="939" y="81"/>
                </a:cubicBezTo>
                <a:cubicBezTo>
                  <a:pt x="939" y="79"/>
                  <a:pt x="939" y="79"/>
                  <a:pt x="939" y="79"/>
                </a:cubicBezTo>
                <a:cubicBezTo>
                  <a:pt x="939" y="78"/>
                  <a:pt x="939" y="78"/>
                  <a:pt x="939" y="78"/>
                </a:cubicBezTo>
                <a:cubicBezTo>
                  <a:pt x="937" y="79"/>
                  <a:pt x="937" y="79"/>
                  <a:pt x="937" y="79"/>
                </a:cubicBezTo>
                <a:cubicBezTo>
                  <a:pt x="934" y="82"/>
                  <a:pt x="934" y="82"/>
                  <a:pt x="934" y="82"/>
                </a:cubicBezTo>
                <a:cubicBezTo>
                  <a:pt x="934" y="83"/>
                  <a:pt x="934" y="83"/>
                  <a:pt x="934" y="83"/>
                </a:cubicBezTo>
                <a:cubicBezTo>
                  <a:pt x="932" y="85"/>
                  <a:pt x="932" y="85"/>
                  <a:pt x="932" y="85"/>
                </a:cubicBezTo>
                <a:cubicBezTo>
                  <a:pt x="932" y="85"/>
                  <a:pt x="932" y="85"/>
                  <a:pt x="932" y="85"/>
                </a:cubicBezTo>
                <a:cubicBezTo>
                  <a:pt x="932" y="83"/>
                  <a:pt x="932" y="83"/>
                  <a:pt x="932" y="83"/>
                </a:cubicBezTo>
                <a:cubicBezTo>
                  <a:pt x="933" y="81"/>
                  <a:pt x="933" y="81"/>
                  <a:pt x="933" y="81"/>
                </a:cubicBezTo>
                <a:cubicBezTo>
                  <a:pt x="932" y="81"/>
                  <a:pt x="932" y="81"/>
                  <a:pt x="932" y="81"/>
                </a:cubicBezTo>
                <a:cubicBezTo>
                  <a:pt x="932" y="80"/>
                  <a:pt x="932" y="80"/>
                  <a:pt x="932" y="80"/>
                </a:cubicBezTo>
                <a:cubicBezTo>
                  <a:pt x="934" y="80"/>
                  <a:pt x="934" y="80"/>
                  <a:pt x="934" y="80"/>
                </a:cubicBezTo>
                <a:cubicBezTo>
                  <a:pt x="937" y="77"/>
                  <a:pt x="937" y="77"/>
                  <a:pt x="937" y="77"/>
                </a:cubicBezTo>
                <a:cubicBezTo>
                  <a:pt x="940" y="75"/>
                  <a:pt x="940" y="75"/>
                  <a:pt x="940" y="75"/>
                </a:cubicBezTo>
                <a:cubicBezTo>
                  <a:pt x="940" y="73"/>
                  <a:pt x="940" y="73"/>
                  <a:pt x="940" y="73"/>
                </a:cubicBezTo>
                <a:cubicBezTo>
                  <a:pt x="939" y="73"/>
                  <a:pt x="939" y="73"/>
                  <a:pt x="939" y="73"/>
                </a:cubicBezTo>
                <a:cubicBezTo>
                  <a:pt x="937" y="75"/>
                  <a:pt x="937" y="75"/>
                  <a:pt x="937" y="75"/>
                </a:cubicBezTo>
                <a:cubicBezTo>
                  <a:pt x="936" y="76"/>
                  <a:pt x="936" y="76"/>
                  <a:pt x="936" y="76"/>
                </a:cubicBezTo>
                <a:cubicBezTo>
                  <a:pt x="935" y="77"/>
                  <a:pt x="935" y="77"/>
                  <a:pt x="935" y="77"/>
                </a:cubicBezTo>
                <a:cubicBezTo>
                  <a:pt x="935" y="76"/>
                  <a:pt x="935" y="76"/>
                  <a:pt x="935" y="76"/>
                </a:cubicBezTo>
                <a:cubicBezTo>
                  <a:pt x="934" y="75"/>
                  <a:pt x="934" y="75"/>
                  <a:pt x="934" y="75"/>
                </a:cubicBezTo>
                <a:cubicBezTo>
                  <a:pt x="931" y="78"/>
                  <a:pt x="931" y="78"/>
                  <a:pt x="931" y="78"/>
                </a:cubicBezTo>
                <a:cubicBezTo>
                  <a:pt x="930" y="79"/>
                  <a:pt x="930" y="79"/>
                  <a:pt x="930" y="79"/>
                </a:cubicBezTo>
                <a:cubicBezTo>
                  <a:pt x="928" y="82"/>
                  <a:pt x="928" y="82"/>
                  <a:pt x="928" y="82"/>
                </a:cubicBezTo>
                <a:cubicBezTo>
                  <a:pt x="926" y="84"/>
                  <a:pt x="926" y="84"/>
                  <a:pt x="926" y="84"/>
                </a:cubicBezTo>
                <a:cubicBezTo>
                  <a:pt x="925" y="84"/>
                  <a:pt x="925" y="84"/>
                  <a:pt x="925" y="84"/>
                </a:cubicBezTo>
                <a:cubicBezTo>
                  <a:pt x="926" y="82"/>
                  <a:pt x="926" y="82"/>
                  <a:pt x="926" y="82"/>
                </a:cubicBezTo>
                <a:cubicBezTo>
                  <a:pt x="928" y="81"/>
                  <a:pt x="928" y="81"/>
                  <a:pt x="928" y="81"/>
                </a:cubicBezTo>
                <a:cubicBezTo>
                  <a:pt x="929" y="79"/>
                  <a:pt x="929" y="79"/>
                  <a:pt x="929" y="79"/>
                </a:cubicBezTo>
                <a:cubicBezTo>
                  <a:pt x="929" y="78"/>
                  <a:pt x="929" y="78"/>
                  <a:pt x="929" y="78"/>
                </a:cubicBezTo>
                <a:cubicBezTo>
                  <a:pt x="927" y="79"/>
                  <a:pt x="927" y="79"/>
                  <a:pt x="927" y="79"/>
                </a:cubicBezTo>
                <a:cubicBezTo>
                  <a:pt x="929" y="77"/>
                  <a:pt x="929" y="77"/>
                  <a:pt x="929" y="77"/>
                </a:cubicBezTo>
                <a:cubicBezTo>
                  <a:pt x="931" y="77"/>
                  <a:pt x="931" y="77"/>
                  <a:pt x="931" y="77"/>
                </a:cubicBezTo>
                <a:cubicBezTo>
                  <a:pt x="932" y="76"/>
                  <a:pt x="932" y="76"/>
                  <a:pt x="932" y="76"/>
                </a:cubicBezTo>
                <a:cubicBezTo>
                  <a:pt x="932" y="75"/>
                  <a:pt x="932" y="75"/>
                  <a:pt x="932" y="75"/>
                </a:cubicBezTo>
                <a:cubicBezTo>
                  <a:pt x="931" y="75"/>
                  <a:pt x="931" y="75"/>
                  <a:pt x="931" y="75"/>
                </a:cubicBezTo>
                <a:cubicBezTo>
                  <a:pt x="928" y="76"/>
                  <a:pt x="928" y="76"/>
                  <a:pt x="928" y="76"/>
                </a:cubicBezTo>
                <a:cubicBezTo>
                  <a:pt x="927" y="77"/>
                  <a:pt x="927" y="77"/>
                  <a:pt x="927" y="77"/>
                </a:cubicBezTo>
                <a:cubicBezTo>
                  <a:pt x="926" y="77"/>
                  <a:pt x="926" y="77"/>
                  <a:pt x="926" y="77"/>
                </a:cubicBezTo>
                <a:cubicBezTo>
                  <a:pt x="929" y="75"/>
                  <a:pt x="929" y="75"/>
                  <a:pt x="929" y="75"/>
                </a:cubicBezTo>
                <a:cubicBezTo>
                  <a:pt x="929" y="74"/>
                  <a:pt x="929" y="74"/>
                  <a:pt x="929" y="74"/>
                </a:cubicBezTo>
                <a:cubicBezTo>
                  <a:pt x="927" y="74"/>
                  <a:pt x="927" y="74"/>
                  <a:pt x="927" y="74"/>
                </a:cubicBezTo>
                <a:cubicBezTo>
                  <a:pt x="928" y="72"/>
                  <a:pt x="928" y="72"/>
                  <a:pt x="928" y="72"/>
                </a:cubicBezTo>
                <a:cubicBezTo>
                  <a:pt x="930" y="72"/>
                  <a:pt x="930" y="72"/>
                  <a:pt x="930" y="72"/>
                </a:cubicBezTo>
                <a:cubicBezTo>
                  <a:pt x="931" y="73"/>
                  <a:pt x="931" y="73"/>
                  <a:pt x="931" y="73"/>
                </a:cubicBezTo>
                <a:cubicBezTo>
                  <a:pt x="933" y="73"/>
                  <a:pt x="933" y="73"/>
                  <a:pt x="933" y="73"/>
                </a:cubicBezTo>
                <a:cubicBezTo>
                  <a:pt x="934" y="71"/>
                  <a:pt x="934" y="71"/>
                  <a:pt x="934" y="71"/>
                </a:cubicBezTo>
                <a:cubicBezTo>
                  <a:pt x="936" y="70"/>
                  <a:pt x="936" y="70"/>
                  <a:pt x="936" y="70"/>
                </a:cubicBezTo>
                <a:cubicBezTo>
                  <a:pt x="936" y="69"/>
                  <a:pt x="936" y="69"/>
                  <a:pt x="936" y="69"/>
                </a:cubicBezTo>
                <a:cubicBezTo>
                  <a:pt x="937" y="67"/>
                  <a:pt x="937" y="67"/>
                  <a:pt x="937" y="67"/>
                </a:cubicBezTo>
                <a:cubicBezTo>
                  <a:pt x="937" y="66"/>
                  <a:pt x="937" y="66"/>
                  <a:pt x="937" y="66"/>
                </a:cubicBezTo>
                <a:cubicBezTo>
                  <a:pt x="935" y="66"/>
                  <a:pt x="935" y="66"/>
                  <a:pt x="935" y="66"/>
                </a:cubicBezTo>
                <a:cubicBezTo>
                  <a:pt x="934" y="65"/>
                  <a:pt x="934" y="65"/>
                  <a:pt x="934" y="65"/>
                </a:cubicBezTo>
                <a:cubicBezTo>
                  <a:pt x="932" y="64"/>
                  <a:pt x="932" y="64"/>
                  <a:pt x="932" y="64"/>
                </a:cubicBezTo>
                <a:cubicBezTo>
                  <a:pt x="930" y="66"/>
                  <a:pt x="930" y="66"/>
                  <a:pt x="930" y="66"/>
                </a:cubicBezTo>
                <a:cubicBezTo>
                  <a:pt x="928" y="67"/>
                  <a:pt x="928" y="67"/>
                  <a:pt x="928" y="67"/>
                </a:cubicBezTo>
                <a:cubicBezTo>
                  <a:pt x="926" y="69"/>
                  <a:pt x="926" y="69"/>
                  <a:pt x="926" y="69"/>
                </a:cubicBezTo>
                <a:cubicBezTo>
                  <a:pt x="922" y="73"/>
                  <a:pt x="922" y="73"/>
                  <a:pt x="922" y="73"/>
                </a:cubicBezTo>
                <a:cubicBezTo>
                  <a:pt x="921" y="73"/>
                  <a:pt x="921" y="73"/>
                  <a:pt x="921" y="73"/>
                </a:cubicBezTo>
                <a:cubicBezTo>
                  <a:pt x="922" y="72"/>
                  <a:pt x="922" y="72"/>
                  <a:pt x="922" y="72"/>
                </a:cubicBezTo>
                <a:cubicBezTo>
                  <a:pt x="923" y="71"/>
                  <a:pt x="923" y="71"/>
                  <a:pt x="923" y="71"/>
                </a:cubicBezTo>
                <a:cubicBezTo>
                  <a:pt x="924" y="70"/>
                  <a:pt x="924" y="70"/>
                  <a:pt x="924" y="70"/>
                </a:cubicBezTo>
                <a:cubicBezTo>
                  <a:pt x="927" y="67"/>
                  <a:pt x="927" y="67"/>
                  <a:pt x="927" y="67"/>
                </a:cubicBezTo>
                <a:cubicBezTo>
                  <a:pt x="929" y="65"/>
                  <a:pt x="929" y="65"/>
                  <a:pt x="929" y="65"/>
                </a:cubicBezTo>
                <a:cubicBezTo>
                  <a:pt x="930" y="64"/>
                  <a:pt x="930" y="64"/>
                  <a:pt x="930" y="64"/>
                </a:cubicBezTo>
                <a:cubicBezTo>
                  <a:pt x="930" y="63"/>
                  <a:pt x="930" y="63"/>
                  <a:pt x="930" y="63"/>
                </a:cubicBezTo>
                <a:cubicBezTo>
                  <a:pt x="926" y="63"/>
                  <a:pt x="926" y="63"/>
                  <a:pt x="926" y="63"/>
                </a:cubicBezTo>
                <a:cubicBezTo>
                  <a:pt x="923" y="65"/>
                  <a:pt x="923" y="65"/>
                  <a:pt x="923" y="65"/>
                </a:cubicBezTo>
                <a:cubicBezTo>
                  <a:pt x="926" y="63"/>
                  <a:pt x="926" y="63"/>
                  <a:pt x="926" y="63"/>
                </a:cubicBezTo>
                <a:cubicBezTo>
                  <a:pt x="929" y="62"/>
                  <a:pt x="929" y="62"/>
                  <a:pt x="929" y="62"/>
                </a:cubicBezTo>
                <a:cubicBezTo>
                  <a:pt x="931" y="62"/>
                  <a:pt x="931" y="62"/>
                  <a:pt x="931" y="62"/>
                </a:cubicBezTo>
                <a:cubicBezTo>
                  <a:pt x="932" y="63"/>
                  <a:pt x="932" y="63"/>
                  <a:pt x="932" y="63"/>
                </a:cubicBezTo>
                <a:cubicBezTo>
                  <a:pt x="934" y="61"/>
                  <a:pt x="934" y="61"/>
                  <a:pt x="934" y="61"/>
                </a:cubicBezTo>
                <a:cubicBezTo>
                  <a:pt x="934" y="59"/>
                  <a:pt x="934" y="59"/>
                  <a:pt x="934" y="59"/>
                </a:cubicBezTo>
                <a:cubicBezTo>
                  <a:pt x="933" y="58"/>
                  <a:pt x="933" y="58"/>
                  <a:pt x="933" y="58"/>
                </a:cubicBezTo>
                <a:cubicBezTo>
                  <a:pt x="933" y="57"/>
                  <a:pt x="933" y="57"/>
                  <a:pt x="933" y="57"/>
                </a:cubicBezTo>
                <a:cubicBezTo>
                  <a:pt x="933" y="56"/>
                  <a:pt x="933" y="56"/>
                  <a:pt x="933" y="56"/>
                </a:cubicBezTo>
                <a:cubicBezTo>
                  <a:pt x="931" y="55"/>
                  <a:pt x="931" y="55"/>
                  <a:pt x="931" y="55"/>
                </a:cubicBezTo>
                <a:cubicBezTo>
                  <a:pt x="930" y="53"/>
                  <a:pt x="930" y="53"/>
                  <a:pt x="930" y="53"/>
                </a:cubicBezTo>
                <a:cubicBezTo>
                  <a:pt x="929" y="53"/>
                  <a:pt x="929" y="53"/>
                  <a:pt x="929" y="53"/>
                </a:cubicBezTo>
                <a:cubicBezTo>
                  <a:pt x="928" y="53"/>
                  <a:pt x="928" y="53"/>
                  <a:pt x="928" y="53"/>
                </a:cubicBezTo>
                <a:cubicBezTo>
                  <a:pt x="927" y="53"/>
                  <a:pt x="927" y="53"/>
                  <a:pt x="927" y="53"/>
                </a:cubicBezTo>
                <a:cubicBezTo>
                  <a:pt x="927" y="52"/>
                  <a:pt x="927" y="52"/>
                  <a:pt x="927" y="52"/>
                </a:cubicBezTo>
                <a:cubicBezTo>
                  <a:pt x="926" y="51"/>
                  <a:pt x="926" y="51"/>
                  <a:pt x="926" y="51"/>
                </a:cubicBezTo>
                <a:cubicBezTo>
                  <a:pt x="924" y="50"/>
                  <a:pt x="924" y="50"/>
                  <a:pt x="924" y="50"/>
                </a:cubicBezTo>
                <a:cubicBezTo>
                  <a:pt x="924" y="49"/>
                  <a:pt x="924" y="49"/>
                  <a:pt x="924" y="49"/>
                </a:cubicBezTo>
                <a:cubicBezTo>
                  <a:pt x="921" y="47"/>
                  <a:pt x="921" y="47"/>
                  <a:pt x="921" y="47"/>
                </a:cubicBezTo>
                <a:cubicBezTo>
                  <a:pt x="920" y="48"/>
                  <a:pt x="920" y="48"/>
                  <a:pt x="920" y="48"/>
                </a:cubicBezTo>
                <a:cubicBezTo>
                  <a:pt x="920" y="47"/>
                  <a:pt x="920" y="47"/>
                  <a:pt x="920" y="47"/>
                </a:cubicBezTo>
                <a:cubicBezTo>
                  <a:pt x="917" y="46"/>
                  <a:pt x="917" y="46"/>
                  <a:pt x="917" y="46"/>
                </a:cubicBezTo>
                <a:cubicBezTo>
                  <a:pt x="914" y="47"/>
                  <a:pt x="914" y="47"/>
                  <a:pt x="914" y="47"/>
                </a:cubicBezTo>
                <a:cubicBezTo>
                  <a:pt x="912" y="49"/>
                  <a:pt x="912" y="49"/>
                  <a:pt x="912" y="49"/>
                </a:cubicBezTo>
                <a:cubicBezTo>
                  <a:pt x="910" y="49"/>
                  <a:pt x="910" y="49"/>
                  <a:pt x="910" y="49"/>
                </a:cubicBezTo>
                <a:cubicBezTo>
                  <a:pt x="908" y="52"/>
                  <a:pt x="908" y="52"/>
                  <a:pt x="908" y="52"/>
                </a:cubicBezTo>
                <a:cubicBezTo>
                  <a:pt x="909" y="53"/>
                  <a:pt x="909" y="53"/>
                  <a:pt x="909" y="53"/>
                </a:cubicBezTo>
                <a:cubicBezTo>
                  <a:pt x="910" y="53"/>
                  <a:pt x="910" y="53"/>
                  <a:pt x="910" y="53"/>
                </a:cubicBezTo>
                <a:cubicBezTo>
                  <a:pt x="914" y="56"/>
                  <a:pt x="914" y="56"/>
                  <a:pt x="914" y="56"/>
                </a:cubicBezTo>
                <a:cubicBezTo>
                  <a:pt x="914" y="57"/>
                  <a:pt x="914" y="57"/>
                  <a:pt x="914" y="57"/>
                </a:cubicBezTo>
                <a:cubicBezTo>
                  <a:pt x="916" y="58"/>
                  <a:pt x="916" y="58"/>
                  <a:pt x="916" y="58"/>
                </a:cubicBezTo>
                <a:cubicBezTo>
                  <a:pt x="916" y="60"/>
                  <a:pt x="916" y="60"/>
                  <a:pt x="916" y="60"/>
                </a:cubicBezTo>
                <a:cubicBezTo>
                  <a:pt x="916" y="60"/>
                  <a:pt x="916" y="60"/>
                  <a:pt x="916" y="60"/>
                </a:cubicBezTo>
                <a:cubicBezTo>
                  <a:pt x="914" y="59"/>
                  <a:pt x="914" y="59"/>
                  <a:pt x="914" y="59"/>
                </a:cubicBezTo>
                <a:cubicBezTo>
                  <a:pt x="912" y="59"/>
                  <a:pt x="912" y="59"/>
                  <a:pt x="912" y="59"/>
                </a:cubicBezTo>
                <a:cubicBezTo>
                  <a:pt x="912" y="58"/>
                  <a:pt x="912" y="58"/>
                  <a:pt x="912" y="58"/>
                </a:cubicBezTo>
                <a:cubicBezTo>
                  <a:pt x="909" y="54"/>
                  <a:pt x="909" y="54"/>
                  <a:pt x="909" y="54"/>
                </a:cubicBezTo>
                <a:cubicBezTo>
                  <a:pt x="907" y="55"/>
                  <a:pt x="907" y="55"/>
                  <a:pt x="907" y="55"/>
                </a:cubicBezTo>
                <a:cubicBezTo>
                  <a:pt x="906" y="55"/>
                  <a:pt x="906" y="55"/>
                  <a:pt x="906" y="55"/>
                </a:cubicBezTo>
                <a:cubicBezTo>
                  <a:pt x="906" y="54"/>
                  <a:pt x="906" y="54"/>
                  <a:pt x="906" y="54"/>
                </a:cubicBezTo>
                <a:cubicBezTo>
                  <a:pt x="907" y="52"/>
                  <a:pt x="907" y="52"/>
                  <a:pt x="907" y="52"/>
                </a:cubicBezTo>
                <a:cubicBezTo>
                  <a:pt x="905" y="51"/>
                  <a:pt x="905" y="51"/>
                  <a:pt x="905" y="51"/>
                </a:cubicBezTo>
                <a:cubicBezTo>
                  <a:pt x="904" y="51"/>
                  <a:pt x="904" y="51"/>
                  <a:pt x="904" y="51"/>
                </a:cubicBezTo>
                <a:cubicBezTo>
                  <a:pt x="904" y="55"/>
                  <a:pt x="904" y="55"/>
                  <a:pt x="904" y="55"/>
                </a:cubicBezTo>
                <a:cubicBezTo>
                  <a:pt x="905" y="57"/>
                  <a:pt x="905" y="57"/>
                  <a:pt x="905" y="57"/>
                </a:cubicBezTo>
                <a:cubicBezTo>
                  <a:pt x="905" y="59"/>
                  <a:pt x="905" y="59"/>
                  <a:pt x="905" y="59"/>
                </a:cubicBezTo>
                <a:cubicBezTo>
                  <a:pt x="905" y="61"/>
                  <a:pt x="905" y="61"/>
                  <a:pt x="905" y="61"/>
                </a:cubicBezTo>
                <a:cubicBezTo>
                  <a:pt x="905" y="59"/>
                  <a:pt x="905" y="59"/>
                  <a:pt x="905" y="59"/>
                </a:cubicBezTo>
                <a:cubicBezTo>
                  <a:pt x="903" y="56"/>
                  <a:pt x="903" y="56"/>
                  <a:pt x="903" y="56"/>
                </a:cubicBezTo>
                <a:cubicBezTo>
                  <a:pt x="902" y="58"/>
                  <a:pt x="902" y="58"/>
                  <a:pt x="902" y="58"/>
                </a:cubicBezTo>
                <a:cubicBezTo>
                  <a:pt x="901" y="60"/>
                  <a:pt x="901" y="60"/>
                  <a:pt x="901" y="60"/>
                </a:cubicBezTo>
                <a:cubicBezTo>
                  <a:pt x="902" y="61"/>
                  <a:pt x="902" y="61"/>
                  <a:pt x="902" y="61"/>
                </a:cubicBezTo>
                <a:cubicBezTo>
                  <a:pt x="901" y="62"/>
                  <a:pt x="901" y="62"/>
                  <a:pt x="901" y="62"/>
                </a:cubicBezTo>
                <a:cubicBezTo>
                  <a:pt x="899" y="61"/>
                  <a:pt x="899" y="61"/>
                  <a:pt x="899" y="61"/>
                </a:cubicBezTo>
                <a:cubicBezTo>
                  <a:pt x="897" y="61"/>
                  <a:pt x="897" y="61"/>
                  <a:pt x="897" y="61"/>
                </a:cubicBezTo>
                <a:cubicBezTo>
                  <a:pt x="898" y="60"/>
                  <a:pt x="898" y="60"/>
                  <a:pt x="898" y="60"/>
                </a:cubicBezTo>
                <a:cubicBezTo>
                  <a:pt x="900" y="58"/>
                  <a:pt x="900" y="58"/>
                  <a:pt x="900" y="58"/>
                </a:cubicBezTo>
                <a:cubicBezTo>
                  <a:pt x="902" y="55"/>
                  <a:pt x="902" y="55"/>
                  <a:pt x="902" y="55"/>
                </a:cubicBezTo>
                <a:cubicBezTo>
                  <a:pt x="903" y="53"/>
                  <a:pt x="903" y="53"/>
                  <a:pt x="903" y="53"/>
                </a:cubicBezTo>
                <a:cubicBezTo>
                  <a:pt x="902" y="52"/>
                  <a:pt x="902" y="52"/>
                  <a:pt x="902" y="52"/>
                </a:cubicBezTo>
                <a:cubicBezTo>
                  <a:pt x="901" y="50"/>
                  <a:pt x="901" y="50"/>
                  <a:pt x="901" y="50"/>
                </a:cubicBezTo>
                <a:cubicBezTo>
                  <a:pt x="899" y="52"/>
                  <a:pt x="899" y="52"/>
                  <a:pt x="899" y="52"/>
                </a:cubicBezTo>
                <a:cubicBezTo>
                  <a:pt x="898" y="53"/>
                  <a:pt x="898" y="53"/>
                  <a:pt x="898" y="53"/>
                </a:cubicBezTo>
                <a:cubicBezTo>
                  <a:pt x="897" y="52"/>
                  <a:pt x="897" y="52"/>
                  <a:pt x="897" y="52"/>
                </a:cubicBezTo>
                <a:cubicBezTo>
                  <a:pt x="898" y="50"/>
                  <a:pt x="898" y="50"/>
                  <a:pt x="898" y="50"/>
                </a:cubicBezTo>
                <a:cubicBezTo>
                  <a:pt x="896" y="49"/>
                  <a:pt x="896" y="49"/>
                  <a:pt x="896" y="49"/>
                </a:cubicBezTo>
                <a:cubicBezTo>
                  <a:pt x="895" y="50"/>
                  <a:pt x="895" y="50"/>
                  <a:pt x="895" y="50"/>
                </a:cubicBezTo>
                <a:cubicBezTo>
                  <a:pt x="894" y="51"/>
                  <a:pt x="894" y="51"/>
                  <a:pt x="894" y="51"/>
                </a:cubicBezTo>
                <a:cubicBezTo>
                  <a:pt x="895" y="53"/>
                  <a:pt x="895" y="53"/>
                  <a:pt x="895" y="53"/>
                </a:cubicBezTo>
                <a:cubicBezTo>
                  <a:pt x="895" y="56"/>
                  <a:pt x="895" y="56"/>
                  <a:pt x="895" y="56"/>
                </a:cubicBezTo>
                <a:cubicBezTo>
                  <a:pt x="894" y="55"/>
                  <a:pt x="894" y="55"/>
                  <a:pt x="894" y="55"/>
                </a:cubicBezTo>
                <a:cubicBezTo>
                  <a:pt x="894" y="52"/>
                  <a:pt x="894" y="52"/>
                  <a:pt x="894" y="52"/>
                </a:cubicBezTo>
                <a:cubicBezTo>
                  <a:pt x="893" y="52"/>
                  <a:pt x="893" y="52"/>
                  <a:pt x="893" y="52"/>
                </a:cubicBezTo>
                <a:cubicBezTo>
                  <a:pt x="893" y="53"/>
                  <a:pt x="893" y="53"/>
                  <a:pt x="893" y="53"/>
                </a:cubicBezTo>
                <a:cubicBezTo>
                  <a:pt x="891" y="54"/>
                  <a:pt x="891" y="54"/>
                  <a:pt x="891" y="54"/>
                </a:cubicBezTo>
                <a:cubicBezTo>
                  <a:pt x="891" y="56"/>
                  <a:pt x="891" y="56"/>
                  <a:pt x="891" y="56"/>
                </a:cubicBezTo>
                <a:cubicBezTo>
                  <a:pt x="889" y="57"/>
                  <a:pt x="889" y="57"/>
                  <a:pt x="889" y="57"/>
                </a:cubicBezTo>
                <a:cubicBezTo>
                  <a:pt x="888" y="58"/>
                  <a:pt x="888" y="58"/>
                  <a:pt x="888" y="58"/>
                </a:cubicBezTo>
                <a:cubicBezTo>
                  <a:pt x="887" y="59"/>
                  <a:pt x="887" y="59"/>
                  <a:pt x="887" y="59"/>
                </a:cubicBezTo>
                <a:cubicBezTo>
                  <a:pt x="885" y="59"/>
                  <a:pt x="885" y="59"/>
                  <a:pt x="885" y="59"/>
                </a:cubicBezTo>
                <a:cubicBezTo>
                  <a:pt x="887" y="58"/>
                  <a:pt x="887" y="58"/>
                  <a:pt x="887" y="58"/>
                </a:cubicBezTo>
                <a:cubicBezTo>
                  <a:pt x="887" y="56"/>
                  <a:pt x="887" y="56"/>
                  <a:pt x="887" y="56"/>
                </a:cubicBezTo>
                <a:cubicBezTo>
                  <a:pt x="886" y="56"/>
                  <a:pt x="886" y="56"/>
                  <a:pt x="886" y="56"/>
                </a:cubicBezTo>
                <a:cubicBezTo>
                  <a:pt x="885" y="55"/>
                  <a:pt x="885" y="55"/>
                  <a:pt x="885" y="55"/>
                </a:cubicBezTo>
                <a:cubicBezTo>
                  <a:pt x="885" y="54"/>
                  <a:pt x="885" y="54"/>
                  <a:pt x="885" y="54"/>
                </a:cubicBezTo>
                <a:cubicBezTo>
                  <a:pt x="887" y="54"/>
                  <a:pt x="887" y="54"/>
                  <a:pt x="887" y="54"/>
                </a:cubicBezTo>
                <a:cubicBezTo>
                  <a:pt x="888" y="55"/>
                  <a:pt x="888" y="55"/>
                  <a:pt x="888" y="55"/>
                </a:cubicBezTo>
                <a:cubicBezTo>
                  <a:pt x="888" y="54"/>
                  <a:pt x="888" y="54"/>
                  <a:pt x="888" y="54"/>
                </a:cubicBezTo>
                <a:cubicBezTo>
                  <a:pt x="888" y="53"/>
                  <a:pt x="888" y="53"/>
                  <a:pt x="888" y="53"/>
                </a:cubicBezTo>
                <a:cubicBezTo>
                  <a:pt x="888" y="52"/>
                  <a:pt x="888" y="52"/>
                  <a:pt x="888" y="52"/>
                </a:cubicBezTo>
                <a:cubicBezTo>
                  <a:pt x="890" y="51"/>
                  <a:pt x="890" y="51"/>
                  <a:pt x="890" y="51"/>
                </a:cubicBezTo>
                <a:cubicBezTo>
                  <a:pt x="893" y="49"/>
                  <a:pt x="893" y="49"/>
                  <a:pt x="893" y="49"/>
                </a:cubicBezTo>
                <a:cubicBezTo>
                  <a:pt x="893" y="47"/>
                  <a:pt x="893" y="47"/>
                  <a:pt x="893" y="47"/>
                </a:cubicBezTo>
                <a:cubicBezTo>
                  <a:pt x="895" y="46"/>
                  <a:pt x="895" y="46"/>
                  <a:pt x="895" y="46"/>
                </a:cubicBezTo>
                <a:cubicBezTo>
                  <a:pt x="894" y="46"/>
                  <a:pt x="894" y="46"/>
                  <a:pt x="894" y="46"/>
                </a:cubicBezTo>
                <a:cubicBezTo>
                  <a:pt x="893" y="46"/>
                  <a:pt x="893" y="46"/>
                  <a:pt x="893" y="46"/>
                </a:cubicBezTo>
                <a:cubicBezTo>
                  <a:pt x="890" y="48"/>
                  <a:pt x="890" y="48"/>
                  <a:pt x="890" y="48"/>
                </a:cubicBezTo>
                <a:cubicBezTo>
                  <a:pt x="888" y="50"/>
                  <a:pt x="888" y="50"/>
                  <a:pt x="888" y="50"/>
                </a:cubicBezTo>
                <a:cubicBezTo>
                  <a:pt x="887" y="50"/>
                  <a:pt x="887" y="50"/>
                  <a:pt x="887" y="50"/>
                </a:cubicBezTo>
                <a:cubicBezTo>
                  <a:pt x="888" y="48"/>
                  <a:pt x="888" y="48"/>
                  <a:pt x="888" y="48"/>
                </a:cubicBezTo>
                <a:cubicBezTo>
                  <a:pt x="889" y="47"/>
                  <a:pt x="889" y="47"/>
                  <a:pt x="889" y="47"/>
                </a:cubicBezTo>
                <a:cubicBezTo>
                  <a:pt x="890" y="45"/>
                  <a:pt x="890" y="45"/>
                  <a:pt x="890" y="45"/>
                </a:cubicBezTo>
                <a:cubicBezTo>
                  <a:pt x="892" y="45"/>
                  <a:pt x="892" y="45"/>
                  <a:pt x="892" y="45"/>
                </a:cubicBezTo>
                <a:cubicBezTo>
                  <a:pt x="894" y="43"/>
                  <a:pt x="894" y="43"/>
                  <a:pt x="894" y="43"/>
                </a:cubicBezTo>
                <a:cubicBezTo>
                  <a:pt x="895" y="43"/>
                  <a:pt x="895" y="43"/>
                  <a:pt x="895" y="43"/>
                </a:cubicBezTo>
                <a:cubicBezTo>
                  <a:pt x="896" y="41"/>
                  <a:pt x="896" y="41"/>
                  <a:pt x="896" y="41"/>
                </a:cubicBezTo>
                <a:cubicBezTo>
                  <a:pt x="897" y="40"/>
                  <a:pt x="897" y="40"/>
                  <a:pt x="897" y="40"/>
                </a:cubicBezTo>
                <a:cubicBezTo>
                  <a:pt x="895" y="39"/>
                  <a:pt x="895" y="39"/>
                  <a:pt x="895" y="39"/>
                </a:cubicBezTo>
                <a:cubicBezTo>
                  <a:pt x="895" y="37"/>
                  <a:pt x="895" y="37"/>
                  <a:pt x="895" y="37"/>
                </a:cubicBezTo>
                <a:cubicBezTo>
                  <a:pt x="896" y="35"/>
                  <a:pt x="896" y="35"/>
                  <a:pt x="896" y="35"/>
                </a:cubicBezTo>
                <a:cubicBezTo>
                  <a:pt x="898" y="32"/>
                  <a:pt x="898" y="32"/>
                  <a:pt x="898" y="32"/>
                </a:cubicBezTo>
                <a:cubicBezTo>
                  <a:pt x="899" y="31"/>
                  <a:pt x="899" y="31"/>
                  <a:pt x="899" y="31"/>
                </a:cubicBezTo>
                <a:cubicBezTo>
                  <a:pt x="898" y="30"/>
                  <a:pt x="898" y="30"/>
                  <a:pt x="898" y="30"/>
                </a:cubicBezTo>
                <a:cubicBezTo>
                  <a:pt x="896" y="29"/>
                  <a:pt x="896" y="29"/>
                  <a:pt x="896" y="29"/>
                </a:cubicBezTo>
                <a:cubicBezTo>
                  <a:pt x="896" y="28"/>
                  <a:pt x="896" y="28"/>
                  <a:pt x="896" y="28"/>
                </a:cubicBezTo>
                <a:cubicBezTo>
                  <a:pt x="897" y="25"/>
                  <a:pt x="897" y="25"/>
                  <a:pt x="897" y="25"/>
                </a:cubicBezTo>
                <a:cubicBezTo>
                  <a:pt x="898" y="24"/>
                  <a:pt x="898" y="24"/>
                  <a:pt x="898" y="24"/>
                </a:cubicBezTo>
                <a:cubicBezTo>
                  <a:pt x="899" y="22"/>
                  <a:pt x="899" y="22"/>
                  <a:pt x="899" y="22"/>
                </a:cubicBezTo>
                <a:cubicBezTo>
                  <a:pt x="899" y="18"/>
                  <a:pt x="899" y="18"/>
                  <a:pt x="899" y="18"/>
                </a:cubicBezTo>
                <a:cubicBezTo>
                  <a:pt x="900" y="17"/>
                  <a:pt x="900" y="17"/>
                  <a:pt x="900" y="17"/>
                </a:cubicBezTo>
                <a:cubicBezTo>
                  <a:pt x="900" y="16"/>
                  <a:pt x="900" y="16"/>
                  <a:pt x="900" y="16"/>
                </a:cubicBezTo>
                <a:cubicBezTo>
                  <a:pt x="897" y="15"/>
                  <a:pt x="897" y="15"/>
                  <a:pt x="897" y="15"/>
                </a:cubicBezTo>
                <a:cubicBezTo>
                  <a:pt x="893" y="15"/>
                  <a:pt x="893" y="15"/>
                  <a:pt x="893" y="15"/>
                </a:cubicBezTo>
                <a:cubicBezTo>
                  <a:pt x="890" y="14"/>
                  <a:pt x="890" y="14"/>
                  <a:pt x="890" y="14"/>
                </a:cubicBezTo>
                <a:cubicBezTo>
                  <a:pt x="888" y="16"/>
                  <a:pt x="888" y="16"/>
                  <a:pt x="888" y="16"/>
                </a:cubicBezTo>
                <a:cubicBezTo>
                  <a:pt x="886" y="16"/>
                  <a:pt x="886" y="16"/>
                  <a:pt x="886" y="16"/>
                </a:cubicBezTo>
                <a:cubicBezTo>
                  <a:pt x="883" y="17"/>
                  <a:pt x="883" y="17"/>
                  <a:pt x="883" y="17"/>
                </a:cubicBezTo>
                <a:cubicBezTo>
                  <a:pt x="878" y="18"/>
                  <a:pt x="878" y="18"/>
                  <a:pt x="878" y="18"/>
                </a:cubicBezTo>
                <a:cubicBezTo>
                  <a:pt x="877" y="20"/>
                  <a:pt x="877" y="20"/>
                  <a:pt x="877" y="20"/>
                </a:cubicBezTo>
                <a:cubicBezTo>
                  <a:pt x="879" y="22"/>
                  <a:pt x="879" y="22"/>
                  <a:pt x="879" y="22"/>
                </a:cubicBezTo>
                <a:cubicBezTo>
                  <a:pt x="879" y="23"/>
                  <a:pt x="879" y="23"/>
                  <a:pt x="879" y="23"/>
                </a:cubicBezTo>
                <a:cubicBezTo>
                  <a:pt x="878" y="25"/>
                  <a:pt x="878" y="25"/>
                  <a:pt x="878" y="25"/>
                </a:cubicBezTo>
                <a:cubicBezTo>
                  <a:pt x="877" y="22"/>
                  <a:pt x="877" y="22"/>
                  <a:pt x="877" y="22"/>
                </a:cubicBezTo>
                <a:cubicBezTo>
                  <a:pt x="876" y="21"/>
                  <a:pt x="876" y="21"/>
                  <a:pt x="876" y="21"/>
                </a:cubicBezTo>
                <a:cubicBezTo>
                  <a:pt x="875" y="19"/>
                  <a:pt x="875" y="19"/>
                  <a:pt x="875" y="19"/>
                </a:cubicBezTo>
                <a:cubicBezTo>
                  <a:pt x="873" y="19"/>
                  <a:pt x="873" y="19"/>
                  <a:pt x="873" y="19"/>
                </a:cubicBezTo>
                <a:cubicBezTo>
                  <a:pt x="872" y="21"/>
                  <a:pt x="872" y="21"/>
                  <a:pt x="872" y="21"/>
                </a:cubicBezTo>
                <a:cubicBezTo>
                  <a:pt x="872" y="22"/>
                  <a:pt x="872" y="22"/>
                  <a:pt x="872" y="22"/>
                </a:cubicBezTo>
                <a:cubicBezTo>
                  <a:pt x="871" y="23"/>
                  <a:pt x="871" y="23"/>
                  <a:pt x="871" y="23"/>
                </a:cubicBezTo>
                <a:cubicBezTo>
                  <a:pt x="871" y="21"/>
                  <a:pt x="871" y="21"/>
                  <a:pt x="871" y="21"/>
                </a:cubicBezTo>
                <a:cubicBezTo>
                  <a:pt x="871" y="20"/>
                  <a:pt x="871" y="20"/>
                  <a:pt x="871" y="20"/>
                </a:cubicBezTo>
                <a:cubicBezTo>
                  <a:pt x="870" y="19"/>
                  <a:pt x="870" y="19"/>
                  <a:pt x="870" y="19"/>
                </a:cubicBezTo>
                <a:cubicBezTo>
                  <a:pt x="867" y="20"/>
                  <a:pt x="867" y="20"/>
                  <a:pt x="867" y="20"/>
                </a:cubicBezTo>
                <a:cubicBezTo>
                  <a:pt x="866" y="22"/>
                  <a:pt x="866" y="22"/>
                  <a:pt x="866" y="22"/>
                </a:cubicBezTo>
                <a:cubicBezTo>
                  <a:pt x="867" y="23"/>
                  <a:pt x="867" y="23"/>
                  <a:pt x="867" y="23"/>
                </a:cubicBezTo>
                <a:cubicBezTo>
                  <a:pt x="869" y="25"/>
                  <a:pt x="869" y="25"/>
                  <a:pt x="869" y="25"/>
                </a:cubicBezTo>
                <a:cubicBezTo>
                  <a:pt x="871" y="27"/>
                  <a:pt x="871" y="27"/>
                  <a:pt x="871" y="27"/>
                </a:cubicBezTo>
                <a:cubicBezTo>
                  <a:pt x="873" y="29"/>
                  <a:pt x="873" y="29"/>
                  <a:pt x="873" y="29"/>
                </a:cubicBezTo>
                <a:cubicBezTo>
                  <a:pt x="872" y="29"/>
                  <a:pt x="872" y="29"/>
                  <a:pt x="872" y="29"/>
                </a:cubicBezTo>
                <a:cubicBezTo>
                  <a:pt x="869" y="27"/>
                  <a:pt x="869" y="27"/>
                  <a:pt x="869" y="27"/>
                </a:cubicBezTo>
                <a:cubicBezTo>
                  <a:pt x="866" y="24"/>
                  <a:pt x="866" y="24"/>
                  <a:pt x="866" y="24"/>
                </a:cubicBezTo>
                <a:cubicBezTo>
                  <a:pt x="865" y="24"/>
                  <a:pt x="865" y="24"/>
                  <a:pt x="865" y="24"/>
                </a:cubicBezTo>
                <a:cubicBezTo>
                  <a:pt x="865" y="25"/>
                  <a:pt x="865" y="25"/>
                  <a:pt x="865" y="25"/>
                </a:cubicBezTo>
                <a:cubicBezTo>
                  <a:pt x="861" y="25"/>
                  <a:pt x="861" y="25"/>
                  <a:pt x="861" y="25"/>
                </a:cubicBezTo>
                <a:cubicBezTo>
                  <a:pt x="861" y="25"/>
                  <a:pt x="861" y="25"/>
                  <a:pt x="861" y="25"/>
                </a:cubicBezTo>
                <a:cubicBezTo>
                  <a:pt x="862" y="26"/>
                  <a:pt x="862" y="26"/>
                  <a:pt x="862" y="26"/>
                </a:cubicBezTo>
                <a:cubicBezTo>
                  <a:pt x="864" y="26"/>
                  <a:pt x="864" y="26"/>
                  <a:pt x="864" y="26"/>
                </a:cubicBezTo>
                <a:cubicBezTo>
                  <a:pt x="864" y="28"/>
                  <a:pt x="864" y="28"/>
                  <a:pt x="864" y="28"/>
                </a:cubicBezTo>
                <a:cubicBezTo>
                  <a:pt x="865" y="30"/>
                  <a:pt x="865" y="30"/>
                  <a:pt x="865" y="30"/>
                </a:cubicBezTo>
                <a:cubicBezTo>
                  <a:pt x="868" y="31"/>
                  <a:pt x="868" y="31"/>
                  <a:pt x="868" y="31"/>
                </a:cubicBezTo>
                <a:cubicBezTo>
                  <a:pt x="868" y="33"/>
                  <a:pt x="868" y="33"/>
                  <a:pt x="868" y="33"/>
                </a:cubicBezTo>
                <a:cubicBezTo>
                  <a:pt x="869" y="34"/>
                  <a:pt x="869" y="34"/>
                  <a:pt x="869" y="34"/>
                </a:cubicBezTo>
                <a:cubicBezTo>
                  <a:pt x="868" y="34"/>
                  <a:pt x="868" y="34"/>
                  <a:pt x="868" y="34"/>
                </a:cubicBezTo>
                <a:cubicBezTo>
                  <a:pt x="866" y="32"/>
                  <a:pt x="866" y="32"/>
                  <a:pt x="866" y="32"/>
                </a:cubicBezTo>
                <a:cubicBezTo>
                  <a:pt x="864" y="31"/>
                  <a:pt x="864" y="31"/>
                  <a:pt x="864" y="31"/>
                </a:cubicBezTo>
                <a:cubicBezTo>
                  <a:pt x="863" y="29"/>
                  <a:pt x="863" y="29"/>
                  <a:pt x="863" y="29"/>
                </a:cubicBezTo>
                <a:cubicBezTo>
                  <a:pt x="862" y="28"/>
                  <a:pt x="862" y="28"/>
                  <a:pt x="862" y="28"/>
                </a:cubicBezTo>
                <a:cubicBezTo>
                  <a:pt x="859" y="27"/>
                  <a:pt x="859" y="27"/>
                  <a:pt x="859" y="27"/>
                </a:cubicBezTo>
                <a:cubicBezTo>
                  <a:pt x="858" y="29"/>
                  <a:pt x="858" y="29"/>
                  <a:pt x="858" y="29"/>
                </a:cubicBezTo>
                <a:cubicBezTo>
                  <a:pt x="858" y="30"/>
                  <a:pt x="858" y="30"/>
                  <a:pt x="858" y="30"/>
                </a:cubicBezTo>
                <a:cubicBezTo>
                  <a:pt x="856" y="33"/>
                  <a:pt x="856" y="33"/>
                  <a:pt x="856" y="33"/>
                </a:cubicBezTo>
                <a:cubicBezTo>
                  <a:pt x="855" y="36"/>
                  <a:pt x="855" y="36"/>
                  <a:pt x="855" y="36"/>
                </a:cubicBezTo>
                <a:cubicBezTo>
                  <a:pt x="857" y="38"/>
                  <a:pt x="857" y="38"/>
                  <a:pt x="857" y="38"/>
                </a:cubicBezTo>
                <a:cubicBezTo>
                  <a:pt x="855" y="38"/>
                  <a:pt x="855" y="38"/>
                  <a:pt x="855" y="38"/>
                </a:cubicBezTo>
                <a:cubicBezTo>
                  <a:pt x="854" y="39"/>
                  <a:pt x="854" y="39"/>
                  <a:pt x="854" y="39"/>
                </a:cubicBezTo>
                <a:cubicBezTo>
                  <a:pt x="855" y="41"/>
                  <a:pt x="855" y="41"/>
                  <a:pt x="855" y="41"/>
                </a:cubicBezTo>
                <a:cubicBezTo>
                  <a:pt x="856" y="43"/>
                  <a:pt x="856" y="43"/>
                  <a:pt x="856" y="43"/>
                </a:cubicBezTo>
                <a:cubicBezTo>
                  <a:pt x="857" y="43"/>
                  <a:pt x="857" y="43"/>
                  <a:pt x="857" y="43"/>
                </a:cubicBezTo>
                <a:cubicBezTo>
                  <a:pt x="861" y="40"/>
                  <a:pt x="861" y="40"/>
                  <a:pt x="861" y="40"/>
                </a:cubicBezTo>
                <a:cubicBezTo>
                  <a:pt x="862" y="41"/>
                  <a:pt x="862" y="41"/>
                  <a:pt x="862" y="41"/>
                </a:cubicBezTo>
                <a:cubicBezTo>
                  <a:pt x="863" y="42"/>
                  <a:pt x="863" y="42"/>
                  <a:pt x="863" y="42"/>
                </a:cubicBezTo>
                <a:cubicBezTo>
                  <a:pt x="861" y="42"/>
                  <a:pt x="861" y="42"/>
                  <a:pt x="861" y="42"/>
                </a:cubicBezTo>
                <a:cubicBezTo>
                  <a:pt x="860" y="43"/>
                  <a:pt x="860" y="43"/>
                  <a:pt x="860" y="43"/>
                </a:cubicBezTo>
                <a:cubicBezTo>
                  <a:pt x="860" y="44"/>
                  <a:pt x="860" y="44"/>
                  <a:pt x="860" y="44"/>
                </a:cubicBezTo>
                <a:cubicBezTo>
                  <a:pt x="859" y="44"/>
                  <a:pt x="859" y="44"/>
                  <a:pt x="859" y="44"/>
                </a:cubicBezTo>
                <a:cubicBezTo>
                  <a:pt x="858" y="46"/>
                  <a:pt x="858" y="46"/>
                  <a:pt x="858" y="46"/>
                </a:cubicBezTo>
                <a:cubicBezTo>
                  <a:pt x="858" y="47"/>
                  <a:pt x="858" y="47"/>
                  <a:pt x="858" y="47"/>
                </a:cubicBezTo>
                <a:cubicBezTo>
                  <a:pt x="856" y="49"/>
                  <a:pt x="856" y="49"/>
                  <a:pt x="856" y="49"/>
                </a:cubicBezTo>
                <a:cubicBezTo>
                  <a:pt x="855" y="48"/>
                  <a:pt x="855" y="48"/>
                  <a:pt x="855" y="48"/>
                </a:cubicBezTo>
                <a:cubicBezTo>
                  <a:pt x="856" y="47"/>
                  <a:pt x="856" y="47"/>
                  <a:pt x="856" y="47"/>
                </a:cubicBezTo>
                <a:cubicBezTo>
                  <a:pt x="855" y="44"/>
                  <a:pt x="855" y="44"/>
                  <a:pt x="855" y="44"/>
                </a:cubicBezTo>
                <a:cubicBezTo>
                  <a:pt x="853" y="44"/>
                  <a:pt x="853" y="44"/>
                  <a:pt x="853" y="44"/>
                </a:cubicBezTo>
                <a:cubicBezTo>
                  <a:pt x="852" y="46"/>
                  <a:pt x="852" y="46"/>
                  <a:pt x="852" y="46"/>
                </a:cubicBezTo>
                <a:cubicBezTo>
                  <a:pt x="853" y="47"/>
                  <a:pt x="853" y="47"/>
                  <a:pt x="853" y="47"/>
                </a:cubicBezTo>
                <a:cubicBezTo>
                  <a:pt x="851" y="48"/>
                  <a:pt x="851" y="48"/>
                  <a:pt x="851" y="48"/>
                </a:cubicBezTo>
                <a:cubicBezTo>
                  <a:pt x="849" y="49"/>
                  <a:pt x="849" y="49"/>
                  <a:pt x="849" y="49"/>
                </a:cubicBezTo>
                <a:cubicBezTo>
                  <a:pt x="848" y="50"/>
                  <a:pt x="848" y="50"/>
                  <a:pt x="848" y="50"/>
                </a:cubicBezTo>
                <a:cubicBezTo>
                  <a:pt x="848" y="48"/>
                  <a:pt x="848" y="48"/>
                  <a:pt x="848" y="48"/>
                </a:cubicBezTo>
                <a:cubicBezTo>
                  <a:pt x="847" y="49"/>
                  <a:pt x="847" y="49"/>
                  <a:pt x="847" y="49"/>
                </a:cubicBezTo>
                <a:cubicBezTo>
                  <a:pt x="847" y="51"/>
                  <a:pt x="847" y="51"/>
                  <a:pt x="847" y="51"/>
                </a:cubicBezTo>
                <a:cubicBezTo>
                  <a:pt x="848" y="53"/>
                  <a:pt x="848" y="53"/>
                  <a:pt x="848" y="53"/>
                </a:cubicBezTo>
                <a:cubicBezTo>
                  <a:pt x="848" y="55"/>
                  <a:pt x="848" y="55"/>
                  <a:pt x="848" y="55"/>
                </a:cubicBezTo>
                <a:cubicBezTo>
                  <a:pt x="849" y="56"/>
                  <a:pt x="849" y="56"/>
                  <a:pt x="849" y="56"/>
                </a:cubicBezTo>
                <a:cubicBezTo>
                  <a:pt x="849" y="59"/>
                  <a:pt x="849" y="59"/>
                  <a:pt x="849" y="59"/>
                </a:cubicBezTo>
                <a:cubicBezTo>
                  <a:pt x="850" y="59"/>
                  <a:pt x="850" y="59"/>
                  <a:pt x="850" y="59"/>
                </a:cubicBezTo>
                <a:cubicBezTo>
                  <a:pt x="851" y="60"/>
                  <a:pt x="851" y="60"/>
                  <a:pt x="851" y="60"/>
                </a:cubicBezTo>
                <a:cubicBezTo>
                  <a:pt x="851" y="61"/>
                  <a:pt x="851" y="61"/>
                  <a:pt x="851" y="61"/>
                </a:cubicBezTo>
                <a:cubicBezTo>
                  <a:pt x="852" y="62"/>
                  <a:pt x="852" y="62"/>
                  <a:pt x="852" y="62"/>
                </a:cubicBezTo>
                <a:cubicBezTo>
                  <a:pt x="852" y="64"/>
                  <a:pt x="852" y="64"/>
                  <a:pt x="852" y="64"/>
                </a:cubicBezTo>
                <a:cubicBezTo>
                  <a:pt x="850" y="65"/>
                  <a:pt x="850" y="65"/>
                  <a:pt x="850" y="65"/>
                </a:cubicBezTo>
                <a:cubicBezTo>
                  <a:pt x="849" y="67"/>
                  <a:pt x="849" y="67"/>
                  <a:pt x="849" y="67"/>
                </a:cubicBezTo>
                <a:cubicBezTo>
                  <a:pt x="848" y="70"/>
                  <a:pt x="848" y="70"/>
                  <a:pt x="848" y="70"/>
                </a:cubicBezTo>
                <a:cubicBezTo>
                  <a:pt x="847" y="71"/>
                  <a:pt x="847" y="71"/>
                  <a:pt x="847" y="71"/>
                </a:cubicBezTo>
                <a:cubicBezTo>
                  <a:pt x="845" y="75"/>
                  <a:pt x="845" y="75"/>
                  <a:pt x="845" y="75"/>
                </a:cubicBezTo>
                <a:cubicBezTo>
                  <a:pt x="845" y="76"/>
                  <a:pt x="845" y="76"/>
                  <a:pt x="845" y="76"/>
                </a:cubicBezTo>
                <a:cubicBezTo>
                  <a:pt x="843" y="79"/>
                  <a:pt x="843" y="79"/>
                  <a:pt x="843" y="79"/>
                </a:cubicBezTo>
                <a:cubicBezTo>
                  <a:pt x="843" y="78"/>
                  <a:pt x="843" y="78"/>
                  <a:pt x="843" y="78"/>
                </a:cubicBezTo>
                <a:cubicBezTo>
                  <a:pt x="843" y="76"/>
                  <a:pt x="843" y="76"/>
                  <a:pt x="843" y="76"/>
                </a:cubicBezTo>
                <a:cubicBezTo>
                  <a:pt x="844" y="73"/>
                  <a:pt x="844" y="73"/>
                  <a:pt x="844" y="73"/>
                </a:cubicBezTo>
                <a:cubicBezTo>
                  <a:pt x="846" y="71"/>
                  <a:pt x="846" y="71"/>
                  <a:pt x="846" y="71"/>
                </a:cubicBezTo>
                <a:cubicBezTo>
                  <a:pt x="845" y="71"/>
                  <a:pt x="845" y="71"/>
                  <a:pt x="845" y="71"/>
                </a:cubicBezTo>
                <a:cubicBezTo>
                  <a:pt x="845" y="71"/>
                  <a:pt x="845" y="71"/>
                  <a:pt x="845" y="71"/>
                </a:cubicBezTo>
                <a:cubicBezTo>
                  <a:pt x="843" y="71"/>
                  <a:pt x="843" y="71"/>
                  <a:pt x="843" y="71"/>
                </a:cubicBezTo>
                <a:cubicBezTo>
                  <a:pt x="842" y="70"/>
                  <a:pt x="842" y="70"/>
                  <a:pt x="842" y="70"/>
                </a:cubicBezTo>
                <a:cubicBezTo>
                  <a:pt x="841" y="69"/>
                  <a:pt x="841" y="69"/>
                  <a:pt x="841" y="69"/>
                </a:cubicBezTo>
                <a:cubicBezTo>
                  <a:pt x="842" y="69"/>
                  <a:pt x="842" y="69"/>
                  <a:pt x="842" y="69"/>
                </a:cubicBezTo>
                <a:cubicBezTo>
                  <a:pt x="844" y="68"/>
                  <a:pt x="844" y="68"/>
                  <a:pt x="844" y="68"/>
                </a:cubicBezTo>
                <a:cubicBezTo>
                  <a:pt x="845" y="68"/>
                  <a:pt x="845" y="68"/>
                  <a:pt x="845" y="68"/>
                </a:cubicBezTo>
                <a:cubicBezTo>
                  <a:pt x="845" y="67"/>
                  <a:pt x="845" y="67"/>
                  <a:pt x="845" y="67"/>
                </a:cubicBezTo>
                <a:cubicBezTo>
                  <a:pt x="846" y="67"/>
                  <a:pt x="846" y="67"/>
                  <a:pt x="846" y="67"/>
                </a:cubicBezTo>
                <a:cubicBezTo>
                  <a:pt x="847" y="69"/>
                  <a:pt x="847" y="69"/>
                  <a:pt x="847" y="69"/>
                </a:cubicBezTo>
                <a:cubicBezTo>
                  <a:pt x="847" y="67"/>
                  <a:pt x="847" y="67"/>
                  <a:pt x="847" y="67"/>
                </a:cubicBezTo>
                <a:cubicBezTo>
                  <a:pt x="847" y="65"/>
                  <a:pt x="847" y="65"/>
                  <a:pt x="847" y="65"/>
                </a:cubicBezTo>
                <a:cubicBezTo>
                  <a:pt x="846" y="64"/>
                  <a:pt x="846" y="64"/>
                  <a:pt x="846" y="64"/>
                </a:cubicBezTo>
                <a:cubicBezTo>
                  <a:pt x="845" y="63"/>
                  <a:pt x="845" y="63"/>
                  <a:pt x="845" y="63"/>
                </a:cubicBezTo>
                <a:cubicBezTo>
                  <a:pt x="843" y="60"/>
                  <a:pt x="843" y="60"/>
                  <a:pt x="843" y="60"/>
                </a:cubicBezTo>
                <a:cubicBezTo>
                  <a:pt x="843" y="58"/>
                  <a:pt x="843" y="58"/>
                  <a:pt x="843" y="58"/>
                </a:cubicBezTo>
                <a:cubicBezTo>
                  <a:pt x="843" y="57"/>
                  <a:pt x="843" y="57"/>
                  <a:pt x="843" y="57"/>
                </a:cubicBezTo>
                <a:cubicBezTo>
                  <a:pt x="842" y="54"/>
                  <a:pt x="842" y="54"/>
                  <a:pt x="842" y="54"/>
                </a:cubicBezTo>
                <a:cubicBezTo>
                  <a:pt x="841" y="52"/>
                  <a:pt x="841" y="52"/>
                  <a:pt x="841" y="52"/>
                </a:cubicBezTo>
                <a:cubicBezTo>
                  <a:pt x="841" y="50"/>
                  <a:pt x="841" y="50"/>
                  <a:pt x="841" y="50"/>
                </a:cubicBezTo>
                <a:cubicBezTo>
                  <a:pt x="842" y="50"/>
                  <a:pt x="842" y="50"/>
                  <a:pt x="842" y="50"/>
                </a:cubicBezTo>
                <a:cubicBezTo>
                  <a:pt x="844" y="47"/>
                  <a:pt x="844" y="47"/>
                  <a:pt x="844" y="47"/>
                </a:cubicBezTo>
                <a:cubicBezTo>
                  <a:pt x="844" y="45"/>
                  <a:pt x="844" y="45"/>
                  <a:pt x="844" y="45"/>
                </a:cubicBezTo>
                <a:cubicBezTo>
                  <a:pt x="846" y="43"/>
                  <a:pt x="846" y="43"/>
                  <a:pt x="846" y="43"/>
                </a:cubicBezTo>
                <a:cubicBezTo>
                  <a:pt x="847" y="41"/>
                  <a:pt x="847" y="41"/>
                  <a:pt x="847" y="41"/>
                </a:cubicBezTo>
                <a:cubicBezTo>
                  <a:pt x="849" y="40"/>
                  <a:pt x="849" y="40"/>
                  <a:pt x="849" y="40"/>
                </a:cubicBezTo>
                <a:cubicBezTo>
                  <a:pt x="849" y="38"/>
                  <a:pt x="849" y="38"/>
                  <a:pt x="849" y="38"/>
                </a:cubicBezTo>
                <a:cubicBezTo>
                  <a:pt x="848" y="37"/>
                  <a:pt x="848" y="37"/>
                  <a:pt x="848" y="37"/>
                </a:cubicBezTo>
                <a:cubicBezTo>
                  <a:pt x="847" y="35"/>
                  <a:pt x="847" y="35"/>
                  <a:pt x="847" y="35"/>
                </a:cubicBezTo>
                <a:cubicBezTo>
                  <a:pt x="847" y="33"/>
                  <a:pt x="847" y="33"/>
                  <a:pt x="847" y="33"/>
                </a:cubicBezTo>
                <a:cubicBezTo>
                  <a:pt x="849" y="29"/>
                  <a:pt x="849" y="29"/>
                  <a:pt x="849" y="29"/>
                </a:cubicBezTo>
                <a:cubicBezTo>
                  <a:pt x="850" y="28"/>
                  <a:pt x="850" y="28"/>
                  <a:pt x="850" y="28"/>
                </a:cubicBezTo>
                <a:cubicBezTo>
                  <a:pt x="853" y="26"/>
                  <a:pt x="853" y="26"/>
                  <a:pt x="853" y="26"/>
                </a:cubicBezTo>
                <a:cubicBezTo>
                  <a:pt x="857" y="22"/>
                  <a:pt x="857" y="22"/>
                  <a:pt x="857" y="22"/>
                </a:cubicBezTo>
                <a:cubicBezTo>
                  <a:pt x="861" y="18"/>
                  <a:pt x="861" y="18"/>
                  <a:pt x="861" y="18"/>
                </a:cubicBezTo>
                <a:cubicBezTo>
                  <a:pt x="863" y="18"/>
                  <a:pt x="863" y="18"/>
                  <a:pt x="863" y="18"/>
                </a:cubicBezTo>
                <a:cubicBezTo>
                  <a:pt x="864" y="16"/>
                  <a:pt x="864" y="16"/>
                  <a:pt x="864" y="16"/>
                </a:cubicBezTo>
                <a:cubicBezTo>
                  <a:pt x="865" y="14"/>
                  <a:pt x="865" y="14"/>
                  <a:pt x="865" y="14"/>
                </a:cubicBezTo>
                <a:cubicBezTo>
                  <a:pt x="867" y="14"/>
                  <a:pt x="867" y="14"/>
                  <a:pt x="867" y="14"/>
                </a:cubicBezTo>
                <a:cubicBezTo>
                  <a:pt x="871" y="13"/>
                  <a:pt x="871" y="13"/>
                  <a:pt x="871" y="13"/>
                </a:cubicBezTo>
                <a:cubicBezTo>
                  <a:pt x="873" y="12"/>
                  <a:pt x="873" y="12"/>
                  <a:pt x="873" y="12"/>
                </a:cubicBezTo>
                <a:cubicBezTo>
                  <a:pt x="874" y="10"/>
                  <a:pt x="874" y="10"/>
                  <a:pt x="874" y="10"/>
                </a:cubicBezTo>
                <a:cubicBezTo>
                  <a:pt x="873" y="9"/>
                  <a:pt x="873" y="9"/>
                  <a:pt x="873" y="9"/>
                </a:cubicBezTo>
                <a:cubicBezTo>
                  <a:pt x="869" y="7"/>
                  <a:pt x="869" y="7"/>
                  <a:pt x="869" y="7"/>
                </a:cubicBezTo>
                <a:cubicBezTo>
                  <a:pt x="867" y="5"/>
                  <a:pt x="867" y="5"/>
                  <a:pt x="867" y="5"/>
                </a:cubicBezTo>
                <a:cubicBezTo>
                  <a:pt x="864" y="5"/>
                  <a:pt x="864" y="5"/>
                  <a:pt x="864" y="5"/>
                </a:cubicBezTo>
                <a:cubicBezTo>
                  <a:pt x="863" y="5"/>
                  <a:pt x="863" y="5"/>
                  <a:pt x="863" y="5"/>
                </a:cubicBezTo>
                <a:cubicBezTo>
                  <a:pt x="861" y="5"/>
                  <a:pt x="861" y="5"/>
                  <a:pt x="861" y="5"/>
                </a:cubicBezTo>
                <a:cubicBezTo>
                  <a:pt x="859" y="5"/>
                  <a:pt x="859" y="5"/>
                  <a:pt x="859" y="5"/>
                </a:cubicBezTo>
                <a:cubicBezTo>
                  <a:pt x="857" y="5"/>
                  <a:pt x="857" y="5"/>
                  <a:pt x="857" y="5"/>
                </a:cubicBezTo>
                <a:cubicBezTo>
                  <a:pt x="853" y="6"/>
                  <a:pt x="853" y="6"/>
                  <a:pt x="853" y="6"/>
                </a:cubicBezTo>
                <a:cubicBezTo>
                  <a:pt x="848" y="7"/>
                  <a:pt x="848" y="7"/>
                  <a:pt x="848" y="7"/>
                </a:cubicBezTo>
                <a:cubicBezTo>
                  <a:pt x="844" y="10"/>
                  <a:pt x="844" y="10"/>
                  <a:pt x="844" y="10"/>
                </a:cubicBezTo>
                <a:cubicBezTo>
                  <a:pt x="841" y="12"/>
                  <a:pt x="841" y="12"/>
                  <a:pt x="841" y="12"/>
                </a:cubicBezTo>
                <a:cubicBezTo>
                  <a:pt x="840" y="14"/>
                  <a:pt x="840" y="14"/>
                  <a:pt x="840" y="14"/>
                </a:cubicBezTo>
                <a:cubicBezTo>
                  <a:pt x="841" y="16"/>
                  <a:pt x="841" y="16"/>
                  <a:pt x="841" y="16"/>
                </a:cubicBezTo>
                <a:cubicBezTo>
                  <a:pt x="840" y="15"/>
                  <a:pt x="840" y="15"/>
                  <a:pt x="840" y="15"/>
                </a:cubicBezTo>
                <a:cubicBezTo>
                  <a:pt x="838" y="15"/>
                  <a:pt x="838" y="15"/>
                  <a:pt x="838" y="15"/>
                </a:cubicBezTo>
                <a:cubicBezTo>
                  <a:pt x="837" y="17"/>
                  <a:pt x="837" y="17"/>
                  <a:pt x="837" y="17"/>
                </a:cubicBezTo>
                <a:cubicBezTo>
                  <a:pt x="835" y="17"/>
                  <a:pt x="835" y="17"/>
                  <a:pt x="835" y="17"/>
                </a:cubicBezTo>
                <a:cubicBezTo>
                  <a:pt x="833" y="19"/>
                  <a:pt x="833" y="19"/>
                  <a:pt x="833" y="19"/>
                </a:cubicBezTo>
                <a:cubicBezTo>
                  <a:pt x="833" y="21"/>
                  <a:pt x="833" y="21"/>
                  <a:pt x="833" y="21"/>
                </a:cubicBezTo>
                <a:lnTo>
                  <a:pt x="832" y="21"/>
                </a:lnTo>
                <a:close/>
                <a:moveTo>
                  <a:pt x="981" y="509"/>
                </a:moveTo>
                <a:cubicBezTo>
                  <a:pt x="982" y="509"/>
                  <a:pt x="982" y="509"/>
                  <a:pt x="982" y="509"/>
                </a:cubicBezTo>
                <a:cubicBezTo>
                  <a:pt x="982" y="507"/>
                  <a:pt x="982" y="507"/>
                  <a:pt x="982" y="507"/>
                </a:cubicBezTo>
                <a:cubicBezTo>
                  <a:pt x="982" y="507"/>
                  <a:pt x="982" y="507"/>
                  <a:pt x="982" y="507"/>
                </a:cubicBezTo>
                <a:cubicBezTo>
                  <a:pt x="981" y="506"/>
                  <a:pt x="981" y="506"/>
                  <a:pt x="981" y="506"/>
                </a:cubicBezTo>
                <a:cubicBezTo>
                  <a:pt x="981" y="505"/>
                  <a:pt x="981" y="505"/>
                  <a:pt x="981" y="505"/>
                </a:cubicBezTo>
                <a:cubicBezTo>
                  <a:pt x="982" y="504"/>
                  <a:pt x="982" y="504"/>
                  <a:pt x="982" y="504"/>
                </a:cubicBezTo>
                <a:cubicBezTo>
                  <a:pt x="982" y="503"/>
                  <a:pt x="982" y="503"/>
                  <a:pt x="982" y="503"/>
                </a:cubicBezTo>
                <a:cubicBezTo>
                  <a:pt x="981" y="502"/>
                  <a:pt x="981" y="502"/>
                  <a:pt x="981" y="502"/>
                </a:cubicBezTo>
                <a:cubicBezTo>
                  <a:pt x="981" y="502"/>
                  <a:pt x="981" y="502"/>
                  <a:pt x="981" y="502"/>
                </a:cubicBezTo>
                <a:cubicBezTo>
                  <a:pt x="981" y="502"/>
                  <a:pt x="981" y="502"/>
                  <a:pt x="981" y="502"/>
                </a:cubicBezTo>
                <a:cubicBezTo>
                  <a:pt x="980" y="503"/>
                  <a:pt x="980" y="503"/>
                  <a:pt x="980" y="503"/>
                </a:cubicBezTo>
                <a:cubicBezTo>
                  <a:pt x="981" y="505"/>
                  <a:pt x="981" y="505"/>
                  <a:pt x="981" y="505"/>
                </a:cubicBezTo>
                <a:cubicBezTo>
                  <a:pt x="981" y="506"/>
                  <a:pt x="981" y="506"/>
                  <a:pt x="981" y="506"/>
                </a:cubicBezTo>
                <a:cubicBezTo>
                  <a:pt x="981" y="508"/>
                  <a:pt x="981" y="508"/>
                  <a:pt x="981" y="508"/>
                </a:cubicBezTo>
                <a:lnTo>
                  <a:pt x="981" y="509"/>
                </a:lnTo>
                <a:close/>
                <a:moveTo>
                  <a:pt x="889" y="144"/>
                </a:moveTo>
                <a:cubicBezTo>
                  <a:pt x="887" y="145"/>
                  <a:pt x="887" y="145"/>
                  <a:pt x="887" y="145"/>
                </a:cubicBezTo>
                <a:cubicBezTo>
                  <a:pt x="884" y="150"/>
                  <a:pt x="884" y="150"/>
                  <a:pt x="884" y="150"/>
                </a:cubicBezTo>
                <a:cubicBezTo>
                  <a:pt x="883" y="151"/>
                  <a:pt x="883" y="151"/>
                  <a:pt x="883" y="151"/>
                </a:cubicBezTo>
                <a:cubicBezTo>
                  <a:pt x="882" y="153"/>
                  <a:pt x="882" y="153"/>
                  <a:pt x="882" y="153"/>
                </a:cubicBezTo>
                <a:cubicBezTo>
                  <a:pt x="879" y="155"/>
                  <a:pt x="879" y="155"/>
                  <a:pt x="879" y="155"/>
                </a:cubicBezTo>
                <a:cubicBezTo>
                  <a:pt x="879" y="158"/>
                  <a:pt x="879" y="158"/>
                  <a:pt x="879" y="158"/>
                </a:cubicBezTo>
                <a:cubicBezTo>
                  <a:pt x="879" y="160"/>
                  <a:pt x="879" y="160"/>
                  <a:pt x="879" y="160"/>
                </a:cubicBezTo>
                <a:cubicBezTo>
                  <a:pt x="879" y="161"/>
                  <a:pt x="879" y="161"/>
                  <a:pt x="879" y="161"/>
                </a:cubicBezTo>
                <a:cubicBezTo>
                  <a:pt x="879" y="163"/>
                  <a:pt x="879" y="163"/>
                  <a:pt x="879" y="163"/>
                </a:cubicBezTo>
                <a:cubicBezTo>
                  <a:pt x="879" y="164"/>
                  <a:pt x="879" y="164"/>
                  <a:pt x="879" y="164"/>
                </a:cubicBezTo>
                <a:cubicBezTo>
                  <a:pt x="880" y="164"/>
                  <a:pt x="880" y="164"/>
                  <a:pt x="880" y="164"/>
                </a:cubicBezTo>
                <a:cubicBezTo>
                  <a:pt x="882" y="164"/>
                  <a:pt x="882" y="164"/>
                  <a:pt x="882" y="164"/>
                </a:cubicBezTo>
                <a:cubicBezTo>
                  <a:pt x="885" y="164"/>
                  <a:pt x="885" y="164"/>
                  <a:pt x="885" y="164"/>
                </a:cubicBezTo>
                <a:cubicBezTo>
                  <a:pt x="886" y="164"/>
                  <a:pt x="886" y="164"/>
                  <a:pt x="886" y="164"/>
                </a:cubicBezTo>
                <a:cubicBezTo>
                  <a:pt x="888" y="164"/>
                  <a:pt x="888" y="164"/>
                  <a:pt x="888" y="164"/>
                </a:cubicBezTo>
                <a:cubicBezTo>
                  <a:pt x="889" y="163"/>
                  <a:pt x="889" y="163"/>
                  <a:pt x="889" y="163"/>
                </a:cubicBezTo>
                <a:cubicBezTo>
                  <a:pt x="890" y="163"/>
                  <a:pt x="890" y="163"/>
                  <a:pt x="890" y="163"/>
                </a:cubicBezTo>
                <a:cubicBezTo>
                  <a:pt x="892" y="161"/>
                  <a:pt x="892" y="161"/>
                  <a:pt x="892" y="161"/>
                </a:cubicBezTo>
                <a:cubicBezTo>
                  <a:pt x="894" y="161"/>
                  <a:pt x="894" y="161"/>
                  <a:pt x="894" y="161"/>
                </a:cubicBezTo>
                <a:cubicBezTo>
                  <a:pt x="895" y="159"/>
                  <a:pt x="895" y="159"/>
                  <a:pt x="895" y="159"/>
                </a:cubicBezTo>
                <a:cubicBezTo>
                  <a:pt x="898" y="155"/>
                  <a:pt x="898" y="155"/>
                  <a:pt x="898" y="155"/>
                </a:cubicBezTo>
                <a:cubicBezTo>
                  <a:pt x="898" y="153"/>
                  <a:pt x="898" y="153"/>
                  <a:pt x="898" y="153"/>
                </a:cubicBezTo>
                <a:cubicBezTo>
                  <a:pt x="899" y="151"/>
                  <a:pt x="899" y="151"/>
                  <a:pt x="899" y="151"/>
                </a:cubicBezTo>
                <a:cubicBezTo>
                  <a:pt x="900" y="150"/>
                  <a:pt x="900" y="150"/>
                  <a:pt x="900" y="150"/>
                </a:cubicBezTo>
                <a:cubicBezTo>
                  <a:pt x="900" y="148"/>
                  <a:pt x="900" y="148"/>
                  <a:pt x="900" y="148"/>
                </a:cubicBezTo>
                <a:cubicBezTo>
                  <a:pt x="900" y="146"/>
                  <a:pt x="900" y="146"/>
                  <a:pt x="900" y="146"/>
                </a:cubicBezTo>
                <a:cubicBezTo>
                  <a:pt x="898" y="145"/>
                  <a:pt x="898" y="145"/>
                  <a:pt x="898" y="145"/>
                </a:cubicBezTo>
                <a:cubicBezTo>
                  <a:pt x="897" y="145"/>
                  <a:pt x="897" y="145"/>
                  <a:pt x="897" y="145"/>
                </a:cubicBezTo>
                <a:cubicBezTo>
                  <a:pt x="896" y="143"/>
                  <a:pt x="896" y="143"/>
                  <a:pt x="896" y="143"/>
                </a:cubicBezTo>
                <a:cubicBezTo>
                  <a:pt x="894" y="143"/>
                  <a:pt x="894" y="143"/>
                  <a:pt x="894" y="143"/>
                </a:cubicBezTo>
                <a:cubicBezTo>
                  <a:pt x="892" y="144"/>
                  <a:pt x="892" y="144"/>
                  <a:pt x="892" y="144"/>
                </a:cubicBezTo>
                <a:cubicBezTo>
                  <a:pt x="891" y="143"/>
                  <a:pt x="891" y="143"/>
                  <a:pt x="891" y="143"/>
                </a:cubicBezTo>
                <a:cubicBezTo>
                  <a:pt x="890" y="144"/>
                  <a:pt x="890" y="144"/>
                  <a:pt x="890" y="144"/>
                </a:cubicBezTo>
                <a:lnTo>
                  <a:pt x="889" y="144"/>
                </a:lnTo>
                <a:close/>
                <a:moveTo>
                  <a:pt x="893" y="128"/>
                </a:moveTo>
                <a:cubicBezTo>
                  <a:pt x="894" y="126"/>
                  <a:pt x="894" y="126"/>
                  <a:pt x="894" y="126"/>
                </a:cubicBezTo>
                <a:cubicBezTo>
                  <a:pt x="896" y="126"/>
                  <a:pt x="896" y="126"/>
                  <a:pt x="896" y="126"/>
                </a:cubicBezTo>
                <a:cubicBezTo>
                  <a:pt x="896" y="125"/>
                  <a:pt x="896" y="125"/>
                  <a:pt x="896" y="125"/>
                </a:cubicBezTo>
                <a:cubicBezTo>
                  <a:pt x="896" y="122"/>
                  <a:pt x="896" y="122"/>
                  <a:pt x="896" y="122"/>
                </a:cubicBezTo>
                <a:cubicBezTo>
                  <a:pt x="894" y="122"/>
                  <a:pt x="894" y="122"/>
                  <a:pt x="894" y="122"/>
                </a:cubicBezTo>
                <a:cubicBezTo>
                  <a:pt x="893" y="122"/>
                  <a:pt x="893" y="122"/>
                  <a:pt x="893" y="122"/>
                </a:cubicBezTo>
                <a:cubicBezTo>
                  <a:pt x="892" y="124"/>
                  <a:pt x="892" y="124"/>
                  <a:pt x="892" y="124"/>
                </a:cubicBezTo>
                <a:cubicBezTo>
                  <a:pt x="891" y="125"/>
                  <a:pt x="891" y="125"/>
                  <a:pt x="891" y="125"/>
                </a:cubicBezTo>
                <a:cubicBezTo>
                  <a:pt x="891" y="128"/>
                  <a:pt x="891" y="128"/>
                  <a:pt x="891" y="128"/>
                </a:cubicBezTo>
                <a:lnTo>
                  <a:pt x="893" y="128"/>
                </a:lnTo>
                <a:close/>
              </a:path>
            </a:pathLst>
          </a:custGeom>
          <a:solidFill>
            <a:schemeClr val="tx2"/>
          </a:solidFill>
          <a:ln>
            <a:noFill/>
          </a:ln>
        </p:spPr>
        <p:txBody>
          <a:bodyPr vert="horz" wrap="square" lIns="109259" tIns="54629" rIns="109259" bIns="54629" numCol="1" anchor="t" anchorCtr="0" compatLnSpc="1">
            <a:prstTxWarp prst="textNoShape">
              <a:avLst/>
            </a:prstTxWarp>
          </a:bodyPr>
          <a:lstStyle/>
          <a:p>
            <a:pPr defTabSz="1092540">
              <a:defRPr/>
            </a:pPr>
            <a:endParaRPr lang="en-US" sz="2151" kern="0">
              <a:solidFill>
                <a:sysClr val="windowText" lastClr="000000"/>
              </a:solidFill>
              <a:latin typeface="Calibri"/>
            </a:endParaRPr>
          </a:p>
        </p:txBody>
      </p:sp>
      <p:grpSp>
        <p:nvGrpSpPr>
          <p:cNvPr id="2" name="Group 1">
            <a:extLst>
              <a:ext uri="{FF2B5EF4-FFF2-40B4-BE49-F238E27FC236}">
                <a16:creationId xmlns:a16="http://schemas.microsoft.com/office/drawing/2014/main" id="{03357E9E-837C-4214-8F34-3D46110D73B1}"/>
              </a:ext>
            </a:extLst>
          </p:cNvPr>
          <p:cNvGrpSpPr/>
          <p:nvPr/>
        </p:nvGrpSpPr>
        <p:grpSpPr>
          <a:xfrm>
            <a:off x="3171978" y="2669394"/>
            <a:ext cx="6847195" cy="2760309"/>
            <a:chOff x="1304713" y="2165175"/>
            <a:chExt cx="5711629" cy="2302529"/>
          </a:xfrm>
        </p:grpSpPr>
        <p:sp>
          <p:nvSpPr>
            <p:cNvPr id="26" name="Oval 25">
              <a:extLst>
                <a:ext uri="{FF2B5EF4-FFF2-40B4-BE49-F238E27FC236}">
                  <a16:creationId xmlns:a16="http://schemas.microsoft.com/office/drawing/2014/main" id="{C2B342A2-1384-4B84-9CAD-708E5435030D}"/>
                </a:ext>
              </a:extLst>
            </p:cNvPr>
            <p:cNvSpPr/>
            <p:nvPr/>
          </p:nvSpPr>
          <p:spPr>
            <a:xfrm>
              <a:off x="2574526" y="4062258"/>
              <a:ext cx="138788" cy="13878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92540">
                <a:defRPr/>
              </a:pPr>
              <a:endParaRPr lang="en-US" sz="2151" kern="0">
                <a:solidFill>
                  <a:sysClr val="windowText" lastClr="000000"/>
                </a:solidFill>
                <a:latin typeface="Calibri"/>
              </a:endParaRPr>
            </a:p>
          </p:txBody>
        </p:sp>
        <p:sp>
          <p:nvSpPr>
            <p:cNvPr id="27" name="Oval 26">
              <a:extLst>
                <a:ext uri="{FF2B5EF4-FFF2-40B4-BE49-F238E27FC236}">
                  <a16:creationId xmlns:a16="http://schemas.microsoft.com/office/drawing/2014/main" id="{AD63C41C-3962-4FB6-A003-6DB6BD2D3A2E}"/>
                </a:ext>
              </a:extLst>
            </p:cNvPr>
            <p:cNvSpPr/>
            <p:nvPr/>
          </p:nvSpPr>
          <p:spPr>
            <a:xfrm>
              <a:off x="4230013" y="2469511"/>
              <a:ext cx="138788" cy="13878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92540">
                <a:defRPr/>
              </a:pPr>
              <a:endParaRPr lang="en-US" sz="2151" kern="0">
                <a:solidFill>
                  <a:sysClr val="windowText" lastClr="000000"/>
                </a:solidFill>
                <a:latin typeface="Calibri"/>
              </a:endParaRPr>
            </a:p>
          </p:txBody>
        </p:sp>
        <p:sp>
          <p:nvSpPr>
            <p:cNvPr id="28" name="Oval 27">
              <a:extLst>
                <a:ext uri="{FF2B5EF4-FFF2-40B4-BE49-F238E27FC236}">
                  <a16:creationId xmlns:a16="http://schemas.microsoft.com/office/drawing/2014/main" id="{373E3CC2-287A-4F2B-89E0-172CAD6B01EE}"/>
                </a:ext>
              </a:extLst>
            </p:cNvPr>
            <p:cNvSpPr/>
            <p:nvPr/>
          </p:nvSpPr>
          <p:spPr>
            <a:xfrm>
              <a:off x="6834251" y="4328916"/>
              <a:ext cx="138788" cy="13878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92540">
                <a:defRPr/>
              </a:pPr>
              <a:endParaRPr lang="en-US" sz="2151" kern="0">
                <a:solidFill>
                  <a:sysClr val="windowText" lastClr="000000"/>
                </a:solidFill>
                <a:latin typeface="Calibri"/>
              </a:endParaRPr>
            </a:p>
          </p:txBody>
        </p:sp>
        <p:sp>
          <p:nvSpPr>
            <p:cNvPr id="29" name="Freeform 162">
              <a:extLst>
                <a:ext uri="{FF2B5EF4-FFF2-40B4-BE49-F238E27FC236}">
                  <a16:creationId xmlns:a16="http://schemas.microsoft.com/office/drawing/2014/main" id="{C3D4D1E9-51DA-4745-BEB9-5FDC578FE725}"/>
                </a:ext>
              </a:extLst>
            </p:cNvPr>
            <p:cNvSpPr>
              <a:spLocks noEditPoints="1"/>
            </p:cNvSpPr>
            <p:nvPr/>
          </p:nvSpPr>
          <p:spPr bwMode="auto">
            <a:xfrm>
              <a:off x="4187686" y="2165175"/>
              <a:ext cx="225396" cy="360252"/>
            </a:xfrm>
            <a:custGeom>
              <a:avLst/>
              <a:gdLst>
                <a:gd name="T0" fmla="*/ 100 w 200"/>
                <a:gd name="T1" fmla="*/ 158 h 320"/>
                <a:gd name="T2" fmla="*/ 43 w 200"/>
                <a:gd name="T3" fmla="*/ 101 h 320"/>
                <a:gd name="T4" fmla="*/ 100 w 200"/>
                <a:gd name="T5" fmla="*/ 44 h 320"/>
                <a:gd name="T6" fmla="*/ 158 w 200"/>
                <a:gd name="T7" fmla="*/ 101 h 320"/>
                <a:gd name="T8" fmla="*/ 100 w 200"/>
                <a:gd name="T9" fmla="*/ 158 h 320"/>
                <a:gd name="T10" fmla="*/ 100 w 200"/>
                <a:gd name="T11" fmla="*/ 0 h 320"/>
                <a:gd name="T12" fmla="*/ 0 w 200"/>
                <a:gd name="T13" fmla="*/ 100 h 320"/>
                <a:gd name="T14" fmla="*/ 100 w 200"/>
                <a:gd name="T15" fmla="*/ 320 h 320"/>
                <a:gd name="T16" fmla="*/ 200 w 200"/>
                <a:gd name="T17" fmla="*/ 100 h 320"/>
                <a:gd name="T18" fmla="*/ 100 w 200"/>
                <a:gd name="T19" fmla="*/ 0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0" h="320">
                  <a:moveTo>
                    <a:pt x="100" y="158"/>
                  </a:moveTo>
                  <a:cubicBezTo>
                    <a:pt x="69" y="158"/>
                    <a:pt x="43" y="133"/>
                    <a:pt x="43" y="101"/>
                  </a:cubicBezTo>
                  <a:cubicBezTo>
                    <a:pt x="43" y="70"/>
                    <a:pt x="69" y="44"/>
                    <a:pt x="100" y="44"/>
                  </a:cubicBezTo>
                  <a:cubicBezTo>
                    <a:pt x="132" y="44"/>
                    <a:pt x="158" y="70"/>
                    <a:pt x="158" y="101"/>
                  </a:cubicBezTo>
                  <a:cubicBezTo>
                    <a:pt x="158" y="133"/>
                    <a:pt x="132" y="158"/>
                    <a:pt x="100" y="158"/>
                  </a:cubicBezTo>
                  <a:close/>
                  <a:moveTo>
                    <a:pt x="100" y="0"/>
                  </a:moveTo>
                  <a:cubicBezTo>
                    <a:pt x="45" y="0"/>
                    <a:pt x="0" y="45"/>
                    <a:pt x="0" y="100"/>
                  </a:cubicBezTo>
                  <a:cubicBezTo>
                    <a:pt x="0" y="195"/>
                    <a:pt x="100" y="320"/>
                    <a:pt x="100" y="320"/>
                  </a:cubicBezTo>
                  <a:cubicBezTo>
                    <a:pt x="100" y="320"/>
                    <a:pt x="200" y="195"/>
                    <a:pt x="200" y="100"/>
                  </a:cubicBezTo>
                  <a:cubicBezTo>
                    <a:pt x="200" y="45"/>
                    <a:pt x="156" y="0"/>
                    <a:pt x="100" y="0"/>
                  </a:cubicBezTo>
                  <a:close/>
                </a:path>
              </a:pathLst>
            </a:custGeom>
            <a:solidFill>
              <a:srgbClr val="AFDBFF"/>
            </a:solidFill>
            <a:ln>
              <a:noFill/>
            </a:ln>
          </p:spPr>
          <p:txBody>
            <a:bodyPr vert="horz" wrap="square" lIns="109259" tIns="54629" rIns="109259" bIns="54629" numCol="1" anchor="t" anchorCtr="0" compatLnSpc="1">
              <a:prstTxWarp prst="textNoShape">
                <a:avLst/>
              </a:prstTxWarp>
            </a:bodyPr>
            <a:lstStyle/>
            <a:p>
              <a:pPr defTabSz="1092540">
                <a:defRPr/>
              </a:pPr>
              <a:endParaRPr lang="en-US" sz="2151" kern="0">
                <a:solidFill>
                  <a:sysClr val="windowText" lastClr="000000"/>
                </a:solidFill>
                <a:latin typeface="Calibri"/>
              </a:endParaRPr>
            </a:p>
          </p:txBody>
        </p:sp>
        <p:sp>
          <p:nvSpPr>
            <p:cNvPr id="30" name="Freeform 163">
              <a:extLst>
                <a:ext uri="{FF2B5EF4-FFF2-40B4-BE49-F238E27FC236}">
                  <a16:creationId xmlns:a16="http://schemas.microsoft.com/office/drawing/2014/main" id="{361C4819-A58E-46A3-9CE0-DA37F563F6D9}"/>
                </a:ext>
              </a:extLst>
            </p:cNvPr>
            <p:cNvSpPr>
              <a:spLocks noEditPoints="1"/>
            </p:cNvSpPr>
            <p:nvPr/>
          </p:nvSpPr>
          <p:spPr bwMode="auto">
            <a:xfrm>
              <a:off x="6790946" y="4062258"/>
              <a:ext cx="225396" cy="360252"/>
            </a:xfrm>
            <a:custGeom>
              <a:avLst/>
              <a:gdLst>
                <a:gd name="T0" fmla="*/ 100 w 200"/>
                <a:gd name="T1" fmla="*/ 158 h 320"/>
                <a:gd name="T2" fmla="*/ 43 w 200"/>
                <a:gd name="T3" fmla="*/ 101 h 320"/>
                <a:gd name="T4" fmla="*/ 100 w 200"/>
                <a:gd name="T5" fmla="*/ 44 h 320"/>
                <a:gd name="T6" fmla="*/ 158 w 200"/>
                <a:gd name="T7" fmla="*/ 101 h 320"/>
                <a:gd name="T8" fmla="*/ 100 w 200"/>
                <a:gd name="T9" fmla="*/ 158 h 320"/>
                <a:gd name="T10" fmla="*/ 100 w 200"/>
                <a:gd name="T11" fmla="*/ 0 h 320"/>
                <a:gd name="T12" fmla="*/ 0 w 200"/>
                <a:gd name="T13" fmla="*/ 100 h 320"/>
                <a:gd name="T14" fmla="*/ 100 w 200"/>
                <a:gd name="T15" fmla="*/ 320 h 320"/>
                <a:gd name="T16" fmla="*/ 200 w 200"/>
                <a:gd name="T17" fmla="*/ 100 h 320"/>
                <a:gd name="T18" fmla="*/ 100 w 200"/>
                <a:gd name="T19" fmla="*/ 0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0" h="320">
                  <a:moveTo>
                    <a:pt x="100" y="158"/>
                  </a:moveTo>
                  <a:cubicBezTo>
                    <a:pt x="69" y="158"/>
                    <a:pt x="43" y="133"/>
                    <a:pt x="43" y="101"/>
                  </a:cubicBezTo>
                  <a:cubicBezTo>
                    <a:pt x="43" y="70"/>
                    <a:pt x="69" y="44"/>
                    <a:pt x="100" y="44"/>
                  </a:cubicBezTo>
                  <a:cubicBezTo>
                    <a:pt x="132" y="44"/>
                    <a:pt x="158" y="70"/>
                    <a:pt x="158" y="101"/>
                  </a:cubicBezTo>
                  <a:cubicBezTo>
                    <a:pt x="158" y="133"/>
                    <a:pt x="132" y="158"/>
                    <a:pt x="100" y="158"/>
                  </a:cubicBezTo>
                  <a:close/>
                  <a:moveTo>
                    <a:pt x="100" y="0"/>
                  </a:moveTo>
                  <a:cubicBezTo>
                    <a:pt x="45" y="0"/>
                    <a:pt x="0" y="45"/>
                    <a:pt x="0" y="100"/>
                  </a:cubicBezTo>
                  <a:cubicBezTo>
                    <a:pt x="0" y="195"/>
                    <a:pt x="100" y="320"/>
                    <a:pt x="100" y="320"/>
                  </a:cubicBezTo>
                  <a:cubicBezTo>
                    <a:pt x="100" y="320"/>
                    <a:pt x="200" y="195"/>
                    <a:pt x="200" y="100"/>
                  </a:cubicBezTo>
                  <a:cubicBezTo>
                    <a:pt x="200" y="45"/>
                    <a:pt x="156" y="0"/>
                    <a:pt x="100" y="0"/>
                  </a:cubicBezTo>
                  <a:close/>
                </a:path>
              </a:pathLst>
            </a:custGeom>
            <a:solidFill>
              <a:srgbClr val="FFC000"/>
            </a:solidFill>
            <a:ln>
              <a:noFill/>
            </a:ln>
          </p:spPr>
          <p:txBody>
            <a:bodyPr vert="horz" wrap="square" lIns="109259" tIns="54629" rIns="109259" bIns="54629" numCol="1" anchor="t" anchorCtr="0" compatLnSpc="1">
              <a:prstTxWarp prst="textNoShape">
                <a:avLst/>
              </a:prstTxWarp>
            </a:bodyPr>
            <a:lstStyle/>
            <a:p>
              <a:pPr defTabSz="1092540">
                <a:defRPr/>
              </a:pPr>
              <a:endParaRPr lang="en-US" sz="2151" kern="0">
                <a:solidFill>
                  <a:sysClr val="windowText" lastClr="000000"/>
                </a:solidFill>
                <a:latin typeface="Calibri"/>
              </a:endParaRPr>
            </a:p>
          </p:txBody>
        </p:sp>
        <p:sp>
          <p:nvSpPr>
            <p:cNvPr id="32" name="Freeform 164">
              <a:extLst>
                <a:ext uri="{FF2B5EF4-FFF2-40B4-BE49-F238E27FC236}">
                  <a16:creationId xmlns:a16="http://schemas.microsoft.com/office/drawing/2014/main" id="{55DE0635-B457-4E99-A033-6FE819789CE2}"/>
                </a:ext>
              </a:extLst>
            </p:cNvPr>
            <p:cNvSpPr>
              <a:spLocks noEditPoints="1"/>
            </p:cNvSpPr>
            <p:nvPr/>
          </p:nvSpPr>
          <p:spPr bwMode="auto">
            <a:xfrm>
              <a:off x="2531223" y="3775754"/>
              <a:ext cx="225396" cy="360252"/>
            </a:xfrm>
            <a:custGeom>
              <a:avLst/>
              <a:gdLst>
                <a:gd name="T0" fmla="*/ 100 w 200"/>
                <a:gd name="T1" fmla="*/ 158 h 320"/>
                <a:gd name="T2" fmla="*/ 43 w 200"/>
                <a:gd name="T3" fmla="*/ 101 h 320"/>
                <a:gd name="T4" fmla="*/ 100 w 200"/>
                <a:gd name="T5" fmla="*/ 44 h 320"/>
                <a:gd name="T6" fmla="*/ 158 w 200"/>
                <a:gd name="T7" fmla="*/ 101 h 320"/>
                <a:gd name="T8" fmla="*/ 100 w 200"/>
                <a:gd name="T9" fmla="*/ 158 h 320"/>
                <a:gd name="T10" fmla="*/ 100 w 200"/>
                <a:gd name="T11" fmla="*/ 0 h 320"/>
                <a:gd name="T12" fmla="*/ 0 w 200"/>
                <a:gd name="T13" fmla="*/ 100 h 320"/>
                <a:gd name="T14" fmla="*/ 100 w 200"/>
                <a:gd name="T15" fmla="*/ 320 h 320"/>
                <a:gd name="T16" fmla="*/ 200 w 200"/>
                <a:gd name="T17" fmla="*/ 100 h 320"/>
                <a:gd name="T18" fmla="*/ 100 w 200"/>
                <a:gd name="T19" fmla="*/ 0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0" h="320">
                  <a:moveTo>
                    <a:pt x="100" y="158"/>
                  </a:moveTo>
                  <a:cubicBezTo>
                    <a:pt x="69" y="158"/>
                    <a:pt x="43" y="133"/>
                    <a:pt x="43" y="101"/>
                  </a:cubicBezTo>
                  <a:cubicBezTo>
                    <a:pt x="43" y="70"/>
                    <a:pt x="69" y="44"/>
                    <a:pt x="100" y="44"/>
                  </a:cubicBezTo>
                  <a:cubicBezTo>
                    <a:pt x="132" y="44"/>
                    <a:pt x="158" y="70"/>
                    <a:pt x="158" y="101"/>
                  </a:cubicBezTo>
                  <a:cubicBezTo>
                    <a:pt x="158" y="133"/>
                    <a:pt x="132" y="158"/>
                    <a:pt x="100" y="158"/>
                  </a:cubicBezTo>
                  <a:close/>
                  <a:moveTo>
                    <a:pt x="100" y="0"/>
                  </a:moveTo>
                  <a:cubicBezTo>
                    <a:pt x="45" y="0"/>
                    <a:pt x="0" y="45"/>
                    <a:pt x="0" y="100"/>
                  </a:cubicBezTo>
                  <a:cubicBezTo>
                    <a:pt x="0" y="195"/>
                    <a:pt x="100" y="320"/>
                    <a:pt x="100" y="320"/>
                  </a:cubicBezTo>
                  <a:cubicBezTo>
                    <a:pt x="100" y="320"/>
                    <a:pt x="200" y="195"/>
                    <a:pt x="200" y="100"/>
                  </a:cubicBezTo>
                  <a:cubicBezTo>
                    <a:pt x="200" y="45"/>
                    <a:pt x="156" y="0"/>
                    <a:pt x="100" y="0"/>
                  </a:cubicBezTo>
                  <a:close/>
                </a:path>
              </a:pathLst>
            </a:custGeom>
            <a:solidFill>
              <a:srgbClr val="92D050"/>
            </a:solidFill>
            <a:ln>
              <a:noFill/>
            </a:ln>
          </p:spPr>
          <p:txBody>
            <a:bodyPr vert="horz" wrap="square" lIns="109259" tIns="54629" rIns="109259" bIns="54629" numCol="1" anchor="t" anchorCtr="0" compatLnSpc="1">
              <a:prstTxWarp prst="textNoShape">
                <a:avLst/>
              </a:prstTxWarp>
            </a:bodyPr>
            <a:lstStyle/>
            <a:p>
              <a:pPr defTabSz="1092540">
                <a:defRPr/>
              </a:pPr>
              <a:endParaRPr lang="en-US" sz="2151" kern="0">
                <a:solidFill>
                  <a:sysClr val="windowText" lastClr="000000"/>
                </a:solidFill>
                <a:latin typeface="Calibri"/>
              </a:endParaRPr>
            </a:p>
          </p:txBody>
        </p:sp>
        <p:cxnSp>
          <p:nvCxnSpPr>
            <p:cNvPr id="33" name="Straight Connector 32">
              <a:extLst>
                <a:ext uri="{FF2B5EF4-FFF2-40B4-BE49-F238E27FC236}">
                  <a16:creationId xmlns:a16="http://schemas.microsoft.com/office/drawing/2014/main" id="{2D191BED-AD2F-4450-8F65-D476BBA14195}"/>
                </a:ext>
              </a:extLst>
            </p:cNvPr>
            <p:cNvCxnSpPr>
              <a:stCxn id="39" idx="6"/>
              <a:endCxn id="27" idx="2"/>
            </p:cNvCxnSpPr>
            <p:nvPr/>
          </p:nvCxnSpPr>
          <p:spPr>
            <a:xfrm flipV="1">
              <a:off x="1509337" y="2538905"/>
              <a:ext cx="2720676" cy="149135"/>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9A632E8A-5EE6-4C54-B07A-E254FCC850C6}"/>
                </a:ext>
              </a:extLst>
            </p:cNvPr>
            <p:cNvCxnSpPr>
              <a:cxnSpLocks/>
              <a:stCxn id="30" idx="7"/>
              <a:endCxn id="26" idx="6"/>
            </p:cNvCxnSpPr>
            <p:nvPr/>
          </p:nvCxnSpPr>
          <p:spPr>
            <a:xfrm flipH="1" flipV="1">
              <a:off x="2713314" y="4131652"/>
              <a:ext cx="4190330" cy="290858"/>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6FC8A59C-E751-4F5E-9BDE-675586FF83A5}"/>
                </a:ext>
              </a:extLst>
            </p:cNvPr>
            <p:cNvCxnSpPr>
              <a:stCxn id="26" idx="2"/>
              <a:endCxn id="39" idx="6"/>
            </p:cNvCxnSpPr>
            <p:nvPr/>
          </p:nvCxnSpPr>
          <p:spPr>
            <a:xfrm flipH="1" flipV="1">
              <a:off x="1509338" y="2688041"/>
              <a:ext cx="1065188" cy="1443612"/>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C5D5AB58-AB57-4678-A67D-9BDECD65CACD}"/>
                </a:ext>
              </a:extLst>
            </p:cNvPr>
            <p:cNvCxnSpPr>
              <a:stCxn id="39" idx="6"/>
              <a:endCxn id="28" idx="2"/>
            </p:cNvCxnSpPr>
            <p:nvPr/>
          </p:nvCxnSpPr>
          <p:spPr>
            <a:xfrm>
              <a:off x="1509338" y="2688041"/>
              <a:ext cx="5324913" cy="1710269"/>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nvGrpSpPr>
            <p:cNvPr id="37" name="Group 36">
              <a:extLst>
                <a:ext uri="{FF2B5EF4-FFF2-40B4-BE49-F238E27FC236}">
                  <a16:creationId xmlns:a16="http://schemas.microsoft.com/office/drawing/2014/main" id="{BA0487F2-518D-4932-9617-8C4EB3617F72}"/>
                </a:ext>
              </a:extLst>
            </p:cNvPr>
            <p:cNvGrpSpPr/>
            <p:nvPr/>
          </p:nvGrpSpPr>
          <p:grpSpPr>
            <a:xfrm>
              <a:off x="1304713" y="2552810"/>
              <a:ext cx="270459" cy="270459"/>
              <a:chOff x="981689" y="2177026"/>
              <a:chExt cx="202844" cy="202844"/>
            </a:xfrm>
          </p:grpSpPr>
          <p:sp>
            <p:nvSpPr>
              <p:cNvPr id="38" name="Oval 37">
                <a:extLst>
                  <a:ext uri="{FF2B5EF4-FFF2-40B4-BE49-F238E27FC236}">
                    <a16:creationId xmlns:a16="http://schemas.microsoft.com/office/drawing/2014/main" id="{EB1E7F12-4432-42DD-9D70-D6B877F68545}"/>
                  </a:ext>
                </a:extLst>
              </p:cNvPr>
              <p:cNvSpPr/>
              <p:nvPr/>
            </p:nvSpPr>
            <p:spPr>
              <a:xfrm>
                <a:off x="981689" y="2177026"/>
                <a:ext cx="202844" cy="202844"/>
              </a:xfrm>
              <a:prstGeom prst="ellipse">
                <a:avLst/>
              </a:prstGeom>
              <a:solidFill>
                <a:schemeClr val="accent5"/>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92540">
                  <a:defRPr/>
                </a:pPr>
                <a:endParaRPr lang="en-US" sz="2151" kern="0">
                  <a:solidFill>
                    <a:sysClr val="windowText" lastClr="000000"/>
                  </a:solidFill>
                  <a:latin typeface="Calibri"/>
                </a:endParaRPr>
              </a:p>
            </p:txBody>
          </p:sp>
          <p:sp>
            <p:nvSpPr>
              <p:cNvPr id="39" name="Oval 38">
                <a:extLst>
                  <a:ext uri="{FF2B5EF4-FFF2-40B4-BE49-F238E27FC236}">
                    <a16:creationId xmlns:a16="http://schemas.microsoft.com/office/drawing/2014/main" id="{1362D8B8-8D85-4A37-A00B-9626BFDAE484}"/>
                  </a:ext>
                </a:extLst>
              </p:cNvPr>
              <p:cNvSpPr/>
              <p:nvPr/>
            </p:nvSpPr>
            <p:spPr>
              <a:xfrm>
                <a:off x="1031066" y="2226403"/>
                <a:ext cx="104091" cy="104091"/>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92540">
                  <a:defRPr/>
                </a:pPr>
                <a:endParaRPr lang="en-US" sz="2151" kern="0">
                  <a:solidFill>
                    <a:sysClr val="windowText" lastClr="000000"/>
                  </a:solidFill>
                  <a:latin typeface="Calibri"/>
                </a:endParaRPr>
              </a:p>
            </p:txBody>
          </p:sp>
        </p:grpSp>
        <p:sp>
          <p:nvSpPr>
            <p:cNvPr id="40" name="Freeform 6">
              <a:extLst>
                <a:ext uri="{FF2B5EF4-FFF2-40B4-BE49-F238E27FC236}">
                  <a16:creationId xmlns:a16="http://schemas.microsoft.com/office/drawing/2014/main" id="{C39FF92F-2DEE-452B-9C4C-29F987DCBB2F}"/>
                </a:ext>
              </a:extLst>
            </p:cNvPr>
            <p:cNvSpPr>
              <a:spLocks noEditPoints="1"/>
            </p:cNvSpPr>
            <p:nvPr/>
          </p:nvSpPr>
          <p:spPr bwMode="auto">
            <a:xfrm>
              <a:off x="1334625" y="2327788"/>
              <a:ext cx="225396" cy="360252"/>
            </a:xfrm>
            <a:custGeom>
              <a:avLst/>
              <a:gdLst>
                <a:gd name="T0" fmla="*/ 100 w 200"/>
                <a:gd name="T1" fmla="*/ 158 h 320"/>
                <a:gd name="T2" fmla="*/ 43 w 200"/>
                <a:gd name="T3" fmla="*/ 101 h 320"/>
                <a:gd name="T4" fmla="*/ 100 w 200"/>
                <a:gd name="T5" fmla="*/ 44 h 320"/>
                <a:gd name="T6" fmla="*/ 158 w 200"/>
                <a:gd name="T7" fmla="*/ 101 h 320"/>
                <a:gd name="T8" fmla="*/ 100 w 200"/>
                <a:gd name="T9" fmla="*/ 158 h 320"/>
                <a:gd name="T10" fmla="*/ 100 w 200"/>
                <a:gd name="T11" fmla="*/ 0 h 320"/>
                <a:gd name="T12" fmla="*/ 0 w 200"/>
                <a:gd name="T13" fmla="*/ 100 h 320"/>
                <a:gd name="T14" fmla="*/ 100 w 200"/>
                <a:gd name="T15" fmla="*/ 320 h 320"/>
                <a:gd name="T16" fmla="*/ 200 w 200"/>
                <a:gd name="T17" fmla="*/ 100 h 320"/>
                <a:gd name="T18" fmla="*/ 100 w 200"/>
                <a:gd name="T19" fmla="*/ 0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0" h="320">
                  <a:moveTo>
                    <a:pt x="100" y="158"/>
                  </a:moveTo>
                  <a:cubicBezTo>
                    <a:pt x="69" y="158"/>
                    <a:pt x="43" y="133"/>
                    <a:pt x="43" y="101"/>
                  </a:cubicBezTo>
                  <a:cubicBezTo>
                    <a:pt x="43" y="70"/>
                    <a:pt x="69" y="44"/>
                    <a:pt x="100" y="44"/>
                  </a:cubicBezTo>
                  <a:cubicBezTo>
                    <a:pt x="132" y="44"/>
                    <a:pt x="158" y="70"/>
                    <a:pt x="158" y="101"/>
                  </a:cubicBezTo>
                  <a:cubicBezTo>
                    <a:pt x="158" y="133"/>
                    <a:pt x="132" y="158"/>
                    <a:pt x="100" y="158"/>
                  </a:cubicBezTo>
                  <a:close/>
                  <a:moveTo>
                    <a:pt x="100" y="0"/>
                  </a:moveTo>
                  <a:cubicBezTo>
                    <a:pt x="45" y="0"/>
                    <a:pt x="0" y="45"/>
                    <a:pt x="0" y="100"/>
                  </a:cubicBezTo>
                  <a:cubicBezTo>
                    <a:pt x="0" y="195"/>
                    <a:pt x="100" y="320"/>
                    <a:pt x="100" y="320"/>
                  </a:cubicBezTo>
                  <a:cubicBezTo>
                    <a:pt x="100" y="320"/>
                    <a:pt x="200" y="195"/>
                    <a:pt x="200" y="100"/>
                  </a:cubicBezTo>
                  <a:cubicBezTo>
                    <a:pt x="200" y="45"/>
                    <a:pt x="156" y="0"/>
                    <a:pt x="100" y="0"/>
                  </a:cubicBezTo>
                  <a:close/>
                </a:path>
              </a:pathLst>
            </a:custGeom>
            <a:solidFill>
              <a:srgbClr val="00B0F0"/>
            </a:solidFill>
            <a:ln>
              <a:noFill/>
            </a:ln>
          </p:spPr>
          <p:txBody>
            <a:bodyPr vert="horz" wrap="square" lIns="109259" tIns="54629" rIns="109259" bIns="54629" numCol="1" anchor="t" anchorCtr="0" compatLnSpc="1">
              <a:prstTxWarp prst="textNoShape">
                <a:avLst/>
              </a:prstTxWarp>
            </a:bodyPr>
            <a:lstStyle/>
            <a:p>
              <a:pPr defTabSz="1092540">
                <a:defRPr/>
              </a:pPr>
              <a:endParaRPr lang="en-US" sz="2151" kern="0">
                <a:solidFill>
                  <a:sysClr val="windowText" lastClr="000000"/>
                </a:solidFill>
                <a:latin typeface="Calibri"/>
              </a:endParaRPr>
            </a:p>
          </p:txBody>
        </p:sp>
        <p:sp>
          <p:nvSpPr>
            <p:cNvPr id="52" name="Oval 51">
              <a:extLst>
                <a:ext uri="{FF2B5EF4-FFF2-40B4-BE49-F238E27FC236}">
                  <a16:creationId xmlns:a16="http://schemas.microsoft.com/office/drawing/2014/main" id="{28879B3F-85BB-4406-88E0-70DB2ED2E997}"/>
                </a:ext>
              </a:extLst>
            </p:cNvPr>
            <p:cNvSpPr/>
            <p:nvPr/>
          </p:nvSpPr>
          <p:spPr>
            <a:xfrm>
              <a:off x="6267394" y="2927185"/>
              <a:ext cx="138788" cy="13878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92540">
                <a:defRPr/>
              </a:pPr>
              <a:endParaRPr lang="en-US" sz="2151" kern="0">
                <a:solidFill>
                  <a:sysClr val="windowText" lastClr="000000"/>
                </a:solidFill>
                <a:latin typeface="Calibri"/>
              </a:endParaRPr>
            </a:p>
          </p:txBody>
        </p:sp>
        <p:cxnSp>
          <p:nvCxnSpPr>
            <p:cNvPr id="53" name="Straight Connector 52">
              <a:extLst>
                <a:ext uri="{FF2B5EF4-FFF2-40B4-BE49-F238E27FC236}">
                  <a16:creationId xmlns:a16="http://schemas.microsoft.com/office/drawing/2014/main" id="{E46B05A3-E78E-4622-B17A-AB8842930394}"/>
                </a:ext>
              </a:extLst>
            </p:cNvPr>
            <p:cNvCxnSpPr>
              <a:cxnSpLocks/>
              <a:stCxn id="30" idx="7"/>
              <a:endCxn id="51" idx="7"/>
            </p:cNvCxnSpPr>
            <p:nvPr/>
          </p:nvCxnSpPr>
          <p:spPr>
            <a:xfrm flipH="1" flipV="1">
              <a:off x="6336788" y="3014917"/>
              <a:ext cx="566856" cy="1407593"/>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51" name="Freeform 162">
              <a:extLst>
                <a:ext uri="{FF2B5EF4-FFF2-40B4-BE49-F238E27FC236}">
                  <a16:creationId xmlns:a16="http://schemas.microsoft.com/office/drawing/2014/main" id="{38BCCE14-E3FC-4EA8-99DD-D48EFFF8ED03}"/>
                </a:ext>
              </a:extLst>
            </p:cNvPr>
            <p:cNvSpPr>
              <a:spLocks noEditPoints="1"/>
            </p:cNvSpPr>
            <p:nvPr/>
          </p:nvSpPr>
          <p:spPr bwMode="auto">
            <a:xfrm>
              <a:off x="6224090" y="2654665"/>
              <a:ext cx="225396" cy="360252"/>
            </a:xfrm>
            <a:custGeom>
              <a:avLst/>
              <a:gdLst>
                <a:gd name="T0" fmla="*/ 100 w 200"/>
                <a:gd name="T1" fmla="*/ 158 h 320"/>
                <a:gd name="T2" fmla="*/ 43 w 200"/>
                <a:gd name="T3" fmla="*/ 101 h 320"/>
                <a:gd name="T4" fmla="*/ 100 w 200"/>
                <a:gd name="T5" fmla="*/ 44 h 320"/>
                <a:gd name="T6" fmla="*/ 158 w 200"/>
                <a:gd name="T7" fmla="*/ 101 h 320"/>
                <a:gd name="T8" fmla="*/ 100 w 200"/>
                <a:gd name="T9" fmla="*/ 158 h 320"/>
                <a:gd name="T10" fmla="*/ 100 w 200"/>
                <a:gd name="T11" fmla="*/ 0 h 320"/>
                <a:gd name="T12" fmla="*/ 0 w 200"/>
                <a:gd name="T13" fmla="*/ 100 h 320"/>
                <a:gd name="T14" fmla="*/ 100 w 200"/>
                <a:gd name="T15" fmla="*/ 320 h 320"/>
                <a:gd name="T16" fmla="*/ 200 w 200"/>
                <a:gd name="T17" fmla="*/ 100 h 320"/>
                <a:gd name="T18" fmla="*/ 100 w 200"/>
                <a:gd name="T19" fmla="*/ 0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0" h="320">
                  <a:moveTo>
                    <a:pt x="100" y="158"/>
                  </a:moveTo>
                  <a:cubicBezTo>
                    <a:pt x="69" y="158"/>
                    <a:pt x="43" y="133"/>
                    <a:pt x="43" y="101"/>
                  </a:cubicBezTo>
                  <a:cubicBezTo>
                    <a:pt x="43" y="70"/>
                    <a:pt x="69" y="44"/>
                    <a:pt x="100" y="44"/>
                  </a:cubicBezTo>
                  <a:cubicBezTo>
                    <a:pt x="132" y="44"/>
                    <a:pt x="158" y="70"/>
                    <a:pt x="158" y="101"/>
                  </a:cubicBezTo>
                  <a:cubicBezTo>
                    <a:pt x="158" y="133"/>
                    <a:pt x="132" y="158"/>
                    <a:pt x="100" y="158"/>
                  </a:cubicBezTo>
                  <a:close/>
                  <a:moveTo>
                    <a:pt x="100" y="0"/>
                  </a:moveTo>
                  <a:cubicBezTo>
                    <a:pt x="45" y="0"/>
                    <a:pt x="0" y="45"/>
                    <a:pt x="0" y="100"/>
                  </a:cubicBezTo>
                  <a:cubicBezTo>
                    <a:pt x="0" y="195"/>
                    <a:pt x="100" y="320"/>
                    <a:pt x="100" y="320"/>
                  </a:cubicBezTo>
                  <a:cubicBezTo>
                    <a:pt x="100" y="320"/>
                    <a:pt x="200" y="195"/>
                    <a:pt x="200" y="100"/>
                  </a:cubicBezTo>
                  <a:cubicBezTo>
                    <a:pt x="200" y="45"/>
                    <a:pt x="156" y="0"/>
                    <a:pt x="100" y="0"/>
                  </a:cubicBezTo>
                  <a:close/>
                </a:path>
              </a:pathLst>
            </a:custGeom>
            <a:solidFill>
              <a:schemeClr val="accent4">
                <a:lumMod val="60000"/>
                <a:lumOff val="40000"/>
              </a:schemeClr>
            </a:solidFill>
            <a:ln>
              <a:noFill/>
            </a:ln>
          </p:spPr>
          <p:txBody>
            <a:bodyPr vert="horz" wrap="square" lIns="109259" tIns="54629" rIns="109259" bIns="54629" numCol="1" anchor="t" anchorCtr="0" compatLnSpc="1">
              <a:prstTxWarp prst="textNoShape">
                <a:avLst/>
              </a:prstTxWarp>
            </a:bodyPr>
            <a:lstStyle/>
            <a:p>
              <a:pPr defTabSz="1092540">
                <a:defRPr/>
              </a:pPr>
              <a:endParaRPr lang="en-US" sz="2151" kern="0">
                <a:solidFill>
                  <a:sysClr val="windowText" lastClr="000000"/>
                </a:solidFill>
                <a:latin typeface="Calibri"/>
              </a:endParaRPr>
            </a:p>
          </p:txBody>
        </p:sp>
        <p:cxnSp>
          <p:nvCxnSpPr>
            <p:cNvPr id="54" name="Straight Connector 53">
              <a:extLst>
                <a:ext uri="{FF2B5EF4-FFF2-40B4-BE49-F238E27FC236}">
                  <a16:creationId xmlns:a16="http://schemas.microsoft.com/office/drawing/2014/main" id="{B78B03B2-3152-46DD-AE96-495A981DE9F3}"/>
                </a:ext>
              </a:extLst>
            </p:cNvPr>
            <p:cNvCxnSpPr>
              <a:cxnSpLocks/>
              <a:stCxn id="52" idx="2"/>
              <a:endCxn id="27" idx="6"/>
            </p:cNvCxnSpPr>
            <p:nvPr/>
          </p:nvCxnSpPr>
          <p:spPr>
            <a:xfrm flipH="1" flipV="1">
              <a:off x="4368801" y="2538905"/>
              <a:ext cx="1898593" cy="457674"/>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31" name="Rectangle 30">
            <a:extLst>
              <a:ext uri="{FF2B5EF4-FFF2-40B4-BE49-F238E27FC236}">
                <a16:creationId xmlns:a16="http://schemas.microsoft.com/office/drawing/2014/main" id="{39DF2E60-AA1E-4E1A-ACB4-18351A360702}"/>
              </a:ext>
            </a:extLst>
          </p:cNvPr>
          <p:cNvSpPr/>
          <p:nvPr/>
        </p:nvSpPr>
        <p:spPr bwMode="auto">
          <a:xfrm rot="16200000">
            <a:off x="5331268" y="-4168787"/>
            <a:ext cx="1773940" cy="10927395"/>
          </a:xfrm>
          <a:prstGeom prst="rect">
            <a:avLst/>
          </a:pr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60689" tIns="128551" rIns="160689" bIns="128551" numCol="1" spcCol="0" rtlCol="0" fromWordArt="0" anchor="t" anchorCtr="0" forceAA="0" compatLnSpc="1">
            <a:prstTxWarp prst="textNoShape">
              <a:avLst/>
            </a:prstTxWarp>
            <a:noAutofit/>
          </a:bodyPr>
          <a:lstStyle/>
          <a:p>
            <a:pPr algn="ctr" defTabSz="819315" fontAlgn="base">
              <a:lnSpc>
                <a:spcPct val="90000"/>
              </a:lnSpc>
              <a:spcBef>
                <a:spcPct val="0"/>
              </a:spcBef>
              <a:spcAft>
                <a:spcPct val="0"/>
              </a:spcAft>
              <a:defRPr/>
            </a:pPr>
            <a:endParaRPr lang="en-US" sz="2109" kern="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46" name="Title 1">
            <a:extLst>
              <a:ext uri="{FF2B5EF4-FFF2-40B4-BE49-F238E27FC236}">
                <a16:creationId xmlns:a16="http://schemas.microsoft.com/office/drawing/2014/main" id="{435E45D8-DD41-4FEF-9443-94FFB8EF4451}"/>
              </a:ext>
            </a:extLst>
          </p:cNvPr>
          <p:cNvSpPr txBox="1">
            <a:spLocks/>
          </p:cNvSpPr>
          <p:nvPr/>
        </p:nvSpPr>
        <p:spPr>
          <a:xfrm>
            <a:off x="928899" y="559200"/>
            <a:ext cx="10592628" cy="819403"/>
          </a:xfrm>
          <a:prstGeom prst="rect">
            <a:avLst/>
          </a:prstGeom>
          <a:noFill/>
        </p:spPr>
        <p:txBody>
          <a:bodyPr wrap="square" tIns="80344" bIns="80344" anchor="b" anchorCtr="0">
            <a:spAutoFit/>
          </a:bodyPr>
          <a:lstStyle>
            <a:lvl1pPr algn="l" defTabSz="932742" rtl="0" eaLnBrk="1" latinLnBrk="0" hangingPunct="1">
              <a:lnSpc>
                <a:spcPct val="90000"/>
              </a:lnSpc>
              <a:spcBef>
                <a:spcPct val="0"/>
              </a:spcBef>
              <a:buNone/>
              <a:defRPr lang="en-US" sz="6000" b="0" kern="1200" cap="none" spc="-100" baseline="0">
                <a:ln w="3175">
                  <a:noFill/>
                </a:ln>
                <a:gradFill>
                  <a:gsLst>
                    <a:gs pos="0">
                      <a:schemeClr val="tx1"/>
                    </a:gs>
                    <a:gs pos="100000">
                      <a:schemeClr val="tx1"/>
                    </a:gs>
                  </a:gsLst>
                  <a:lin ang="5400000" scaled="0"/>
                </a:gradFill>
                <a:effectLst/>
                <a:latin typeface="+mj-lt"/>
                <a:ea typeface="+mn-ea"/>
                <a:cs typeface="Segoe UI" pitchFamily="34" charset="0"/>
              </a:defRPr>
            </a:lvl1pPr>
          </a:lstStyle>
          <a:p>
            <a:pPr algn="ctr" defTabSz="819553">
              <a:defRPr/>
            </a:pPr>
            <a:r>
              <a:rPr lang="en-US" sz="4745" spc="-88" dirty="0">
                <a:gradFill>
                  <a:gsLst>
                    <a:gs pos="0">
                      <a:srgbClr val="FFFFFF"/>
                    </a:gs>
                    <a:gs pos="100000">
                      <a:srgbClr val="FFFFFF"/>
                    </a:gs>
                  </a:gsLst>
                  <a:lin ang="5400000" scaled="0"/>
                </a:gradFill>
                <a:latin typeface="Segoe UI Light"/>
              </a:rPr>
              <a:t>Azure Cosmos DB</a:t>
            </a:r>
          </a:p>
        </p:txBody>
      </p:sp>
      <p:sp>
        <p:nvSpPr>
          <p:cNvPr id="50" name="Title 1">
            <a:extLst>
              <a:ext uri="{FF2B5EF4-FFF2-40B4-BE49-F238E27FC236}">
                <a16:creationId xmlns:a16="http://schemas.microsoft.com/office/drawing/2014/main" id="{9DA7411C-F06C-4E29-93AB-6F731F172E8D}"/>
              </a:ext>
            </a:extLst>
          </p:cNvPr>
          <p:cNvSpPr txBox="1">
            <a:spLocks/>
          </p:cNvSpPr>
          <p:nvPr/>
        </p:nvSpPr>
        <p:spPr>
          <a:xfrm>
            <a:off x="3250903" y="1267268"/>
            <a:ext cx="6036799" cy="503046"/>
          </a:xfrm>
          <a:prstGeom prst="rect">
            <a:avLst/>
          </a:prstGeom>
          <a:noFill/>
        </p:spPr>
        <p:txBody>
          <a:bodyPr wrap="square" tIns="80344" bIns="80344" anchor="b" anchorCtr="0">
            <a:spAutoFit/>
          </a:bodyPr>
          <a:lstStyle>
            <a:lvl1pPr algn="l" defTabSz="932742" rtl="0" eaLnBrk="1" latinLnBrk="0" hangingPunct="1">
              <a:lnSpc>
                <a:spcPct val="90000"/>
              </a:lnSpc>
              <a:spcBef>
                <a:spcPct val="0"/>
              </a:spcBef>
              <a:buNone/>
              <a:defRPr lang="en-US" sz="6000" b="0" kern="1200" cap="none" spc="-100" baseline="0">
                <a:ln w="3175">
                  <a:noFill/>
                </a:ln>
                <a:gradFill>
                  <a:gsLst>
                    <a:gs pos="0">
                      <a:schemeClr val="tx1"/>
                    </a:gs>
                    <a:gs pos="100000">
                      <a:schemeClr val="tx1"/>
                    </a:gs>
                  </a:gsLst>
                  <a:lin ang="5400000" scaled="0"/>
                </a:gradFill>
                <a:effectLst/>
                <a:latin typeface="+mj-lt"/>
                <a:ea typeface="+mn-ea"/>
                <a:cs typeface="Segoe UI" pitchFamily="34" charset="0"/>
              </a:defRPr>
            </a:lvl1pPr>
          </a:lstStyle>
          <a:p>
            <a:pPr algn="ctr" defTabSz="836023">
              <a:defRPr/>
            </a:pPr>
            <a:r>
              <a:rPr lang="en-US" sz="2460" spc="0" dirty="0">
                <a:solidFill>
                  <a:srgbClr val="0078D7">
                    <a:lumMod val="20000"/>
                    <a:lumOff val="80000"/>
                  </a:srgbClr>
                </a:solidFill>
                <a:latin typeface="Segoe UI" panose="020B0502040204020203" pitchFamily="34" charset="0"/>
              </a:rPr>
              <a:t>Globally-distribute data around the world</a:t>
            </a:r>
            <a:endParaRPr lang="en-US" sz="3514" spc="0" dirty="0">
              <a:solidFill>
                <a:srgbClr val="0078D7">
                  <a:lumMod val="20000"/>
                  <a:lumOff val="80000"/>
                </a:srgbClr>
              </a:solidFill>
              <a:latin typeface="Segoe UI" panose="020B0502040204020203" pitchFamily="34" charset="0"/>
            </a:endParaRPr>
          </a:p>
        </p:txBody>
      </p:sp>
      <p:sp>
        <p:nvSpPr>
          <p:cNvPr id="25" name="Rectangle 24">
            <a:extLst>
              <a:ext uri="{FF2B5EF4-FFF2-40B4-BE49-F238E27FC236}">
                <a16:creationId xmlns:a16="http://schemas.microsoft.com/office/drawing/2014/main" id="{4ABFAEA4-8AD6-4719-84B0-569801BEF51D}"/>
              </a:ext>
            </a:extLst>
          </p:cNvPr>
          <p:cNvSpPr/>
          <p:nvPr/>
        </p:nvSpPr>
        <p:spPr bwMode="auto">
          <a:xfrm rot="16200000">
            <a:off x="6140143" y="-3203721"/>
            <a:ext cx="156189" cy="10927395"/>
          </a:xfrm>
          <a:prstGeom prst="rect">
            <a:avLst/>
          </a:prstGeom>
          <a:gradFill flip="none" rotWithShape="1">
            <a:gsLst>
              <a:gs pos="0">
                <a:srgbClr val="002050">
                  <a:alpha val="47000"/>
                </a:srgbClr>
              </a:gs>
              <a:gs pos="100000">
                <a:srgbClr val="002050">
                  <a:alpha val="0"/>
                </a:srgbClr>
              </a:gs>
            </a:gsLst>
            <a:lin ang="10800000" scaled="1"/>
            <a:tileRect/>
          </a:gradFill>
          <a:ln w="9525" cap="flat" cmpd="sng" algn="ctr">
            <a:noFill/>
            <a:prstDash val="solid"/>
            <a:headEnd type="none" w="med" len="med"/>
            <a:tailEnd type="none" w="med" len="med"/>
          </a:ln>
          <a:effectLst/>
        </p:spPr>
        <p:txBody>
          <a:bodyPr rot="0" spcFirstLastPara="0" vertOverflow="overflow" horzOverflow="overflow" vert="horz" wrap="square" lIns="160689" tIns="128551" rIns="160689" bIns="128551" numCol="1" spcCol="0" rtlCol="0" fromWordArt="0" anchor="t" anchorCtr="0" forceAA="0" compatLnSpc="1">
            <a:prstTxWarp prst="textNoShape">
              <a:avLst/>
            </a:prstTxWarp>
            <a:noAutofit/>
          </a:bodyPr>
          <a:lstStyle/>
          <a:p>
            <a:pPr algn="ctr" defTabSz="819315" fontAlgn="base">
              <a:lnSpc>
                <a:spcPct val="90000"/>
              </a:lnSpc>
              <a:spcBef>
                <a:spcPct val="0"/>
              </a:spcBef>
              <a:spcAft>
                <a:spcPct val="0"/>
              </a:spcAft>
              <a:defRPr/>
            </a:pPr>
            <a:endParaRPr lang="en-US" sz="2109" kern="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41" name="Title 1">
            <a:extLst/>
          </p:cNvPr>
          <p:cNvSpPr txBox="1">
            <a:spLocks/>
          </p:cNvSpPr>
          <p:nvPr/>
        </p:nvSpPr>
        <p:spPr>
          <a:xfrm>
            <a:off x="974615" y="4586055"/>
            <a:ext cx="2573373" cy="843728"/>
          </a:xfrm>
          <a:prstGeom prst="rect">
            <a:avLst/>
          </a:prstGeom>
          <a:noFill/>
        </p:spPr>
        <p:txBody>
          <a:bodyPr wrap="square" tIns="80344" bIns="80344" anchor="b" anchorCtr="0">
            <a:spAutoFit/>
          </a:bodyPr>
          <a:lstStyle>
            <a:lvl1pPr algn="l" defTabSz="932742" rtl="0" eaLnBrk="1" latinLnBrk="0" hangingPunct="1">
              <a:lnSpc>
                <a:spcPct val="90000"/>
              </a:lnSpc>
              <a:spcBef>
                <a:spcPct val="0"/>
              </a:spcBef>
              <a:buNone/>
              <a:defRPr lang="en-US" sz="6000" b="0" kern="1200" cap="none" spc="-100" baseline="0">
                <a:ln w="3175">
                  <a:noFill/>
                </a:ln>
                <a:gradFill>
                  <a:gsLst>
                    <a:gs pos="0">
                      <a:schemeClr val="tx1"/>
                    </a:gs>
                    <a:gs pos="100000">
                      <a:schemeClr val="tx1"/>
                    </a:gs>
                  </a:gsLst>
                  <a:lin ang="5400000" scaled="0"/>
                </a:gradFill>
                <a:effectLst/>
                <a:latin typeface="+mj-lt"/>
                <a:ea typeface="+mn-ea"/>
                <a:cs typeface="Segoe UI" pitchFamily="34" charset="0"/>
              </a:defRPr>
            </a:lvl1pPr>
          </a:lstStyle>
          <a:p>
            <a:pPr algn="ctr" defTabSz="836023">
              <a:defRPr/>
            </a:pPr>
            <a:r>
              <a:rPr lang="en-US" sz="2460" spc="0" dirty="0">
                <a:solidFill>
                  <a:srgbClr val="002050"/>
                </a:solidFill>
                <a:latin typeface="Segoe UI" panose="020B0502040204020203" pitchFamily="34" charset="0"/>
              </a:rPr>
              <a:t>Turn-key global distribution</a:t>
            </a:r>
            <a:endParaRPr lang="en-US" sz="3514" spc="0" dirty="0">
              <a:solidFill>
                <a:srgbClr val="002050"/>
              </a:solidFill>
              <a:latin typeface="Segoe UI" panose="020B0502040204020203" pitchFamily="34" charset="0"/>
            </a:endParaRPr>
          </a:p>
        </p:txBody>
      </p:sp>
      <p:cxnSp>
        <p:nvCxnSpPr>
          <p:cNvPr id="4" name="Straight Connector 3"/>
          <p:cNvCxnSpPr>
            <a:endCxn id="38" idx="2"/>
          </p:cNvCxnSpPr>
          <p:nvPr/>
        </p:nvCxnSpPr>
        <p:spPr>
          <a:xfrm flipV="1">
            <a:off x="1298958" y="3296212"/>
            <a:ext cx="1873020" cy="1377697"/>
          </a:xfrm>
          <a:prstGeom prst="line">
            <a:avLst/>
          </a:prstGeom>
          <a:ln>
            <a:solidFill>
              <a:schemeClr val="bg1"/>
            </a:solidFill>
            <a:prstDash val="dash"/>
          </a:ln>
        </p:spPr>
        <p:style>
          <a:lnRef idx="1">
            <a:schemeClr val="accent1"/>
          </a:lnRef>
          <a:fillRef idx="0">
            <a:schemeClr val="accent1"/>
          </a:fillRef>
          <a:effectRef idx="0">
            <a:schemeClr val="accent1"/>
          </a:effectRef>
          <a:fontRef idx="minor">
            <a:schemeClr val="tx1"/>
          </a:fontRef>
        </p:style>
      </p:cxnSp>
      <p:cxnSp>
        <p:nvCxnSpPr>
          <p:cNvPr id="42" name="Straight Connector 41"/>
          <p:cNvCxnSpPr/>
          <p:nvPr/>
        </p:nvCxnSpPr>
        <p:spPr>
          <a:xfrm flipV="1">
            <a:off x="3282182" y="3432805"/>
            <a:ext cx="26388" cy="1315363"/>
          </a:xfrm>
          <a:prstGeom prst="line">
            <a:avLst/>
          </a:prstGeom>
          <a:ln>
            <a:solidFill>
              <a:schemeClr val="bg1"/>
            </a:solidFill>
            <a:prstDash val="dash"/>
          </a:ln>
        </p:spPr>
        <p:style>
          <a:lnRef idx="1">
            <a:schemeClr val="accent1"/>
          </a:lnRef>
          <a:fillRef idx="0">
            <a:schemeClr val="accent1"/>
          </a:fillRef>
          <a:effectRef idx="0">
            <a:schemeClr val="accent1"/>
          </a:effectRef>
          <a:fontRef idx="minor">
            <a:schemeClr val="tx1"/>
          </a:fontRef>
        </p:style>
      </p:cxnSp>
      <p:sp>
        <p:nvSpPr>
          <p:cNvPr id="43" name="TextBox 42"/>
          <p:cNvSpPr txBox="1"/>
          <p:nvPr/>
        </p:nvSpPr>
        <p:spPr>
          <a:xfrm>
            <a:off x="1218321" y="6209306"/>
            <a:ext cx="9686644" cy="298415"/>
          </a:xfrm>
          <a:prstGeom prst="rect">
            <a:avLst/>
          </a:prstGeom>
          <a:noFill/>
        </p:spPr>
        <p:txBody>
          <a:bodyPr wrap="square" rtlCol="0">
            <a:spAutoFit/>
          </a:bodyPr>
          <a:lstStyle/>
          <a:p>
            <a:pPr algn="ctr" defTabSz="874182"/>
            <a:r>
              <a:rPr lang="en-US" sz="1339" b="1" kern="0" dirty="0">
                <a:solidFill>
                  <a:prstClr val="white"/>
                </a:solidFill>
                <a:latin typeface="Segoe UI Semibold" charset="0"/>
                <a:ea typeface="Segoe UI Semibold" charset="0"/>
                <a:cs typeface="Segoe UI Semibold" charset="0"/>
              </a:rPr>
              <a:t>Automatically replicate all your data around the world – across more regions than Amazon and Google combined</a:t>
            </a:r>
          </a:p>
        </p:txBody>
      </p:sp>
    </p:spTree>
    <p:extLst>
      <p:ext uri="{BB962C8B-B14F-4D97-AF65-F5344CB8AC3E}">
        <p14:creationId xmlns:p14="http://schemas.microsoft.com/office/powerpoint/2010/main" val="385259144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5">
            <a:extLst>
              <a:ext uri="{FF2B5EF4-FFF2-40B4-BE49-F238E27FC236}">
                <a16:creationId xmlns:a16="http://schemas.microsoft.com/office/drawing/2014/main" id="{A7E11662-17E6-41A6-B986-4D5690D3B920}"/>
              </a:ext>
            </a:extLst>
          </p:cNvPr>
          <p:cNvSpPr txBox="1">
            <a:spLocks/>
          </p:cNvSpPr>
          <p:nvPr/>
        </p:nvSpPr>
        <p:spPr>
          <a:xfrm>
            <a:off x="739193" y="223438"/>
            <a:ext cx="10455609" cy="1037353"/>
          </a:xfrm>
          <a:prstGeom prst="rect">
            <a:avLst/>
          </a:prstGeom>
        </p:spPr>
        <p:txBody>
          <a:bodyPr vert="horz" wrap="square" lIns="139891" tIns="87432" rIns="139891" bIns="87432" rtlCol="0" anchor="t">
            <a:spAutoFit/>
          </a:bodyPr>
          <a:lstStyle>
            <a:lvl1pPr algn="l" defTabSz="914367" rtl="0" eaLnBrk="1" latinLnBrk="0" hangingPunct="1">
              <a:lnSpc>
                <a:spcPct val="90000"/>
              </a:lnSpc>
              <a:spcBef>
                <a:spcPct val="0"/>
              </a:spcBef>
              <a:buNone/>
              <a:defRPr lang="en-US" sz="6470" b="0" kern="1200" cap="none" spc="-100" baseline="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6215" spc="-287" dirty="0">
                <a:solidFill>
                  <a:schemeClr val="accent1"/>
                </a:solidFill>
                <a:latin typeface="Segoe Light"/>
                <a:ea typeface="Segoe UI Black" panose="020B0A02040204020203" pitchFamily="34" charset="0"/>
                <a:cs typeface="Segoe UI Black" panose="020B0A02040204020203" pitchFamily="34" charset="0"/>
              </a:rPr>
              <a:t>Elastically scalable storage</a:t>
            </a:r>
          </a:p>
        </p:txBody>
      </p:sp>
      <p:sp>
        <p:nvSpPr>
          <p:cNvPr id="5" name="TextBox 4">
            <a:extLst>
              <a:ext uri="{FF2B5EF4-FFF2-40B4-BE49-F238E27FC236}">
                <a16:creationId xmlns:a16="http://schemas.microsoft.com/office/drawing/2014/main" id="{D4F5CC41-54E3-4FA9-8084-F93E9CAFFFBA}"/>
              </a:ext>
            </a:extLst>
          </p:cNvPr>
          <p:cNvSpPr txBox="1"/>
          <p:nvPr/>
        </p:nvSpPr>
        <p:spPr>
          <a:xfrm>
            <a:off x="739193" y="1572815"/>
            <a:ext cx="7363898" cy="4520598"/>
          </a:xfrm>
          <a:prstGeom prst="rect">
            <a:avLst/>
          </a:prstGeom>
          <a:noFill/>
        </p:spPr>
        <p:txBody>
          <a:bodyPr wrap="square" lIns="174863" tIns="139891" rIns="174863" bIns="139891" rtlCol="0">
            <a:spAutoFit/>
          </a:bodyPr>
          <a:lstStyle/>
          <a:p>
            <a:pPr marL="327881" indent="-327881" defTabSz="857124">
              <a:buFont typeface="Arial" panose="020B0604020202020204" pitchFamily="34" charset="0"/>
              <a:buChar char="•"/>
            </a:pPr>
            <a:r>
              <a:rPr lang="en-US" sz="2295" kern="0" dirty="0">
                <a:solidFill>
                  <a:schemeClr val="accent1"/>
                </a:solidFill>
                <a:latin typeface="Segoe Light"/>
              </a:rPr>
              <a:t>System designed to independently scale storage and throughput</a:t>
            </a:r>
          </a:p>
          <a:p>
            <a:pPr marL="327881" indent="-327881" defTabSz="857124">
              <a:buFont typeface="Arial" panose="020B0604020202020204" pitchFamily="34" charset="0"/>
              <a:buChar char="•"/>
            </a:pPr>
            <a:endParaRPr lang="en-US" sz="2295" kern="0" dirty="0">
              <a:solidFill>
                <a:schemeClr val="accent1"/>
              </a:solidFill>
              <a:latin typeface="Segoe Light"/>
            </a:endParaRPr>
          </a:p>
          <a:p>
            <a:pPr marL="327881" lvl="1" indent="-327881" defTabSz="857124">
              <a:buFont typeface="Arial" panose="020B0604020202020204" pitchFamily="34" charset="0"/>
              <a:buChar char="•"/>
            </a:pPr>
            <a:r>
              <a:rPr lang="en-US" sz="2295" kern="0" dirty="0">
                <a:solidFill>
                  <a:schemeClr val="accent1"/>
                </a:solidFill>
                <a:latin typeface="Segoe Light"/>
              </a:rPr>
              <a:t>Transparent server side partition management and routing</a:t>
            </a:r>
          </a:p>
          <a:p>
            <a:pPr marL="327881" indent="-327881" defTabSz="857124">
              <a:buFont typeface="Arial" panose="020B0604020202020204" pitchFamily="34" charset="0"/>
              <a:buChar char="•"/>
            </a:pPr>
            <a:endParaRPr lang="en-US" sz="2295" kern="0" dirty="0">
              <a:solidFill>
                <a:schemeClr val="accent1"/>
              </a:solidFill>
              <a:latin typeface="Segoe Light"/>
            </a:endParaRPr>
          </a:p>
          <a:p>
            <a:pPr marL="327881" lvl="1" indent="-327881" defTabSz="857124">
              <a:buFont typeface="Arial" panose="020B0604020202020204" pitchFamily="34" charset="0"/>
              <a:buChar char="•"/>
            </a:pPr>
            <a:r>
              <a:rPr lang="en-US" sz="2295" kern="0" dirty="0">
                <a:solidFill>
                  <a:schemeClr val="accent1"/>
                </a:solidFill>
                <a:latin typeface="Segoe Light"/>
              </a:rPr>
              <a:t>Automatically indexed SSD storage</a:t>
            </a:r>
          </a:p>
          <a:p>
            <a:pPr marL="327881" lvl="1" indent="-327881" defTabSz="857124">
              <a:buFont typeface="Arial" panose="020B0604020202020204" pitchFamily="34" charset="0"/>
              <a:buChar char="•"/>
            </a:pPr>
            <a:endParaRPr lang="en-US" sz="2295" kern="0" dirty="0">
              <a:solidFill>
                <a:schemeClr val="accent1"/>
              </a:solidFill>
              <a:latin typeface="Segoe Light"/>
            </a:endParaRPr>
          </a:p>
          <a:p>
            <a:pPr marL="327881" lvl="1" indent="-327881" defTabSz="857124">
              <a:buFont typeface="Arial" panose="020B0604020202020204" pitchFamily="34" charset="0"/>
              <a:buChar char="•"/>
            </a:pPr>
            <a:r>
              <a:rPr lang="en-US" sz="2295" kern="0" dirty="0">
                <a:solidFill>
                  <a:schemeClr val="accent1"/>
                </a:solidFill>
                <a:latin typeface="Segoe Light"/>
              </a:rPr>
              <a:t>Automatic global distribution of data across any number of Azure regions</a:t>
            </a:r>
          </a:p>
          <a:p>
            <a:pPr marL="327881" lvl="1" indent="-327881" defTabSz="857124">
              <a:buFont typeface="Arial" panose="020B0604020202020204" pitchFamily="34" charset="0"/>
              <a:buChar char="•"/>
            </a:pPr>
            <a:endParaRPr lang="en-US" sz="2295" kern="0" dirty="0">
              <a:solidFill>
                <a:schemeClr val="accent1"/>
              </a:solidFill>
              <a:latin typeface="Segoe Light"/>
            </a:endParaRPr>
          </a:p>
          <a:p>
            <a:pPr marL="327881" lvl="1" indent="-327881" defTabSz="857124">
              <a:buFont typeface="Arial" panose="020B0604020202020204" pitchFamily="34" charset="0"/>
              <a:buChar char="•"/>
            </a:pPr>
            <a:r>
              <a:rPr lang="en-US" sz="2295" kern="0" dirty="0">
                <a:solidFill>
                  <a:schemeClr val="accent1"/>
                </a:solidFill>
                <a:latin typeface="Segoe Light"/>
              </a:rPr>
              <a:t>Optionally evict old data using built-in support for TTL</a:t>
            </a:r>
          </a:p>
        </p:txBody>
      </p:sp>
      <p:grpSp>
        <p:nvGrpSpPr>
          <p:cNvPr id="6" name="Group 5">
            <a:extLst>
              <a:ext uri="{FF2B5EF4-FFF2-40B4-BE49-F238E27FC236}">
                <a16:creationId xmlns:a16="http://schemas.microsoft.com/office/drawing/2014/main" id="{21977453-A2D8-49CC-88CF-1C956B3E6831}"/>
              </a:ext>
            </a:extLst>
          </p:cNvPr>
          <p:cNvGrpSpPr/>
          <p:nvPr/>
        </p:nvGrpSpPr>
        <p:grpSpPr>
          <a:xfrm>
            <a:off x="7375033" y="1889217"/>
            <a:ext cx="5061442" cy="3840583"/>
            <a:chOff x="2565476" y="2223105"/>
            <a:chExt cx="6177817" cy="4435450"/>
          </a:xfrm>
        </p:grpSpPr>
        <p:sp>
          <p:nvSpPr>
            <p:cNvPr id="7" name="Rectangle 6">
              <a:extLst>
                <a:ext uri="{FF2B5EF4-FFF2-40B4-BE49-F238E27FC236}">
                  <a16:creationId xmlns:a16="http://schemas.microsoft.com/office/drawing/2014/main" id="{AD9AAFFE-F761-48E2-8F66-EEA5A5EED2CC}"/>
                </a:ext>
              </a:extLst>
            </p:cNvPr>
            <p:cNvSpPr/>
            <p:nvPr/>
          </p:nvSpPr>
          <p:spPr>
            <a:xfrm>
              <a:off x="3062270" y="2683443"/>
              <a:ext cx="4718784" cy="3471581"/>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74318"/>
              <a:endParaRPr lang="en-US" sz="1688">
                <a:solidFill>
                  <a:srgbClr val="FFFFFF"/>
                </a:solidFill>
                <a:latin typeface="Segoe UI"/>
              </a:endParaRPr>
            </a:p>
          </p:txBody>
        </p:sp>
        <p:sp>
          <p:nvSpPr>
            <p:cNvPr id="8" name="Rectangle 7">
              <a:extLst>
                <a:ext uri="{FF2B5EF4-FFF2-40B4-BE49-F238E27FC236}">
                  <a16:creationId xmlns:a16="http://schemas.microsoft.com/office/drawing/2014/main" id="{C524B1CC-6893-48B9-9F3F-20A8F2DC3B74}"/>
                </a:ext>
              </a:extLst>
            </p:cNvPr>
            <p:cNvSpPr/>
            <p:nvPr/>
          </p:nvSpPr>
          <p:spPr>
            <a:xfrm>
              <a:off x="3055990" y="4072432"/>
              <a:ext cx="2590800" cy="2082592"/>
            </a:xfrm>
            <a:prstGeom prst="rect">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74318"/>
              <a:endParaRPr lang="en-US" sz="1688">
                <a:solidFill>
                  <a:srgbClr val="FFFFFF"/>
                </a:solidFill>
                <a:latin typeface="Segoe UI"/>
              </a:endParaRPr>
            </a:p>
          </p:txBody>
        </p:sp>
        <p:sp>
          <p:nvSpPr>
            <p:cNvPr id="9" name="Rectangle 8">
              <a:extLst>
                <a:ext uri="{FF2B5EF4-FFF2-40B4-BE49-F238E27FC236}">
                  <a16:creationId xmlns:a16="http://schemas.microsoft.com/office/drawing/2014/main" id="{84A3D1E1-0AFE-4EA1-9AB1-619675DE70C7}"/>
                </a:ext>
              </a:extLst>
            </p:cNvPr>
            <p:cNvSpPr/>
            <p:nvPr/>
          </p:nvSpPr>
          <p:spPr>
            <a:xfrm>
              <a:off x="3055990" y="5088225"/>
              <a:ext cx="1295400" cy="1066800"/>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74318"/>
              <a:endParaRPr lang="en-US" sz="1688">
                <a:solidFill>
                  <a:srgbClr val="FFFFFF"/>
                </a:solidFill>
                <a:latin typeface="Segoe UI"/>
              </a:endParaRPr>
            </a:p>
          </p:txBody>
        </p:sp>
        <p:cxnSp>
          <p:nvCxnSpPr>
            <p:cNvPr id="10" name="Straight Arrow Connector 9">
              <a:extLst>
                <a:ext uri="{FF2B5EF4-FFF2-40B4-BE49-F238E27FC236}">
                  <a16:creationId xmlns:a16="http://schemas.microsoft.com/office/drawing/2014/main" id="{0AE765D6-386D-4639-9621-0A19888D4C66}"/>
                </a:ext>
              </a:extLst>
            </p:cNvPr>
            <p:cNvCxnSpPr/>
            <p:nvPr/>
          </p:nvCxnSpPr>
          <p:spPr>
            <a:xfrm flipV="1">
              <a:off x="3055990" y="2223105"/>
              <a:ext cx="0" cy="3931920"/>
            </a:xfrm>
            <a:prstGeom prst="straightConnector1">
              <a:avLst/>
            </a:prstGeom>
            <a:ln w="38100">
              <a:solidFill>
                <a:srgbClr val="FFC000"/>
              </a:solidFill>
              <a:tailEnd type="triangle"/>
            </a:ln>
          </p:spPr>
          <p:style>
            <a:lnRef idx="1">
              <a:schemeClr val="accent1"/>
            </a:lnRef>
            <a:fillRef idx="0">
              <a:schemeClr val="accent1"/>
            </a:fillRef>
            <a:effectRef idx="0">
              <a:schemeClr val="accent1"/>
            </a:effectRef>
            <a:fontRef idx="minor">
              <a:schemeClr val="tx1"/>
            </a:fontRef>
          </p:style>
        </p:cxnSp>
        <p:cxnSp>
          <p:nvCxnSpPr>
            <p:cNvPr id="11" name="Straight Arrow Connector 10">
              <a:extLst>
                <a:ext uri="{FF2B5EF4-FFF2-40B4-BE49-F238E27FC236}">
                  <a16:creationId xmlns:a16="http://schemas.microsoft.com/office/drawing/2014/main" id="{56292A1D-F98A-4C89-95DF-EDB3D000221E}"/>
                </a:ext>
              </a:extLst>
            </p:cNvPr>
            <p:cNvCxnSpPr/>
            <p:nvPr/>
          </p:nvCxnSpPr>
          <p:spPr>
            <a:xfrm>
              <a:off x="3055990" y="6155025"/>
              <a:ext cx="5486400" cy="0"/>
            </a:xfrm>
            <a:prstGeom prst="straightConnector1">
              <a:avLst/>
            </a:prstGeom>
            <a:ln w="38100">
              <a:solidFill>
                <a:srgbClr val="FFC000"/>
              </a:solidFill>
              <a:tailEnd type="triangle"/>
            </a:ln>
          </p:spPr>
          <p:style>
            <a:lnRef idx="1">
              <a:schemeClr val="accent1"/>
            </a:lnRef>
            <a:fillRef idx="0">
              <a:schemeClr val="accent1"/>
            </a:fillRef>
            <a:effectRef idx="0">
              <a:schemeClr val="accent1"/>
            </a:effectRef>
            <a:fontRef idx="minor">
              <a:schemeClr val="tx1"/>
            </a:fontRef>
          </p:style>
        </p:cxnSp>
        <p:sp>
          <p:nvSpPr>
            <p:cNvPr id="12" name="Freeform: Shape 11">
              <a:extLst>
                <a:ext uri="{FF2B5EF4-FFF2-40B4-BE49-F238E27FC236}">
                  <a16:creationId xmlns:a16="http://schemas.microsoft.com/office/drawing/2014/main" id="{DC2EBAB7-285F-4A07-B35C-3B66F7EBF624}"/>
                </a:ext>
              </a:extLst>
            </p:cNvPr>
            <p:cNvSpPr/>
            <p:nvPr/>
          </p:nvSpPr>
          <p:spPr>
            <a:xfrm>
              <a:off x="3523475" y="2237006"/>
              <a:ext cx="4717774" cy="3670853"/>
            </a:xfrm>
            <a:custGeom>
              <a:avLst/>
              <a:gdLst>
                <a:gd name="connsiteX0" fmla="*/ 0 w 4717774"/>
                <a:gd name="connsiteY0" fmla="*/ 3670853 h 3670853"/>
                <a:gd name="connsiteX1" fmla="*/ 304800 w 4717774"/>
                <a:gd name="connsiteY1" fmla="*/ 3611218 h 3670853"/>
                <a:gd name="connsiteX2" fmla="*/ 834887 w 4717774"/>
                <a:gd name="connsiteY2" fmla="*/ 3366053 h 3670853"/>
                <a:gd name="connsiteX3" fmla="*/ 1550504 w 4717774"/>
                <a:gd name="connsiteY3" fmla="*/ 2802835 h 3670853"/>
                <a:gd name="connsiteX4" fmla="*/ 2716695 w 4717774"/>
                <a:gd name="connsiteY4" fmla="*/ 1802296 h 3670853"/>
                <a:gd name="connsiteX5" fmla="*/ 4717774 w 4717774"/>
                <a:gd name="connsiteY5" fmla="*/ 0 h 36708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717774" h="3670853">
                  <a:moveTo>
                    <a:pt x="0" y="3670853"/>
                  </a:moveTo>
                  <a:cubicBezTo>
                    <a:pt x="82826" y="3666435"/>
                    <a:pt x="165652" y="3662018"/>
                    <a:pt x="304800" y="3611218"/>
                  </a:cubicBezTo>
                  <a:cubicBezTo>
                    <a:pt x="443948" y="3560418"/>
                    <a:pt x="627270" y="3500783"/>
                    <a:pt x="834887" y="3366053"/>
                  </a:cubicBezTo>
                  <a:cubicBezTo>
                    <a:pt x="1042504" y="3231322"/>
                    <a:pt x="1236869" y="3063461"/>
                    <a:pt x="1550504" y="2802835"/>
                  </a:cubicBezTo>
                  <a:cubicBezTo>
                    <a:pt x="1864139" y="2542209"/>
                    <a:pt x="2188817" y="2269435"/>
                    <a:pt x="2716695" y="1802296"/>
                  </a:cubicBezTo>
                  <a:cubicBezTo>
                    <a:pt x="3244573" y="1335157"/>
                    <a:pt x="3981173" y="667578"/>
                    <a:pt x="4717774" y="0"/>
                  </a:cubicBezTo>
                </a:path>
              </a:pathLst>
            </a:custGeom>
            <a:noFill/>
            <a:ln w="57150">
              <a:solidFill>
                <a:srgbClr val="0070C0"/>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74318"/>
              <a:endParaRPr lang="en-US" sz="1688">
                <a:solidFill>
                  <a:srgbClr val="FFFFFF"/>
                </a:solidFill>
                <a:latin typeface="Segoe UI"/>
              </a:endParaRPr>
            </a:p>
          </p:txBody>
        </p:sp>
        <p:sp>
          <p:nvSpPr>
            <p:cNvPr id="13" name="TextBox 12">
              <a:extLst>
                <a:ext uri="{FF2B5EF4-FFF2-40B4-BE49-F238E27FC236}">
                  <a16:creationId xmlns:a16="http://schemas.microsoft.com/office/drawing/2014/main" id="{B61A7836-70E1-49FA-BCB6-03DE7704E316}"/>
                </a:ext>
              </a:extLst>
            </p:cNvPr>
            <p:cNvSpPr txBox="1"/>
            <p:nvPr/>
          </p:nvSpPr>
          <p:spPr>
            <a:xfrm>
              <a:off x="2777120" y="5034398"/>
              <a:ext cx="1817554" cy="587438"/>
            </a:xfrm>
            <a:prstGeom prst="rect">
              <a:avLst/>
            </a:prstGeom>
            <a:noFill/>
          </p:spPr>
          <p:txBody>
            <a:bodyPr wrap="square" rtlCol="0">
              <a:spAutoFit/>
            </a:bodyPr>
            <a:lstStyle/>
            <a:p>
              <a:pPr algn="ctr" defTabSz="874318"/>
              <a:r>
                <a:rPr lang="en-US" sz="1124" b="1" dirty="0">
                  <a:solidFill>
                    <a:srgbClr val="000000"/>
                  </a:solidFill>
                  <a:latin typeface="Segoe UI"/>
                </a:rPr>
                <a:t>Transaction </a:t>
              </a:r>
            </a:p>
            <a:p>
              <a:pPr algn="ctr" defTabSz="874318"/>
              <a:r>
                <a:rPr lang="en-US" sz="1124" b="1" dirty="0">
                  <a:solidFill>
                    <a:srgbClr val="000000"/>
                  </a:solidFill>
                  <a:latin typeface="Segoe UI"/>
                </a:rPr>
                <a:t>data</a:t>
              </a:r>
            </a:p>
          </p:txBody>
        </p:sp>
        <p:sp>
          <p:nvSpPr>
            <p:cNvPr id="14" name="TextBox 13">
              <a:extLst>
                <a:ext uri="{FF2B5EF4-FFF2-40B4-BE49-F238E27FC236}">
                  <a16:creationId xmlns:a16="http://schemas.microsoft.com/office/drawing/2014/main" id="{B02BD741-AC28-4470-B673-EC260A17594D}"/>
                </a:ext>
              </a:extLst>
            </p:cNvPr>
            <p:cNvSpPr txBox="1"/>
            <p:nvPr/>
          </p:nvSpPr>
          <p:spPr>
            <a:xfrm>
              <a:off x="3158919" y="4126894"/>
              <a:ext cx="2582306" cy="355591"/>
            </a:xfrm>
            <a:prstGeom prst="rect">
              <a:avLst/>
            </a:prstGeom>
            <a:noFill/>
          </p:spPr>
          <p:txBody>
            <a:bodyPr wrap="square" rtlCol="0">
              <a:spAutoFit/>
            </a:bodyPr>
            <a:lstStyle/>
            <a:p>
              <a:pPr defTabSz="874318"/>
              <a:r>
                <a:rPr lang="en-US" sz="1124" b="1" dirty="0">
                  <a:solidFill>
                    <a:srgbClr val="000000"/>
                  </a:solidFill>
                  <a:latin typeface="Segoe UI"/>
                </a:rPr>
                <a:t>Web/content data</a:t>
              </a:r>
            </a:p>
          </p:txBody>
        </p:sp>
        <p:sp>
          <p:nvSpPr>
            <p:cNvPr id="15" name="TextBox 14">
              <a:extLst>
                <a:ext uri="{FF2B5EF4-FFF2-40B4-BE49-F238E27FC236}">
                  <a16:creationId xmlns:a16="http://schemas.microsoft.com/office/drawing/2014/main" id="{1EDAF397-B17F-4EA9-B9DD-C8040BE998D0}"/>
                </a:ext>
              </a:extLst>
            </p:cNvPr>
            <p:cNvSpPr txBox="1"/>
            <p:nvPr/>
          </p:nvSpPr>
          <p:spPr>
            <a:xfrm>
              <a:off x="3139703" y="2750352"/>
              <a:ext cx="3878379" cy="306426"/>
            </a:xfrm>
            <a:prstGeom prst="rect">
              <a:avLst/>
            </a:prstGeom>
            <a:noFill/>
          </p:spPr>
          <p:txBody>
            <a:bodyPr wrap="square" rtlCol="0">
              <a:spAutoFit/>
            </a:bodyPr>
            <a:lstStyle/>
            <a:p>
              <a:pPr defTabSz="874318"/>
              <a:r>
                <a:rPr lang="en-US" sz="1124" b="1" dirty="0">
                  <a:solidFill>
                    <a:schemeClr val="bg1"/>
                  </a:solidFill>
                  <a:latin typeface="Segoe UI"/>
                </a:rPr>
                <a:t>Social data/Machine-generated data</a:t>
              </a:r>
            </a:p>
          </p:txBody>
        </p:sp>
        <p:sp>
          <p:nvSpPr>
            <p:cNvPr id="16" name="TextBox 15">
              <a:extLst>
                <a:ext uri="{FF2B5EF4-FFF2-40B4-BE49-F238E27FC236}">
                  <a16:creationId xmlns:a16="http://schemas.microsoft.com/office/drawing/2014/main" id="{CB7B88AD-16D8-40F5-AF2E-482556499B99}"/>
                </a:ext>
              </a:extLst>
            </p:cNvPr>
            <p:cNvSpPr txBox="1"/>
            <p:nvPr/>
          </p:nvSpPr>
          <p:spPr>
            <a:xfrm>
              <a:off x="3177416" y="5576914"/>
              <a:ext cx="576957" cy="394348"/>
            </a:xfrm>
            <a:prstGeom prst="rect">
              <a:avLst/>
            </a:prstGeom>
            <a:noFill/>
          </p:spPr>
          <p:txBody>
            <a:bodyPr wrap="none" rtlCol="0">
              <a:spAutoFit/>
            </a:bodyPr>
            <a:lstStyle/>
            <a:p>
              <a:pPr defTabSz="874318"/>
              <a:r>
                <a:rPr lang="en-US" sz="1312" b="1" dirty="0">
                  <a:solidFill>
                    <a:srgbClr val="000000"/>
                  </a:solidFill>
                  <a:latin typeface="Segoe UI"/>
                </a:rPr>
                <a:t>KB</a:t>
              </a:r>
            </a:p>
          </p:txBody>
        </p:sp>
        <p:sp>
          <p:nvSpPr>
            <p:cNvPr id="17" name="TextBox 16">
              <a:extLst>
                <a:ext uri="{FF2B5EF4-FFF2-40B4-BE49-F238E27FC236}">
                  <a16:creationId xmlns:a16="http://schemas.microsoft.com/office/drawing/2014/main" id="{22D6537E-D744-4022-A3CD-82BE01CDC928}"/>
                </a:ext>
              </a:extLst>
            </p:cNvPr>
            <p:cNvSpPr txBox="1"/>
            <p:nvPr/>
          </p:nvSpPr>
          <p:spPr>
            <a:xfrm rot="19736087">
              <a:off x="4006039" y="5185263"/>
              <a:ext cx="650748" cy="394348"/>
            </a:xfrm>
            <a:prstGeom prst="rect">
              <a:avLst/>
            </a:prstGeom>
            <a:noFill/>
          </p:spPr>
          <p:txBody>
            <a:bodyPr wrap="none" rtlCol="0">
              <a:spAutoFit/>
            </a:bodyPr>
            <a:lstStyle/>
            <a:p>
              <a:pPr defTabSz="874318"/>
              <a:r>
                <a:rPr lang="en-US" sz="1312" b="1" dirty="0">
                  <a:solidFill>
                    <a:srgbClr val="000000"/>
                  </a:solidFill>
                  <a:latin typeface="Segoe UI"/>
                </a:rPr>
                <a:t>MB</a:t>
              </a:r>
            </a:p>
          </p:txBody>
        </p:sp>
        <p:sp>
          <p:nvSpPr>
            <p:cNvPr id="18" name="TextBox 17">
              <a:extLst>
                <a:ext uri="{FF2B5EF4-FFF2-40B4-BE49-F238E27FC236}">
                  <a16:creationId xmlns:a16="http://schemas.microsoft.com/office/drawing/2014/main" id="{598AEF54-EE0D-475B-9D2E-66B098DAD748}"/>
                </a:ext>
              </a:extLst>
            </p:cNvPr>
            <p:cNvSpPr txBox="1"/>
            <p:nvPr/>
          </p:nvSpPr>
          <p:spPr>
            <a:xfrm rot="19736087">
              <a:off x="4862260" y="4462066"/>
              <a:ext cx="593097" cy="394348"/>
            </a:xfrm>
            <a:prstGeom prst="rect">
              <a:avLst/>
            </a:prstGeom>
            <a:noFill/>
          </p:spPr>
          <p:txBody>
            <a:bodyPr wrap="none" rtlCol="0">
              <a:spAutoFit/>
            </a:bodyPr>
            <a:lstStyle/>
            <a:p>
              <a:pPr defTabSz="874318"/>
              <a:r>
                <a:rPr lang="en-US" sz="1312" b="1" dirty="0">
                  <a:solidFill>
                    <a:srgbClr val="000000"/>
                  </a:solidFill>
                  <a:latin typeface="Segoe UI"/>
                </a:rPr>
                <a:t>GB</a:t>
              </a:r>
            </a:p>
          </p:txBody>
        </p:sp>
        <p:sp>
          <p:nvSpPr>
            <p:cNvPr id="19" name="TextBox 18">
              <a:extLst>
                <a:ext uri="{FF2B5EF4-FFF2-40B4-BE49-F238E27FC236}">
                  <a16:creationId xmlns:a16="http://schemas.microsoft.com/office/drawing/2014/main" id="{53D56DAE-8A9F-4BEB-850A-1BD9BCEC1C6F}"/>
                </a:ext>
              </a:extLst>
            </p:cNvPr>
            <p:cNvSpPr txBox="1"/>
            <p:nvPr/>
          </p:nvSpPr>
          <p:spPr>
            <a:xfrm rot="19147365">
              <a:off x="5949942" y="3599432"/>
              <a:ext cx="563121" cy="394348"/>
            </a:xfrm>
            <a:prstGeom prst="rect">
              <a:avLst/>
            </a:prstGeom>
            <a:noFill/>
          </p:spPr>
          <p:txBody>
            <a:bodyPr wrap="none" rtlCol="0">
              <a:spAutoFit/>
            </a:bodyPr>
            <a:lstStyle/>
            <a:p>
              <a:pPr defTabSz="874318"/>
              <a:r>
                <a:rPr lang="en-US" sz="1312" b="1" dirty="0">
                  <a:solidFill>
                    <a:srgbClr val="000000"/>
                  </a:solidFill>
                  <a:latin typeface="Segoe UI"/>
                </a:rPr>
                <a:t>TB</a:t>
              </a:r>
            </a:p>
          </p:txBody>
        </p:sp>
        <p:sp>
          <p:nvSpPr>
            <p:cNvPr id="20" name="TextBox 19">
              <a:extLst>
                <a:ext uri="{FF2B5EF4-FFF2-40B4-BE49-F238E27FC236}">
                  <a16:creationId xmlns:a16="http://schemas.microsoft.com/office/drawing/2014/main" id="{AA7BD68B-D0A6-4C2B-AEE0-EF0A54581620}"/>
                </a:ext>
              </a:extLst>
            </p:cNvPr>
            <p:cNvSpPr txBox="1"/>
            <p:nvPr/>
          </p:nvSpPr>
          <p:spPr>
            <a:xfrm rot="19147365">
              <a:off x="6910840" y="2729671"/>
              <a:ext cx="567733" cy="394348"/>
            </a:xfrm>
            <a:prstGeom prst="rect">
              <a:avLst/>
            </a:prstGeom>
            <a:noFill/>
          </p:spPr>
          <p:txBody>
            <a:bodyPr wrap="none" rtlCol="0">
              <a:spAutoFit/>
            </a:bodyPr>
            <a:lstStyle/>
            <a:p>
              <a:pPr defTabSz="874318"/>
              <a:r>
                <a:rPr lang="en-US" sz="1312" b="1" dirty="0">
                  <a:solidFill>
                    <a:srgbClr val="000000"/>
                  </a:solidFill>
                  <a:latin typeface="Segoe UI"/>
                </a:rPr>
                <a:t>PB</a:t>
              </a:r>
            </a:p>
          </p:txBody>
        </p:sp>
        <p:cxnSp>
          <p:nvCxnSpPr>
            <p:cNvPr id="21" name="Straight Arrow Connector 20">
              <a:extLst>
                <a:ext uri="{FF2B5EF4-FFF2-40B4-BE49-F238E27FC236}">
                  <a16:creationId xmlns:a16="http://schemas.microsoft.com/office/drawing/2014/main" id="{BFBC1A81-35B3-4AD8-ADE2-9959A124A964}"/>
                </a:ext>
              </a:extLst>
            </p:cNvPr>
            <p:cNvCxnSpPr/>
            <p:nvPr/>
          </p:nvCxnSpPr>
          <p:spPr>
            <a:xfrm flipV="1">
              <a:off x="8542390" y="2926844"/>
              <a:ext cx="0" cy="1393633"/>
            </a:xfrm>
            <a:prstGeom prst="straightConnector1">
              <a:avLst/>
            </a:prstGeom>
            <a:ln>
              <a:solidFill>
                <a:srgbClr val="FFC000"/>
              </a:solidFill>
              <a:tailEnd type="triangle"/>
            </a:ln>
          </p:spPr>
          <p:style>
            <a:lnRef idx="1">
              <a:schemeClr val="accent1"/>
            </a:lnRef>
            <a:fillRef idx="0">
              <a:schemeClr val="accent1"/>
            </a:fillRef>
            <a:effectRef idx="0">
              <a:schemeClr val="accent1"/>
            </a:effectRef>
            <a:fontRef idx="minor">
              <a:schemeClr val="tx1"/>
            </a:fontRef>
          </p:style>
        </p:cxnSp>
        <p:sp>
          <p:nvSpPr>
            <p:cNvPr id="22" name="TextBox 21">
              <a:extLst>
                <a:ext uri="{FF2B5EF4-FFF2-40B4-BE49-F238E27FC236}">
                  <a16:creationId xmlns:a16="http://schemas.microsoft.com/office/drawing/2014/main" id="{E5E2975F-7013-4150-AC2F-9ECDB29C9AAE}"/>
                </a:ext>
              </a:extLst>
            </p:cNvPr>
            <p:cNvSpPr txBox="1"/>
            <p:nvPr/>
          </p:nvSpPr>
          <p:spPr>
            <a:xfrm>
              <a:off x="4670414" y="6318731"/>
              <a:ext cx="2362205" cy="339824"/>
            </a:xfrm>
            <a:prstGeom prst="rect">
              <a:avLst/>
            </a:prstGeom>
            <a:noFill/>
          </p:spPr>
          <p:txBody>
            <a:bodyPr wrap="none" rtlCol="0">
              <a:spAutoFit/>
            </a:bodyPr>
            <a:lstStyle/>
            <a:p>
              <a:pPr defTabSz="874318"/>
              <a:r>
                <a:rPr lang="en-US" sz="1312" dirty="0">
                  <a:solidFill>
                    <a:schemeClr val="accent1"/>
                  </a:solidFill>
                  <a:latin typeface="Segoe UI"/>
                </a:rPr>
                <a:t>Data variety/complexity</a:t>
              </a:r>
            </a:p>
          </p:txBody>
        </p:sp>
        <p:sp>
          <p:nvSpPr>
            <p:cNvPr id="23" name="TextBox 22">
              <a:extLst>
                <a:ext uri="{FF2B5EF4-FFF2-40B4-BE49-F238E27FC236}">
                  <a16:creationId xmlns:a16="http://schemas.microsoft.com/office/drawing/2014/main" id="{65D77508-C4A7-48D2-B3C8-3AE1AEEAF024}"/>
                </a:ext>
              </a:extLst>
            </p:cNvPr>
            <p:cNvSpPr txBox="1"/>
            <p:nvPr/>
          </p:nvSpPr>
          <p:spPr>
            <a:xfrm rot="16200000">
              <a:off x="2024561" y="4108833"/>
              <a:ext cx="1505118" cy="423287"/>
            </a:xfrm>
            <a:prstGeom prst="rect">
              <a:avLst/>
            </a:prstGeom>
            <a:noFill/>
          </p:spPr>
          <p:txBody>
            <a:bodyPr wrap="none" rtlCol="0">
              <a:spAutoFit/>
            </a:bodyPr>
            <a:lstStyle/>
            <a:p>
              <a:pPr defTabSz="874318"/>
              <a:r>
                <a:rPr lang="en-US" sz="1312" dirty="0">
                  <a:solidFill>
                    <a:srgbClr val="FFFFFF"/>
                  </a:solidFill>
                  <a:latin typeface="Segoe UI"/>
                </a:rPr>
                <a:t>Data volume</a:t>
              </a:r>
            </a:p>
          </p:txBody>
        </p:sp>
        <p:sp>
          <p:nvSpPr>
            <p:cNvPr id="24" name="TextBox 23">
              <a:extLst>
                <a:ext uri="{FF2B5EF4-FFF2-40B4-BE49-F238E27FC236}">
                  <a16:creationId xmlns:a16="http://schemas.microsoft.com/office/drawing/2014/main" id="{F0AFF8E0-0A1C-47D2-B594-1A937B682257}"/>
                </a:ext>
              </a:extLst>
            </p:cNvPr>
            <p:cNvSpPr txBox="1"/>
            <p:nvPr/>
          </p:nvSpPr>
          <p:spPr>
            <a:xfrm rot="16200000">
              <a:off x="7794556" y="4659787"/>
              <a:ext cx="1474182" cy="423287"/>
            </a:xfrm>
            <a:prstGeom prst="rect">
              <a:avLst/>
            </a:prstGeom>
            <a:noFill/>
          </p:spPr>
          <p:txBody>
            <a:bodyPr wrap="none" rtlCol="0">
              <a:spAutoFit/>
            </a:bodyPr>
            <a:lstStyle/>
            <a:p>
              <a:pPr defTabSz="874318"/>
              <a:r>
                <a:rPr lang="en-US" sz="1312" dirty="0">
                  <a:solidFill>
                    <a:srgbClr val="FFFFFF"/>
                  </a:solidFill>
                  <a:latin typeface="Segoe UI"/>
                </a:rPr>
                <a:t>Log 10 scale</a:t>
              </a:r>
            </a:p>
          </p:txBody>
        </p:sp>
        <p:sp>
          <p:nvSpPr>
            <p:cNvPr id="25" name="TextBox 24">
              <a:extLst>
                <a:ext uri="{FF2B5EF4-FFF2-40B4-BE49-F238E27FC236}">
                  <a16:creationId xmlns:a16="http://schemas.microsoft.com/office/drawing/2014/main" id="{6810511C-813B-4392-8296-384173E67C3F}"/>
                </a:ext>
              </a:extLst>
            </p:cNvPr>
            <p:cNvSpPr txBox="1"/>
            <p:nvPr/>
          </p:nvSpPr>
          <p:spPr>
            <a:xfrm rot="16200000">
              <a:off x="8346678" y="5696216"/>
              <a:ext cx="369943" cy="423287"/>
            </a:xfrm>
            <a:prstGeom prst="rect">
              <a:avLst/>
            </a:prstGeom>
            <a:noFill/>
          </p:spPr>
          <p:txBody>
            <a:bodyPr wrap="none" rtlCol="0">
              <a:spAutoFit/>
            </a:bodyPr>
            <a:lstStyle/>
            <a:p>
              <a:pPr defTabSz="874318"/>
              <a:r>
                <a:rPr lang="en-US" sz="1312" dirty="0">
                  <a:solidFill>
                    <a:srgbClr val="FFFFFF"/>
                  </a:solidFill>
                  <a:latin typeface="Segoe UI"/>
                </a:rPr>
                <a:t>1</a:t>
              </a:r>
            </a:p>
          </p:txBody>
        </p:sp>
        <p:sp>
          <p:nvSpPr>
            <p:cNvPr id="26" name="TextBox 25">
              <a:extLst>
                <a:ext uri="{FF2B5EF4-FFF2-40B4-BE49-F238E27FC236}">
                  <a16:creationId xmlns:a16="http://schemas.microsoft.com/office/drawing/2014/main" id="{53622CD2-56BE-4D6A-B18E-09F5F3798279}"/>
                </a:ext>
              </a:extLst>
            </p:cNvPr>
            <p:cNvSpPr txBox="1"/>
            <p:nvPr/>
          </p:nvSpPr>
          <p:spPr>
            <a:xfrm rot="16200000">
              <a:off x="8285452" y="2471799"/>
              <a:ext cx="492396" cy="423287"/>
            </a:xfrm>
            <a:prstGeom prst="rect">
              <a:avLst/>
            </a:prstGeom>
            <a:noFill/>
          </p:spPr>
          <p:txBody>
            <a:bodyPr wrap="none" rtlCol="0">
              <a:spAutoFit/>
            </a:bodyPr>
            <a:lstStyle/>
            <a:p>
              <a:pPr defTabSz="874318"/>
              <a:r>
                <a:rPr lang="en-US" sz="1312" dirty="0">
                  <a:solidFill>
                    <a:srgbClr val="FFFFFF"/>
                  </a:solidFill>
                  <a:latin typeface="Segoe UI"/>
                </a:rPr>
                <a:t>15</a:t>
              </a:r>
            </a:p>
          </p:txBody>
        </p:sp>
      </p:grpSp>
      <p:sp>
        <p:nvSpPr>
          <p:cNvPr id="27" name="TextBox 26">
            <a:extLst>
              <a:ext uri="{FF2B5EF4-FFF2-40B4-BE49-F238E27FC236}">
                <a16:creationId xmlns:a16="http://schemas.microsoft.com/office/drawing/2014/main" id="{CB8998E7-12D3-499B-9193-8F22E486D35D}"/>
              </a:ext>
            </a:extLst>
          </p:cNvPr>
          <p:cNvSpPr txBox="1"/>
          <p:nvPr/>
        </p:nvSpPr>
        <p:spPr>
          <a:xfrm rot="16200000">
            <a:off x="11497733" y="3031334"/>
            <a:ext cx="1117614" cy="294248"/>
          </a:xfrm>
          <a:prstGeom prst="rect">
            <a:avLst/>
          </a:prstGeom>
          <a:noFill/>
        </p:spPr>
        <p:txBody>
          <a:bodyPr wrap="none" rtlCol="0">
            <a:spAutoFit/>
          </a:bodyPr>
          <a:lstStyle/>
          <a:p>
            <a:pPr defTabSz="874318"/>
            <a:r>
              <a:rPr lang="en-US" sz="1312" dirty="0">
                <a:solidFill>
                  <a:schemeClr val="accent1"/>
                </a:solidFill>
                <a:latin typeface="Segoe UI"/>
              </a:rPr>
              <a:t>Log 10 Scale</a:t>
            </a:r>
          </a:p>
        </p:txBody>
      </p:sp>
    </p:spTree>
    <p:extLst>
      <p:ext uri="{BB962C8B-B14F-4D97-AF65-F5344CB8AC3E}">
        <p14:creationId xmlns:p14="http://schemas.microsoft.com/office/powerpoint/2010/main" val="3371811362"/>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5">
            <a:extLst>
              <a:ext uri="{FF2B5EF4-FFF2-40B4-BE49-F238E27FC236}">
                <a16:creationId xmlns:a16="http://schemas.microsoft.com/office/drawing/2014/main" id="{2DAF1912-B403-4232-8AF2-CC28E668F96C}"/>
              </a:ext>
            </a:extLst>
          </p:cNvPr>
          <p:cNvSpPr txBox="1">
            <a:spLocks/>
          </p:cNvSpPr>
          <p:nvPr/>
        </p:nvSpPr>
        <p:spPr>
          <a:xfrm>
            <a:off x="520812" y="234813"/>
            <a:ext cx="11671915" cy="971140"/>
          </a:xfrm>
          <a:prstGeom prst="rect">
            <a:avLst/>
          </a:prstGeom>
        </p:spPr>
        <p:txBody>
          <a:bodyPr vert="horz" wrap="square" lIns="139891" tIns="87432" rIns="139891" bIns="87432" rtlCol="0" anchor="t">
            <a:spAutoFit/>
          </a:bodyPr>
          <a:lstStyle>
            <a:lvl1pPr algn="l" defTabSz="914367" rtl="0" eaLnBrk="1" latinLnBrk="0" hangingPunct="1">
              <a:lnSpc>
                <a:spcPct val="90000"/>
              </a:lnSpc>
              <a:spcBef>
                <a:spcPct val="0"/>
              </a:spcBef>
              <a:buNone/>
              <a:defRPr lang="en-US" sz="6470" b="0" kern="1200" cap="none" spc="-100" baseline="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5737" spc="-287" dirty="0">
                <a:solidFill>
                  <a:schemeClr val="accent1"/>
                </a:solidFill>
                <a:latin typeface="Segoe Light"/>
                <a:ea typeface="Segoe UI Black" panose="020B0A02040204020203" pitchFamily="34" charset="0"/>
                <a:cs typeface="Segoe UI Black" panose="020B0A02040204020203" pitchFamily="34" charset="0"/>
              </a:rPr>
              <a:t>Elastically scalable throughput, globally</a:t>
            </a:r>
          </a:p>
        </p:txBody>
      </p:sp>
      <p:sp>
        <p:nvSpPr>
          <p:cNvPr id="4" name="TextBox 3">
            <a:extLst>
              <a:ext uri="{FF2B5EF4-FFF2-40B4-BE49-F238E27FC236}">
                <a16:creationId xmlns:a16="http://schemas.microsoft.com/office/drawing/2014/main" id="{360A2F94-BE68-4640-82AC-D33FBC715CF0}"/>
              </a:ext>
            </a:extLst>
          </p:cNvPr>
          <p:cNvSpPr txBox="1"/>
          <p:nvPr/>
        </p:nvSpPr>
        <p:spPr>
          <a:xfrm>
            <a:off x="539556" y="1776496"/>
            <a:ext cx="6716596" cy="4167424"/>
          </a:xfrm>
          <a:prstGeom prst="rect">
            <a:avLst/>
          </a:prstGeom>
          <a:noFill/>
        </p:spPr>
        <p:txBody>
          <a:bodyPr wrap="square" lIns="174863" tIns="139891" rIns="174863" bIns="139891" rtlCol="0">
            <a:spAutoFit/>
          </a:bodyPr>
          <a:lstStyle/>
          <a:p>
            <a:pPr defTabSz="857124"/>
            <a:r>
              <a:rPr lang="en-US" sz="2295" kern="0" dirty="0">
                <a:solidFill>
                  <a:schemeClr val="accent1"/>
                </a:solidFill>
                <a:latin typeface="Segoe Light"/>
              </a:rPr>
              <a:t>Elastically scale throughput from 10 to 100s of millions of requests/sec across multiple regions</a:t>
            </a:r>
          </a:p>
          <a:p>
            <a:pPr defTabSz="857124"/>
            <a:endParaRPr lang="en-US" sz="2295" kern="0" dirty="0">
              <a:solidFill>
                <a:schemeClr val="accent1"/>
              </a:solidFill>
              <a:latin typeface="Segoe Light"/>
            </a:endParaRPr>
          </a:p>
          <a:p>
            <a:pPr defTabSz="857124"/>
            <a:r>
              <a:rPr lang="en-US" sz="2295" kern="0" dirty="0">
                <a:solidFill>
                  <a:schemeClr val="accent1"/>
                </a:solidFill>
                <a:latin typeface="Segoe Light"/>
              </a:rPr>
              <a:t>Customers pay by the hour for the provisioned throughput</a:t>
            </a:r>
          </a:p>
          <a:p>
            <a:pPr marL="0" lvl="1" defTabSz="857124"/>
            <a:endParaRPr lang="en-US" sz="2295" kern="0" dirty="0">
              <a:solidFill>
                <a:schemeClr val="accent1"/>
              </a:solidFill>
              <a:latin typeface="Segoe Light"/>
            </a:endParaRPr>
          </a:p>
          <a:p>
            <a:pPr marL="0" lvl="1" defTabSz="857124"/>
            <a:r>
              <a:rPr lang="en-US" sz="2295" kern="0" dirty="0">
                <a:solidFill>
                  <a:schemeClr val="accent1"/>
                </a:solidFill>
                <a:latin typeface="Segoe Light"/>
              </a:rPr>
              <a:t>Transparent server side partition management and routing</a:t>
            </a:r>
          </a:p>
          <a:p>
            <a:pPr marL="0" lvl="1" defTabSz="857124"/>
            <a:endParaRPr lang="en-US" sz="2295" kern="0" dirty="0">
              <a:solidFill>
                <a:schemeClr val="accent1"/>
              </a:solidFill>
              <a:latin typeface="Segoe Light"/>
            </a:endParaRPr>
          </a:p>
          <a:p>
            <a:pPr marL="0" lvl="1" defTabSz="857124"/>
            <a:r>
              <a:rPr lang="en-US" sz="2295" kern="0" dirty="0">
                <a:solidFill>
                  <a:schemeClr val="accent1"/>
                </a:solidFill>
                <a:latin typeface="Segoe Light"/>
              </a:rPr>
              <a:t>Support for requests/sec and requests/min for different workloads</a:t>
            </a:r>
          </a:p>
        </p:txBody>
      </p:sp>
      <p:grpSp>
        <p:nvGrpSpPr>
          <p:cNvPr id="5" name="Group 4">
            <a:extLst>
              <a:ext uri="{FF2B5EF4-FFF2-40B4-BE49-F238E27FC236}">
                <a16:creationId xmlns:a16="http://schemas.microsoft.com/office/drawing/2014/main" id="{BC3E0030-8676-469F-B397-AA1E4035B19F}"/>
              </a:ext>
            </a:extLst>
          </p:cNvPr>
          <p:cNvGrpSpPr/>
          <p:nvPr/>
        </p:nvGrpSpPr>
        <p:grpSpPr>
          <a:xfrm>
            <a:off x="7404708" y="2549214"/>
            <a:ext cx="4715028" cy="2309545"/>
            <a:chOff x="6566460" y="4374665"/>
            <a:chExt cx="4931197" cy="2415429"/>
          </a:xfrm>
        </p:grpSpPr>
        <p:grpSp>
          <p:nvGrpSpPr>
            <p:cNvPr id="6" name="Group 5">
              <a:extLst>
                <a:ext uri="{FF2B5EF4-FFF2-40B4-BE49-F238E27FC236}">
                  <a16:creationId xmlns:a16="http://schemas.microsoft.com/office/drawing/2014/main" id="{A9A67120-62F8-4FAD-84DF-CCDA15D3E889}"/>
                </a:ext>
              </a:extLst>
            </p:cNvPr>
            <p:cNvGrpSpPr/>
            <p:nvPr/>
          </p:nvGrpSpPr>
          <p:grpSpPr>
            <a:xfrm>
              <a:off x="7428377" y="4943568"/>
              <a:ext cx="3983580" cy="842463"/>
              <a:chOff x="7420176" y="4616011"/>
              <a:chExt cx="3983580" cy="842463"/>
            </a:xfrm>
          </p:grpSpPr>
          <p:cxnSp>
            <p:nvCxnSpPr>
              <p:cNvPr id="18" name="Straight Connector 17">
                <a:extLst>
                  <a:ext uri="{FF2B5EF4-FFF2-40B4-BE49-F238E27FC236}">
                    <a16:creationId xmlns:a16="http://schemas.microsoft.com/office/drawing/2014/main" id="{54488343-7338-4C61-81B1-713B389BC335}"/>
                  </a:ext>
                </a:extLst>
              </p:cNvPr>
              <p:cNvCxnSpPr/>
              <p:nvPr/>
            </p:nvCxnSpPr>
            <p:spPr>
              <a:xfrm flipV="1">
                <a:off x="7420176" y="4616011"/>
                <a:ext cx="22160" cy="841050"/>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1F88F9E5-24B3-4454-A286-3C874FFF2D6C}"/>
                  </a:ext>
                </a:extLst>
              </p:cNvPr>
              <p:cNvCxnSpPr/>
              <p:nvPr/>
            </p:nvCxnSpPr>
            <p:spPr>
              <a:xfrm>
                <a:off x="7442336" y="4616863"/>
                <a:ext cx="303170" cy="0"/>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ABE6F2FA-B35D-47BC-9592-548DE587C4C6}"/>
                  </a:ext>
                </a:extLst>
              </p:cNvPr>
              <p:cNvCxnSpPr/>
              <p:nvPr/>
            </p:nvCxnSpPr>
            <p:spPr>
              <a:xfrm flipH="1" flipV="1">
                <a:off x="7742803" y="4616011"/>
                <a:ext cx="28216" cy="841050"/>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A8E9151C-C0C9-49EF-9FD5-3BE334A5F82A}"/>
                  </a:ext>
                </a:extLst>
              </p:cNvPr>
              <p:cNvCxnSpPr/>
              <p:nvPr/>
            </p:nvCxnSpPr>
            <p:spPr>
              <a:xfrm>
                <a:off x="7771019" y="5457061"/>
                <a:ext cx="140889" cy="0"/>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5E3693F2-3B0B-4380-9AB6-F7FD402F21DD}"/>
                  </a:ext>
                </a:extLst>
              </p:cNvPr>
              <p:cNvCxnSpPr/>
              <p:nvPr/>
            </p:nvCxnSpPr>
            <p:spPr>
              <a:xfrm flipV="1">
                <a:off x="7911908" y="4663164"/>
                <a:ext cx="22160" cy="793897"/>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A81937BF-76BA-4518-B50F-13483CA73AE3}"/>
                  </a:ext>
                </a:extLst>
              </p:cNvPr>
              <p:cNvCxnSpPr/>
              <p:nvPr/>
            </p:nvCxnSpPr>
            <p:spPr>
              <a:xfrm>
                <a:off x="7934068" y="4663164"/>
                <a:ext cx="41379" cy="0"/>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D61B172C-E769-42C7-8D7C-5389D1C47A99}"/>
                  </a:ext>
                </a:extLst>
              </p:cNvPr>
              <p:cNvCxnSpPr/>
              <p:nvPr/>
            </p:nvCxnSpPr>
            <p:spPr>
              <a:xfrm flipH="1" flipV="1">
                <a:off x="7972154" y="4663164"/>
                <a:ext cx="28216" cy="793897"/>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436457E9-BF19-49C0-9ADC-3A989B6C07D4}"/>
                  </a:ext>
                </a:extLst>
              </p:cNvPr>
              <p:cNvCxnSpPr/>
              <p:nvPr/>
            </p:nvCxnSpPr>
            <p:spPr>
              <a:xfrm>
                <a:off x="8000370" y="5457061"/>
                <a:ext cx="247357" cy="0"/>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547FC077-5FB6-404C-9BC2-46E0863758AF}"/>
                  </a:ext>
                </a:extLst>
              </p:cNvPr>
              <p:cNvCxnSpPr/>
              <p:nvPr/>
            </p:nvCxnSpPr>
            <p:spPr>
              <a:xfrm>
                <a:off x="8293199" y="5418024"/>
                <a:ext cx="247357" cy="0"/>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41613D32-1CFA-41F2-BAC8-BC8DD28F1183}"/>
                  </a:ext>
                </a:extLst>
              </p:cNvPr>
              <p:cNvCxnSpPr/>
              <p:nvPr/>
            </p:nvCxnSpPr>
            <p:spPr>
              <a:xfrm>
                <a:off x="8572216" y="5418024"/>
                <a:ext cx="204366" cy="0"/>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BCF6DBE2-A797-4A47-9C9D-51DD17DF3598}"/>
                  </a:ext>
                </a:extLst>
              </p:cNvPr>
              <p:cNvCxnSpPr/>
              <p:nvPr/>
            </p:nvCxnSpPr>
            <p:spPr>
              <a:xfrm>
                <a:off x="8825994" y="5418024"/>
                <a:ext cx="63792" cy="0"/>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22C1F901-77B3-457A-AE05-E660A32216B6}"/>
                  </a:ext>
                </a:extLst>
              </p:cNvPr>
              <p:cNvCxnSpPr/>
              <p:nvPr/>
            </p:nvCxnSpPr>
            <p:spPr>
              <a:xfrm>
                <a:off x="8904817" y="5457061"/>
                <a:ext cx="686714" cy="0"/>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E902D3E1-C952-45C7-9EF0-31D0C97BFDFA}"/>
                  </a:ext>
                </a:extLst>
              </p:cNvPr>
              <p:cNvCxnSpPr/>
              <p:nvPr/>
            </p:nvCxnSpPr>
            <p:spPr>
              <a:xfrm flipV="1">
                <a:off x="9591531" y="4658964"/>
                <a:ext cx="11080" cy="798098"/>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F4EDC99F-2973-4E65-98D2-EDBB14C547A4}"/>
                  </a:ext>
                </a:extLst>
              </p:cNvPr>
              <p:cNvCxnSpPr/>
              <p:nvPr/>
            </p:nvCxnSpPr>
            <p:spPr>
              <a:xfrm>
                <a:off x="9602611" y="4661064"/>
                <a:ext cx="176773" cy="0"/>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13C75D4E-D1B5-4823-AAF1-5EEB21A7BB57}"/>
                  </a:ext>
                </a:extLst>
              </p:cNvPr>
              <p:cNvCxnSpPr/>
              <p:nvPr/>
            </p:nvCxnSpPr>
            <p:spPr>
              <a:xfrm flipH="1" flipV="1">
                <a:off x="9776356" y="4663165"/>
                <a:ext cx="24923" cy="353139"/>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4A9A7B85-CC95-420D-A112-075F8CF5D733}"/>
                  </a:ext>
                </a:extLst>
              </p:cNvPr>
              <p:cNvCxnSpPr/>
              <p:nvPr/>
            </p:nvCxnSpPr>
            <p:spPr>
              <a:xfrm>
                <a:off x="9801279" y="5016304"/>
                <a:ext cx="118994" cy="0"/>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6FC7A36F-0530-48A4-8793-180669802146}"/>
                  </a:ext>
                </a:extLst>
              </p:cNvPr>
              <p:cNvCxnSpPr/>
              <p:nvPr/>
            </p:nvCxnSpPr>
            <p:spPr>
              <a:xfrm>
                <a:off x="10011466" y="4661064"/>
                <a:ext cx="1392290" cy="0"/>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68FCA1C3-929F-4305-B732-1A15060196B4}"/>
                  </a:ext>
                </a:extLst>
              </p:cNvPr>
              <p:cNvCxnSpPr/>
              <p:nvPr/>
            </p:nvCxnSpPr>
            <p:spPr>
              <a:xfrm flipV="1">
                <a:off x="10011466" y="4663165"/>
                <a:ext cx="5540" cy="267965"/>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2DA4749E-2B98-4291-9E76-10AB6E98D878}"/>
                  </a:ext>
                </a:extLst>
              </p:cNvPr>
              <p:cNvCxnSpPr/>
              <p:nvPr/>
            </p:nvCxnSpPr>
            <p:spPr>
              <a:xfrm>
                <a:off x="9960263" y="4931817"/>
                <a:ext cx="51203" cy="0"/>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6E6CF555-8CEF-4EC4-A82B-0861507AA5FC}"/>
                  </a:ext>
                </a:extLst>
              </p:cNvPr>
              <p:cNvCxnSpPr/>
              <p:nvPr/>
            </p:nvCxnSpPr>
            <p:spPr>
              <a:xfrm flipH="1" flipV="1">
                <a:off x="9945020" y="4757090"/>
                <a:ext cx="15243" cy="174040"/>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DAD80F66-92E5-43B5-9DDE-15371E60F642}"/>
                  </a:ext>
                </a:extLst>
              </p:cNvPr>
              <p:cNvCxnSpPr/>
              <p:nvPr/>
            </p:nvCxnSpPr>
            <p:spPr>
              <a:xfrm flipV="1">
                <a:off x="9920273" y="4757090"/>
                <a:ext cx="21895" cy="259214"/>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F25442EA-55DF-4BBE-AA24-12437EC6C32E}"/>
                  </a:ext>
                </a:extLst>
              </p:cNvPr>
              <p:cNvCxnSpPr/>
              <p:nvPr/>
            </p:nvCxnSpPr>
            <p:spPr>
              <a:xfrm flipV="1">
                <a:off x="8247706" y="5418024"/>
                <a:ext cx="49593" cy="40450"/>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B99845EA-E589-4C29-8837-38998487ADBF}"/>
                  </a:ext>
                </a:extLst>
              </p:cNvPr>
              <p:cNvCxnSpPr/>
              <p:nvPr/>
            </p:nvCxnSpPr>
            <p:spPr>
              <a:xfrm flipV="1">
                <a:off x="8532225" y="5380223"/>
                <a:ext cx="34471" cy="40450"/>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241155CB-C5BA-4B3F-B3B0-FB2533E93610}"/>
                  </a:ext>
                </a:extLst>
              </p:cNvPr>
              <p:cNvCxnSpPr/>
              <p:nvPr/>
            </p:nvCxnSpPr>
            <p:spPr>
              <a:xfrm flipV="1">
                <a:off x="8772572" y="5380223"/>
                <a:ext cx="34471" cy="40450"/>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5577C402-FA26-49A8-8B70-2970352D1E94}"/>
                  </a:ext>
                </a:extLst>
              </p:cNvPr>
              <p:cNvCxnSpPr/>
              <p:nvPr/>
            </p:nvCxnSpPr>
            <p:spPr>
              <a:xfrm flipH="1" flipV="1">
                <a:off x="8562462" y="5380223"/>
                <a:ext cx="21351" cy="40450"/>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913A637F-4CB9-44F9-A1A9-C48A6393587A}"/>
                  </a:ext>
                </a:extLst>
              </p:cNvPr>
              <p:cNvCxnSpPr/>
              <p:nvPr/>
            </p:nvCxnSpPr>
            <p:spPr>
              <a:xfrm flipH="1" flipV="1">
                <a:off x="8804643" y="5380223"/>
                <a:ext cx="21351" cy="40450"/>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A4D9676-06C4-4E1E-B9B9-7B3594B78528}"/>
                  </a:ext>
                </a:extLst>
              </p:cNvPr>
              <p:cNvCxnSpPr/>
              <p:nvPr/>
            </p:nvCxnSpPr>
            <p:spPr>
              <a:xfrm flipH="1" flipV="1">
                <a:off x="8887386" y="5418024"/>
                <a:ext cx="21351" cy="40450"/>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grpSp>
        <p:sp>
          <p:nvSpPr>
            <p:cNvPr id="7" name="TextBox 6">
              <a:extLst>
                <a:ext uri="{FF2B5EF4-FFF2-40B4-BE49-F238E27FC236}">
                  <a16:creationId xmlns:a16="http://schemas.microsoft.com/office/drawing/2014/main" id="{FCCF831D-0FF1-4560-BAF3-7EFE10379B49}"/>
                </a:ext>
              </a:extLst>
            </p:cNvPr>
            <p:cNvSpPr txBox="1"/>
            <p:nvPr/>
          </p:nvSpPr>
          <p:spPr>
            <a:xfrm rot="16200000">
              <a:off x="5774686" y="5166439"/>
              <a:ext cx="1873248" cy="289699"/>
            </a:xfrm>
            <a:prstGeom prst="rect">
              <a:avLst/>
            </a:prstGeom>
            <a:noFill/>
          </p:spPr>
          <p:txBody>
            <a:bodyPr wrap="none" rtlCol="0">
              <a:spAutoFit/>
            </a:bodyPr>
            <a:lstStyle/>
            <a:p>
              <a:r>
                <a:rPr lang="en-US" sz="1200" dirty="0">
                  <a:solidFill>
                    <a:schemeClr val="accent1"/>
                  </a:solidFill>
                  <a:latin typeface="Segoe UI Light" panose="020B0502040204020203" pitchFamily="34" charset="0"/>
                  <a:cs typeface="Segoe UI Light" panose="020B0502040204020203" pitchFamily="34" charset="0"/>
                </a:rPr>
                <a:t>Provisioned request / sec</a:t>
              </a:r>
            </a:p>
          </p:txBody>
        </p:sp>
        <p:sp>
          <p:nvSpPr>
            <p:cNvPr id="8" name="TextBox 7">
              <a:extLst>
                <a:ext uri="{FF2B5EF4-FFF2-40B4-BE49-F238E27FC236}">
                  <a16:creationId xmlns:a16="http://schemas.microsoft.com/office/drawing/2014/main" id="{770B8275-6FF2-4CD4-A351-BED4FA5BA81F}"/>
                </a:ext>
              </a:extLst>
            </p:cNvPr>
            <p:cNvSpPr txBox="1"/>
            <p:nvPr/>
          </p:nvSpPr>
          <p:spPr>
            <a:xfrm>
              <a:off x="8889784" y="6171904"/>
              <a:ext cx="548550" cy="281182"/>
            </a:xfrm>
            <a:prstGeom prst="rect">
              <a:avLst/>
            </a:prstGeom>
            <a:noFill/>
          </p:spPr>
          <p:txBody>
            <a:bodyPr wrap="none" rtlCol="0">
              <a:spAutoFit/>
            </a:bodyPr>
            <a:lstStyle/>
            <a:p>
              <a:r>
                <a:rPr lang="en-US" sz="1147" dirty="0">
                  <a:solidFill>
                    <a:schemeClr val="accent1"/>
                  </a:solidFill>
                  <a:latin typeface="Segoe UI Light" panose="020B0502040204020203" pitchFamily="34" charset="0"/>
                  <a:cs typeface="Segoe UI Light" panose="020B0502040204020203" pitchFamily="34" charset="0"/>
                </a:rPr>
                <a:t>Time </a:t>
              </a:r>
            </a:p>
          </p:txBody>
        </p:sp>
        <p:sp>
          <p:nvSpPr>
            <p:cNvPr id="9" name="TextBox 8">
              <a:extLst>
                <a:ext uri="{FF2B5EF4-FFF2-40B4-BE49-F238E27FC236}">
                  <a16:creationId xmlns:a16="http://schemas.microsoft.com/office/drawing/2014/main" id="{52B517C0-C3E6-40FF-AA4E-36CF9DCA7911}"/>
                </a:ext>
              </a:extLst>
            </p:cNvPr>
            <p:cNvSpPr txBox="1"/>
            <p:nvPr/>
          </p:nvSpPr>
          <p:spPr>
            <a:xfrm>
              <a:off x="6755010" y="4746685"/>
              <a:ext cx="632375" cy="1231419"/>
            </a:xfrm>
            <a:prstGeom prst="rect">
              <a:avLst/>
            </a:prstGeom>
            <a:noFill/>
          </p:spPr>
          <p:txBody>
            <a:bodyPr wrap="none" rtlCol="0">
              <a:spAutoFit/>
            </a:bodyPr>
            <a:lstStyle/>
            <a:p>
              <a:pPr algn="r">
                <a:lnSpc>
                  <a:spcPct val="150000"/>
                </a:lnSpc>
              </a:pPr>
              <a:r>
                <a:rPr lang="en-US" sz="800" dirty="0">
                  <a:solidFill>
                    <a:schemeClr val="accent1"/>
                  </a:solidFill>
                  <a:latin typeface="Segoe UI Semilight" panose="020B0402040204020203" pitchFamily="34" charset="0"/>
                  <a:cs typeface="Segoe UI Semilight" panose="020B0402040204020203" pitchFamily="34" charset="0"/>
                </a:rPr>
                <a:t>12000000</a:t>
              </a:r>
            </a:p>
            <a:p>
              <a:pPr algn="r">
                <a:lnSpc>
                  <a:spcPct val="150000"/>
                </a:lnSpc>
              </a:pPr>
              <a:r>
                <a:rPr lang="en-US" sz="800" dirty="0">
                  <a:solidFill>
                    <a:schemeClr val="accent1"/>
                  </a:solidFill>
                  <a:latin typeface="Segoe UI Semilight" panose="020B0402040204020203" pitchFamily="34" charset="0"/>
                  <a:cs typeface="Segoe UI Semilight" panose="020B0402040204020203" pitchFamily="34" charset="0"/>
                </a:rPr>
                <a:t>10000000</a:t>
              </a:r>
            </a:p>
            <a:p>
              <a:pPr algn="r">
                <a:lnSpc>
                  <a:spcPct val="150000"/>
                </a:lnSpc>
              </a:pPr>
              <a:r>
                <a:rPr lang="en-US" sz="800" dirty="0">
                  <a:solidFill>
                    <a:schemeClr val="accent1"/>
                  </a:solidFill>
                  <a:latin typeface="Segoe UI Semilight" panose="020B0402040204020203" pitchFamily="34" charset="0"/>
                  <a:cs typeface="Segoe UI Semilight" panose="020B0402040204020203" pitchFamily="34" charset="0"/>
                </a:rPr>
                <a:t>8000000</a:t>
              </a:r>
            </a:p>
            <a:p>
              <a:pPr algn="r">
                <a:lnSpc>
                  <a:spcPct val="150000"/>
                </a:lnSpc>
              </a:pPr>
              <a:r>
                <a:rPr lang="en-US" sz="800" dirty="0">
                  <a:solidFill>
                    <a:schemeClr val="accent1"/>
                  </a:solidFill>
                  <a:latin typeface="Segoe UI Semilight" panose="020B0402040204020203" pitchFamily="34" charset="0"/>
                  <a:cs typeface="Segoe UI Semilight" panose="020B0402040204020203" pitchFamily="34" charset="0"/>
                </a:rPr>
                <a:t>6000000</a:t>
              </a:r>
            </a:p>
            <a:p>
              <a:pPr algn="r">
                <a:lnSpc>
                  <a:spcPct val="150000"/>
                </a:lnSpc>
              </a:pPr>
              <a:r>
                <a:rPr lang="en-US" sz="800" dirty="0">
                  <a:solidFill>
                    <a:schemeClr val="accent1"/>
                  </a:solidFill>
                  <a:latin typeface="Segoe UI Semilight" panose="020B0402040204020203" pitchFamily="34" charset="0"/>
                  <a:cs typeface="Segoe UI Semilight" panose="020B0402040204020203" pitchFamily="34" charset="0"/>
                </a:rPr>
                <a:t>4000000</a:t>
              </a:r>
            </a:p>
            <a:p>
              <a:pPr algn="r">
                <a:lnSpc>
                  <a:spcPct val="150000"/>
                </a:lnSpc>
              </a:pPr>
              <a:r>
                <a:rPr lang="en-US" sz="800" dirty="0">
                  <a:solidFill>
                    <a:schemeClr val="accent1"/>
                  </a:solidFill>
                  <a:latin typeface="Segoe UI Semilight" panose="020B0402040204020203" pitchFamily="34" charset="0"/>
                  <a:cs typeface="Segoe UI Semilight" panose="020B0402040204020203" pitchFamily="34" charset="0"/>
                </a:rPr>
                <a:t>2000000</a:t>
              </a:r>
            </a:p>
          </p:txBody>
        </p:sp>
        <p:cxnSp>
          <p:nvCxnSpPr>
            <p:cNvPr id="10" name="Straight Connector 9">
              <a:extLst>
                <a:ext uri="{FF2B5EF4-FFF2-40B4-BE49-F238E27FC236}">
                  <a16:creationId xmlns:a16="http://schemas.microsoft.com/office/drawing/2014/main" id="{2E0EAD97-E257-4F42-BC87-D42C814ECC37}"/>
                </a:ext>
              </a:extLst>
            </p:cNvPr>
            <p:cNvCxnSpPr/>
            <p:nvPr/>
          </p:nvCxnSpPr>
          <p:spPr>
            <a:xfrm>
              <a:off x="7428377" y="5884143"/>
              <a:ext cx="4069280" cy="0"/>
            </a:xfrm>
            <a:prstGeom prst="line">
              <a:avLst/>
            </a:prstGeom>
            <a:ln>
              <a:solidFill>
                <a:srgbClr val="0B8172"/>
              </a:solidFill>
            </a:ln>
          </p:spPr>
          <p:style>
            <a:lnRef idx="1">
              <a:schemeClr val="accent1"/>
            </a:lnRef>
            <a:fillRef idx="0">
              <a:schemeClr val="accent1"/>
            </a:fillRef>
            <a:effectRef idx="0">
              <a:schemeClr val="accent1"/>
            </a:effectRef>
            <a:fontRef idx="minor">
              <a:schemeClr val="tx1"/>
            </a:fontRef>
          </p:style>
        </p:cxnSp>
        <p:sp>
          <p:nvSpPr>
            <p:cNvPr id="11" name="TextBox 10">
              <a:extLst>
                <a:ext uri="{FF2B5EF4-FFF2-40B4-BE49-F238E27FC236}">
                  <a16:creationId xmlns:a16="http://schemas.microsoft.com/office/drawing/2014/main" id="{7C22806F-37B0-4CB3-B1F9-F2A326713B67}"/>
                </a:ext>
              </a:extLst>
            </p:cNvPr>
            <p:cNvSpPr txBox="1"/>
            <p:nvPr/>
          </p:nvSpPr>
          <p:spPr>
            <a:xfrm>
              <a:off x="7244145" y="5922810"/>
              <a:ext cx="675964" cy="286882"/>
            </a:xfrm>
            <a:prstGeom prst="rect">
              <a:avLst/>
            </a:prstGeom>
            <a:noFill/>
          </p:spPr>
          <p:txBody>
            <a:bodyPr wrap="none" rtlCol="0">
              <a:spAutoFit/>
            </a:bodyPr>
            <a:lstStyle/>
            <a:p>
              <a:pPr algn="r">
                <a:lnSpc>
                  <a:spcPct val="150000"/>
                </a:lnSpc>
              </a:pPr>
              <a:r>
                <a:rPr lang="en-US" sz="900" dirty="0">
                  <a:solidFill>
                    <a:schemeClr val="accent1"/>
                  </a:solidFill>
                  <a:latin typeface="Segoe UI Semilight" panose="020B0402040204020203" pitchFamily="34" charset="0"/>
                  <a:cs typeface="Segoe UI Semilight" panose="020B0402040204020203" pitchFamily="34" charset="0"/>
                </a:rPr>
                <a:t>Nov 2016</a:t>
              </a:r>
            </a:p>
          </p:txBody>
        </p:sp>
        <p:sp>
          <p:nvSpPr>
            <p:cNvPr id="12" name="TextBox 11">
              <a:extLst>
                <a:ext uri="{FF2B5EF4-FFF2-40B4-BE49-F238E27FC236}">
                  <a16:creationId xmlns:a16="http://schemas.microsoft.com/office/drawing/2014/main" id="{FCE178B7-C100-4D8E-85C4-C531D0F57FD6}"/>
                </a:ext>
              </a:extLst>
            </p:cNvPr>
            <p:cNvSpPr txBox="1"/>
            <p:nvPr/>
          </p:nvSpPr>
          <p:spPr>
            <a:xfrm>
              <a:off x="10006446" y="5922810"/>
              <a:ext cx="664228" cy="286882"/>
            </a:xfrm>
            <a:prstGeom prst="rect">
              <a:avLst/>
            </a:prstGeom>
            <a:noFill/>
          </p:spPr>
          <p:txBody>
            <a:bodyPr wrap="none" rtlCol="0">
              <a:spAutoFit/>
            </a:bodyPr>
            <a:lstStyle/>
            <a:p>
              <a:pPr algn="r">
                <a:lnSpc>
                  <a:spcPct val="150000"/>
                </a:lnSpc>
              </a:pPr>
              <a:r>
                <a:rPr lang="en-US" sz="900" dirty="0">
                  <a:solidFill>
                    <a:schemeClr val="accent1"/>
                  </a:solidFill>
                  <a:latin typeface="Segoe UI Semilight" panose="020B0402040204020203" pitchFamily="34" charset="0"/>
                  <a:cs typeface="Segoe UI Semilight" panose="020B0402040204020203" pitchFamily="34" charset="0"/>
                </a:rPr>
                <a:t>Dec 2016</a:t>
              </a:r>
            </a:p>
          </p:txBody>
        </p:sp>
        <p:sp>
          <p:nvSpPr>
            <p:cNvPr id="13" name="Oval 12">
              <a:extLst>
                <a:ext uri="{FF2B5EF4-FFF2-40B4-BE49-F238E27FC236}">
                  <a16:creationId xmlns:a16="http://schemas.microsoft.com/office/drawing/2014/main" id="{3F58A647-0E20-4974-B13D-A43E7240EBA1}"/>
                </a:ext>
              </a:extLst>
            </p:cNvPr>
            <p:cNvSpPr/>
            <p:nvPr/>
          </p:nvSpPr>
          <p:spPr>
            <a:xfrm>
              <a:off x="9996324" y="4960708"/>
              <a:ext cx="53563" cy="53563"/>
            </a:xfrm>
            <a:prstGeom prst="ellipse">
              <a:avLst/>
            </a:prstGeom>
            <a:solidFill>
              <a:srgbClr val="0B81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21" dirty="0">
                <a:solidFill>
                  <a:schemeClr val="bg1"/>
                </a:solidFill>
              </a:endParaRPr>
            </a:p>
          </p:txBody>
        </p:sp>
        <p:sp>
          <p:nvSpPr>
            <p:cNvPr id="14" name="TextBox 13">
              <a:extLst>
                <a:ext uri="{FF2B5EF4-FFF2-40B4-BE49-F238E27FC236}">
                  <a16:creationId xmlns:a16="http://schemas.microsoft.com/office/drawing/2014/main" id="{D72F070F-2CEB-4DE9-B995-3F82E87B4FAD}"/>
                </a:ext>
              </a:extLst>
            </p:cNvPr>
            <p:cNvSpPr txBox="1"/>
            <p:nvPr/>
          </p:nvSpPr>
          <p:spPr>
            <a:xfrm>
              <a:off x="10546054" y="4689230"/>
              <a:ext cx="826847" cy="250402"/>
            </a:xfrm>
            <a:prstGeom prst="rect">
              <a:avLst/>
            </a:prstGeom>
            <a:noFill/>
          </p:spPr>
          <p:txBody>
            <a:bodyPr wrap="none" rtlCol="0">
              <a:spAutoFit/>
            </a:bodyPr>
            <a:lstStyle/>
            <a:p>
              <a:r>
                <a:rPr lang="en-US" sz="956" dirty="0">
                  <a:solidFill>
                    <a:schemeClr val="accent1"/>
                  </a:solidFill>
                  <a:latin typeface="Segoe UI Light" panose="020B0502040204020203" pitchFamily="34" charset="0"/>
                  <a:cs typeface="Segoe UI Light" panose="020B0502040204020203" pitchFamily="34" charset="0"/>
                </a:rPr>
                <a:t>Black Friday</a:t>
              </a:r>
            </a:p>
          </p:txBody>
        </p:sp>
        <p:cxnSp>
          <p:nvCxnSpPr>
            <p:cNvPr id="15" name="Straight Connector 14">
              <a:extLst>
                <a:ext uri="{FF2B5EF4-FFF2-40B4-BE49-F238E27FC236}">
                  <a16:creationId xmlns:a16="http://schemas.microsoft.com/office/drawing/2014/main" id="{B576AE84-F10B-43E5-A3BD-1CCD14FC3856}"/>
                </a:ext>
              </a:extLst>
            </p:cNvPr>
            <p:cNvCxnSpPr/>
            <p:nvPr/>
          </p:nvCxnSpPr>
          <p:spPr>
            <a:xfrm>
              <a:off x="10014207" y="4812341"/>
              <a:ext cx="535947"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9E51BAC-D9F0-4958-86BD-A5185D96B755}"/>
                </a:ext>
              </a:extLst>
            </p:cNvPr>
            <p:cNvCxnSpPr/>
            <p:nvPr/>
          </p:nvCxnSpPr>
          <p:spPr>
            <a:xfrm flipH="1">
              <a:off x="10019094" y="4812341"/>
              <a:ext cx="573" cy="140755"/>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39AC7E24-9620-4617-A02F-97F871DCFD25}"/>
                </a:ext>
              </a:extLst>
            </p:cNvPr>
            <p:cNvSpPr txBox="1"/>
            <p:nvPr/>
          </p:nvSpPr>
          <p:spPr>
            <a:xfrm>
              <a:off x="8063786" y="6508912"/>
              <a:ext cx="2255222" cy="281182"/>
            </a:xfrm>
            <a:prstGeom prst="rect">
              <a:avLst/>
            </a:prstGeom>
            <a:noFill/>
          </p:spPr>
          <p:txBody>
            <a:bodyPr wrap="none" rtlCol="0">
              <a:spAutoFit/>
            </a:bodyPr>
            <a:lstStyle/>
            <a:p>
              <a:r>
                <a:rPr lang="en-US" sz="1147" dirty="0">
                  <a:solidFill>
                    <a:schemeClr val="accent1"/>
                  </a:solidFill>
                  <a:latin typeface="Segoe UI Light" panose="020B0502040204020203" pitchFamily="34" charset="0"/>
                  <a:cs typeface="Segoe UI Light" panose="020B0502040204020203" pitchFamily="34" charset="0"/>
                </a:rPr>
                <a:t>Hourly throughput (request/sec)</a:t>
              </a:r>
            </a:p>
          </p:txBody>
        </p:sp>
      </p:grpSp>
    </p:spTree>
    <p:extLst>
      <p:ext uri="{BB962C8B-B14F-4D97-AF65-F5344CB8AC3E}">
        <p14:creationId xmlns:p14="http://schemas.microsoft.com/office/powerpoint/2010/main" val="284417296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4638" y="2125662"/>
            <a:ext cx="11887200" cy="1181862"/>
          </a:xfrm>
        </p:spPr>
        <p:txBody>
          <a:bodyPr/>
          <a:lstStyle/>
          <a:p>
            <a:r>
              <a:rPr lang="en-US" dirty="0"/>
              <a:t>Session Break</a:t>
            </a:r>
          </a:p>
        </p:txBody>
      </p:sp>
    </p:spTree>
    <p:extLst>
      <p:ext uri="{BB962C8B-B14F-4D97-AF65-F5344CB8AC3E}">
        <p14:creationId xmlns:p14="http://schemas.microsoft.com/office/powerpoint/2010/main" val="2169303815"/>
      </p:ext>
    </p:extLst>
  </p:cSld>
  <p:clrMapOvr>
    <a:masterClrMapping/>
  </p:clrMapOvr>
  <p:transition>
    <p:fade/>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4638" y="2125662"/>
            <a:ext cx="11887200" cy="2179058"/>
          </a:xfrm>
        </p:spPr>
        <p:txBody>
          <a:bodyPr/>
          <a:lstStyle/>
          <a:p>
            <a:r>
              <a:rPr lang="en-US" dirty="0"/>
              <a:t>Caching Data</a:t>
            </a:r>
            <a:br>
              <a:rPr lang="en-US" dirty="0"/>
            </a:br>
            <a:endParaRPr lang="en-US" dirty="0"/>
          </a:p>
        </p:txBody>
      </p:sp>
    </p:spTree>
    <p:extLst>
      <p:ext uri="{BB962C8B-B14F-4D97-AF65-F5344CB8AC3E}">
        <p14:creationId xmlns:p14="http://schemas.microsoft.com/office/powerpoint/2010/main" val="566007239"/>
      </p:ext>
    </p:extLst>
  </p:cSld>
  <p:clrMapOvr>
    <a:masterClrMapping/>
  </p:clrMapOvr>
  <p:transition>
    <p:fade/>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Cache-Aside Pattern</a:t>
            </a:r>
          </a:p>
        </p:txBody>
      </p:sp>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388465" y="1212849"/>
            <a:ext cx="3293788" cy="3815304"/>
          </a:xfrm>
          <a:prstGeom prst="rect">
            <a:avLst/>
          </a:prstGeom>
        </p:spPr>
      </p:pic>
      <p:sp>
        <p:nvSpPr>
          <p:cNvPr id="4" name="Rectangle 3"/>
          <p:cNvSpPr/>
          <p:nvPr/>
        </p:nvSpPr>
        <p:spPr>
          <a:xfrm>
            <a:off x="138503" y="5307481"/>
            <a:ext cx="12161836" cy="646331"/>
          </a:xfrm>
          <a:prstGeom prst="rect">
            <a:avLst/>
          </a:prstGeom>
        </p:spPr>
        <p:txBody>
          <a:bodyPr wrap="square">
            <a:spAutoFit/>
          </a:bodyPr>
          <a:lstStyle/>
          <a:p>
            <a:r>
              <a:rPr lang="en-US" dirty="0"/>
              <a:t>Load data on demand into a cache from a data store. This pattern can improve performance and also helps to maintain consistency between data held in the cache and the data in the underlying data store. </a:t>
            </a:r>
            <a:endParaRPr lang="en-US" dirty="0">
              <a:effectLst/>
            </a:endParaRPr>
          </a:p>
        </p:txBody>
      </p:sp>
    </p:spTree>
    <p:extLst>
      <p:ext uri="{BB962C8B-B14F-4D97-AF65-F5344CB8AC3E}">
        <p14:creationId xmlns:p14="http://schemas.microsoft.com/office/powerpoint/2010/main" val="2183409925"/>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What is Scalability</a:t>
            </a:r>
          </a:p>
        </p:txBody>
      </p:sp>
      <p:sp>
        <p:nvSpPr>
          <p:cNvPr id="3" name="Text Placeholder 2"/>
          <p:cNvSpPr>
            <a:spLocks noGrp="1"/>
          </p:cNvSpPr>
          <p:nvPr>
            <p:ph type="body" sz="quarter" idx="10"/>
          </p:nvPr>
        </p:nvSpPr>
        <p:spPr>
          <a:xfrm>
            <a:off x="274638" y="1212850"/>
            <a:ext cx="11887200" cy="1348061"/>
          </a:xfrm>
        </p:spPr>
        <p:txBody>
          <a:bodyPr/>
          <a:lstStyle/>
          <a:p>
            <a:r>
              <a:rPr lang="en-US" sz="2800" dirty="0">
                <a:solidFill>
                  <a:srgbClr val="00BCF2"/>
                </a:solidFill>
              </a:rPr>
              <a:t>Scalability</a:t>
            </a:r>
            <a:r>
              <a:rPr lang="en-US" sz="2800" dirty="0">
                <a:solidFill>
                  <a:schemeClr val="tx1"/>
                </a:solidFill>
              </a:rPr>
              <a:t> is the </a:t>
            </a:r>
            <a:r>
              <a:rPr lang="en-US" sz="2800" dirty="0"/>
              <a:t>ability to add additional </a:t>
            </a:r>
            <a:r>
              <a:rPr lang="en-US" sz="2800" b="1" u="sng" dirty="0"/>
              <a:t>capacity</a:t>
            </a:r>
            <a:r>
              <a:rPr lang="en-US" sz="2800" dirty="0"/>
              <a:t> to the service to handle increases in load and demand, together with </a:t>
            </a:r>
            <a:r>
              <a:rPr lang="en-US" sz="2800" b="1" u="sng" dirty="0"/>
              <a:t>efficient and effective</a:t>
            </a:r>
            <a:r>
              <a:rPr lang="en-US" sz="2800" dirty="0"/>
              <a:t> use of resources allocated</a:t>
            </a:r>
          </a:p>
        </p:txBody>
      </p:sp>
      <p:sp>
        <p:nvSpPr>
          <p:cNvPr id="5" name="Up Arrow 4"/>
          <p:cNvSpPr/>
          <p:nvPr/>
        </p:nvSpPr>
        <p:spPr>
          <a:xfrm>
            <a:off x="3017872" y="5160490"/>
            <a:ext cx="1920219" cy="1302727"/>
          </a:xfrm>
          <a:prstGeom prst="upArrow">
            <a:avLst/>
          </a:prstGeom>
          <a:solidFill>
            <a:srgbClr val="0070C0"/>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Up Arrow 5"/>
          <p:cNvSpPr/>
          <p:nvPr/>
        </p:nvSpPr>
        <p:spPr>
          <a:xfrm>
            <a:off x="5120969" y="3985251"/>
            <a:ext cx="1920219" cy="2477966"/>
          </a:xfrm>
          <a:prstGeom prst="upArrow">
            <a:avLst/>
          </a:prstGeom>
          <a:solidFill>
            <a:srgbClr val="0070C0"/>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Up Arrow 6"/>
          <p:cNvSpPr/>
          <p:nvPr/>
        </p:nvSpPr>
        <p:spPr>
          <a:xfrm>
            <a:off x="7224066" y="2857189"/>
            <a:ext cx="1920219" cy="3606029"/>
          </a:xfrm>
          <a:prstGeom prst="upArrow">
            <a:avLst/>
          </a:prstGeom>
          <a:solidFill>
            <a:srgbClr val="0070C0"/>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p:cNvPicPr>
            <a:picLocks noChangeAspect="1"/>
          </p:cNvPicPr>
          <p:nvPr/>
        </p:nvPicPr>
        <p:blipFill>
          <a:blip r:embed="rId3">
            <a:biLevel thresh="25000"/>
          </a:blip>
          <a:stretch>
            <a:fillRect/>
          </a:stretch>
        </p:blipFill>
        <p:spPr>
          <a:xfrm>
            <a:off x="3674882" y="5524188"/>
            <a:ext cx="274317" cy="287665"/>
          </a:xfrm>
          <a:prstGeom prst="rect">
            <a:avLst/>
          </a:prstGeom>
        </p:spPr>
      </p:pic>
      <p:pic>
        <p:nvPicPr>
          <p:cNvPr id="9" name="Picture 8"/>
          <p:cNvPicPr>
            <a:picLocks noChangeAspect="1"/>
          </p:cNvPicPr>
          <p:nvPr/>
        </p:nvPicPr>
        <p:blipFill>
          <a:blip r:embed="rId3">
            <a:biLevel thresh="25000"/>
          </a:blip>
          <a:stretch>
            <a:fillRect/>
          </a:stretch>
        </p:blipFill>
        <p:spPr>
          <a:xfrm>
            <a:off x="4000899" y="5524187"/>
            <a:ext cx="274317" cy="287665"/>
          </a:xfrm>
          <a:prstGeom prst="rect">
            <a:avLst/>
          </a:prstGeom>
        </p:spPr>
      </p:pic>
      <p:pic>
        <p:nvPicPr>
          <p:cNvPr id="10" name="Picture 9"/>
          <p:cNvPicPr>
            <a:picLocks noChangeAspect="1"/>
          </p:cNvPicPr>
          <p:nvPr/>
        </p:nvPicPr>
        <p:blipFill>
          <a:blip r:embed="rId3">
            <a:biLevel thresh="25000"/>
          </a:blip>
          <a:stretch>
            <a:fillRect/>
          </a:stretch>
        </p:blipFill>
        <p:spPr>
          <a:xfrm>
            <a:off x="3674881" y="6016387"/>
            <a:ext cx="274317" cy="287665"/>
          </a:xfrm>
          <a:prstGeom prst="rect">
            <a:avLst/>
          </a:prstGeom>
        </p:spPr>
      </p:pic>
      <p:pic>
        <p:nvPicPr>
          <p:cNvPr id="11" name="Picture 10"/>
          <p:cNvPicPr>
            <a:picLocks noChangeAspect="1"/>
          </p:cNvPicPr>
          <p:nvPr/>
        </p:nvPicPr>
        <p:blipFill>
          <a:blip r:embed="rId3">
            <a:biLevel thresh="25000"/>
          </a:blip>
          <a:stretch>
            <a:fillRect/>
          </a:stretch>
        </p:blipFill>
        <p:spPr>
          <a:xfrm>
            <a:off x="3996852" y="6016386"/>
            <a:ext cx="274317" cy="287665"/>
          </a:xfrm>
          <a:prstGeom prst="rect">
            <a:avLst/>
          </a:prstGeom>
        </p:spPr>
      </p:pic>
      <p:pic>
        <p:nvPicPr>
          <p:cNvPr id="12" name="Picture 11"/>
          <p:cNvPicPr>
            <a:picLocks noChangeAspect="1"/>
          </p:cNvPicPr>
          <p:nvPr/>
        </p:nvPicPr>
        <p:blipFill>
          <a:blip r:embed="rId3">
            <a:biLevel thresh="25000"/>
          </a:blip>
          <a:stretch>
            <a:fillRect/>
          </a:stretch>
        </p:blipFill>
        <p:spPr>
          <a:xfrm>
            <a:off x="5734223" y="4807132"/>
            <a:ext cx="274317" cy="287665"/>
          </a:xfrm>
          <a:prstGeom prst="rect">
            <a:avLst/>
          </a:prstGeom>
        </p:spPr>
      </p:pic>
      <p:pic>
        <p:nvPicPr>
          <p:cNvPr id="13" name="Picture 12"/>
          <p:cNvPicPr>
            <a:picLocks noChangeAspect="1"/>
          </p:cNvPicPr>
          <p:nvPr/>
        </p:nvPicPr>
        <p:blipFill>
          <a:blip r:embed="rId3">
            <a:biLevel thresh="25000"/>
          </a:blip>
          <a:stretch>
            <a:fillRect/>
          </a:stretch>
        </p:blipFill>
        <p:spPr>
          <a:xfrm>
            <a:off x="6060240" y="4807131"/>
            <a:ext cx="274317" cy="287665"/>
          </a:xfrm>
          <a:prstGeom prst="rect">
            <a:avLst/>
          </a:prstGeom>
        </p:spPr>
      </p:pic>
      <p:pic>
        <p:nvPicPr>
          <p:cNvPr id="14" name="Picture 13"/>
          <p:cNvPicPr>
            <a:picLocks noChangeAspect="1"/>
          </p:cNvPicPr>
          <p:nvPr/>
        </p:nvPicPr>
        <p:blipFill>
          <a:blip r:embed="rId3">
            <a:biLevel thresh="25000"/>
          </a:blip>
          <a:stretch>
            <a:fillRect/>
          </a:stretch>
        </p:blipFill>
        <p:spPr>
          <a:xfrm>
            <a:off x="5734222" y="5181746"/>
            <a:ext cx="274317" cy="287665"/>
          </a:xfrm>
          <a:prstGeom prst="rect">
            <a:avLst/>
          </a:prstGeom>
        </p:spPr>
      </p:pic>
      <p:pic>
        <p:nvPicPr>
          <p:cNvPr id="15" name="Picture 14"/>
          <p:cNvPicPr>
            <a:picLocks noChangeAspect="1"/>
          </p:cNvPicPr>
          <p:nvPr/>
        </p:nvPicPr>
        <p:blipFill>
          <a:blip r:embed="rId3">
            <a:biLevel thresh="25000"/>
          </a:blip>
          <a:stretch>
            <a:fillRect/>
          </a:stretch>
        </p:blipFill>
        <p:spPr>
          <a:xfrm>
            <a:off x="6056193" y="5181745"/>
            <a:ext cx="274317" cy="287665"/>
          </a:xfrm>
          <a:prstGeom prst="rect">
            <a:avLst/>
          </a:prstGeom>
        </p:spPr>
      </p:pic>
      <p:pic>
        <p:nvPicPr>
          <p:cNvPr id="16" name="Picture 15"/>
          <p:cNvPicPr>
            <a:picLocks noChangeAspect="1"/>
          </p:cNvPicPr>
          <p:nvPr/>
        </p:nvPicPr>
        <p:blipFill>
          <a:blip r:embed="rId3">
            <a:biLevel thresh="25000"/>
          </a:blip>
          <a:stretch>
            <a:fillRect/>
          </a:stretch>
        </p:blipFill>
        <p:spPr>
          <a:xfrm>
            <a:off x="5721975" y="5547502"/>
            <a:ext cx="274317" cy="287665"/>
          </a:xfrm>
          <a:prstGeom prst="rect">
            <a:avLst/>
          </a:prstGeom>
        </p:spPr>
      </p:pic>
      <p:pic>
        <p:nvPicPr>
          <p:cNvPr id="17" name="Picture 16"/>
          <p:cNvPicPr>
            <a:picLocks noChangeAspect="1"/>
          </p:cNvPicPr>
          <p:nvPr/>
        </p:nvPicPr>
        <p:blipFill>
          <a:blip r:embed="rId3">
            <a:biLevel thresh="25000"/>
          </a:blip>
          <a:stretch>
            <a:fillRect/>
          </a:stretch>
        </p:blipFill>
        <p:spPr>
          <a:xfrm>
            <a:off x="6043946" y="5547501"/>
            <a:ext cx="274317" cy="287665"/>
          </a:xfrm>
          <a:prstGeom prst="rect">
            <a:avLst/>
          </a:prstGeom>
        </p:spPr>
      </p:pic>
      <p:pic>
        <p:nvPicPr>
          <p:cNvPr id="18" name="Picture 17"/>
          <p:cNvPicPr>
            <a:picLocks noChangeAspect="1"/>
          </p:cNvPicPr>
          <p:nvPr/>
        </p:nvPicPr>
        <p:blipFill>
          <a:blip r:embed="rId3">
            <a:biLevel thresh="25000"/>
          </a:blip>
          <a:stretch>
            <a:fillRect/>
          </a:stretch>
        </p:blipFill>
        <p:spPr>
          <a:xfrm>
            <a:off x="5721975" y="6018046"/>
            <a:ext cx="274317" cy="287665"/>
          </a:xfrm>
          <a:prstGeom prst="rect">
            <a:avLst/>
          </a:prstGeom>
        </p:spPr>
      </p:pic>
      <p:pic>
        <p:nvPicPr>
          <p:cNvPr id="19" name="Picture 18"/>
          <p:cNvPicPr>
            <a:picLocks noChangeAspect="1"/>
          </p:cNvPicPr>
          <p:nvPr/>
        </p:nvPicPr>
        <p:blipFill>
          <a:blip r:embed="rId3">
            <a:biLevel thresh="25000"/>
          </a:blip>
          <a:stretch>
            <a:fillRect/>
          </a:stretch>
        </p:blipFill>
        <p:spPr>
          <a:xfrm>
            <a:off x="6043946" y="6018045"/>
            <a:ext cx="274317" cy="287665"/>
          </a:xfrm>
          <a:prstGeom prst="rect">
            <a:avLst/>
          </a:prstGeom>
        </p:spPr>
      </p:pic>
      <p:pic>
        <p:nvPicPr>
          <p:cNvPr id="20" name="Picture 19"/>
          <p:cNvPicPr>
            <a:picLocks noChangeAspect="1"/>
          </p:cNvPicPr>
          <p:nvPr/>
        </p:nvPicPr>
        <p:blipFill>
          <a:blip r:embed="rId3">
            <a:biLevel thresh="25000"/>
          </a:blip>
          <a:stretch>
            <a:fillRect/>
          </a:stretch>
        </p:blipFill>
        <p:spPr>
          <a:xfrm>
            <a:off x="7877028" y="3985251"/>
            <a:ext cx="274317" cy="287665"/>
          </a:xfrm>
          <a:prstGeom prst="rect">
            <a:avLst/>
          </a:prstGeom>
        </p:spPr>
      </p:pic>
      <p:pic>
        <p:nvPicPr>
          <p:cNvPr id="21" name="Picture 20"/>
          <p:cNvPicPr>
            <a:picLocks noChangeAspect="1"/>
          </p:cNvPicPr>
          <p:nvPr/>
        </p:nvPicPr>
        <p:blipFill>
          <a:blip r:embed="rId3">
            <a:biLevel thresh="25000"/>
          </a:blip>
          <a:stretch>
            <a:fillRect/>
          </a:stretch>
        </p:blipFill>
        <p:spPr>
          <a:xfrm>
            <a:off x="8203045" y="3985250"/>
            <a:ext cx="274317" cy="287665"/>
          </a:xfrm>
          <a:prstGeom prst="rect">
            <a:avLst/>
          </a:prstGeom>
        </p:spPr>
      </p:pic>
      <p:pic>
        <p:nvPicPr>
          <p:cNvPr id="22" name="Picture 21"/>
          <p:cNvPicPr>
            <a:picLocks noChangeAspect="1"/>
          </p:cNvPicPr>
          <p:nvPr/>
        </p:nvPicPr>
        <p:blipFill>
          <a:blip r:embed="rId3">
            <a:biLevel thresh="25000"/>
          </a:blip>
          <a:stretch>
            <a:fillRect/>
          </a:stretch>
        </p:blipFill>
        <p:spPr>
          <a:xfrm>
            <a:off x="7877027" y="4359865"/>
            <a:ext cx="274317" cy="287665"/>
          </a:xfrm>
          <a:prstGeom prst="rect">
            <a:avLst/>
          </a:prstGeom>
        </p:spPr>
      </p:pic>
      <p:pic>
        <p:nvPicPr>
          <p:cNvPr id="23" name="Picture 22"/>
          <p:cNvPicPr>
            <a:picLocks noChangeAspect="1"/>
          </p:cNvPicPr>
          <p:nvPr/>
        </p:nvPicPr>
        <p:blipFill>
          <a:blip r:embed="rId3">
            <a:biLevel thresh="25000"/>
          </a:blip>
          <a:stretch>
            <a:fillRect/>
          </a:stretch>
        </p:blipFill>
        <p:spPr>
          <a:xfrm>
            <a:off x="8198998" y="4359864"/>
            <a:ext cx="274317" cy="287665"/>
          </a:xfrm>
          <a:prstGeom prst="rect">
            <a:avLst/>
          </a:prstGeom>
        </p:spPr>
      </p:pic>
      <p:pic>
        <p:nvPicPr>
          <p:cNvPr id="24" name="Picture 23"/>
          <p:cNvPicPr>
            <a:picLocks noChangeAspect="1"/>
          </p:cNvPicPr>
          <p:nvPr/>
        </p:nvPicPr>
        <p:blipFill>
          <a:blip r:embed="rId3">
            <a:biLevel thresh="25000"/>
          </a:blip>
          <a:stretch>
            <a:fillRect/>
          </a:stretch>
        </p:blipFill>
        <p:spPr>
          <a:xfrm>
            <a:off x="7864780" y="4725621"/>
            <a:ext cx="274317" cy="287665"/>
          </a:xfrm>
          <a:prstGeom prst="rect">
            <a:avLst/>
          </a:prstGeom>
        </p:spPr>
      </p:pic>
      <p:pic>
        <p:nvPicPr>
          <p:cNvPr id="25" name="Picture 24"/>
          <p:cNvPicPr>
            <a:picLocks noChangeAspect="1"/>
          </p:cNvPicPr>
          <p:nvPr/>
        </p:nvPicPr>
        <p:blipFill>
          <a:blip r:embed="rId3">
            <a:biLevel thresh="25000"/>
          </a:blip>
          <a:stretch>
            <a:fillRect/>
          </a:stretch>
        </p:blipFill>
        <p:spPr>
          <a:xfrm>
            <a:off x="8186751" y="4725620"/>
            <a:ext cx="274317" cy="287665"/>
          </a:xfrm>
          <a:prstGeom prst="rect">
            <a:avLst/>
          </a:prstGeom>
        </p:spPr>
      </p:pic>
      <p:pic>
        <p:nvPicPr>
          <p:cNvPr id="26" name="Picture 25"/>
          <p:cNvPicPr>
            <a:picLocks noChangeAspect="1"/>
          </p:cNvPicPr>
          <p:nvPr/>
        </p:nvPicPr>
        <p:blipFill>
          <a:blip r:embed="rId3">
            <a:biLevel thresh="25000"/>
          </a:blip>
          <a:stretch>
            <a:fillRect/>
          </a:stretch>
        </p:blipFill>
        <p:spPr>
          <a:xfrm>
            <a:off x="7864780" y="5196165"/>
            <a:ext cx="274317" cy="287665"/>
          </a:xfrm>
          <a:prstGeom prst="rect">
            <a:avLst/>
          </a:prstGeom>
        </p:spPr>
      </p:pic>
      <p:pic>
        <p:nvPicPr>
          <p:cNvPr id="27" name="Picture 26"/>
          <p:cNvPicPr>
            <a:picLocks noChangeAspect="1"/>
          </p:cNvPicPr>
          <p:nvPr/>
        </p:nvPicPr>
        <p:blipFill>
          <a:blip r:embed="rId3">
            <a:biLevel thresh="25000"/>
          </a:blip>
          <a:stretch>
            <a:fillRect/>
          </a:stretch>
        </p:blipFill>
        <p:spPr>
          <a:xfrm>
            <a:off x="8186751" y="5196164"/>
            <a:ext cx="274317" cy="287665"/>
          </a:xfrm>
          <a:prstGeom prst="rect">
            <a:avLst/>
          </a:prstGeom>
        </p:spPr>
      </p:pic>
      <p:pic>
        <p:nvPicPr>
          <p:cNvPr id="28" name="Picture 27"/>
          <p:cNvPicPr>
            <a:picLocks noChangeAspect="1"/>
          </p:cNvPicPr>
          <p:nvPr/>
        </p:nvPicPr>
        <p:blipFill>
          <a:blip r:embed="rId3">
            <a:biLevel thresh="25000"/>
          </a:blip>
          <a:stretch>
            <a:fillRect/>
          </a:stretch>
        </p:blipFill>
        <p:spPr>
          <a:xfrm>
            <a:off x="7866490" y="5598285"/>
            <a:ext cx="274317" cy="287665"/>
          </a:xfrm>
          <a:prstGeom prst="rect">
            <a:avLst/>
          </a:prstGeom>
        </p:spPr>
      </p:pic>
      <p:pic>
        <p:nvPicPr>
          <p:cNvPr id="29" name="Picture 28"/>
          <p:cNvPicPr>
            <a:picLocks noChangeAspect="1"/>
          </p:cNvPicPr>
          <p:nvPr/>
        </p:nvPicPr>
        <p:blipFill>
          <a:blip r:embed="rId3">
            <a:biLevel thresh="25000"/>
          </a:blip>
          <a:stretch>
            <a:fillRect/>
          </a:stretch>
        </p:blipFill>
        <p:spPr>
          <a:xfrm>
            <a:off x="8188461" y="5598284"/>
            <a:ext cx="274317" cy="287665"/>
          </a:xfrm>
          <a:prstGeom prst="rect">
            <a:avLst/>
          </a:prstGeom>
        </p:spPr>
      </p:pic>
      <p:pic>
        <p:nvPicPr>
          <p:cNvPr id="30" name="Picture 29"/>
          <p:cNvPicPr>
            <a:picLocks noChangeAspect="1"/>
          </p:cNvPicPr>
          <p:nvPr/>
        </p:nvPicPr>
        <p:blipFill>
          <a:blip r:embed="rId3">
            <a:biLevel thresh="25000"/>
          </a:blip>
          <a:stretch>
            <a:fillRect/>
          </a:stretch>
        </p:blipFill>
        <p:spPr>
          <a:xfrm>
            <a:off x="7866490" y="6068829"/>
            <a:ext cx="274317" cy="287665"/>
          </a:xfrm>
          <a:prstGeom prst="rect">
            <a:avLst/>
          </a:prstGeom>
        </p:spPr>
      </p:pic>
      <p:pic>
        <p:nvPicPr>
          <p:cNvPr id="31" name="Picture 30"/>
          <p:cNvPicPr>
            <a:picLocks noChangeAspect="1"/>
          </p:cNvPicPr>
          <p:nvPr/>
        </p:nvPicPr>
        <p:blipFill>
          <a:blip r:embed="rId3">
            <a:biLevel thresh="25000"/>
          </a:blip>
          <a:stretch>
            <a:fillRect/>
          </a:stretch>
        </p:blipFill>
        <p:spPr>
          <a:xfrm>
            <a:off x="8188461" y="6068828"/>
            <a:ext cx="274317" cy="287665"/>
          </a:xfrm>
          <a:prstGeom prst="rect">
            <a:avLst/>
          </a:prstGeom>
        </p:spPr>
      </p:pic>
      <p:cxnSp>
        <p:nvCxnSpPr>
          <p:cNvPr id="32" name="Straight Arrow Connector 31"/>
          <p:cNvCxnSpPr/>
          <p:nvPr/>
        </p:nvCxnSpPr>
        <p:spPr>
          <a:xfrm flipV="1">
            <a:off x="1646287" y="2274202"/>
            <a:ext cx="7508676" cy="4082292"/>
          </a:xfrm>
          <a:prstGeom prst="straightConnector1">
            <a:avLst/>
          </a:prstGeom>
          <a:ln w="63500">
            <a:solidFill>
              <a:schemeClr val="accent6"/>
            </a:solidFill>
            <a:tailEnd type="triangle"/>
          </a:ln>
        </p:spPr>
        <p:style>
          <a:lnRef idx="1">
            <a:schemeClr val="accent1"/>
          </a:lnRef>
          <a:fillRef idx="0">
            <a:schemeClr val="accent1"/>
          </a:fillRef>
          <a:effectRef idx="0">
            <a:schemeClr val="accent1"/>
          </a:effectRef>
          <a:fontRef idx="minor">
            <a:schemeClr val="tx1"/>
          </a:fontRef>
        </p:style>
      </p:cxnSp>
      <p:pic>
        <p:nvPicPr>
          <p:cNvPr id="33" name="Picture 32"/>
          <p:cNvPicPr>
            <a:picLocks noChangeAspect="1"/>
          </p:cNvPicPr>
          <p:nvPr/>
        </p:nvPicPr>
        <p:blipFill>
          <a:blip r:embed="rId3">
            <a:biLevel thresh="25000"/>
          </a:blip>
          <a:stretch>
            <a:fillRect/>
          </a:stretch>
        </p:blipFill>
        <p:spPr>
          <a:xfrm>
            <a:off x="7877028" y="3595026"/>
            <a:ext cx="274317" cy="287665"/>
          </a:xfrm>
          <a:prstGeom prst="rect">
            <a:avLst/>
          </a:prstGeom>
        </p:spPr>
      </p:pic>
      <p:pic>
        <p:nvPicPr>
          <p:cNvPr id="34" name="Picture 33"/>
          <p:cNvPicPr>
            <a:picLocks noChangeAspect="1"/>
          </p:cNvPicPr>
          <p:nvPr/>
        </p:nvPicPr>
        <p:blipFill>
          <a:blip r:embed="rId3">
            <a:biLevel thresh="25000"/>
          </a:blip>
          <a:stretch>
            <a:fillRect/>
          </a:stretch>
        </p:blipFill>
        <p:spPr>
          <a:xfrm>
            <a:off x="8203045" y="3595025"/>
            <a:ext cx="274317" cy="287665"/>
          </a:xfrm>
          <a:prstGeom prst="rect">
            <a:avLst/>
          </a:prstGeom>
        </p:spPr>
      </p:pic>
      <p:pic>
        <p:nvPicPr>
          <p:cNvPr id="35" name="Picture 34"/>
          <p:cNvPicPr>
            <a:picLocks noChangeAspect="1"/>
          </p:cNvPicPr>
          <p:nvPr/>
        </p:nvPicPr>
        <p:blipFill>
          <a:blip r:embed="rId3">
            <a:biLevel thresh="25000"/>
          </a:blip>
          <a:stretch>
            <a:fillRect/>
          </a:stretch>
        </p:blipFill>
        <p:spPr>
          <a:xfrm>
            <a:off x="7872981" y="3237475"/>
            <a:ext cx="274317" cy="287665"/>
          </a:xfrm>
          <a:prstGeom prst="rect">
            <a:avLst/>
          </a:prstGeom>
        </p:spPr>
      </p:pic>
      <p:pic>
        <p:nvPicPr>
          <p:cNvPr id="36" name="Picture 35"/>
          <p:cNvPicPr>
            <a:picLocks noChangeAspect="1"/>
          </p:cNvPicPr>
          <p:nvPr/>
        </p:nvPicPr>
        <p:blipFill>
          <a:blip r:embed="rId3">
            <a:biLevel thresh="25000"/>
          </a:blip>
          <a:stretch>
            <a:fillRect/>
          </a:stretch>
        </p:blipFill>
        <p:spPr>
          <a:xfrm>
            <a:off x="8198998" y="3237474"/>
            <a:ext cx="274317" cy="287665"/>
          </a:xfrm>
          <a:prstGeom prst="rect">
            <a:avLst/>
          </a:prstGeom>
        </p:spPr>
      </p:pic>
      <p:pic>
        <p:nvPicPr>
          <p:cNvPr id="37" name="Picture 36"/>
          <p:cNvPicPr>
            <a:picLocks noChangeAspect="1"/>
          </p:cNvPicPr>
          <p:nvPr/>
        </p:nvPicPr>
        <p:blipFill>
          <a:blip r:embed="rId3">
            <a:biLevel thresh="25000"/>
          </a:blip>
          <a:stretch>
            <a:fillRect/>
          </a:stretch>
        </p:blipFill>
        <p:spPr>
          <a:xfrm>
            <a:off x="5743101" y="4417662"/>
            <a:ext cx="274317" cy="287665"/>
          </a:xfrm>
          <a:prstGeom prst="rect">
            <a:avLst/>
          </a:prstGeom>
        </p:spPr>
      </p:pic>
      <p:pic>
        <p:nvPicPr>
          <p:cNvPr id="38" name="Picture 37"/>
          <p:cNvPicPr>
            <a:picLocks noChangeAspect="1"/>
          </p:cNvPicPr>
          <p:nvPr/>
        </p:nvPicPr>
        <p:blipFill>
          <a:blip r:embed="rId3">
            <a:biLevel thresh="25000"/>
          </a:blip>
          <a:stretch>
            <a:fillRect/>
          </a:stretch>
        </p:blipFill>
        <p:spPr>
          <a:xfrm>
            <a:off x="6069118" y="4417661"/>
            <a:ext cx="274317" cy="287665"/>
          </a:xfrm>
          <a:prstGeom prst="rect">
            <a:avLst/>
          </a:prstGeom>
        </p:spPr>
      </p:pic>
      <p:sp>
        <p:nvSpPr>
          <p:cNvPr id="39" name="TextBox 38"/>
          <p:cNvSpPr txBox="1"/>
          <p:nvPr/>
        </p:nvSpPr>
        <p:spPr>
          <a:xfrm rot="19906916">
            <a:off x="2327433" y="4440797"/>
            <a:ext cx="3576114" cy="461665"/>
          </a:xfrm>
          <a:prstGeom prst="rect">
            <a:avLst/>
          </a:prstGeom>
          <a:solidFill>
            <a:schemeClr val="accent4"/>
          </a:solidFill>
        </p:spPr>
        <p:txBody>
          <a:bodyPr wrap="square" rtlCol="0">
            <a:spAutoFit/>
          </a:bodyPr>
          <a:lstStyle/>
          <a:p>
            <a:r>
              <a:rPr lang="en-US" dirty="0">
                <a:solidFill>
                  <a:schemeClr val="bg1"/>
                </a:solidFill>
                <a:latin typeface="Segoe UI Light" panose="020B0502040204020203" pitchFamily="34" charset="0"/>
                <a:cs typeface="Segoe UI Light" panose="020B0502040204020203" pitchFamily="34" charset="0"/>
              </a:rPr>
              <a:t>Users (amount of work) </a:t>
            </a:r>
          </a:p>
        </p:txBody>
      </p:sp>
      <p:cxnSp>
        <p:nvCxnSpPr>
          <p:cNvPr id="40" name="Straight Arrow Connector 39"/>
          <p:cNvCxnSpPr/>
          <p:nvPr/>
        </p:nvCxnSpPr>
        <p:spPr>
          <a:xfrm flipV="1">
            <a:off x="1654514" y="6463218"/>
            <a:ext cx="8221283" cy="45676"/>
          </a:xfrm>
          <a:prstGeom prst="straightConnector1">
            <a:avLst/>
          </a:prstGeom>
          <a:ln w="63500">
            <a:solidFill>
              <a:schemeClr val="accent6"/>
            </a:solidFill>
            <a:tailEnd type="triangle"/>
          </a:ln>
        </p:spPr>
        <p:style>
          <a:lnRef idx="1">
            <a:schemeClr val="accent1"/>
          </a:lnRef>
          <a:fillRef idx="0">
            <a:schemeClr val="accent1"/>
          </a:fillRef>
          <a:effectRef idx="0">
            <a:schemeClr val="accent1"/>
          </a:effectRef>
          <a:fontRef idx="minor">
            <a:schemeClr val="tx1"/>
          </a:fontRef>
        </p:style>
      </p:cxnSp>
      <p:sp>
        <p:nvSpPr>
          <p:cNvPr id="41" name="TextBox 40"/>
          <p:cNvSpPr txBox="1"/>
          <p:nvPr/>
        </p:nvSpPr>
        <p:spPr>
          <a:xfrm>
            <a:off x="3193974" y="5889657"/>
            <a:ext cx="6214949" cy="461665"/>
          </a:xfrm>
          <a:prstGeom prst="rect">
            <a:avLst/>
          </a:prstGeom>
          <a:solidFill>
            <a:schemeClr val="accent4"/>
          </a:solidFill>
        </p:spPr>
        <p:txBody>
          <a:bodyPr wrap="square" rtlCol="0">
            <a:spAutoFit/>
          </a:bodyPr>
          <a:lstStyle/>
          <a:p>
            <a:r>
              <a:rPr lang="en-US" dirty="0">
                <a:solidFill>
                  <a:schemeClr val="bg1"/>
                </a:solidFill>
                <a:latin typeface="Segoe UI Light" panose="020B0502040204020203" pitchFamily="34" charset="0"/>
                <a:cs typeface="Segoe UI Light" panose="020B0502040204020203" pitchFamily="34" charset="0"/>
              </a:rPr>
              <a:t>Response Time (accommodate the growth)</a:t>
            </a:r>
          </a:p>
        </p:txBody>
      </p:sp>
    </p:spTree>
    <p:extLst>
      <p:ext uri="{BB962C8B-B14F-4D97-AF65-F5344CB8AC3E}">
        <p14:creationId xmlns:p14="http://schemas.microsoft.com/office/powerpoint/2010/main" val="179872961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5"/>
                                        </p:tgtEl>
                                        <p:attrNameLst>
                                          <p:attrName>style.visibility</p:attrName>
                                        </p:attrNameLst>
                                      </p:cBhvr>
                                      <p:to>
                                        <p:strVal val="visible"/>
                                      </p:to>
                                    </p:set>
                                    <p:animEffect transition="in" filter="fade">
                                      <p:cBhvr>
                                        <p:cTn id="10" dur="500"/>
                                        <p:tgtEl>
                                          <p:spTgt spid="5"/>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7"/>
                                        </p:tgtEl>
                                        <p:attrNameLst>
                                          <p:attrName>style.visibility</p:attrName>
                                        </p:attrNameLst>
                                      </p:cBhvr>
                                      <p:to>
                                        <p:strVal val="visible"/>
                                      </p:to>
                                    </p:set>
                                    <p:animEffect transition="in" filter="fade">
                                      <p:cBhvr>
                                        <p:cTn id="13" dur="500"/>
                                        <p:tgtEl>
                                          <p:spTgt spid="7"/>
                                        </p:tgtEl>
                                      </p:cBhvr>
                                    </p:animEffect>
                                  </p:childTnLst>
                                </p:cTn>
                              </p:par>
                              <p:par>
                                <p:cTn id="14" presetID="10" presetClass="entr" presetSubtype="0" fill="hold" nodeType="withEffect">
                                  <p:stCondLst>
                                    <p:cond delay="0"/>
                                  </p:stCondLst>
                                  <p:childTnLst>
                                    <p:set>
                                      <p:cBhvr>
                                        <p:cTn id="15" dur="1" fill="hold">
                                          <p:stCondLst>
                                            <p:cond delay="0"/>
                                          </p:stCondLst>
                                        </p:cTn>
                                        <p:tgtEl>
                                          <p:spTgt spid="8"/>
                                        </p:tgtEl>
                                        <p:attrNameLst>
                                          <p:attrName>style.visibility</p:attrName>
                                        </p:attrNameLst>
                                      </p:cBhvr>
                                      <p:to>
                                        <p:strVal val="visible"/>
                                      </p:to>
                                    </p:set>
                                    <p:animEffect transition="in" filter="fade">
                                      <p:cBhvr>
                                        <p:cTn id="16" dur="500"/>
                                        <p:tgtEl>
                                          <p:spTgt spid="8"/>
                                        </p:tgtEl>
                                      </p:cBhvr>
                                    </p:animEffect>
                                  </p:childTnLst>
                                </p:cTn>
                              </p:par>
                              <p:par>
                                <p:cTn id="17" presetID="10" presetClass="entr" presetSubtype="0" fill="hold" nodeType="withEffect">
                                  <p:stCondLst>
                                    <p:cond delay="0"/>
                                  </p:stCondLst>
                                  <p:childTnLst>
                                    <p:set>
                                      <p:cBhvr>
                                        <p:cTn id="18" dur="1" fill="hold">
                                          <p:stCondLst>
                                            <p:cond delay="0"/>
                                          </p:stCondLst>
                                        </p:cTn>
                                        <p:tgtEl>
                                          <p:spTgt spid="9"/>
                                        </p:tgtEl>
                                        <p:attrNameLst>
                                          <p:attrName>style.visibility</p:attrName>
                                        </p:attrNameLst>
                                      </p:cBhvr>
                                      <p:to>
                                        <p:strVal val="visible"/>
                                      </p:to>
                                    </p:set>
                                    <p:animEffect transition="in" filter="fade">
                                      <p:cBhvr>
                                        <p:cTn id="19" dur="500"/>
                                        <p:tgtEl>
                                          <p:spTgt spid="9"/>
                                        </p:tgtEl>
                                      </p:cBhvr>
                                    </p:animEffect>
                                  </p:childTnLst>
                                </p:cTn>
                              </p:par>
                              <p:par>
                                <p:cTn id="20" presetID="10" presetClass="entr" presetSubtype="0" fill="hold" nodeType="withEffect">
                                  <p:stCondLst>
                                    <p:cond delay="0"/>
                                  </p:stCondLst>
                                  <p:childTnLst>
                                    <p:set>
                                      <p:cBhvr>
                                        <p:cTn id="21" dur="1" fill="hold">
                                          <p:stCondLst>
                                            <p:cond delay="0"/>
                                          </p:stCondLst>
                                        </p:cTn>
                                        <p:tgtEl>
                                          <p:spTgt spid="10"/>
                                        </p:tgtEl>
                                        <p:attrNameLst>
                                          <p:attrName>style.visibility</p:attrName>
                                        </p:attrNameLst>
                                      </p:cBhvr>
                                      <p:to>
                                        <p:strVal val="visible"/>
                                      </p:to>
                                    </p:set>
                                    <p:animEffect transition="in" filter="fade">
                                      <p:cBhvr>
                                        <p:cTn id="22" dur="500"/>
                                        <p:tgtEl>
                                          <p:spTgt spid="10"/>
                                        </p:tgtEl>
                                      </p:cBhvr>
                                    </p:animEffect>
                                  </p:childTnLst>
                                </p:cTn>
                              </p:par>
                              <p:par>
                                <p:cTn id="23" presetID="10" presetClass="entr" presetSubtype="0" fill="hold" nodeType="withEffect">
                                  <p:stCondLst>
                                    <p:cond delay="0"/>
                                  </p:stCondLst>
                                  <p:childTnLst>
                                    <p:set>
                                      <p:cBhvr>
                                        <p:cTn id="24" dur="1" fill="hold">
                                          <p:stCondLst>
                                            <p:cond delay="0"/>
                                          </p:stCondLst>
                                        </p:cTn>
                                        <p:tgtEl>
                                          <p:spTgt spid="11"/>
                                        </p:tgtEl>
                                        <p:attrNameLst>
                                          <p:attrName>style.visibility</p:attrName>
                                        </p:attrNameLst>
                                      </p:cBhvr>
                                      <p:to>
                                        <p:strVal val="visible"/>
                                      </p:to>
                                    </p:set>
                                    <p:animEffect transition="in" filter="fade">
                                      <p:cBhvr>
                                        <p:cTn id="25" dur="500"/>
                                        <p:tgtEl>
                                          <p:spTgt spid="11"/>
                                        </p:tgtEl>
                                      </p:cBhvr>
                                    </p:animEffect>
                                  </p:childTnLst>
                                </p:cTn>
                              </p:par>
                              <p:par>
                                <p:cTn id="26" presetID="10" presetClass="entr" presetSubtype="0" fill="hold" nodeType="withEffect">
                                  <p:stCondLst>
                                    <p:cond delay="0"/>
                                  </p:stCondLst>
                                  <p:childTnLst>
                                    <p:set>
                                      <p:cBhvr>
                                        <p:cTn id="27" dur="1" fill="hold">
                                          <p:stCondLst>
                                            <p:cond delay="0"/>
                                          </p:stCondLst>
                                        </p:cTn>
                                        <p:tgtEl>
                                          <p:spTgt spid="12"/>
                                        </p:tgtEl>
                                        <p:attrNameLst>
                                          <p:attrName>style.visibility</p:attrName>
                                        </p:attrNameLst>
                                      </p:cBhvr>
                                      <p:to>
                                        <p:strVal val="visible"/>
                                      </p:to>
                                    </p:set>
                                    <p:animEffect transition="in" filter="fade">
                                      <p:cBhvr>
                                        <p:cTn id="28" dur="500"/>
                                        <p:tgtEl>
                                          <p:spTgt spid="12"/>
                                        </p:tgtEl>
                                      </p:cBhvr>
                                    </p:animEffect>
                                  </p:childTnLst>
                                </p:cTn>
                              </p:par>
                              <p:par>
                                <p:cTn id="29" presetID="10" presetClass="entr" presetSubtype="0" fill="hold" nodeType="withEffect">
                                  <p:stCondLst>
                                    <p:cond delay="0"/>
                                  </p:stCondLst>
                                  <p:childTnLst>
                                    <p:set>
                                      <p:cBhvr>
                                        <p:cTn id="30" dur="1" fill="hold">
                                          <p:stCondLst>
                                            <p:cond delay="0"/>
                                          </p:stCondLst>
                                        </p:cTn>
                                        <p:tgtEl>
                                          <p:spTgt spid="13"/>
                                        </p:tgtEl>
                                        <p:attrNameLst>
                                          <p:attrName>style.visibility</p:attrName>
                                        </p:attrNameLst>
                                      </p:cBhvr>
                                      <p:to>
                                        <p:strVal val="visible"/>
                                      </p:to>
                                    </p:set>
                                    <p:animEffect transition="in" filter="fade">
                                      <p:cBhvr>
                                        <p:cTn id="31" dur="500"/>
                                        <p:tgtEl>
                                          <p:spTgt spid="13"/>
                                        </p:tgtEl>
                                      </p:cBhvr>
                                    </p:animEffect>
                                  </p:childTnLst>
                                </p:cTn>
                              </p:par>
                              <p:par>
                                <p:cTn id="32" presetID="10" presetClass="entr" presetSubtype="0" fill="hold" nodeType="withEffect">
                                  <p:stCondLst>
                                    <p:cond delay="0"/>
                                  </p:stCondLst>
                                  <p:childTnLst>
                                    <p:set>
                                      <p:cBhvr>
                                        <p:cTn id="33" dur="1" fill="hold">
                                          <p:stCondLst>
                                            <p:cond delay="0"/>
                                          </p:stCondLst>
                                        </p:cTn>
                                        <p:tgtEl>
                                          <p:spTgt spid="14"/>
                                        </p:tgtEl>
                                        <p:attrNameLst>
                                          <p:attrName>style.visibility</p:attrName>
                                        </p:attrNameLst>
                                      </p:cBhvr>
                                      <p:to>
                                        <p:strVal val="visible"/>
                                      </p:to>
                                    </p:set>
                                    <p:animEffect transition="in" filter="fade">
                                      <p:cBhvr>
                                        <p:cTn id="34" dur="500"/>
                                        <p:tgtEl>
                                          <p:spTgt spid="14"/>
                                        </p:tgtEl>
                                      </p:cBhvr>
                                    </p:animEffect>
                                  </p:childTnLst>
                                </p:cTn>
                              </p:par>
                              <p:par>
                                <p:cTn id="35" presetID="10" presetClass="entr" presetSubtype="0" fill="hold" nodeType="withEffect">
                                  <p:stCondLst>
                                    <p:cond delay="0"/>
                                  </p:stCondLst>
                                  <p:childTnLst>
                                    <p:set>
                                      <p:cBhvr>
                                        <p:cTn id="36" dur="1" fill="hold">
                                          <p:stCondLst>
                                            <p:cond delay="0"/>
                                          </p:stCondLst>
                                        </p:cTn>
                                        <p:tgtEl>
                                          <p:spTgt spid="15"/>
                                        </p:tgtEl>
                                        <p:attrNameLst>
                                          <p:attrName>style.visibility</p:attrName>
                                        </p:attrNameLst>
                                      </p:cBhvr>
                                      <p:to>
                                        <p:strVal val="visible"/>
                                      </p:to>
                                    </p:set>
                                    <p:animEffect transition="in" filter="fade">
                                      <p:cBhvr>
                                        <p:cTn id="37" dur="500"/>
                                        <p:tgtEl>
                                          <p:spTgt spid="15"/>
                                        </p:tgtEl>
                                      </p:cBhvr>
                                    </p:animEffect>
                                  </p:childTnLst>
                                </p:cTn>
                              </p:par>
                              <p:par>
                                <p:cTn id="38" presetID="10" presetClass="entr" presetSubtype="0" fill="hold" nodeType="withEffect">
                                  <p:stCondLst>
                                    <p:cond delay="0"/>
                                  </p:stCondLst>
                                  <p:childTnLst>
                                    <p:set>
                                      <p:cBhvr>
                                        <p:cTn id="39" dur="1" fill="hold">
                                          <p:stCondLst>
                                            <p:cond delay="0"/>
                                          </p:stCondLst>
                                        </p:cTn>
                                        <p:tgtEl>
                                          <p:spTgt spid="16"/>
                                        </p:tgtEl>
                                        <p:attrNameLst>
                                          <p:attrName>style.visibility</p:attrName>
                                        </p:attrNameLst>
                                      </p:cBhvr>
                                      <p:to>
                                        <p:strVal val="visible"/>
                                      </p:to>
                                    </p:set>
                                    <p:animEffect transition="in" filter="fade">
                                      <p:cBhvr>
                                        <p:cTn id="40" dur="500"/>
                                        <p:tgtEl>
                                          <p:spTgt spid="16"/>
                                        </p:tgtEl>
                                      </p:cBhvr>
                                    </p:animEffect>
                                  </p:childTnLst>
                                </p:cTn>
                              </p:par>
                              <p:par>
                                <p:cTn id="41" presetID="10" presetClass="entr" presetSubtype="0" fill="hold" nodeType="withEffect">
                                  <p:stCondLst>
                                    <p:cond delay="0"/>
                                  </p:stCondLst>
                                  <p:childTnLst>
                                    <p:set>
                                      <p:cBhvr>
                                        <p:cTn id="42" dur="1" fill="hold">
                                          <p:stCondLst>
                                            <p:cond delay="0"/>
                                          </p:stCondLst>
                                        </p:cTn>
                                        <p:tgtEl>
                                          <p:spTgt spid="17"/>
                                        </p:tgtEl>
                                        <p:attrNameLst>
                                          <p:attrName>style.visibility</p:attrName>
                                        </p:attrNameLst>
                                      </p:cBhvr>
                                      <p:to>
                                        <p:strVal val="visible"/>
                                      </p:to>
                                    </p:set>
                                    <p:animEffect transition="in" filter="fade">
                                      <p:cBhvr>
                                        <p:cTn id="43" dur="500"/>
                                        <p:tgtEl>
                                          <p:spTgt spid="17"/>
                                        </p:tgtEl>
                                      </p:cBhvr>
                                    </p:animEffect>
                                  </p:childTnLst>
                                </p:cTn>
                              </p:par>
                              <p:par>
                                <p:cTn id="44" presetID="10" presetClass="entr" presetSubtype="0" fill="hold" nodeType="withEffect">
                                  <p:stCondLst>
                                    <p:cond delay="0"/>
                                  </p:stCondLst>
                                  <p:childTnLst>
                                    <p:set>
                                      <p:cBhvr>
                                        <p:cTn id="45" dur="1" fill="hold">
                                          <p:stCondLst>
                                            <p:cond delay="0"/>
                                          </p:stCondLst>
                                        </p:cTn>
                                        <p:tgtEl>
                                          <p:spTgt spid="18"/>
                                        </p:tgtEl>
                                        <p:attrNameLst>
                                          <p:attrName>style.visibility</p:attrName>
                                        </p:attrNameLst>
                                      </p:cBhvr>
                                      <p:to>
                                        <p:strVal val="visible"/>
                                      </p:to>
                                    </p:set>
                                    <p:animEffect transition="in" filter="fade">
                                      <p:cBhvr>
                                        <p:cTn id="46" dur="500"/>
                                        <p:tgtEl>
                                          <p:spTgt spid="18"/>
                                        </p:tgtEl>
                                      </p:cBhvr>
                                    </p:animEffect>
                                  </p:childTnLst>
                                </p:cTn>
                              </p:par>
                              <p:par>
                                <p:cTn id="47" presetID="10" presetClass="entr" presetSubtype="0" fill="hold" nodeType="withEffect">
                                  <p:stCondLst>
                                    <p:cond delay="0"/>
                                  </p:stCondLst>
                                  <p:childTnLst>
                                    <p:set>
                                      <p:cBhvr>
                                        <p:cTn id="48" dur="1" fill="hold">
                                          <p:stCondLst>
                                            <p:cond delay="0"/>
                                          </p:stCondLst>
                                        </p:cTn>
                                        <p:tgtEl>
                                          <p:spTgt spid="19"/>
                                        </p:tgtEl>
                                        <p:attrNameLst>
                                          <p:attrName>style.visibility</p:attrName>
                                        </p:attrNameLst>
                                      </p:cBhvr>
                                      <p:to>
                                        <p:strVal val="visible"/>
                                      </p:to>
                                    </p:set>
                                    <p:animEffect transition="in" filter="fade">
                                      <p:cBhvr>
                                        <p:cTn id="49" dur="500"/>
                                        <p:tgtEl>
                                          <p:spTgt spid="19"/>
                                        </p:tgtEl>
                                      </p:cBhvr>
                                    </p:animEffect>
                                  </p:childTnLst>
                                </p:cTn>
                              </p:par>
                              <p:par>
                                <p:cTn id="50" presetID="10" presetClass="entr" presetSubtype="0" fill="hold" nodeType="withEffect">
                                  <p:stCondLst>
                                    <p:cond delay="0"/>
                                  </p:stCondLst>
                                  <p:childTnLst>
                                    <p:set>
                                      <p:cBhvr>
                                        <p:cTn id="51" dur="1" fill="hold">
                                          <p:stCondLst>
                                            <p:cond delay="0"/>
                                          </p:stCondLst>
                                        </p:cTn>
                                        <p:tgtEl>
                                          <p:spTgt spid="20"/>
                                        </p:tgtEl>
                                        <p:attrNameLst>
                                          <p:attrName>style.visibility</p:attrName>
                                        </p:attrNameLst>
                                      </p:cBhvr>
                                      <p:to>
                                        <p:strVal val="visible"/>
                                      </p:to>
                                    </p:set>
                                    <p:animEffect transition="in" filter="fade">
                                      <p:cBhvr>
                                        <p:cTn id="52" dur="500"/>
                                        <p:tgtEl>
                                          <p:spTgt spid="20"/>
                                        </p:tgtEl>
                                      </p:cBhvr>
                                    </p:animEffect>
                                  </p:childTnLst>
                                </p:cTn>
                              </p:par>
                              <p:par>
                                <p:cTn id="53" presetID="10" presetClass="entr" presetSubtype="0" fill="hold" nodeType="withEffect">
                                  <p:stCondLst>
                                    <p:cond delay="0"/>
                                  </p:stCondLst>
                                  <p:childTnLst>
                                    <p:set>
                                      <p:cBhvr>
                                        <p:cTn id="54" dur="1" fill="hold">
                                          <p:stCondLst>
                                            <p:cond delay="0"/>
                                          </p:stCondLst>
                                        </p:cTn>
                                        <p:tgtEl>
                                          <p:spTgt spid="21"/>
                                        </p:tgtEl>
                                        <p:attrNameLst>
                                          <p:attrName>style.visibility</p:attrName>
                                        </p:attrNameLst>
                                      </p:cBhvr>
                                      <p:to>
                                        <p:strVal val="visible"/>
                                      </p:to>
                                    </p:set>
                                    <p:animEffect transition="in" filter="fade">
                                      <p:cBhvr>
                                        <p:cTn id="55" dur="500"/>
                                        <p:tgtEl>
                                          <p:spTgt spid="21"/>
                                        </p:tgtEl>
                                      </p:cBhvr>
                                    </p:animEffect>
                                  </p:childTnLst>
                                </p:cTn>
                              </p:par>
                              <p:par>
                                <p:cTn id="56" presetID="10" presetClass="entr" presetSubtype="0" fill="hold" nodeType="withEffect">
                                  <p:stCondLst>
                                    <p:cond delay="0"/>
                                  </p:stCondLst>
                                  <p:childTnLst>
                                    <p:set>
                                      <p:cBhvr>
                                        <p:cTn id="57" dur="1" fill="hold">
                                          <p:stCondLst>
                                            <p:cond delay="0"/>
                                          </p:stCondLst>
                                        </p:cTn>
                                        <p:tgtEl>
                                          <p:spTgt spid="22"/>
                                        </p:tgtEl>
                                        <p:attrNameLst>
                                          <p:attrName>style.visibility</p:attrName>
                                        </p:attrNameLst>
                                      </p:cBhvr>
                                      <p:to>
                                        <p:strVal val="visible"/>
                                      </p:to>
                                    </p:set>
                                    <p:animEffect transition="in" filter="fade">
                                      <p:cBhvr>
                                        <p:cTn id="58" dur="500"/>
                                        <p:tgtEl>
                                          <p:spTgt spid="22"/>
                                        </p:tgtEl>
                                      </p:cBhvr>
                                    </p:animEffect>
                                  </p:childTnLst>
                                </p:cTn>
                              </p:par>
                              <p:par>
                                <p:cTn id="59" presetID="10" presetClass="entr" presetSubtype="0" fill="hold" nodeType="withEffect">
                                  <p:stCondLst>
                                    <p:cond delay="0"/>
                                  </p:stCondLst>
                                  <p:childTnLst>
                                    <p:set>
                                      <p:cBhvr>
                                        <p:cTn id="60" dur="1" fill="hold">
                                          <p:stCondLst>
                                            <p:cond delay="0"/>
                                          </p:stCondLst>
                                        </p:cTn>
                                        <p:tgtEl>
                                          <p:spTgt spid="23"/>
                                        </p:tgtEl>
                                        <p:attrNameLst>
                                          <p:attrName>style.visibility</p:attrName>
                                        </p:attrNameLst>
                                      </p:cBhvr>
                                      <p:to>
                                        <p:strVal val="visible"/>
                                      </p:to>
                                    </p:set>
                                    <p:animEffect transition="in" filter="fade">
                                      <p:cBhvr>
                                        <p:cTn id="61" dur="500"/>
                                        <p:tgtEl>
                                          <p:spTgt spid="23"/>
                                        </p:tgtEl>
                                      </p:cBhvr>
                                    </p:animEffect>
                                  </p:childTnLst>
                                </p:cTn>
                              </p:par>
                              <p:par>
                                <p:cTn id="62" presetID="10" presetClass="entr" presetSubtype="0" fill="hold" nodeType="withEffect">
                                  <p:stCondLst>
                                    <p:cond delay="0"/>
                                  </p:stCondLst>
                                  <p:childTnLst>
                                    <p:set>
                                      <p:cBhvr>
                                        <p:cTn id="63" dur="1" fill="hold">
                                          <p:stCondLst>
                                            <p:cond delay="0"/>
                                          </p:stCondLst>
                                        </p:cTn>
                                        <p:tgtEl>
                                          <p:spTgt spid="24"/>
                                        </p:tgtEl>
                                        <p:attrNameLst>
                                          <p:attrName>style.visibility</p:attrName>
                                        </p:attrNameLst>
                                      </p:cBhvr>
                                      <p:to>
                                        <p:strVal val="visible"/>
                                      </p:to>
                                    </p:set>
                                    <p:animEffect transition="in" filter="fade">
                                      <p:cBhvr>
                                        <p:cTn id="64" dur="500"/>
                                        <p:tgtEl>
                                          <p:spTgt spid="24"/>
                                        </p:tgtEl>
                                      </p:cBhvr>
                                    </p:animEffect>
                                  </p:childTnLst>
                                </p:cTn>
                              </p:par>
                              <p:par>
                                <p:cTn id="65" presetID="10" presetClass="entr" presetSubtype="0" fill="hold" nodeType="withEffect">
                                  <p:stCondLst>
                                    <p:cond delay="0"/>
                                  </p:stCondLst>
                                  <p:childTnLst>
                                    <p:set>
                                      <p:cBhvr>
                                        <p:cTn id="66" dur="1" fill="hold">
                                          <p:stCondLst>
                                            <p:cond delay="0"/>
                                          </p:stCondLst>
                                        </p:cTn>
                                        <p:tgtEl>
                                          <p:spTgt spid="25"/>
                                        </p:tgtEl>
                                        <p:attrNameLst>
                                          <p:attrName>style.visibility</p:attrName>
                                        </p:attrNameLst>
                                      </p:cBhvr>
                                      <p:to>
                                        <p:strVal val="visible"/>
                                      </p:to>
                                    </p:set>
                                    <p:animEffect transition="in" filter="fade">
                                      <p:cBhvr>
                                        <p:cTn id="67" dur="500"/>
                                        <p:tgtEl>
                                          <p:spTgt spid="25"/>
                                        </p:tgtEl>
                                      </p:cBhvr>
                                    </p:animEffect>
                                  </p:childTnLst>
                                </p:cTn>
                              </p:par>
                              <p:par>
                                <p:cTn id="68" presetID="10" presetClass="entr" presetSubtype="0" fill="hold" nodeType="withEffect">
                                  <p:stCondLst>
                                    <p:cond delay="0"/>
                                  </p:stCondLst>
                                  <p:childTnLst>
                                    <p:set>
                                      <p:cBhvr>
                                        <p:cTn id="69" dur="1" fill="hold">
                                          <p:stCondLst>
                                            <p:cond delay="0"/>
                                          </p:stCondLst>
                                        </p:cTn>
                                        <p:tgtEl>
                                          <p:spTgt spid="26"/>
                                        </p:tgtEl>
                                        <p:attrNameLst>
                                          <p:attrName>style.visibility</p:attrName>
                                        </p:attrNameLst>
                                      </p:cBhvr>
                                      <p:to>
                                        <p:strVal val="visible"/>
                                      </p:to>
                                    </p:set>
                                    <p:animEffect transition="in" filter="fade">
                                      <p:cBhvr>
                                        <p:cTn id="70" dur="500"/>
                                        <p:tgtEl>
                                          <p:spTgt spid="26"/>
                                        </p:tgtEl>
                                      </p:cBhvr>
                                    </p:animEffect>
                                  </p:childTnLst>
                                </p:cTn>
                              </p:par>
                              <p:par>
                                <p:cTn id="71" presetID="10" presetClass="entr" presetSubtype="0" fill="hold" nodeType="withEffect">
                                  <p:stCondLst>
                                    <p:cond delay="0"/>
                                  </p:stCondLst>
                                  <p:childTnLst>
                                    <p:set>
                                      <p:cBhvr>
                                        <p:cTn id="72" dur="1" fill="hold">
                                          <p:stCondLst>
                                            <p:cond delay="0"/>
                                          </p:stCondLst>
                                        </p:cTn>
                                        <p:tgtEl>
                                          <p:spTgt spid="27"/>
                                        </p:tgtEl>
                                        <p:attrNameLst>
                                          <p:attrName>style.visibility</p:attrName>
                                        </p:attrNameLst>
                                      </p:cBhvr>
                                      <p:to>
                                        <p:strVal val="visible"/>
                                      </p:to>
                                    </p:set>
                                    <p:animEffect transition="in" filter="fade">
                                      <p:cBhvr>
                                        <p:cTn id="73" dur="500"/>
                                        <p:tgtEl>
                                          <p:spTgt spid="27"/>
                                        </p:tgtEl>
                                      </p:cBhvr>
                                    </p:animEffect>
                                  </p:childTnLst>
                                </p:cTn>
                              </p:par>
                              <p:par>
                                <p:cTn id="74" presetID="10" presetClass="entr" presetSubtype="0" fill="hold" nodeType="withEffect">
                                  <p:stCondLst>
                                    <p:cond delay="0"/>
                                  </p:stCondLst>
                                  <p:childTnLst>
                                    <p:set>
                                      <p:cBhvr>
                                        <p:cTn id="75" dur="1" fill="hold">
                                          <p:stCondLst>
                                            <p:cond delay="0"/>
                                          </p:stCondLst>
                                        </p:cTn>
                                        <p:tgtEl>
                                          <p:spTgt spid="28"/>
                                        </p:tgtEl>
                                        <p:attrNameLst>
                                          <p:attrName>style.visibility</p:attrName>
                                        </p:attrNameLst>
                                      </p:cBhvr>
                                      <p:to>
                                        <p:strVal val="visible"/>
                                      </p:to>
                                    </p:set>
                                    <p:animEffect transition="in" filter="fade">
                                      <p:cBhvr>
                                        <p:cTn id="76" dur="500"/>
                                        <p:tgtEl>
                                          <p:spTgt spid="28"/>
                                        </p:tgtEl>
                                      </p:cBhvr>
                                    </p:animEffect>
                                  </p:childTnLst>
                                </p:cTn>
                              </p:par>
                              <p:par>
                                <p:cTn id="77" presetID="10" presetClass="entr" presetSubtype="0" fill="hold" nodeType="withEffect">
                                  <p:stCondLst>
                                    <p:cond delay="0"/>
                                  </p:stCondLst>
                                  <p:childTnLst>
                                    <p:set>
                                      <p:cBhvr>
                                        <p:cTn id="78" dur="1" fill="hold">
                                          <p:stCondLst>
                                            <p:cond delay="0"/>
                                          </p:stCondLst>
                                        </p:cTn>
                                        <p:tgtEl>
                                          <p:spTgt spid="29"/>
                                        </p:tgtEl>
                                        <p:attrNameLst>
                                          <p:attrName>style.visibility</p:attrName>
                                        </p:attrNameLst>
                                      </p:cBhvr>
                                      <p:to>
                                        <p:strVal val="visible"/>
                                      </p:to>
                                    </p:set>
                                    <p:animEffect transition="in" filter="fade">
                                      <p:cBhvr>
                                        <p:cTn id="79" dur="500"/>
                                        <p:tgtEl>
                                          <p:spTgt spid="29"/>
                                        </p:tgtEl>
                                      </p:cBhvr>
                                    </p:animEffect>
                                  </p:childTnLst>
                                </p:cTn>
                              </p:par>
                              <p:par>
                                <p:cTn id="80" presetID="10" presetClass="entr" presetSubtype="0" fill="hold" nodeType="withEffect">
                                  <p:stCondLst>
                                    <p:cond delay="0"/>
                                  </p:stCondLst>
                                  <p:childTnLst>
                                    <p:set>
                                      <p:cBhvr>
                                        <p:cTn id="81" dur="1" fill="hold">
                                          <p:stCondLst>
                                            <p:cond delay="0"/>
                                          </p:stCondLst>
                                        </p:cTn>
                                        <p:tgtEl>
                                          <p:spTgt spid="30"/>
                                        </p:tgtEl>
                                        <p:attrNameLst>
                                          <p:attrName>style.visibility</p:attrName>
                                        </p:attrNameLst>
                                      </p:cBhvr>
                                      <p:to>
                                        <p:strVal val="visible"/>
                                      </p:to>
                                    </p:set>
                                    <p:animEffect transition="in" filter="fade">
                                      <p:cBhvr>
                                        <p:cTn id="82" dur="500"/>
                                        <p:tgtEl>
                                          <p:spTgt spid="30"/>
                                        </p:tgtEl>
                                      </p:cBhvr>
                                    </p:animEffect>
                                  </p:childTnLst>
                                </p:cTn>
                              </p:par>
                              <p:par>
                                <p:cTn id="83" presetID="10" presetClass="entr" presetSubtype="0" fill="hold" nodeType="withEffect">
                                  <p:stCondLst>
                                    <p:cond delay="0"/>
                                  </p:stCondLst>
                                  <p:childTnLst>
                                    <p:set>
                                      <p:cBhvr>
                                        <p:cTn id="84" dur="1" fill="hold">
                                          <p:stCondLst>
                                            <p:cond delay="0"/>
                                          </p:stCondLst>
                                        </p:cTn>
                                        <p:tgtEl>
                                          <p:spTgt spid="31"/>
                                        </p:tgtEl>
                                        <p:attrNameLst>
                                          <p:attrName>style.visibility</p:attrName>
                                        </p:attrNameLst>
                                      </p:cBhvr>
                                      <p:to>
                                        <p:strVal val="visible"/>
                                      </p:to>
                                    </p:set>
                                    <p:animEffect transition="in" filter="fade">
                                      <p:cBhvr>
                                        <p:cTn id="85" dur="500"/>
                                        <p:tgtEl>
                                          <p:spTgt spid="31"/>
                                        </p:tgtEl>
                                      </p:cBhvr>
                                    </p:animEffect>
                                  </p:childTnLst>
                                </p:cTn>
                              </p:par>
                              <p:par>
                                <p:cTn id="86" presetID="10" presetClass="entr" presetSubtype="0" fill="hold" nodeType="withEffect">
                                  <p:stCondLst>
                                    <p:cond delay="0"/>
                                  </p:stCondLst>
                                  <p:childTnLst>
                                    <p:set>
                                      <p:cBhvr>
                                        <p:cTn id="87" dur="1" fill="hold">
                                          <p:stCondLst>
                                            <p:cond delay="0"/>
                                          </p:stCondLst>
                                        </p:cTn>
                                        <p:tgtEl>
                                          <p:spTgt spid="33"/>
                                        </p:tgtEl>
                                        <p:attrNameLst>
                                          <p:attrName>style.visibility</p:attrName>
                                        </p:attrNameLst>
                                      </p:cBhvr>
                                      <p:to>
                                        <p:strVal val="visible"/>
                                      </p:to>
                                    </p:set>
                                    <p:animEffect transition="in" filter="fade">
                                      <p:cBhvr>
                                        <p:cTn id="88" dur="500"/>
                                        <p:tgtEl>
                                          <p:spTgt spid="33"/>
                                        </p:tgtEl>
                                      </p:cBhvr>
                                    </p:animEffect>
                                  </p:childTnLst>
                                </p:cTn>
                              </p:par>
                              <p:par>
                                <p:cTn id="89" presetID="10" presetClass="entr" presetSubtype="0" fill="hold" nodeType="withEffect">
                                  <p:stCondLst>
                                    <p:cond delay="0"/>
                                  </p:stCondLst>
                                  <p:childTnLst>
                                    <p:set>
                                      <p:cBhvr>
                                        <p:cTn id="90" dur="1" fill="hold">
                                          <p:stCondLst>
                                            <p:cond delay="0"/>
                                          </p:stCondLst>
                                        </p:cTn>
                                        <p:tgtEl>
                                          <p:spTgt spid="34"/>
                                        </p:tgtEl>
                                        <p:attrNameLst>
                                          <p:attrName>style.visibility</p:attrName>
                                        </p:attrNameLst>
                                      </p:cBhvr>
                                      <p:to>
                                        <p:strVal val="visible"/>
                                      </p:to>
                                    </p:set>
                                    <p:animEffect transition="in" filter="fade">
                                      <p:cBhvr>
                                        <p:cTn id="91" dur="500"/>
                                        <p:tgtEl>
                                          <p:spTgt spid="34"/>
                                        </p:tgtEl>
                                      </p:cBhvr>
                                    </p:animEffect>
                                  </p:childTnLst>
                                </p:cTn>
                              </p:par>
                              <p:par>
                                <p:cTn id="92" presetID="10" presetClass="entr" presetSubtype="0" fill="hold" nodeType="withEffect">
                                  <p:stCondLst>
                                    <p:cond delay="0"/>
                                  </p:stCondLst>
                                  <p:childTnLst>
                                    <p:set>
                                      <p:cBhvr>
                                        <p:cTn id="93" dur="1" fill="hold">
                                          <p:stCondLst>
                                            <p:cond delay="0"/>
                                          </p:stCondLst>
                                        </p:cTn>
                                        <p:tgtEl>
                                          <p:spTgt spid="35"/>
                                        </p:tgtEl>
                                        <p:attrNameLst>
                                          <p:attrName>style.visibility</p:attrName>
                                        </p:attrNameLst>
                                      </p:cBhvr>
                                      <p:to>
                                        <p:strVal val="visible"/>
                                      </p:to>
                                    </p:set>
                                    <p:animEffect transition="in" filter="fade">
                                      <p:cBhvr>
                                        <p:cTn id="94" dur="500"/>
                                        <p:tgtEl>
                                          <p:spTgt spid="35"/>
                                        </p:tgtEl>
                                      </p:cBhvr>
                                    </p:animEffect>
                                  </p:childTnLst>
                                </p:cTn>
                              </p:par>
                              <p:par>
                                <p:cTn id="95" presetID="10" presetClass="entr" presetSubtype="0" fill="hold" nodeType="withEffect">
                                  <p:stCondLst>
                                    <p:cond delay="0"/>
                                  </p:stCondLst>
                                  <p:childTnLst>
                                    <p:set>
                                      <p:cBhvr>
                                        <p:cTn id="96" dur="1" fill="hold">
                                          <p:stCondLst>
                                            <p:cond delay="0"/>
                                          </p:stCondLst>
                                        </p:cTn>
                                        <p:tgtEl>
                                          <p:spTgt spid="36"/>
                                        </p:tgtEl>
                                        <p:attrNameLst>
                                          <p:attrName>style.visibility</p:attrName>
                                        </p:attrNameLst>
                                      </p:cBhvr>
                                      <p:to>
                                        <p:strVal val="visible"/>
                                      </p:to>
                                    </p:set>
                                    <p:animEffect transition="in" filter="fade">
                                      <p:cBhvr>
                                        <p:cTn id="97" dur="500"/>
                                        <p:tgtEl>
                                          <p:spTgt spid="36"/>
                                        </p:tgtEl>
                                      </p:cBhvr>
                                    </p:animEffect>
                                  </p:childTnLst>
                                </p:cTn>
                              </p:par>
                              <p:par>
                                <p:cTn id="98" presetID="10" presetClass="entr" presetSubtype="0" fill="hold" nodeType="withEffect">
                                  <p:stCondLst>
                                    <p:cond delay="0"/>
                                  </p:stCondLst>
                                  <p:childTnLst>
                                    <p:set>
                                      <p:cBhvr>
                                        <p:cTn id="99" dur="1" fill="hold">
                                          <p:stCondLst>
                                            <p:cond delay="0"/>
                                          </p:stCondLst>
                                        </p:cTn>
                                        <p:tgtEl>
                                          <p:spTgt spid="37"/>
                                        </p:tgtEl>
                                        <p:attrNameLst>
                                          <p:attrName>style.visibility</p:attrName>
                                        </p:attrNameLst>
                                      </p:cBhvr>
                                      <p:to>
                                        <p:strVal val="visible"/>
                                      </p:to>
                                    </p:set>
                                    <p:animEffect transition="in" filter="fade">
                                      <p:cBhvr>
                                        <p:cTn id="100" dur="500"/>
                                        <p:tgtEl>
                                          <p:spTgt spid="37"/>
                                        </p:tgtEl>
                                      </p:cBhvr>
                                    </p:animEffect>
                                  </p:childTnLst>
                                </p:cTn>
                              </p:par>
                              <p:par>
                                <p:cTn id="101" presetID="10" presetClass="entr" presetSubtype="0" fill="hold" nodeType="withEffect">
                                  <p:stCondLst>
                                    <p:cond delay="0"/>
                                  </p:stCondLst>
                                  <p:childTnLst>
                                    <p:set>
                                      <p:cBhvr>
                                        <p:cTn id="102" dur="1" fill="hold">
                                          <p:stCondLst>
                                            <p:cond delay="0"/>
                                          </p:stCondLst>
                                        </p:cTn>
                                        <p:tgtEl>
                                          <p:spTgt spid="38"/>
                                        </p:tgtEl>
                                        <p:attrNameLst>
                                          <p:attrName>style.visibility</p:attrName>
                                        </p:attrNameLst>
                                      </p:cBhvr>
                                      <p:to>
                                        <p:strVal val="visible"/>
                                      </p:to>
                                    </p:set>
                                    <p:animEffect transition="in" filter="fade">
                                      <p:cBhvr>
                                        <p:cTn id="103" dur="500"/>
                                        <p:tgtEl>
                                          <p:spTgt spid="38"/>
                                        </p:tgtEl>
                                      </p:cBhvr>
                                    </p:animEffect>
                                  </p:childTnLst>
                                </p:cTn>
                              </p:par>
                            </p:childTnLst>
                          </p:cTn>
                        </p:par>
                      </p:childTnLst>
                    </p:cTn>
                  </p:par>
                  <p:par>
                    <p:cTn id="104" fill="hold">
                      <p:stCondLst>
                        <p:cond delay="indefinite"/>
                      </p:stCondLst>
                      <p:childTnLst>
                        <p:par>
                          <p:cTn id="105" fill="hold">
                            <p:stCondLst>
                              <p:cond delay="0"/>
                            </p:stCondLst>
                            <p:childTnLst>
                              <p:par>
                                <p:cTn id="106" presetID="10" presetClass="entr" presetSubtype="0" fill="hold" nodeType="clickEffect">
                                  <p:stCondLst>
                                    <p:cond delay="0"/>
                                  </p:stCondLst>
                                  <p:childTnLst>
                                    <p:set>
                                      <p:cBhvr>
                                        <p:cTn id="107" dur="1" fill="hold">
                                          <p:stCondLst>
                                            <p:cond delay="0"/>
                                          </p:stCondLst>
                                        </p:cTn>
                                        <p:tgtEl>
                                          <p:spTgt spid="32"/>
                                        </p:tgtEl>
                                        <p:attrNameLst>
                                          <p:attrName>style.visibility</p:attrName>
                                        </p:attrNameLst>
                                      </p:cBhvr>
                                      <p:to>
                                        <p:strVal val="visible"/>
                                      </p:to>
                                    </p:set>
                                    <p:animEffect transition="in" filter="fade">
                                      <p:cBhvr>
                                        <p:cTn id="108" dur="500"/>
                                        <p:tgtEl>
                                          <p:spTgt spid="32"/>
                                        </p:tgtEl>
                                      </p:cBhvr>
                                    </p:animEffect>
                                  </p:childTnLst>
                                </p:cTn>
                              </p:par>
                              <p:par>
                                <p:cTn id="109" presetID="10" presetClass="entr" presetSubtype="0" fill="hold" grpId="0" nodeType="withEffect">
                                  <p:stCondLst>
                                    <p:cond delay="0"/>
                                  </p:stCondLst>
                                  <p:childTnLst>
                                    <p:set>
                                      <p:cBhvr>
                                        <p:cTn id="110" dur="1" fill="hold">
                                          <p:stCondLst>
                                            <p:cond delay="0"/>
                                          </p:stCondLst>
                                        </p:cTn>
                                        <p:tgtEl>
                                          <p:spTgt spid="39"/>
                                        </p:tgtEl>
                                        <p:attrNameLst>
                                          <p:attrName>style.visibility</p:attrName>
                                        </p:attrNameLst>
                                      </p:cBhvr>
                                      <p:to>
                                        <p:strVal val="visible"/>
                                      </p:to>
                                    </p:set>
                                    <p:animEffect transition="in" filter="fade">
                                      <p:cBhvr>
                                        <p:cTn id="111" dur="500"/>
                                        <p:tgtEl>
                                          <p:spTgt spid="39"/>
                                        </p:tgtEl>
                                      </p:cBhvr>
                                    </p:animEffect>
                                  </p:childTnLst>
                                </p:cTn>
                              </p:par>
                            </p:childTnLst>
                          </p:cTn>
                        </p:par>
                      </p:childTnLst>
                    </p:cTn>
                  </p:par>
                  <p:par>
                    <p:cTn id="112" fill="hold">
                      <p:stCondLst>
                        <p:cond delay="indefinite"/>
                      </p:stCondLst>
                      <p:childTnLst>
                        <p:par>
                          <p:cTn id="113" fill="hold">
                            <p:stCondLst>
                              <p:cond delay="0"/>
                            </p:stCondLst>
                            <p:childTnLst>
                              <p:par>
                                <p:cTn id="114" presetID="10" presetClass="entr" presetSubtype="0" fill="hold" nodeType="clickEffect">
                                  <p:stCondLst>
                                    <p:cond delay="0"/>
                                  </p:stCondLst>
                                  <p:childTnLst>
                                    <p:set>
                                      <p:cBhvr>
                                        <p:cTn id="115" dur="1" fill="hold">
                                          <p:stCondLst>
                                            <p:cond delay="0"/>
                                          </p:stCondLst>
                                        </p:cTn>
                                        <p:tgtEl>
                                          <p:spTgt spid="40"/>
                                        </p:tgtEl>
                                        <p:attrNameLst>
                                          <p:attrName>style.visibility</p:attrName>
                                        </p:attrNameLst>
                                      </p:cBhvr>
                                      <p:to>
                                        <p:strVal val="visible"/>
                                      </p:to>
                                    </p:set>
                                    <p:animEffect transition="in" filter="fade">
                                      <p:cBhvr>
                                        <p:cTn id="116" dur="500"/>
                                        <p:tgtEl>
                                          <p:spTgt spid="40"/>
                                        </p:tgtEl>
                                      </p:cBhvr>
                                    </p:animEffect>
                                  </p:childTnLst>
                                </p:cTn>
                              </p:par>
                              <p:par>
                                <p:cTn id="117" presetID="10" presetClass="entr" presetSubtype="0" fill="hold" grpId="0" nodeType="withEffect">
                                  <p:stCondLst>
                                    <p:cond delay="0"/>
                                  </p:stCondLst>
                                  <p:childTnLst>
                                    <p:set>
                                      <p:cBhvr>
                                        <p:cTn id="118" dur="1" fill="hold">
                                          <p:stCondLst>
                                            <p:cond delay="0"/>
                                          </p:stCondLst>
                                        </p:cTn>
                                        <p:tgtEl>
                                          <p:spTgt spid="41"/>
                                        </p:tgtEl>
                                        <p:attrNameLst>
                                          <p:attrName>style.visibility</p:attrName>
                                        </p:attrNameLst>
                                      </p:cBhvr>
                                      <p:to>
                                        <p:strVal val="visible"/>
                                      </p:to>
                                    </p:set>
                                    <p:animEffect transition="in" filter="fade">
                                      <p:cBhvr>
                                        <p:cTn id="119" dur="500"/>
                                        <p:tgtEl>
                                          <p:spTgt spid="4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P spid="7" grpId="0" animBg="1"/>
      <p:bldP spid="39" grpId="0" animBg="1"/>
      <p:bldP spid="41" grpId="0" animBg="1"/>
    </p:bld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zure </a:t>
            </a:r>
            <a:r>
              <a:rPr lang="en-US" dirty="0" err="1"/>
              <a:t>Redis</a:t>
            </a:r>
            <a:r>
              <a:rPr lang="en-US" dirty="0"/>
              <a:t> Cache</a:t>
            </a:r>
          </a:p>
        </p:txBody>
      </p:sp>
      <p:sp>
        <p:nvSpPr>
          <p:cNvPr id="3" name="Text Placeholder 2"/>
          <p:cNvSpPr>
            <a:spLocks noGrp="1"/>
          </p:cNvSpPr>
          <p:nvPr>
            <p:ph type="body" sz="quarter" idx="10"/>
          </p:nvPr>
        </p:nvSpPr>
        <p:spPr>
          <a:xfrm>
            <a:off x="274638" y="1212850"/>
            <a:ext cx="11889565" cy="5530745"/>
          </a:xfrm>
        </p:spPr>
        <p:txBody>
          <a:bodyPr/>
          <a:lstStyle/>
          <a:p>
            <a:pPr lvl="0" defTabSz="1208380">
              <a:spcBef>
                <a:spcPts val="600"/>
              </a:spcBef>
              <a:spcAft>
                <a:spcPts val="600"/>
              </a:spcAft>
              <a:buSzTx/>
            </a:pPr>
            <a:r>
              <a:rPr lang="en-US" dirty="0">
                <a:solidFill>
                  <a:srgbClr val="00BCF2"/>
                </a:solidFill>
                <a:cs typeface="Segoe UI" panose="020B0502040204020203" pitchFamily="34" charset="0"/>
              </a:rPr>
              <a:t>Available in 3 Tiers</a:t>
            </a:r>
          </a:p>
          <a:p>
            <a:pPr marL="742950" lvl="0" indent="-742950" defTabSz="1208380">
              <a:spcBef>
                <a:spcPts val="600"/>
              </a:spcBef>
              <a:spcAft>
                <a:spcPts val="600"/>
              </a:spcAft>
              <a:buSzTx/>
              <a:buFont typeface="+mj-lt"/>
              <a:buAutoNum type="arabicPeriod"/>
            </a:pPr>
            <a:r>
              <a:rPr lang="en-US" dirty="0">
                <a:solidFill>
                  <a:srgbClr val="505050"/>
                </a:solidFill>
                <a:cs typeface="Segoe UI" panose="020B0502040204020203" pitchFamily="34" charset="0"/>
              </a:rPr>
              <a:t>Basic: Single Node Cache</a:t>
            </a:r>
          </a:p>
          <a:p>
            <a:pPr marL="742950" lvl="0" indent="-742950" defTabSz="1208380">
              <a:spcBef>
                <a:spcPts val="600"/>
              </a:spcBef>
              <a:spcAft>
                <a:spcPts val="600"/>
              </a:spcAft>
              <a:buSzTx/>
              <a:buFont typeface="+mj-lt"/>
              <a:buAutoNum type="arabicPeriod"/>
            </a:pPr>
            <a:r>
              <a:rPr lang="en-US" dirty="0">
                <a:solidFill>
                  <a:srgbClr val="505050"/>
                </a:solidFill>
                <a:cs typeface="Segoe UI" panose="020B0502040204020203" pitchFamily="34" charset="0"/>
              </a:rPr>
              <a:t>Standard: Two-Node Primary/Secondary with automatic replication between the two nodes</a:t>
            </a:r>
          </a:p>
          <a:p>
            <a:pPr marL="742950" lvl="0" indent="-742950" defTabSz="1208380">
              <a:spcBef>
                <a:spcPts val="600"/>
              </a:spcBef>
              <a:spcAft>
                <a:spcPts val="600"/>
              </a:spcAft>
              <a:buSzTx/>
              <a:buFont typeface="+mj-lt"/>
              <a:buAutoNum type="arabicPeriod"/>
            </a:pPr>
            <a:r>
              <a:rPr lang="en-US" dirty="0">
                <a:solidFill>
                  <a:srgbClr val="505050"/>
                </a:solidFill>
                <a:cs typeface="Segoe UI" panose="020B0502040204020203" pitchFamily="34" charset="0"/>
              </a:rPr>
              <a:t>Premium: Disaster recovery, enhanced security</a:t>
            </a:r>
          </a:p>
          <a:p>
            <a:pPr lvl="0" defTabSz="1208380">
              <a:spcBef>
                <a:spcPts val="600"/>
              </a:spcBef>
              <a:spcAft>
                <a:spcPts val="600"/>
              </a:spcAft>
              <a:buSzTx/>
            </a:pPr>
            <a:r>
              <a:rPr lang="en-US" dirty="0">
                <a:solidFill>
                  <a:srgbClr val="00BCF2"/>
                </a:solidFill>
                <a:cs typeface="Segoe UI" panose="020B0502040204020203" pitchFamily="34" charset="0"/>
              </a:rPr>
              <a:t>Cache Sizes</a:t>
            </a:r>
          </a:p>
          <a:p>
            <a:pPr lvl="0" defTabSz="1208380">
              <a:spcBef>
                <a:spcPts val="600"/>
              </a:spcBef>
              <a:spcAft>
                <a:spcPts val="600"/>
              </a:spcAft>
              <a:buSzTx/>
            </a:pPr>
            <a:r>
              <a:rPr lang="en-US" sz="3200" dirty="0">
                <a:solidFill>
                  <a:srgbClr val="505050"/>
                </a:solidFill>
                <a:cs typeface="Segoe UI" panose="020B0502040204020203" pitchFamily="34" charset="0"/>
              </a:rPr>
              <a:t>250 MB, 1 GB, 2.8 GB, 6 GB, 13 GB, 26 GB, 53GB, 530 GB</a:t>
            </a:r>
          </a:p>
          <a:p>
            <a:endParaRPr lang="en-US" dirty="0"/>
          </a:p>
        </p:txBody>
      </p:sp>
    </p:spTree>
    <p:extLst>
      <p:ext uri="{BB962C8B-B14F-4D97-AF65-F5344CB8AC3E}">
        <p14:creationId xmlns:p14="http://schemas.microsoft.com/office/powerpoint/2010/main" val="2676763284"/>
      </p:ext>
    </p:extLst>
  </p:cSld>
  <p:clrMapOvr>
    <a:masterClrMapping/>
  </p:clrMapOvr>
  <p:transition>
    <p:fade/>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a:t>Redis</a:t>
            </a:r>
            <a:r>
              <a:rPr lang="en-US" dirty="0"/>
              <a:t> Cache Providers for </a:t>
            </a:r>
            <a:r>
              <a:rPr lang="en-US" dirty="0" err="1"/>
              <a:t>ASP.Net</a:t>
            </a:r>
            <a:r>
              <a:rPr lang="en-US" dirty="0"/>
              <a:t> Applications</a:t>
            </a:r>
          </a:p>
        </p:txBody>
      </p:sp>
      <p:sp>
        <p:nvSpPr>
          <p:cNvPr id="3" name="Text Placeholder 2"/>
          <p:cNvSpPr>
            <a:spLocks noGrp="1"/>
          </p:cNvSpPr>
          <p:nvPr>
            <p:ph type="body" sz="quarter" idx="10"/>
          </p:nvPr>
        </p:nvSpPr>
        <p:spPr>
          <a:xfrm>
            <a:off x="274638" y="1212850"/>
            <a:ext cx="11887200" cy="3447098"/>
          </a:xfrm>
        </p:spPr>
        <p:txBody>
          <a:bodyPr/>
          <a:lstStyle/>
          <a:p>
            <a:r>
              <a:rPr lang="en-US" dirty="0" err="1"/>
              <a:t>ASP.Net</a:t>
            </a:r>
            <a:r>
              <a:rPr lang="en-US" dirty="0"/>
              <a:t> Session State Provider</a:t>
            </a:r>
          </a:p>
          <a:p>
            <a:r>
              <a:rPr lang="en-US" dirty="0" err="1"/>
              <a:t>ASP.Net</a:t>
            </a:r>
            <a:r>
              <a:rPr lang="en-US" dirty="0"/>
              <a:t> Page Output Cache Provider</a:t>
            </a:r>
          </a:p>
          <a:p>
            <a:r>
              <a:rPr lang="en-US" dirty="0"/>
              <a:t>Available via </a:t>
            </a:r>
            <a:r>
              <a:rPr lang="en-US" dirty="0" err="1"/>
              <a:t>Nuget</a:t>
            </a:r>
            <a:endParaRPr lang="en-US" dirty="0"/>
          </a:p>
          <a:p>
            <a:r>
              <a:rPr lang="en-US" dirty="0"/>
              <a:t>Simple configuration in </a:t>
            </a:r>
            <a:r>
              <a:rPr lang="en-US" dirty="0" err="1"/>
              <a:t>web.config</a:t>
            </a:r>
            <a:endParaRPr lang="en-US" dirty="0"/>
          </a:p>
          <a:p>
            <a:endParaRPr lang="en-US" dirty="0"/>
          </a:p>
        </p:txBody>
      </p:sp>
      <p:pic>
        <p:nvPicPr>
          <p:cNvPr id="4" name="Picture 3"/>
          <p:cNvPicPr>
            <a:picLocks noChangeAspect="1"/>
          </p:cNvPicPr>
          <p:nvPr/>
        </p:nvPicPr>
        <p:blipFill>
          <a:blip r:embed="rId3"/>
          <a:stretch>
            <a:fillRect/>
          </a:stretch>
        </p:blipFill>
        <p:spPr>
          <a:xfrm>
            <a:off x="1463409" y="5080297"/>
            <a:ext cx="8591550" cy="1190625"/>
          </a:xfrm>
          <a:prstGeom prst="rect">
            <a:avLst/>
          </a:prstGeom>
        </p:spPr>
      </p:pic>
    </p:spTree>
    <p:extLst>
      <p:ext uri="{BB962C8B-B14F-4D97-AF65-F5344CB8AC3E}">
        <p14:creationId xmlns:p14="http://schemas.microsoft.com/office/powerpoint/2010/main" val="3124785999"/>
      </p:ext>
    </p:extLst>
  </p:cSld>
  <p:clrMapOvr>
    <a:masterClrMapping/>
  </p:clrMapOvr>
  <p:transition>
    <p:fade/>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a:t>Redis</a:t>
            </a:r>
            <a:r>
              <a:rPr lang="en-US" dirty="0"/>
              <a:t> Cache</a:t>
            </a:r>
          </a:p>
        </p:txBody>
      </p:sp>
      <p:sp>
        <p:nvSpPr>
          <p:cNvPr id="3" name="Text Placeholder 2"/>
          <p:cNvSpPr>
            <a:spLocks noGrp="1"/>
          </p:cNvSpPr>
          <p:nvPr>
            <p:ph type="body" sz="quarter" idx="10"/>
          </p:nvPr>
        </p:nvSpPr>
        <p:spPr>
          <a:xfrm>
            <a:off x="274638" y="1212850"/>
            <a:ext cx="6675111" cy="5781675"/>
          </a:xfrm>
        </p:spPr>
        <p:txBody>
          <a:bodyPr/>
          <a:lstStyle/>
          <a:p>
            <a:pPr lvl="0" defTabSz="1208380">
              <a:spcBef>
                <a:spcPts val="600"/>
              </a:spcBef>
              <a:spcAft>
                <a:spcPts val="600"/>
              </a:spcAft>
              <a:buSzTx/>
            </a:pPr>
            <a:r>
              <a:rPr lang="en-US" sz="2800" dirty="0" err="1">
                <a:solidFill>
                  <a:srgbClr val="00BCF2"/>
                </a:solidFill>
                <a:cs typeface="Segoe UI" panose="020B0502040204020203" pitchFamily="34" charset="0"/>
              </a:rPr>
              <a:t>Redis</a:t>
            </a:r>
            <a:r>
              <a:rPr lang="en-US" sz="2800" dirty="0">
                <a:solidFill>
                  <a:srgbClr val="00BCF2"/>
                </a:solidFill>
                <a:cs typeface="Segoe UI" panose="020B0502040204020203" pitchFamily="34" charset="0"/>
              </a:rPr>
              <a:t> Cache </a:t>
            </a:r>
          </a:p>
          <a:p>
            <a:pPr lvl="0" defTabSz="1208380">
              <a:spcBef>
                <a:spcPts val="600"/>
              </a:spcBef>
              <a:spcAft>
                <a:spcPts val="600"/>
              </a:spcAft>
              <a:buSzTx/>
            </a:pPr>
            <a:r>
              <a:rPr lang="en-US" sz="2800" dirty="0">
                <a:solidFill>
                  <a:srgbClr val="505050"/>
                </a:solidFill>
                <a:cs typeface="Segoe UI" panose="020B0502040204020203" pitchFamily="34" charset="0"/>
              </a:rPr>
              <a:t>Multi-tenant managed service</a:t>
            </a:r>
          </a:p>
          <a:p>
            <a:pPr lvl="0" defTabSz="1208380">
              <a:spcBef>
                <a:spcPts val="600"/>
              </a:spcBef>
              <a:spcAft>
                <a:spcPts val="600"/>
              </a:spcAft>
              <a:buSzTx/>
            </a:pPr>
            <a:r>
              <a:rPr lang="en-US" sz="2800" dirty="0">
                <a:solidFill>
                  <a:srgbClr val="505050"/>
                </a:solidFill>
                <a:cs typeface="Segoe UI" panose="020B0502040204020203" pitchFamily="34" charset="0"/>
              </a:rPr>
              <a:t>Key-Value store, where keys can be strings </a:t>
            </a:r>
          </a:p>
          <a:p>
            <a:pPr lvl="0" defTabSz="1208380">
              <a:spcBef>
                <a:spcPts val="600"/>
              </a:spcBef>
              <a:spcAft>
                <a:spcPts val="600"/>
              </a:spcAft>
              <a:buSzTx/>
            </a:pPr>
            <a:r>
              <a:rPr lang="en-US" sz="2800" dirty="0">
                <a:solidFill>
                  <a:srgbClr val="505050"/>
                </a:solidFill>
                <a:cs typeface="Segoe UI" panose="020B0502040204020203" pitchFamily="34" charset="0"/>
              </a:rPr>
              <a:t>or structures (hash, list, set, sorted set)</a:t>
            </a:r>
          </a:p>
          <a:p>
            <a:pPr lvl="0" defTabSz="1208380">
              <a:spcBef>
                <a:spcPts val="600"/>
              </a:spcBef>
              <a:spcAft>
                <a:spcPts val="600"/>
              </a:spcAft>
              <a:buSzTx/>
            </a:pPr>
            <a:r>
              <a:rPr lang="en-US" sz="2800" dirty="0">
                <a:solidFill>
                  <a:srgbClr val="505050"/>
                </a:solidFill>
                <a:cs typeface="Segoe UI" panose="020B0502040204020203" pitchFamily="34" charset="0"/>
              </a:rPr>
              <a:t>Support for Transactions, Pub/Sub, Limited TTL Keys</a:t>
            </a:r>
          </a:p>
          <a:p>
            <a:pPr lvl="0" defTabSz="1208380">
              <a:spcBef>
                <a:spcPts val="600"/>
              </a:spcBef>
              <a:spcAft>
                <a:spcPts val="600"/>
              </a:spcAft>
              <a:buSzTx/>
            </a:pPr>
            <a:r>
              <a:rPr lang="en-US" sz="2800" dirty="0" err="1">
                <a:solidFill>
                  <a:srgbClr val="00BCF2"/>
                </a:solidFill>
                <a:cs typeface="Segoe UI" panose="020B0502040204020203" pitchFamily="34" charset="0"/>
              </a:rPr>
              <a:t>Memcached</a:t>
            </a:r>
            <a:r>
              <a:rPr lang="en-US" sz="2800" dirty="0">
                <a:solidFill>
                  <a:srgbClr val="00BCF2"/>
                </a:solidFill>
                <a:cs typeface="Segoe UI" panose="020B0502040204020203" pitchFamily="34" charset="0"/>
              </a:rPr>
              <a:t> Cloud (</a:t>
            </a:r>
            <a:r>
              <a:rPr lang="en-US" sz="2800" dirty="0" err="1">
                <a:solidFill>
                  <a:srgbClr val="00BCF2"/>
                </a:solidFill>
                <a:cs typeface="Segoe UI" panose="020B0502040204020203" pitchFamily="34" charset="0"/>
              </a:rPr>
              <a:t>Redis</a:t>
            </a:r>
            <a:r>
              <a:rPr lang="en-US" sz="2800" dirty="0">
                <a:solidFill>
                  <a:srgbClr val="00BCF2"/>
                </a:solidFill>
                <a:cs typeface="Segoe UI" panose="020B0502040204020203" pitchFamily="34" charset="0"/>
              </a:rPr>
              <a:t> Labs)</a:t>
            </a:r>
          </a:p>
          <a:p>
            <a:pPr lvl="0" defTabSz="1208380">
              <a:spcBef>
                <a:spcPts val="600"/>
              </a:spcBef>
              <a:spcAft>
                <a:spcPts val="600"/>
              </a:spcAft>
              <a:buSzTx/>
            </a:pPr>
            <a:r>
              <a:rPr lang="en-US" sz="2800" dirty="0">
                <a:solidFill>
                  <a:srgbClr val="505050"/>
                </a:solidFill>
                <a:cs typeface="Segoe UI" panose="020B0502040204020203" pitchFamily="34" charset="0"/>
              </a:rPr>
              <a:t>Multi-tenant service managed by </a:t>
            </a:r>
            <a:r>
              <a:rPr lang="en-US" sz="2800" dirty="0" err="1">
                <a:solidFill>
                  <a:srgbClr val="505050"/>
                </a:solidFill>
                <a:cs typeface="Segoe UI" panose="020B0502040204020203" pitchFamily="34" charset="0"/>
              </a:rPr>
              <a:t>Redis</a:t>
            </a:r>
            <a:r>
              <a:rPr lang="en-US" sz="2800" dirty="0">
                <a:solidFill>
                  <a:srgbClr val="505050"/>
                </a:solidFill>
                <a:cs typeface="Segoe UI" panose="020B0502040204020203" pitchFamily="34" charset="0"/>
              </a:rPr>
              <a:t> Labs</a:t>
            </a:r>
          </a:p>
          <a:p>
            <a:pPr lvl="0" defTabSz="1208380">
              <a:spcBef>
                <a:spcPts val="600"/>
              </a:spcBef>
              <a:spcAft>
                <a:spcPts val="600"/>
              </a:spcAft>
              <a:buSzTx/>
            </a:pPr>
            <a:r>
              <a:rPr lang="en-US" sz="2800" dirty="0">
                <a:solidFill>
                  <a:srgbClr val="505050"/>
                </a:solidFill>
                <a:cs typeface="Segoe UI" panose="020B0502040204020203" pitchFamily="34" charset="0"/>
              </a:rPr>
              <a:t>Available in the Azure Store as an Add-On</a:t>
            </a:r>
            <a:endParaRPr lang="en-US" sz="2800" dirty="0">
              <a:solidFill>
                <a:srgbClr val="00BCF2"/>
              </a:solidFill>
              <a:cs typeface="Segoe UI" panose="020B0502040204020203" pitchFamily="34" charset="0"/>
            </a:endParaRPr>
          </a:p>
          <a:p>
            <a:endParaRPr lang="en-US" dirty="0"/>
          </a:p>
        </p:txBody>
      </p:sp>
      <p:sp>
        <p:nvSpPr>
          <p:cNvPr id="4" name="TextBox 3"/>
          <p:cNvSpPr txBox="1"/>
          <p:nvPr/>
        </p:nvSpPr>
        <p:spPr>
          <a:xfrm>
            <a:off x="7043997" y="3040067"/>
            <a:ext cx="5395287" cy="2175980"/>
          </a:xfrm>
          <a:prstGeom prst="rect">
            <a:avLst/>
          </a:prstGeom>
          <a:noFill/>
        </p:spPr>
        <p:txBody>
          <a:bodyPr wrap="square" lIns="182880" tIns="146304" rIns="182880" bIns="146304" rtlCol="0">
            <a:spAutoFit/>
          </a:bodyPr>
          <a:lstStyle/>
          <a:p>
            <a:pPr>
              <a:lnSpc>
                <a:spcPct val="90000"/>
              </a:lnSpc>
              <a:spcAft>
                <a:spcPts val="600"/>
              </a:spcAft>
            </a:pPr>
            <a:r>
              <a:rPr lang="en-US" dirty="0">
                <a:solidFill>
                  <a:srgbClr val="00B050"/>
                </a:solidFill>
                <a:latin typeface="Consolas" panose="020B0609020204030204" pitchFamily="49" charset="0"/>
                <a:cs typeface="Consolas" panose="020B0609020204030204" pitchFamily="49" charset="0"/>
              </a:rPr>
              <a:t>// Simple cache-aside pattern </a:t>
            </a:r>
          </a:p>
          <a:p>
            <a:pPr>
              <a:lnSpc>
                <a:spcPct val="90000"/>
              </a:lnSpc>
              <a:spcAft>
                <a:spcPts val="600"/>
              </a:spcAft>
            </a:pPr>
            <a:r>
              <a:rPr lang="en-US" dirty="0">
                <a:solidFill>
                  <a:schemeClr val="accent1">
                    <a:lumMod val="50000"/>
                    <a:lumOff val="50000"/>
                  </a:schemeClr>
                </a:solidFill>
                <a:latin typeface="Consolas" panose="020B0609020204030204" pitchFamily="49" charset="0"/>
                <a:cs typeface="Consolas" panose="020B0609020204030204" pitchFamily="49" charset="0"/>
              </a:rPr>
              <a:t>string</a:t>
            </a:r>
            <a:r>
              <a:rPr lang="en-US" dirty="0">
                <a:latin typeface="Consolas" panose="020B0609020204030204" pitchFamily="49" charset="0"/>
                <a:cs typeface="Consolas" panose="020B0609020204030204" pitchFamily="49" charset="0"/>
              </a:rPr>
              <a:t> value = </a:t>
            </a:r>
            <a:r>
              <a:rPr lang="en-US" dirty="0" err="1">
                <a:latin typeface="Consolas" panose="020B0609020204030204" pitchFamily="49" charset="0"/>
                <a:cs typeface="Consolas" panose="020B0609020204030204" pitchFamily="49" charset="0"/>
              </a:rPr>
              <a:t>cache.StringGet</a:t>
            </a:r>
            <a:r>
              <a:rPr lang="en-US" dirty="0">
                <a:latin typeface="Consolas" panose="020B0609020204030204" pitchFamily="49" charset="0"/>
                <a:cs typeface="Consolas" panose="020B0609020204030204" pitchFamily="49" charset="0"/>
              </a:rPr>
              <a:t>("key1");</a:t>
            </a:r>
          </a:p>
          <a:p>
            <a:pPr>
              <a:lnSpc>
                <a:spcPct val="90000"/>
              </a:lnSpc>
              <a:spcAft>
                <a:spcPts val="600"/>
              </a:spcAft>
            </a:pPr>
            <a:r>
              <a:rPr lang="en-US" dirty="0">
                <a:solidFill>
                  <a:schemeClr val="accent1">
                    <a:lumMod val="50000"/>
                    <a:lumOff val="50000"/>
                  </a:schemeClr>
                </a:solidFill>
                <a:latin typeface="Consolas" panose="020B0609020204030204" pitchFamily="49" charset="0"/>
                <a:cs typeface="Consolas" panose="020B0609020204030204" pitchFamily="49" charset="0"/>
              </a:rPr>
              <a:t>if</a:t>
            </a:r>
            <a:r>
              <a:rPr lang="en-US" dirty="0">
                <a:latin typeface="Consolas" panose="020B0609020204030204" pitchFamily="49" charset="0"/>
                <a:cs typeface="Consolas" panose="020B0609020204030204" pitchFamily="49" charset="0"/>
              </a:rPr>
              <a:t> (value == </a:t>
            </a:r>
            <a:r>
              <a:rPr lang="en-US" dirty="0">
                <a:solidFill>
                  <a:schemeClr val="accent1">
                    <a:lumMod val="50000"/>
                    <a:lumOff val="50000"/>
                  </a:schemeClr>
                </a:solidFill>
                <a:latin typeface="Consolas" panose="020B0609020204030204" pitchFamily="49" charset="0"/>
                <a:cs typeface="Consolas" panose="020B0609020204030204" pitchFamily="49" charset="0"/>
              </a:rPr>
              <a:t>null</a:t>
            </a:r>
            <a:r>
              <a:rPr lang="en-US" dirty="0">
                <a:latin typeface="Consolas" panose="020B0609020204030204" pitchFamily="49" charset="0"/>
                <a:cs typeface="Consolas" panose="020B0609020204030204" pitchFamily="49" charset="0"/>
              </a:rPr>
              <a:t>) {</a:t>
            </a:r>
          </a:p>
          <a:p>
            <a:pPr>
              <a:lnSpc>
                <a:spcPct val="90000"/>
              </a:lnSpc>
              <a:spcAft>
                <a:spcPts val="600"/>
              </a:spcAft>
            </a:pPr>
            <a:r>
              <a:rPr lang="en-US" dirty="0">
                <a:latin typeface="Consolas" panose="020B0609020204030204" pitchFamily="49" charset="0"/>
                <a:cs typeface="Consolas" panose="020B0609020204030204" pitchFamily="49" charset="0"/>
              </a:rPr>
              <a:t>  value = </a:t>
            </a:r>
            <a:r>
              <a:rPr lang="en-US" dirty="0" err="1">
                <a:latin typeface="Consolas" panose="020B0609020204030204" pitchFamily="49" charset="0"/>
                <a:cs typeface="Consolas" panose="020B0609020204030204" pitchFamily="49" charset="0"/>
              </a:rPr>
              <a:t>GetValueFromDataSource</a:t>
            </a:r>
            <a:r>
              <a:rPr lang="en-US" dirty="0">
                <a:latin typeface="Consolas" panose="020B0609020204030204" pitchFamily="49" charset="0"/>
                <a:cs typeface="Consolas" panose="020B0609020204030204" pitchFamily="49" charset="0"/>
              </a:rPr>
              <a:t>();</a:t>
            </a:r>
          </a:p>
          <a:p>
            <a:pPr>
              <a:lnSpc>
                <a:spcPct val="90000"/>
              </a:lnSpc>
              <a:spcAft>
                <a:spcPts val="600"/>
              </a:spcAft>
            </a:pPr>
            <a:r>
              <a:rPr lang="en-US" dirty="0">
                <a:latin typeface="Consolas" panose="020B0609020204030204" pitchFamily="49" charset="0"/>
                <a:cs typeface="Consolas" panose="020B0609020204030204" pitchFamily="49" charset="0"/>
              </a:rPr>
              <a:t>  </a:t>
            </a:r>
            <a:r>
              <a:rPr lang="en-US" dirty="0" err="1">
                <a:latin typeface="Consolas" panose="020B0609020204030204" pitchFamily="49" charset="0"/>
                <a:cs typeface="Consolas" panose="020B0609020204030204" pitchFamily="49" charset="0"/>
              </a:rPr>
              <a:t>cache.StringSet</a:t>
            </a:r>
            <a:r>
              <a:rPr lang="en-US" dirty="0">
                <a:latin typeface="Consolas" panose="020B0609020204030204" pitchFamily="49" charset="0"/>
                <a:cs typeface="Consolas" panose="020B0609020204030204" pitchFamily="49" charset="0"/>
              </a:rPr>
              <a:t>("key1", value); </a:t>
            </a:r>
          </a:p>
          <a:p>
            <a:pPr>
              <a:lnSpc>
                <a:spcPct val="90000"/>
              </a:lnSpc>
              <a:spcAft>
                <a:spcPts val="600"/>
              </a:spcAft>
            </a:pPr>
            <a:r>
              <a:rPr lang="en-US" dirty="0">
                <a:latin typeface="Consolas" panose="020B0609020204030204" pitchFamily="49" charset="0"/>
                <a:cs typeface="Consolas" panose="020B0609020204030204" pitchFamily="49" charset="0"/>
              </a:rPr>
              <a:t>} </a:t>
            </a:r>
            <a:endParaRPr lang="en-US" dirty="0">
              <a:gradFill>
                <a:gsLst>
                  <a:gs pos="2917">
                    <a:schemeClr val="tx1"/>
                  </a:gs>
                  <a:gs pos="30000">
                    <a:schemeClr val="tx1"/>
                  </a:gs>
                </a:gsLst>
                <a:lin ang="5400000" scaled="0"/>
              </a:gradFill>
              <a:latin typeface="Consolas" panose="020B0609020204030204" pitchFamily="49" charset="0"/>
              <a:cs typeface="Consolas" panose="020B0609020204030204" pitchFamily="49" charset="0"/>
            </a:endParaRPr>
          </a:p>
        </p:txBody>
      </p:sp>
    </p:spTree>
    <p:extLst>
      <p:ext uri="{BB962C8B-B14F-4D97-AF65-F5344CB8AC3E}">
        <p14:creationId xmlns:p14="http://schemas.microsoft.com/office/powerpoint/2010/main" val="1271196603"/>
      </p:ext>
    </p:extLst>
  </p:cSld>
  <p:clrMapOvr>
    <a:masterClrMapping/>
  </p:clrMapOvr>
  <p:transition>
    <p:fade/>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4638" y="2125662"/>
            <a:ext cx="11887200" cy="2179058"/>
          </a:xfrm>
        </p:spPr>
        <p:txBody>
          <a:bodyPr/>
          <a:lstStyle/>
          <a:p>
            <a:r>
              <a:rPr lang="en-US" dirty="0"/>
              <a:t>Scaling Globally with Traffic Manager</a:t>
            </a:r>
          </a:p>
        </p:txBody>
      </p:sp>
    </p:spTree>
    <p:extLst>
      <p:ext uri="{BB962C8B-B14F-4D97-AF65-F5344CB8AC3E}">
        <p14:creationId xmlns:p14="http://schemas.microsoft.com/office/powerpoint/2010/main" val="1698589350"/>
      </p:ext>
    </p:extLst>
  </p:cSld>
  <p:clrMapOvr>
    <a:masterClrMapping/>
  </p:clrMapOvr>
  <p:transition>
    <p:fade/>
  </p:transition>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How Traffic Manager Works</a:t>
            </a:r>
          </a:p>
        </p:txBody>
      </p:sp>
      <p:sp>
        <p:nvSpPr>
          <p:cNvPr id="3" name="Text Placeholder 2"/>
          <p:cNvSpPr>
            <a:spLocks noGrp="1"/>
          </p:cNvSpPr>
          <p:nvPr>
            <p:ph type="body" sz="quarter" idx="10"/>
          </p:nvPr>
        </p:nvSpPr>
        <p:spPr>
          <a:xfrm>
            <a:off x="333233" y="1091437"/>
            <a:ext cx="4536344" cy="5773543"/>
          </a:xfrm>
        </p:spPr>
        <p:txBody>
          <a:bodyPr/>
          <a:lstStyle/>
          <a:p>
            <a:pPr lvl="0" defTabSz="1208380">
              <a:spcBef>
                <a:spcPts val="600"/>
              </a:spcBef>
              <a:spcAft>
                <a:spcPts val="600"/>
              </a:spcAft>
              <a:buSzTx/>
            </a:pPr>
            <a:r>
              <a:rPr lang="en-US" sz="2800" dirty="0">
                <a:solidFill>
                  <a:srgbClr val="00BCF2"/>
                </a:solidFill>
                <a:cs typeface="Segoe UI" panose="020B0502040204020203" pitchFamily="34" charset="0"/>
              </a:rPr>
              <a:t>Map your domain name </a:t>
            </a:r>
            <a:r>
              <a:rPr lang="en-US" sz="1800" dirty="0">
                <a:solidFill>
                  <a:srgbClr val="505050"/>
                </a:solidFill>
                <a:latin typeface="Segoe UI Light" panose="020B0502040204020203" pitchFamily="34" charset="0"/>
                <a:cs typeface="Segoe UI Light" panose="020B0502040204020203" pitchFamily="34" charset="0"/>
              </a:rPr>
              <a:t>contoso.com -&gt; contoso.trafficmanager.net</a:t>
            </a:r>
          </a:p>
          <a:p>
            <a:pPr lvl="1" defTabSz="1208380">
              <a:buSzTx/>
            </a:pPr>
            <a:endParaRPr lang="en-US" sz="2800" dirty="0">
              <a:solidFill>
                <a:srgbClr val="505050"/>
              </a:solidFill>
              <a:latin typeface="Segoe UI" panose="020B0502040204020203" pitchFamily="34" charset="0"/>
              <a:cs typeface="Segoe UI" panose="020B0502040204020203" pitchFamily="34" charset="0"/>
            </a:endParaRPr>
          </a:p>
          <a:p>
            <a:pPr lvl="0" defTabSz="1208380">
              <a:spcBef>
                <a:spcPts val="600"/>
              </a:spcBef>
              <a:spcAft>
                <a:spcPts val="600"/>
              </a:spcAft>
              <a:buSzTx/>
            </a:pPr>
            <a:r>
              <a:rPr lang="en-US" sz="2800" dirty="0">
                <a:solidFill>
                  <a:srgbClr val="00BCF2"/>
                </a:solidFill>
                <a:cs typeface="Segoe UI" panose="020B0502040204020203" pitchFamily="34" charset="0"/>
              </a:rPr>
              <a:t>Map website URLs in one or more regions to your Traffic Manager Profile.</a:t>
            </a:r>
          </a:p>
          <a:p>
            <a:pPr lvl="1" defTabSz="1208380">
              <a:buSzTx/>
            </a:pPr>
            <a:r>
              <a:rPr lang="en-US" dirty="0">
                <a:solidFill>
                  <a:srgbClr val="505050"/>
                </a:solidFill>
                <a:latin typeface="Segoe UI Light" panose="020B0502040204020203" pitchFamily="34" charset="0"/>
                <a:cs typeface="Segoe UI Light" panose="020B0502040204020203" pitchFamily="34" charset="0"/>
              </a:rPr>
              <a:t>contoso</a:t>
            </a:r>
            <a:r>
              <a:rPr lang="en-US" b="1" dirty="0">
                <a:solidFill>
                  <a:schemeClr val="accent4"/>
                </a:solidFill>
                <a:latin typeface="Segoe UI Light" panose="020B0502040204020203" pitchFamily="34" charset="0"/>
                <a:cs typeface="Segoe UI Light" panose="020B0502040204020203" pitchFamily="34" charset="0"/>
              </a:rPr>
              <a:t>east</a:t>
            </a:r>
            <a:r>
              <a:rPr lang="en-US" dirty="0">
                <a:solidFill>
                  <a:srgbClr val="505050"/>
                </a:solidFill>
                <a:latin typeface="Segoe UI Light" panose="020B0502040204020203" pitchFamily="34" charset="0"/>
                <a:cs typeface="Segoe UI Light" panose="020B0502040204020203" pitchFamily="34" charset="0"/>
              </a:rPr>
              <a:t>.azurewebsites.net</a:t>
            </a:r>
          </a:p>
          <a:p>
            <a:pPr lvl="1" defTabSz="1208380">
              <a:buSzTx/>
            </a:pPr>
            <a:r>
              <a:rPr lang="en-US" dirty="0">
                <a:solidFill>
                  <a:srgbClr val="505050"/>
                </a:solidFill>
                <a:latin typeface="Segoe UI Light" panose="020B0502040204020203" pitchFamily="34" charset="0"/>
                <a:cs typeface="Segoe UI Light" panose="020B0502040204020203" pitchFamily="34" charset="0"/>
              </a:rPr>
              <a:t>contoso</a:t>
            </a:r>
            <a:r>
              <a:rPr lang="en-US" b="1" dirty="0">
                <a:solidFill>
                  <a:schemeClr val="accent4"/>
                </a:solidFill>
                <a:latin typeface="Segoe UI Light" panose="020B0502040204020203" pitchFamily="34" charset="0"/>
                <a:cs typeface="Segoe UI Light" panose="020B0502040204020203" pitchFamily="34" charset="0"/>
              </a:rPr>
              <a:t>west</a:t>
            </a:r>
            <a:r>
              <a:rPr lang="en-US" dirty="0">
                <a:solidFill>
                  <a:srgbClr val="505050"/>
                </a:solidFill>
                <a:latin typeface="Segoe UI Light" panose="020B0502040204020203" pitchFamily="34" charset="0"/>
                <a:cs typeface="Segoe UI Light" panose="020B0502040204020203" pitchFamily="34" charset="0"/>
              </a:rPr>
              <a:t>.azurewebsites.net</a:t>
            </a:r>
          </a:p>
          <a:p>
            <a:pPr lvl="1" defTabSz="1208380">
              <a:buSzTx/>
            </a:pPr>
            <a:endParaRPr lang="en-US" sz="2800" dirty="0">
              <a:solidFill>
                <a:srgbClr val="505050"/>
              </a:solidFill>
              <a:latin typeface="Segoe UI" panose="020B0502040204020203" pitchFamily="34" charset="0"/>
              <a:cs typeface="Segoe UI" panose="020B0502040204020203" pitchFamily="34" charset="0"/>
            </a:endParaRPr>
          </a:p>
          <a:p>
            <a:pPr lvl="0" defTabSz="1208380">
              <a:spcBef>
                <a:spcPts val="600"/>
              </a:spcBef>
              <a:spcAft>
                <a:spcPts val="600"/>
              </a:spcAft>
              <a:buSzTx/>
            </a:pPr>
            <a:r>
              <a:rPr lang="en-US" sz="2800" dirty="0">
                <a:solidFill>
                  <a:srgbClr val="00BCF2"/>
                </a:solidFill>
                <a:cs typeface="Segoe UI" panose="020B0502040204020203" pitchFamily="34" charset="0"/>
              </a:rPr>
              <a:t>Choose the Right Load Balancing Algorithm </a:t>
            </a:r>
          </a:p>
          <a:p>
            <a:pPr lvl="1" defTabSz="1208380">
              <a:buSzTx/>
            </a:pPr>
            <a:r>
              <a:rPr lang="en-US" sz="2800" dirty="0">
                <a:solidFill>
                  <a:srgbClr val="505050"/>
                </a:solidFill>
                <a:latin typeface="Segoe UI Light" panose="020B0502040204020203" pitchFamily="34" charset="0"/>
                <a:cs typeface="Segoe UI Light" panose="020B0502040204020203" pitchFamily="34" charset="0"/>
              </a:rPr>
              <a:t>Priority, Weighted, Performance, Geographic</a:t>
            </a:r>
          </a:p>
          <a:p>
            <a:endParaRPr lang="en-US" dirty="0"/>
          </a:p>
        </p:txBody>
      </p:sp>
      <p:cxnSp>
        <p:nvCxnSpPr>
          <p:cNvPr id="9" name="Straight Arrow Connector 8"/>
          <p:cNvCxnSpPr/>
          <p:nvPr/>
        </p:nvCxnSpPr>
        <p:spPr>
          <a:xfrm>
            <a:off x="7047621" y="2909665"/>
            <a:ext cx="1897846" cy="0"/>
          </a:xfrm>
          <a:prstGeom prst="straightConnector1">
            <a:avLst/>
          </a:prstGeom>
          <a:ln w="57150">
            <a:solidFill>
              <a:srgbClr val="FFFFFF">
                <a:alpha val="74902"/>
              </a:srgbClr>
            </a:solidFill>
            <a:tailEnd type="triangle"/>
          </a:ln>
        </p:spPr>
        <p:style>
          <a:lnRef idx="1">
            <a:schemeClr val="accent1"/>
          </a:lnRef>
          <a:fillRef idx="0">
            <a:schemeClr val="accent1"/>
          </a:fillRef>
          <a:effectRef idx="0">
            <a:schemeClr val="accent1"/>
          </a:effectRef>
          <a:fontRef idx="minor">
            <a:schemeClr val="tx1"/>
          </a:fontRef>
        </p:style>
      </p:cxnSp>
      <p:cxnSp>
        <p:nvCxnSpPr>
          <p:cNvPr id="10" name="Straight Arrow Connector 9"/>
          <p:cNvCxnSpPr/>
          <p:nvPr/>
        </p:nvCxnSpPr>
        <p:spPr>
          <a:xfrm>
            <a:off x="9629212" y="3693746"/>
            <a:ext cx="0" cy="872032"/>
          </a:xfrm>
          <a:prstGeom prst="straightConnector1">
            <a:avLst/>
          </a:prstGeom>
          <a:ln w="57150">
            <a:solidFill>
              <a:srgbClr val="FFFFFF">
                <a:alpha val="74902"/>
              </a:srgbClr>
            </a:solidFill>
            <a:tailEnd type="triangle"/>
          </a:ln>
        </p:spPr>
        <p:style>
          <a:lnRef idx="1">
            <a:schemeClr val="accent1"/>
          </a:lnRef>
          <a:fillRef idx="0">
            <a:schemeClr val="accent1"/>
          </a:fillRef>
          <a:effectRef idx="0">
            <a:schemeClr val="accent1"/>
          </a:effectRef>
          <a:fontRef idx="minor">
            <a:schemeClr val="tx1"/>
          </a:fontRef>
        </p:style>
      </p:cxnSp>
      <p:cxnSp>
        <p:nvCxnSpPr>
          <p:cNvPr id="11" name="Straight Arrow Connector 10"/>
          <p:cNvCxnSpPr/>
          <p:nvPr/>
        </p:nvCxnSpPr>
        <p:spPr>
          <a:xfrm>
            <a:off x="6406124" y="3642069"/>
            <a:ext cx="1968808" cy="2037482"/>
          </a:xfrm>
          <a:prstGeom prst="straightConnector1">
            <a:avLst/>
          </a:prstGeom>
          <a:ln w="57150">
            <a:solidFill>
              <a:srgbClr val="FFFFFF">
                <a:alpha val="74902"/>
              </a:srgbClr>
            </a:solidFill>
            <a:tailEnd type="triangle"/>
          </a:ln>
        </p:spPr>
        <p:style>
          <a:lnRef idx="1">
            <a:schemeClr val="accent1"/>
          </a:lnRef>
          <a:fillRef idx="0">
            <a:schemeClr val="accent1"/>
          </a:fillRef>
          <a:effectRef idx="0">
            <a:schemeClr val="accent1"/>
          </a:effectRef>
          <a:fontRef idx="minor">
            <a:schemeClr val="tx1"/>
          </a:fontRef>
        </p:style>
      </p:cxnSp>
      <p:sp>
        <p:nvSpPr>
          <p:cNvPr id="27" name="TextBox 48"/>
          <p:cNvSpPr txBox="1"/>
          <p:nvPr/>
        </p:nvSpPr>
        <p:spPr>
          <a:xfrm>
            <a:off x="6694343" y="1417150"/>
            <a:ext cx="5620101" cy="307777"/>
          </a:xfrm>
          <a:prstGeom prst="rect">
            <a:avLst/>
          </a:prstGeom>
          <a:noFill/>
          <a:ln>
            <a:noFill/>
          </a:ln>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400" dirty="0">
                <a:solidFill>
                  <a:schemeClr val="bg1"/>
                </a:solidFill>
                <a:latin typeface="Courier New" panose="02070309020205020404" pitchFamily="49" charset="0"/>
                <a:cs typeface="Courier New" panose="02070309020205020404" pitchFamily="49" charset="0"/>
              </a:rPr>
              <a:t>www.contoso.com IN CNAME contoso.trafficmanager.net </a:t>
            </a:r>
          </a:p>
        </p:txBody>
      </p:sp>
      <p:cxnSp>
        <p:nvCxnSpPr>
          <p:cNvPr id="28" name="Straight Arrow Connector 27"/>
          <p:cNvCxnSpPr/>
          <p:nvPr/>
        </p:nvCxnSpPr>
        <p:spPr>
          <a:xfrm flipV="1">
            <a:off x="9504393" y="1762437"/>
            <a:ext cx="0" cy="479955"/>
          </a:xfrm>
          <a:prstGeom prst="straightConnector1">
            <a:avLst/>
          </a:prstGeom>
          <a:ln w="57150">
            <a:solidFill>
              <a:srgbClr val="FFFFFF">
                <a:alpha val="74902"/>
              </a:srgbClr>
            </a:solidFill>
            <a:tailEnd type="triangle"/>
          </a:ln>
        </p:spPr>
        <p:style>
          <a:lnRef idx="1">
            <a:schemeClr val="accent1"/>
          </a:lnRef>
          <a:fillRef idx="0">
            <a:schemeClr val="accent1"/>
          </a:fillRef>
          <a:effectRef idx="0">
            <a:schemeClr val="accent1"/>
          </a:effectRef>
          <a:fontRef idx="minor">
            <a:schemeClr val="tx1"/>
          </a:fontRef>
        </p:style>
      </p:cxnSp>
      <p:sp>
        <p:nvSpPr>
          <p:cNvPr id="34" name="TextBox 33"/>
          <p:cNvSpPr txBox="1"/>
          <p:nvPr/>
        </p:nvSpPr>
        <p:spPr>
          <a:xfrm>
            <a:off x="10476631" y="4707048"/>
            <a:ext cx="1964195" cy="338554"/>
          </a:xfrm>
          <a:prstGeom prst="rect">
            <a:avLst/>
          </a:prstGeom>
          <a:noFill/>
        </p:spPr>
        <p:txBody>
          <a:bodyPr wrap="square" rtlCol="0">
            <a:spAutoFit/>
          </a:bodyPr>
          <a:lstStyle/>
          <a:p>
            <a:r>
              <a:rPr lang="en-US" sz="1600" dirty="0">
                <a:solidFill>
                  <a:schemeClr val="bg1"/>
                </a:solidFill>
                <a:latin typeface="Segoe UI" panose="020B0502040204020203" pitchFamily="34" charset="0"/>
                <a:ea typeface="Segoe UI" panose="020B0502040204020203" pitchFamily="34" charset="0"/>
                <a:cs typeface="Segoe UI" panose="020B0502040204020203" pitchFamily="34" charset="0"/>
              </a:rPr>
              <a:t>Select endpoint</a:t>
            </a:r>
          </a:p>
        </p:txBody>
      </p:sp>
      <p:sp>
        <p:nvSpPr>
          <p:cNvPr id="36" name="Freeform 35"/>
          <p:cNvSpPr/>
          <p:nvPr/>
        </p:nvSpPr>
        <p:spPr>
          <a:xfrm>
            <a:off x="6853975" y="3284425"/>
            <a:ext cx="2517134" cy="985168"/>
          </a:xfrm>
          <a:custGeom>
            <a:avLst/>
            <a:gdLst>
              <a:gd name="connsiteX0" fmla="*/ 2232211 w 2232211"/>
              <a:gd name="connsiteY0" fmla="*/ 537883 h 537883"/>
              <a:gd name="connsiteX1" fmla="*/ 2232211 w 2232211"/>
              <a:gd name="connsiteY1" fmla="*/ 0 h 537883"/>
              <a:gd name="connsiteX2" fmla="*/ 0 w 2232211"/>
              <a:gd name="connsiteY2" fmla="*/ 0 h 537883"/>
            </a:gdLst>
            <a:ahLst/>
            <a:cxnLst>
              <a:cxn ang="0">
                <a:pos x="connsiteX0" y="connsiteY0"/>
              </a:cxn>
              <a:cxn ang="0">
                <a:pos x="connsiteX1" y="connsiteY1"/>
              </a:cxn>
              <a:cxn ang="0">
                <a:pos x="connsiteX2" y="connsiteY2"/>
              </a:cxn>
            </a:cxnLst>
            <a:rect l="l" t="t" r="r" b="b"/>
            <a:pathLst>
              <a:path w="2232211" h="537883">
                <a:moveTo>
                  <a:pt x="2232211" y="537883"/>
                </a:moveTo>
                <a:lnTo>
                  <a:pt x="2232211" y="0"/>
                </a:lnTo>
                <a:lnTo>
                  <a:pt x="0" y="0"/>
                </a:lnTo>
              </a:path>
            </a:pathLst>
          </a:custGeom>
          <a:noFill/>
          <a:ln w="57150">
            <a:solidFill>
              <a:srgbClr val="FFFFFF">
                <a:alpha val="74902"/>
              </a:srgbClr>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p>
        </p:txBody>
      </p:sp>
      <p:sp>
        <p:nvSpPr>
          <p:cNvPr id="45" name="TextBox 48"/>
          <p:cNvSpPr txBox="1"/>
          <p:nvPr/>
        </p:nvSpPr>
        <p:spPr>
          <a:xfrm>
            <a:off x="5090553" y="6100429"/>
            <a:ext cx="3526843" cy="307777"/>
          </a:xfrm>
          <a:prstGeom prst="rect">
            <a:avLst/>
          </a:prstGeom>
          <a:noFill/>
          <a:ln>
            <a:noFill/>
          </a:ln>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400" dirty="0">
                <a:solidFill>
                  <a:schemeClr val="bg1"/>
                </a:solidFill>
                <a:latin typeface="Courier New" panose="02070309020205020404" pitchFamily="49" charset="0"/>
                <a:cs typeface="Courier New" panose="02070309020205020404" pitchFamily="49" charset="0"/>
              </a:rPr>
              <a:t>contosoeast.azurewebsites.net</a:t>
            </a:r>
          </a:p>
        </p:txBody>
      </p:sp>
      <p:sp>
        <p:nvSpPr>
          <p:cNvPr id="46" name="TextBox 48"/>
          <p:cNvSpPr txBox="1"/>
          <p:nvPr/>
        </p:nvSpPr>
        <p:spPr>
          <a:xfrm>
            <a:off x="8905615" y="6113654"/>
            <a:ext cx="3526843" cy="307777"/>
          </a:xfrm>
          <a:prstGeom prst="rect">
            <a:avLst/>
          </a:prstGeom>
          <a:noFill/>
          <a:ln>
            <a:noFill/>
          </a:ln>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400" dirty="0">
                <a:solidFill>
                  <a:schemeClr val="bg1"/>
                </a:solidFill>
                <a:latin typeface="Courier New" panose="02070309020205020404" pitchFamily="49" charset="0"/>
                <a:cs typeface="Courier New" panose="02070309020205020404" pitchFamily="49" charset="0"/>
              </a:rPr>
              <a:t>contosowest.azurewebsites.net</a:t>
            </a:r>
          </a:p>
        </p:txBody>
      </p:sp>
      <p:pic>
        <p:nvPicPr>
          <p:cNvPr id="5" name="Picture 4">
            <a:extLst>
              <a:ext uri="{FF2B5EF4-FFF2-40B4-BE49-F238E27FC236}">
                <a16:creationId xmlns:a16="http://schemas.microsoft.com/office/drawing/2014/main" id="{698B7694-859B-4FE2-894D-A4B0E2F3E260}"/>
              </a:ext>
            </a:extLst>
          </p:cNvPr>
          <p:cNvPicPr>
            <a:picLocks noChangeAspect="1"/>
          </p:cNvPicPr>
          <p:nvPr/>
        </p:nvPicPr>
        <p:blipFill>
          <a:blip r:embed="rId3"/>
          <a:stretch>
            <a:fillRect/>
          </a:stretch>
        </p:blipFill>
        <p:spPr>
          <a:xfrm>
            <a:off x="4771104" y="1070496"/>
            <a:ext cx="7393100" cy="5673072"/>
          </a:xfrm>
          <a:prstGeom prst="rect">
            <a:avLst/>
          </a:prstGeom>
        </p:spPr>
      </p:pic>
    </p:spTree>
    <p:extLst>
      <p:ext uri="{BB962C8B-B14F-4D97-AF65-F5344CB8AC3E}">
        <p14:creationId xmlns:p14="http://schemas.microsoft.com/office/powerpoint/2010/main" val="1653138271"/>
      </p:ext>
    </p:extLst>
  </p:cSld>
  <p:clrMapOvr>
    <a:masterClrMapping/>
  </p:clrMapOvr>
  <p:transition>
    <p:fade/>
  </p:transition>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riority Profile</a:t>
            </a:r>
          </a:p>
        </p:txBody>
      </p:sp>
      <p:sp>
        <p:nvSpPr>
          <p:cNvPr id="3" name="Text Placeholder 2"/>
          <p:cNvSpPr>
            <a:spLocks noGrp="1"/>
          </p:cNvSpPr>
          <p:nvPr>
            <p:ph type="body" sz="quarter" idx="10"/>
          </p:nvPr>
        </p:nvSpPr>
        <p:spPr>
          <a:xfrm>
            <a:off x="274638" y="1212850"/>
            <a:ext cx="4754892" cy="5396694"/>
          </a:xfrm>
        </p:spPr>
        <p:txBody>
          <a:bodyPr/>
          <a:lstStyle/>
          <a:p>
            <a:r>
              <a:rPr lang="en-US" sz="2400" dirty="0"/>
              <a:t>Select </a:t>
            </a:r>
            <a:r>
              <a:rPr lang="en-US" sz="2400" b="1" dirty="0"/>
              <a:t>Priority</a:t>
            </a:r>
            <a:r>
              <a:rPr lang="en-US" sz="2400" dirty="0"/>
              <a:t> when you want to use a primary service endpoint for all traffic, and provide backups in case the primary or the backup endpoints are unavailable.</a:t>
            </a:r>
          </a:p>
        </p:txBody>
      </p:sp>
      <p:pic>
        <p:nvPicPr>
          <p:cNvPr id="37" name="Picture 36">
            <a:extLst>
              <a:ext uri="{FF2B5EF4-FFF2-40B4-BE49-F238E27FC236}">
                <a16:creationId xmlns:a16="http://schemas.microsoft.com/office/drawing/2014/main" id="{854C618E-BBF7-4E24-921B-99684A925AEC}"/>
              </a:ext>
            </a:extLst>
          </p:cNvPr>
          <p:cNvPicPr>
            <a:picLocks noChangeAspect="1"/>
          </p:cNvPicPr>
          <p:nvPr/>
        </p:nvPicPr>
        <p:blipFill>
          <a:blip r:embed="rId3"/>
          <a:stretch>
            <a:fillRect/>
          </a:stretch>
        </p:blipFill>
        <p:spPr>
          <a:xfrm>
            <a:off x="4860968" y="295273"/>
            <a:ext cx="7471798" cy="6540732"/>
          </a:xfrm>
          <a:prstGeom prst="rect">
            <a:avLst/>
          </a:prstGeom>
        </p:spPr>
      </p:pic>
    </p:spTree>
    <p:extLst>
      <p:ext uri="{BB962C8B-B14F-4D97-AF65-F5344CB8AC3E}">
        <p14:creationId xmlns:p14="http://schemas.microsoft.com/office/powerpoint/2010/main" val="3627088357"/>
      </p:ext>
    </p:extLst>
  </p:cSld>
  <p:clrMapOvr>
    <a:masterClrMapping/>
  </p:clrMapOvr>
  <p:transition>
    <p:fade/>
  </p:transition>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Weighted Profile</a:t>
            </a:r>
          </a:p>
        </p:txBody>
      </p:sp>
      <p:sp>
        <p:nvSpPr>
          <p:cNvPr id="3" name="Text Placeholder 2"/>
          <p:cNvSpPr>
            <a:spLocks noGrp="1"/>
          </p:cNvSpPr>
          <p:nvPr>
            <p:ph type="body" sz="quarter" idx="10"/>
          </p:nvPr>
        </p:nvSpPr>
        <p:spPr>
          <a:xfrm>
            <a:off x="274638" y="1212850"/>
            <a:ext cx="4754892" cy="1514261"/>
          </a:xfrm>
        </p:spPr>
        <p:txBody>
          <a:bodyPr/>
          <a:lstStyle/>
          <a:p>
            <a:r>
              <a:rPr lang="en-US" sz="2400" dirty="0"/>
              <a:t>The 'Weighted' traffic-routing method allows you to distribute traffic evenly or to use a pre-defined weighting.</a:t>
            </a:r>
          </a:p>
        </p:txBody>
      </p:sp>
      <p:pic>
        <p:nvPicPr>
          <p:cNvPr id="4" name="Picture 3">
            <a:extLst>
              <a:ext uri="{FF2B5EF4-FFF2-40B4-BE49-F238E27FC236}">
                <a16:creationId xmlns:a16="http://schemas.microsoft.com/office/drawing/2014/main" id="{87451D9B-8DF5-44CC-BF8F-510FDC89CF5A}"/>
              </a:ext>
            </a:extLst>
          </p:cNvPr>
          <p:cNvPicPr>
            <a:picLocks noChangeAspect="1"/>
          </p:cNvPicPr>
          <p:nvPr/>
        </p:nvPicPr>
        <p:blipFill>
          <a:blip r:embed="rId3"/>
          <a:stretch>
            <a:fillRect/>
          </a:stretch>
        </p:blipFill>
        <p:spPr>
          <a:xfrm>
            <a:off x="4762845" y="295273"/>
            <a:ext cx="7401358" cy="6558456"/>
          </a:xfrm>
          <a:prstGeom prst="rect">
            <a:avLst/>
          </a:prstGeom>
        </p:spPr>
      </p:pic>
    </p:spTree>
    <p:extLst>
      <p:ext uri="{BB962C8B-B14F-4D97-AF65-F5344CB8AC3E}">
        <p14:creationId xmlns:p14="http://schemas.microsoft.com/office/powerpoint/2010/main" val="3329097316"/>
      </p:ext>
    </p:extLst>
  </p:cSld>
  <p:clrMapOvr>
    <a:masterClrMapping/>
  </p:clrMapOvr>
  <p:transition>
    <p:fade/>
  </p:transition>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4639" y="295274"/>
            <a:ext cx="11889564" cy="917575"/>
          </a:xfrm>
        </p:spPr>
        <p:txBody>
          <a:bodyPr/>
          <a:lstStyle/>
          <a:p>
            <a:r>
              <a:rPr lang="en-US" dirty="0"/>
              <a:t>Performance Profile</a:t>
            </a:r>
          </a:p>
        </p:txBody>
      </p:sp>
      <p:sp>
        <p:nvSpPr>
          <p:cNvPr id="3" name="Text Placeholder 2"/>
          <p:cNvSpPr>
            <a:spLocks noGrp="1"/>
          </p:cNvSpPr>
          <p:nvPr>
            <p:ph type="body" sz="quarter" idx="10"/>
          </p:nvPr>
        </p:nvSpPr>
        <p:spPr>
          <a:xfrm>
            <a:off x="274638" y="1212850"/>
            <a:ext cx="4576510" cy="2843855"/>
          </a:xfrm>
        </p:spPr>
        <p:txBody>
          <a:bodyPr/>
          <a:lstStyle/>
          <a:p>
            <a:r>
              <a:rPr lang="en-US" sz="2400" dirty="0"/>
              <a:t>Deploying endpoints in two or more locations across the globe can improve the responsiveness of many applications by routing traffic to the location that is 'closest' to you. The 'Performance' traffic-routing method provides this capability.</a:t>
            </a:r>
          </a:p>
        </p:txBody>
      </p:sp>
      <p:pic>
        <p:nvPicPr>
          <p:cNvPr id="5" name="Picture 4">
            <a:extLst>
              <a:ext uri="{FF2B5EF4-FFF2-40B4-BE49-F238E27FC236}">
                <a16:creationId xmlns:a16="http://schemas.microsoft.com/office/drawing/2014/main" id="{C22855BC-6669-478D-888C-B429B3C17817}"/>
              </a:ext>
            </a:extLst>
          </p:cNvPr>
          <p:cNvPicPr>
            <a:picLocks noChangeAspect="1"/>
          </p:cNvPicPr>
          <p:nvPr/>
        </p:nvPicPr>
        <p:blipFill>
          <a:blip r:embed="rId3"/>
          <a:stretch>
            <a:fillRect/>
          </a:stretch>
        </p:blipFill>
        <p:spPr>
          <a:xfrm>
            <a:off x="4851148" y="1028409"/>
            <a:ext cx="7491438" cy="5681426"/>
          </a:xfrm>
          <a:prstGeom prst="rect">
            <a:avLst/>
          </a:prstGeom>
        </p:spPr>
      </p:pic>
    </p:spTree>
    <p:extLst>
      <p:ext uri="{BB962C8B-B14F-4D97-AF65-F5344CB8AC3E}">
        <p14:creationId xmlns:p14="http://schemas.microsoft.com/office/powerpoint/2010/main" val="2475770851"/>
      </p:ext>
    </p:extLst>
  </p:cSld>
  <p:clrMapOvr>
    <a:masterClrMapping/>
  </p:clrMapOvr>
  <p:transition>
    <p:fade/>
  </p:transition>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4639" y="295274"/>
            <a:ext cx="11889564" cy="917575"/>
          </a:xfrm>
        </p:spPr>
        <p:txBody>
          <a:bodyPr/>
          <a:lstStyle/>
          <a:p>
            <a:r>
              <a:rPr lang="en-US" dirty="0"/>
              <a:t>Geographic Profile</a:t>
            </a:r>
          </a:p>
        </p:txBody>
      </p:sp>
      <p:sp>
        <p:nvSpPr>
          <p:cNvPr id="3" name="Text Placeholder 2"/>
          <p:cNvSpPr>
            <a:spLocks noGrp="1"/>
          </p:cNvSpPr>
          <p:nvPr>
            <p:ph type="body" sz="quarter" idx="10"/>
          </p:nvPr>
        </p:nvSpPr>
        <p:spPr>
          <a:xfrm>
            <a:off x="274638" y="1212850"/>
            <a:ext cx="4576510" cy="2511457"/>
          </a:xfrm>
        </p:spPr>
        <p:txBody>
          <a:bodyPr/>
          <a:lstStyle/>
          <a:p>
            <a:r>
              <a:rPr lang="en-US" sz="2400" dirty="0"/>
              <a:t>Traffic Manager profiles can be configured to use the Geographic routing method so that users are directed to specific endpoints based on which geographic location their DNS query originates from. </a:t>
            </a:r>
          </a:p>
        </p:txBody>
      </p:sp>
      <p:pic>
        <p:nvPicPr>
          <p:cNvPr id="4" name="Picture 3">
            <a:extLst>
              <a:ext uri="{FF2B5EF4-FFF2-40B4-BE49-F238E27FC236}">
                <a16:creationId xmlns:a16="http://schemas.microsoft.com/office/drawing/2014/main" id="{E630FDB6-C6AC-4DAD-84D0-FA77BA7D7537}"/>
              </a:ext>
            </a:extLst>
          </p:cNvPr>
          <p:cNvPicPr>
            <a:picLocks noChangeAspect="1"/>
          </p:cNvPicPr>
          <p:nvPr/>
        </p:nvPicPr>
        <p:blipFill>
          <a:blip r:embed="rId3"/>
          <a:stretch>
            <a:fillRect/>
          </a:stretch>
        </p:blipFill>
        <p:spPr>
          <a:xfrm>
            <a:off x="4851148" y="754061"/>
            <a:ext cx="7447370" cy="6021896"/>
          </a:xfrm>
          <a:prstGeom prst="rect">
            <a:avLst/>
          </a:prstGeom>
        </p:spPr>
      </p:pic>
    </p:spTree>
    <p:extLst>
      <p:ext uri="{BB962C8B-B14F-4D97-AF65-F5344CB8AC3E}">
        <p14:creationId xmlns:p14="http://schemas.microsoft.com/office/powerpoint/2010/main" val="2782246740"/>
      </p:ext>
    </p:extLst>
  </p:cSld>
  <p:clrMapOvr>
    <a:masterClrMapping/>
  </p:clrMapOvr>
  <p:transition>
    <p:fade/>
  </p:transition>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4638" y="2125662"/>
            <a:ext cx="11887200" cy="2179058"/>
          </a:xfrm>
        </p:spPr>
        <p:txBody>
          <a:bodyPr/>
          <a:lstStyle/>
          <a:p>
            <a:r>
              <a:rPr lang="en-US" dirty="0"/>
              <a:t>Azure Content Delivery Network (CDN)</a:t>
            </a:r>
          </a:p>
        </p:txBody>
      </p:sp>
    </p:spTree>
    <p:extLst>
      <p:ext uri="{BB962C8B-B14F-4D97-AF65-F5344CB8AC3E}">
        <p14:creationId xmlns:p14="http://schemas.microsoft.com/office/powerpoint/2010/main" val="138489602"/>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Architecting for Scale</a:t>
            </a:r>
          </a:p>
        </p:txBody>
      </p:sp>
    </p:spTree>
    <p:extLst>
      <p:ext uri="{BB962C8B-B14F-4D97-AF65-F5344CB8AC3E}">
        <p14:creationId xmlns:p14="http://schemas.microsoft.com/office/powerpoint/2010/main" val="3958419090"/>
      </p:ext>
    </p:extLst>
  </p:cSld>
  <p:clrMapOvr>
    <a:masterClrMapping/>
  </p:clrMapOvr>
  <p:transition>
    <p:fade/>
  </p:transition>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How CDN Works?</a:t>
            </a:r>
          </a:p>
        </p:txBody>
      </p:sp>
      <p:sp>
        <p:nvSpPr>
          <p:cNvPr id="3" name="Text Placeholder 2"/>
          <p:cNvSpPr>
            <a:spLocks noGrp="1"/>
          </p:cNvSpPr>
          <p:nvPr>
            <p:ph type="body" sz="quarter" idx="10"/>
          </p:nvPr>
        </p:nvSpPr>
        <p:spPr>
          <a:xfrm>
            <a:off x="274638" y="1212850"/>
            <a:ext cx="11887200" cy="1169551"/>
          </a:xfrm>
        </p:spPr>
        <p:txBody>
          <a:bodyPr/>
          <a:lstStyle/>
          <a:p>
            <a:pPr marL="457200" indent="-457200">
              <a:buFontTx/>
              <a:buChar char="-"/>
            </a:pPr>
            <a:r>
              <a:rPr lang="en-US" sz="3200" dirty="0"/>
              <a:t>content from “origin” delivered via edge (POP) servers</a:t>
            </a:r>
          </a:p>
          <a:p>
            <a:pPr marL="457200" indent="-457200">
              <a:buFontTx/>
              <a:buChar char="-"/>
            </a:pPr>
            <a:r>
              <a:rPr lang="en-US" sz="3200" dirty="0"/>
              <a:t>static content / dynamic content</a:t>
            </a:r>
          </a:p>
        </p:txBody>
      </p:sp>
      <p:grpSp>
        <p:nvGrpSpPr>
          <p:cNvPr id="4" name="Group 3"/>
          <p:cNvGrpSpPr/>
          <p:nvPr/>
        </p:nvGrpSpPr>
        <p:grpSpPr>
          <a:xfrm>
            <a:off x="4954160" y="2308555"/>
            <a:ext cx="7191375" cy="4572000"/>
            <a:chOff x="4848891" y="1668462"/>
            <a:chExt cx="7258307" cy="4572000"/>
          </a:xfrm>
        </p:grpSpPr>
        <p:sp>
          <p:nvSpPr>
            <p:cNvPr id="5" name="Rectangle 4"/>
            <p:cNvSpPr/>
            <p:nvPr/>
          </p:nvSpPr>
          <p:spPr bwMode="auto">
            <a:xfrm>
              <a:off x="4848891" y="1668462"/>
              <a:ext cx="7258307" cy="4572000"/>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6" name="Group 5"/>
            <p:cNvGrpSpPr/>
            <p:nvPr/>
          </p:nvGrpSpPr>
          <p:grpSpPr>
            <a:xfrm>
              <a:off x="5134503" y="1845915"/>
              <a:ext cx="6697432" cy="4135517"/>
              <a:chOff x="5141030" y="1838015"/>
              <a:chExt cx="6697460" cy="4135517"/>
            </a:xfrm>
          </p:grpSpPr>
          <p:sp>
            <p:nvSpPr>
              <p:cNvPr id="7" name="Freeform 6"/>
              <p:cNvSpPr/>
              <p:nvPr/>
            </p:nvSpPr>
            <p:spPr>
              <a:xfrm flipH="1">
                <a:off x="6627930" y="1838015"/>
                <a:ext cx="506121" cy="788824"/>
              </a:xfrm>
              <a:custGeom>
                <a:avLst/>
                <a:gdLst>
                  <a:gd name="connsiteX0" fmla="*/ 434943 w 701255"/>
                  <a:gd name="connsiteY0" fmla="*/ 954134 h 1092960"/>
                  <a:gd name="connsiteX1" fmla="*/ 405362 w 701255"/>
                  <a:gd name="connsiteY1" fmla="*/ 983063 h 1092960"/>
                  <a:gd name="connsiteX2" fmla="*/ 439614 w 701255"/>
                  <a:gd name="connsiteY2" fmla="*/ 1006274 h 1092960"/>
                  <a:gd name="connsiteX3" fmla="*/ 469195 w 701255"/>
                  <a:gd name="connsiteY3" fmla="*/ 977344 h 1092960"/>
                  <a:gd name="connsiteX4" fmla="*/ 434943 w 701255"/>
                  <a:gd name="connsiteY4" fmla="*/ 954134 h 1092960"/>
                  <a:gd name="connsiteX5" fmla="*/ 437449 w 701255"/>
                  <a:gd name="connsiteY5" fmla="*/ 951888 h 1092960"/>
                  <a:gd name="connsiteX6" fmla="*/ 476463 w 701255"/>
                  <a:gd name="connsiteY6" fmla="*/ 976693 h 1092960"/>
                  <a:gd name="connsiteX7" fmla="*/ 442479 w 701255"/>
                  <a:gd name="connsiteY7" fmla="*/ 1008039 h 1092960"/>
                  <a:gd name="connsiteX8" fmla="*/ 403466 w 701255"/>
                  <a:gd name="connsiteY8" fmla="*/ 983233 h 1092960"/>
                  <a:gd name="connsiteX9" fmla="*/ 437449 w 701255"/>
                  <a:gd name="connsiteY9" fmla="*/ 951888 h 1092960"/>
                  <a:gd name="connsiteX10" fmla="*/ 374642 w 701255"/>
                  <a:gd name="connsiteY10" fmla="*/ 720143 h 1092960"/>
                  <a:gd name="connsiteX11" fmla="*/ 382608 w 701255"/>
                  <a:gd name="connsiteY11" fmla="*/ 1056316 h 1092960"/>
                  <a:gd name="connsiteX12" fmla="*/ 537152 w 701255"/>
                  <a:gd name="connsiteY12" fmla="*/ 1035604 h 1092960"/>
                  <a:gd name="connsiteX13" fmla="*/ 374642 w 701255"/>
                  <a:gd name="connsiteY13" fmla="*/ 1067468 h 1092960"/>
                  <a:gd name="connsiteX14" fmla="*/ 684061 w 701255"/>
                  <a:gd name="connsiteY14" fmla="*/ 654610 h 1092960"/>
                  <a:gd name="connsiteX15" fmla="*/ 684061 w 701255"/>
                  <a:gd name="connsiteY15" fmla="*/ 1009011 h 1092960"/>
                  <a:gd name="connsiteX16" fmla="*/ 683492 w 701255"/>
                  <a:gd name="connsiteY16" fmla="*/ 1009120 h 1092960"/>
                  <a:gd name="connsiteX17" fmla="*/ 664611 w 701255"/>
                  <a:gd name="connsiteY17" fmla="*/ 677126 h 1092960"/>
                  <a:gd name="connsiteX18" fmla="*/ 371792 w 701255"/>
                  <a:gd name="connsiteY18" fmla="*/ 697592 h 1092960"/>
                  <a:gd name="connsiteX19" fmla="*/ 371792 w 701255"/>
                  <a:gd name="connsiteY19" fmla="*/ 674437 h 1092960"/>
                  <a:gd name="connsiteX20" fmla="*/ 668224 w 701255"/>
                  <a:gd name="connsiteY20" fmla="*/ 576957 h 1092960"/>
                  <a:gd name="connsiteX21" fmla="*/ 370209 w 701255"/>
                  <a:gd name="connsiteY21" fmla="*/ 578953 h 1092960"/>
                  <a:gd name="connsiteX22" fmla="*/ 370209 w 701255"/>
                  <a:gd name="connsiteY22" fmla="*/ 644992 h 1092960"/>
                  <a:gd name="connsiteX23" fmla="*/ 669110 w 701255"/>
                  <a:gd name="connsiteY23" fmla="*/ 631596 h 1092960"/>
                  <a:gd name="connsiteX24" fmla="*/ 668224 w 701255"/>
                  <a:gd name="connsiteY24" fmla="*/ 576957 h 1092960"/>
                  <a:gd name="connsiteX25" fmla="*/ 681584 w 701255"/>
                  <a:gd name="connsiteY25" fmla="*/ 562912 h 1092960"/>
                  <a:gd name="connsiteX26" fmla="*/ 681584 w 701255"/>
                  <a:gd name="connsiteY26" fmla="*/ 632305 h 1092960"/>
                  <a:gd name="connsiteX27" fmla="*/ 369314 w 701255"/>
                  <a:gd name="connsiteY27" fmla="*/ 647174 h 1092960"/>
                  <a:gd name="connsiteX28" fmla="*/ 369314 w 701255"/>
                  <a:gd name="connsiteY28" fmla="*/ 567868 h 1092960"/>
                  <a:gd name="connsiteX29" fmla="*/ 370209 w 701255"/>
                  <a:gd name="connsiteY29" fmla="*/ 471950 h 1092960"/>
                  <a:gd name="connsiteX30" fmla="*/ 370209 w 701255"/>
                  <a:gd name="connsiteY30" fmla="*/ 537989 h 1092960"/>
                  <a:gd name="connsiteX31" fmla="*/ 669110 w 701255"/>
                  <a:gd name="connsiteY31" fmla="*/ 534321 h 1092960"/>
                  <a:gd name="connsiteX32" fmla="*/ 669109 w 701255"/>
                  <a:gd name="connsiteY32" fmla="*/ 476145 h 1092960"/>
                  <a:gd name="connsiteX33" fmla="*/ 369314 w 701255"/>
                  <a:gd name="connsiteY33" fmla="*/ 458821 h 1092960"/>
                  <a:gd name="connsiteX34" fmla="*/ 681584 w 701255"/>
                  <a:gd name="connsiteY34" fmla="*/ 461300 h 1092960"/>
                  <a:gd name="connsiteX35" fmla="*/ 681584 w 701255"/>
                  <a:gd name="connsiteY35" fmla="*/ 536506 h 1092960"/>
                  <a:gd name="connsiteX36" fmla="*/ 369314 w 701255"/>
                  <a:gd name="connsiteY36" fmla="*/ 539525 h 1092960"/>
                  <a:gd name="connsiteX37" fmla="*/ 370209 w 701255"/>
                  <a:gd name="connsiteY37" fmla="*/ 364947 h 1092960"/>
                  <a:gd name="connsiteX38" fmla="*/ 370209 w 701255"/>
                  <a:gd name="connsiteY38" fmla="*/ 430987 h 1092960"/>
                  <a:gd name="connsiteX39" fmla="*/ 669110 w 701255"/>
                  <a:gd name="connsiteY39" fmla="*/ 437045 h 1092960"/>
                  <a:gd name="connsiteX40" fmla="*/ 669109 w 701255"/>
                  <a:gd name="connsiteY40" fmla="*/ 377986 h 1092960"/>
                  <a:gd name="connsiteX41" fmla="*/ 369314 w 701255"/>
                  <a:gd name="connsiteY41" fmla="*/ 352235 h 1092960"/>
                  <a:gd name="connsiteX42" fmla="*/ 681584 w 701255"/>
                  <a:gd name="connsiteY42" fmla="*/ 365372 h 1092960"/>
                  <a:gd name="connsiteX43" fmla="*/ 680614 w 701255"/>
                  <a:gd name="connsiteY43" fmla="*/ 439610 h 1092960"/>
                  <a:gd name="connsiteX44" fmla="*/ 369314 w 701255"/>
                  <a:gd name="connsiteY44" fmla="*/ 432939 h 1092960"/>
                  <a:gd name="connsiteX45" fmla="*/ 370209 w 701255"/>
                  <a:gd name="connsiteY45" fmla="*/ 255291 h 1092960"/>
                  <a:gd name="connsiteX46" fmla="*/ 370209 w 701255"/>
                  <a:gd name="connsiteY46" fmla="*/ 321331 h 1092960"/>
                  <a:gd name="connsiteX47" fmla="*/ 669994 w 701255"/>
                  <a:gd name="connsiteY47" fmla="*/ 338886 h 1092960"/>
                  <a:gd name="connsiteX48" fmla="*/ 669993 w 701255"/>
                  <a:gd name="connsiteY48" fmla="*/ 280710 h 1092960"/>
                  <a:gd name="connsiteX49" fmla="*/ 369314 w 701255"/>
                  <a:gd name="connsiteY49" fmla="*/ 242742 h 1092960"/>
                  <a:gd name="connsiteX50" fmla="*/ 681584 w 701255"/>
                  <a:gd name="connsiteY50" fmla="*/ 269445 h 1092960"/>
                  <a:gd name="connsiteX51" fmla="*/ 680614 w 701255"/>
                  <a:gd name="connsiteY51" fmla="*/ 340776 h 1092960"/>
                  <a:gd name="connsiteX52" fmla="*/ 369314 w 701255"/>
                  <a:gd name="connsiteY52" fmla="*/ 323446 h 1092960"/>
                  <a:gd name="connsiteX53" fmla="*/ 370209 w 701255"/>
                  <a:gd name="connsiteY53" fmla="*/ 147404 h 1092960"/>
                  <a:gd name="connsiteX54" fmla="*/ 370209 w 701255"/>
                  <a:gd name="connsiteY54" fmla="*/ 213444 h 1092960"/>
                  <a:gd name="connsiteX55" fmla="*/ 670879 w 701255"/>
                  <a:gd name="connsiteY55" fmla="*/ 241611 h 1092960"/>
                  <a:gd name="connsiteX56" fmla="*/ 670878 w 701255"/>
                  <a:gd name="connsiteY56" fmla="*/ 183435 h 1092960"/>
                  <a:gd name="connsiteX57" fmla="*/ 369314 w 701255"/>
                  <a:gd name="connsiteY57" fmla="*/ 134218 h 1092960"/>
                  <a:gd name="connsiteX58" fmla="*/ 680614 w 701255"/>
                  <a:gd name="connsiteY58" fmla="*/ 171579 h 1092960"/>
                  <a:gd name="connsiteX59" fmla="*/ 680614 w 701255"/>
                  <a:gd name="connsiteY59" fmla="*/ 243880 h 1092960"/>
                  <a:gd name="connsiteX60" fmla="*/ 369314 w 701255"/>
                  <a:gd name="connsiteY60" fmla="*/ 214923 h 1092960"/>
                  <a:gd name="connsiteX61" fmla="*/ 370209 w 701255"/>
                  <a:gd name="connsiteY61" fmla="*/ 39517 h 1092960"/>
                  <a:gd name="connsiteX62" fmla="*/ 370209 w 701255"/>
                  <a:gd name="connsiteY62" fmla="*/ 105557 h 1092960"/>
                  <a:gd name="connsiteX63" fmla="*/ 670878 w 701255"/>
                  <a:gd name="connsiteY63" fmla="*/ 144335 h 1092960"/>
                  <a:gd name="connsiteX64" fmla="*/ 670878 w 701255"/>
                  <a:gd name="connsiteY64" fmla="*/ 87930 h 1092960"/>
                  <a:gd name="connsiteX65" fmla="*/ 369314 w 701255"/>
                  <a:gd name="connsiteY65" fmla="*/ 26664 h 1092960"/>
                  <a:gd name="connsiteX66" fmla="*/ 680614 w 701255"/>
                  <a:gd name="connsiteY66" fmla="*/ 74685 h 1092960"/>
                  <a:gd name="connsiteX67" fmla="*/ 679645 w 701255"/>
                  <a:gd name="connsiteY67" fmla="*/ 146985 h 1092960"/>
                  <a:gd name="connsiteX68" fmla="*/ 369314 w 701255"/>
                  <a:gd name="connsiteY68" fmla="*/ 107368 h 1092960"/>
                  <a:gd name="connsiteX69" fmla="*/ 353929 w 701255"/>
                  <a:gd name="connsiteY69" fmla="*/ 20713 h 1092960"/>
                  <a:gd name="connsiteX70" fmla="*/ 353929 w 701255"/>
                  <a:gd name="connsiteY70" fmla="*/ 1075435 h 1092960"/>
                  <a:gd name="connsiteX71" fmla="*/ 28909 w 701255"/>
                  <a:gd name="connsiteY71" fmla="*/ 1008519 h 1092960"/>
                  <a:gd name="connsiteX72" fmla="*/ 342777 w 701255"/>
                  <a:gd name="connsiteY72" fmla="*/ 1062688 h 1092960"/>
                  <a:gd name="connsiteX73" fmla="*/ 342777 w 701255"/>
                  <a:gd name="connsiteY73" fmla="*/ 41425 h 1092960"/>
                  <a:gd name="connsiteX74" fmla="*/ 20943 w 701255"/>
                  <a:gd name="connsiteY74" fmla="*/ 130646 h 1092960"/>
                  <a:gd name="connsiteX75" fmla="*/ 358709 w 701255"/>
                  <a:gd name="connsiteY75" fmla="*/ 0 h 1092960"/>
                  <a:gd name="connsiteX76" fmla="*/ 0 w 701255"/>
                  <a:gd name="connsiteY76" fmla="*/ 117454 h 1092960"/>
                  <a:gd name="connsiteX77" fmla="*/ 0 w 701255"/>
                  <a:gd name="connsiteY77" fmla="*/ 1015186 h 1092960"/>
                  <a:gd name="connsiteX78" fmla="*/ 360302 w 701255"/>
                  <a:gd name="connsiteY78" fmla="*/ 1092960 h 1092960"/>
                  <a:gd name="connsiteX79" fmla="*/ 701255 w 701255"/>
                  <a:gd name="connsiteY79" fmla="*/ 1022857 h 1092960"/>
                  <a:gd name="connsiteX80" fmla="*/ 699662 w 701255"/>
                  <a:gd name="connsiteY80" fmla="*/ 57356 h 10929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Lst>
                <a:rect l="l" t="t" r="r" b="b"/>
                <a:pathLst>
                  <a:path w="701255" h="1092960">
                    <a:moveTo>
                      <a:pt x="434943" y="954134"/>
                    </a:moveTo>
                    <a:cubicBezTo>
                      <a:pt x="417316" y="955714"/>
                      <a:pt x="404072" y="968665"/>
                      <a:pt x="405362" y="983063"/>
                    </a:cubicBezTo>
                    <a:cubicBezTo>
                      <a:pt x="406652" y="997462"/>
                      <a:pt x="421987" y="1007853"/>
                      <a:pt x="439614" y="1006274"/>
                    </a:cubicBezTo>
                    <a:cubicBezTo>
                      <a:pt x="457241" y="1004694"/>
                      <a:pt x="470484" y="991742"/>
                      <a:pt x="469195" y="977344"/>
                    </a:cubicBezTo>
                    <a:cubicBezTo>
                      <a:pt x="467904" y="962946"/>
                      <a:pt x="452569" y="952555"/>
                      <a:pt x="434943" y="954134"/>
                    </a:cubicBezTo>
                    <a:close/>
                    <a:moveTo>
                      <a:pt x="437449" y="951888"/>
                    </a:moveTo>
                    <a:cubicBezTo>
                      <a:pt x="457606" y="950082"/>
                      <a:pt x="475074" y="961187"/>
                      <a:pt x="476463" y="976693"/>
                    </a:cubicBezTo>
                    <a:cubicBezTo>
                      <a:pt x="477852" y="992198"/>
                      <a:pt x="462637" y="1006232"/>
                      <a:pt x="442479" y="1008039"/>
                    </a:cubicBezTo>
                    <a:cubicBezTo>
                      <a:pt x="422322" y="1009844"/>
                      <a:pt x="404855" y="998739"/>
                      <a:pt x="403466" y="983233"/>
                    </a:cubicBezTo>
                    <a:cubicBezTo>
                      <a:pt x="402077" y="967728"/>
                      <a:pt x="417291" y="953694"/>
                      <a:pt x="437449" y="951888"/>
                    </a:cubicBezTo>
                    <a:close/>
                    <a:moveTo>
                      <a:pt x="374642" y="720143"/>
                    </a:moveTo>
                    <a:lnTo>
                      <a:pt x="382608" y="1056316"/>
                    </a:lnTo>
                    <a:lnTo>
                      <a:pt x="537152" y="1035604"/>
                    </a:lnTo>
                    <a:lnTo>
                      <a:pt x="374642" y="1067468"/>
                    </a:lnTo>
                    <a:close/>
                    <a:moveTo>
                      <a:pt x="684061" y="654610"/>
                    </a:moveTo>
                    <a:lnTo>
                      <a:pt x="684061" y="1009011"/>
                    </a:lnTo>
                    <a:lnTo>
                      <a:pt x="683492" y="1009120"/>
                    </a:lnTo>
                    <a:lnTo>
                      <a:pt x="664611" y="677126"/>
                    </a:lnTo>
                    <a:lnTo>
                      <a:pt x="371792" y="697592"/>
                    </a:lnTo>
                    <a:lnTo>
                      <a:pt x="371792" y="674437"/>
                    </a:lnTo>
                    <a:close/>
                    <a:moveTo>
                      <a:pt x="668224" y="576957"/>
                    </a:moveTo>
                    <a:lnTo>
                      <a:pt x="370209" y="578953"/>
                    </a:lnTo>
                    <a:lnTo>
                      <a:pt x="370209" y="644992"/>
                    </a:lnTo>
                    <a:lnTo>
                      <a:pt x="669110" y="631596"/>
                    </a:lnTo>
                    <a:cubicBezTo>
                      <a:pt x="669110" y="612204"/>
                      <a:pt x="668224" y="596349"/>
                      <a:pt x="668224" y="576957"/>
                    </a:cubicBezTo>
                    <a:close/>
                    <a:moveTo>
                      <a:pt x="681584" y="562912"/>
                    </a:moveTo>
                    <a:cubicBezTo>
                      <a:pt x="679932" y="586043"/>
                      <a:pt x="680757" y="609175"/>
                      <a:pt x="681584" y="632305"/>
                    </a:cubicBezTo>
                    <a:lnTo>
                      <a:pt x="369314" y="647174"/>
                    </a:lnTo>
                    <a:lnTo>
                      <a:pt x="369314" y="567868"/>
                    </a:lnTo>
                    <a:close/>
                    <a:moveTo>
                      <a:pt x="370209" y="471950"/>
                    </a:moveTo>
                    <a:lnTo>
                      <a:pt x="370209" y="537989"/>
                    </a:lnTo>
                    <a:lnTo>
                      <a:pt x="669110" y="534321"/>
                    </a:lnTo>
                    <a:cubicBezTo>
                      <a:pt x="669110" y="514929"/>
                      <a:pt x="669109" y="495537"/>
                      <a:pt x="669109" y="476145"/>
                    </a:cubicBezTo>
                    <a:close/>
                    <a:moveTo>
                      <a:pt x="369314" y="458821"/>
                    </a:moveTo>
                    <a:lnTo>
                      <a:pt x="681584" y="461300"/>
                    </a:lnTo>
                    <a:cubicBezTo>
                      <a:pt x="679932" y="484431"/>
                      <a:pt x="680757" y="513376"/>
                      <a:pt x="681584" y="536506"/>
                    </a:cubicBezTo>
                    <a:lnTo>
                      <a:pt x="369314" y="539525"/>
                    </a:lnTo>
                    <a:close/>
                    <a:moveTo>
                      <a:pt x="370209" y="364947"/>
                    </a:moveTo>
                    <a:lnTo>
                      <a:pt x="370209" y="430987"/>
                    </a:lnTo>
                    <a:lnTo>
                      <a:pt x="669110" y="437045"/>
                    </a:lnTo>
                    <a:cubicBezTo>
                      <a:pt x="669110" y="417654"/>
                      <a:pt x="669109" y="397378"/>
                      <a:pt x="669109" y="377986"/>
                    </a:cubicBezTo>
                    <a:close/>
                    <a:moveTo>
                      <a:pt x="369314" y="352235"/>
                    </a:moveTo>
                    <a:lnTo>
                      <a:pt x="681584" y="365372"/>
                    </a:lnTo>
                    <a:cubicBezTo>
                      <a:pt x="679932" y="388504"/>
                      <a:pt x="679788" y="416479"/>
                      <a:pt x="680614" y="439610"/>
                    </a:cubicBezTo>
                    <a:lnTo>
                      <a:pt x="369314" y="432939"/>
                    </a:lnTo>
                    <a:close/>
                    <a:moveTo>
                      <a:pt x="370209" y="255291"/>
                    </a:moveTo>
                    <a:lnTo>
                      <a:pt x="370209" y="321331"/>
                    </a:lnTo>
                    <a:lnTo>
                      <a:pt x="669994" y="338886"/>
                    </a:lnTo>
                    <a:cubicBezTo>
                      <a:pt x="669994" y="319494"/>
                      <a:pt x="669993" y="300103"/>
                      <a:pt x="669993" y="280710"/>
                    </a:cubicBezTo>
                    <a:close/>
                    <a:moveTo>
                      <a:pt x="369314" y="242742"/>
                    </a:moveTo>
                    <a:lnTo>
                      <a:pt x="681584" y="269445"/>
                    </a:lnTo>
                    <a:cubicBezTo>
                      <a:pt x="679932" y="292576"/>
                      <a:pt x="679788" y="317646"/>
                      <a:pt x="680614" y="340776"/>
                    </a:cubicBezTo>
                    <a:lnTo>
                      <a:pt x="369314" y="323446"/>
                    </a:lnTo>
                    <a:close/>
                    <a:moveTo>
                      <a:pt x="370209" y="147404"/>
                    </a:moveTo>
                    <a:lnTo>
                      <a:pt x="370209" y="213444"/>
                    </a:lnTo>
                    <a:lnTo>
                      <a:pt x="670879" y="241611"/>
                    </a:lnTo>
                    <a:cubicBezTo>
                      <a:pt x="670879" y="222220"/>
                      <a:pt x="670878" y="202827"/>
                      <a:pt x="670878" y="183435"/>
                    </a:cubicBezTo>
                    <a:close/>
                    <a:moveTo>
                      <a:pt x="369314" y="134218"/>
                    </a:moveTo>
                    <a:lnTo>
                      <a:pt x="680614" y="171579"/>
                    </a:lnTo>
                    <a:cubicBezTo>
                      <a:pt x="678963" y="194710"/>
                      <a:pt x="679788" y="220749"/>
                      <a:pt x="680614" y="243880"/>
                    </a:cubicBezTo>
                    <a:lnTo>
                      <a:pt x="369314" y="214923"/>
                    </a:lnTo>
                    <a:close/>
                    <a:moveTo>
                      <a:pt x="370209" y="39517"/>
                    </a:moveTo>
                    <a:lnTo>
                      <a:pt x="370209" y="105557"/>
                    </a:lnTo>
                    <a:lnTo>
                      <a:pt x="670878" y="144335"/>
                    </a:lnTo>
                    <a:lnTo>
                      <a:pt x="670878" y="87930"/>
                    </a:lnTo>
                    <a:close/>
                    <a:moveTo>
                      <a:pt x="369314" y="26664"/>
                    </a:moveTo>
                    <a:lnTo>
                      <a:pt x="680614" y="74685"/>
                    </a:lnTo>
                    <a:cubicBezTo>
                      <a:pt x="678963" y="97815"/>
                      <a:pt x="678820" y="123853"/>
                      <a:pt x="679645" y="146985"/>
                    </a:cubicBezTo>
                    <a:lnTo>
                      <a:pt x="369314" y="107368"/>
                    </a:lnTo>
                    <a:close/>
                    <a:moveTo>
                      <a:pt x="353929" y="20713"/>
                    </a:moveTo>
                    <a:lnTo>
                      <a:pt x="353929" y="1075435"/>
                    </a:lnTo>
                    <a:lnTo>
                      <a:pt x="28909" y="1008519"/>
                    </a:lnTo>
                    <a:lnTo>
                      <a:pt x="342777" y="1062688"/>
                    </a:lnTo>
                    <a:lnTo>
                      <a:pt x="342777" y="41425"/>
                    </a:lnTo>
                    <a:lnTo>
                      <a:pt x="20943" y="130646"/>
                    </a:lnTo>
                    <a:close/>
                    <a:moveTo>
                      <a:pt x="358709" y="0"/>
                    </a:moveTo>
                    <a:lnTo>
                      <a:pt x="0" y="117454"/>
                    </a:lnTo>
                    <a:lnTo>
                      <a:pt x="0" y="1015186"/>
                    </a:lnTo>
                    <a:lnTo>
                      <a:pt x="360302" y="1092960"/>
                    </a:lnTo>
                    <a:lnTo>
                      <a:pt x="701255" y="1022857"/>
                    </a:lnTo>
                    <a:cubicBezTo>
                      <a:pt x="700724" y="704210"/>
                      <a:pt x="700193" y="376004"/>
                      <a:pt x="699662" y="57356"/>
                    </a:cubicBezTo>
                    <a:close/>
                  </a:path>
                </a:pathLst>
              </a:custGeom>
              <a:solidFill>
                <a:schemeClr val="accent1"/>
              </a:solidFill>
            </p:spPr>
            <p:txBody>
              <a:bodyPr vert="horz" wrap="square" lIns="91440" tIns="91440" rIns="91440" bIns="91440" numCol="1" rtlCol="0" anchor="t" anchorCtr="0" compatLnSpc="1">
                <a:prstTxWarp prst="textNoShape">
                  <a:avLst/>
                </a:prstTxWarp>
                <a:noAutofit/>
              </a:bodyPr>
              <a:lstStyle/>
              <a:p>
                <a:pPr algn="ctr" defTabSz="914159">
                  <a:lnSpc>
                    <a:spcPct val="90000"/>
                  </a:lnSpc>
                  <a:spcBef>
                    <a:spcPts val="630"/>
                  </a:spcBef>
                  <a:buClr>
                    <a:srgbClr val="FFFF99"/>
                  </a:buClr>
                  <a:buSzPct val="120000"/>
                </a:pPr>
                <a:endParaRPr lang="en-US" sz="2000" dirty="0">
                  <a:gradFill>
                    <a:gsLst>
                      <a:gs pos="0">
                        <a:schemeClr val="bg1"/>
                      </a:gs>
                      <a:gs pos="100000">
                        <a:schemeClr val="bg1"/>
                      </a:gs>
                    </a:gsLst>
                    <a:lin ang="5400000" scaled="0"/>
                  </a:gradFill>
                  <a:latin typeface="Segoe UI" pitchFamily="34" charset="0"/>
                  <a:ea typeface="Segoe UI" pitchFamily="34" charset="0"/>
                  <a:cs typeface="Segoe UI" pitchFamily="34" charset="0"/>
                </a:endParaRPr>
              </a:p>
            </p:txBody>
          </p:sp>
          <p:grpSp>
            <p:nvGrpSpPr>
              <p:cNvPr id="8" name="Group 7"/>
              <p:cNvGrpSpPr/>
              <p:nvPr/>
            </p:nvGrpSpPr>
            <p:grpSpPr>
              <a:xfrm>
                <a:off x="5141030" y="4736884"/>
                <a:ext cx="855137" cy="860080"/>
                <a:chOff x="5084535" y="4483480"/>
                <a:chExt cx="1047372" cy="1053431"/>
              </a:xfrm>
            </p:grpSpPr>
            <p:grpSp>
              <p:nvGrpSpPr>
                <p:cNvPr id="40" name="Group 39"/>
                <p:cNvGrpSpPr/>
                <p:nvPr/>
              </p:nvGrpSpPr>
              <p:grpSpPr>
                <a:xfrm>
                  <a:off x="5084535" y="4483480"/>
                  <a:ext cx="1047367" cy="472696"/>
                  <a:chOff x="10009561" y="4113330"/>
                  <a:chExt cx="1485829" cy="670582"/>
                </a:xfrm>
                <a:solidFill>
                  <a:schemeClr val="bg1"/>
                </a:solidFill>
              </p:grpSpPr>
              <p:sp>
                <p:nvSpPr>
                  <p:cNvPr id="45" name="Freeform 44"/>
                  <p:cNvSpPr/>
                  <p:nvPr/>
                </p:nvSpPr>
                <p:spPr>
                  <a:xfrm>
                    <a:off x="10009561" y="4113330"/>
                    <a:ext cx="432459" cy="670582"/>
                  </a:xfrm>
                  <a:custGeom>
                    <a:avLst/>
                    <a:gdLst>
                      <a:gd name="connsiteX0" fmla="*/ 257802 w 672704"/>
                      <a:gd name="connsiteY0" fmla="*/ 541071 h 1043113"/>
                      <a:gd name="connsiteX1" fmla="*/ 414690 w 672704"/>
                      <a:gd name="connsiteY1" fmla="*/ 541071 h 1043113"/>
                      <a:gd name="connsiteX2" fmla="*/ 665711 w 672704"/>
                      <a:gd name="connsiteY2" fmla="*/ 792092 h 1043113"/>
                      <a:gd name="connsiteX3" fmla="*/ 665711 w 672704"/>
                      <a:gd name="connsiteY3" fmla="*/ 940584 h 1043113"/>
                      <a:gd name="connsiteX4" fmla="*/ 672674 w 672704"/>
                      <a:gd name="connsiteY4" fmla="*/ 942357 h 1043113"/>
                      <a:gd name="connsiteX5" fmla="*/ 672704 w 672704"/>
                      <a:gd name="connsiteY5" fmla="*/ 942893 h 1043113"/>
                      <a:gd name="connsiteX6" fmla="*/ 665711 w 672704"/>
                      <a:gd name="connsiteY6" fmla="*/ 940920 h 1043113"/>
                      <a:gd name="connsiteX7" fmla="*/ 665711 w 672704"/>
                      <a:gd name="connsiteY7" fmla="*/ 1043113 h 1043113"/>
                      <a:gd name="connsiteX8" fmla="*/ 6781 w 672704"/>
                      <a:gd name="connsiteY8" fmla="*/ 1043113 h 1043113"/>
                      <a:gd name="connsiteX9" fmla="*/ 6781 w 672704"/>
                      <a:gd name="connsiteY9" fmla="*/ 936867 h 1043113"/>
                      <a:gd name="connsiteX10" fmla="*/ 7 w 672704"/>
                      <a:gd name="connsiteY10" fmla="*/ 938531 h 1043113"/>
                      <a:gd name="connsiteX11" fmla="*/ 0 w 672704"/>
                      <a:gd name="connsiteY11" fmla="*/ 938183 h 1043113"/>
                      <a:gd name="connsiteX12" fmla="*/ 6781 w 672704"/>
                      <a:gd name="connsiteY12" fmla="*/ 936624 h 1043113"/>
                      <a:gd name="connsiteX13" fmla="*/ 6781 w 672704"/>
                      <a:gd name="connsiteY13" fmla="*/ 792092 h 1043113"/>
                      <a:gd name="connsiteX14" fmla="*/ 257802 w 672704"/>
                      <a:gd name="connsiteY14" fmla="*/ 541071 h 1043113"/>
                      <a:gd name="connsiteX15" fmla="*/ 336248 w 672704"/>
                      <a:gd name="connsiteY15" fmla="*/ 0 h 1043113"/>
                      <a:gd name="connsiteX16" fmla="*/ 583287 w 672704"/>
                      <a:gd name="connsiteY16" fmla="*/ 247039 h 1043113"/>
                      <a:gd name="connsiteX17" fmla="*/ 336248 w 672704"/>
                      <a:gd name="connsiteY17" fmla="*/ 494078 h 1043113"/>
                      <a:gd name="connsiteX18" fmla="*/ 89209 w 672704"/>
                      <a:gd name="connsiteY18" fmla="*/ 247039 h 1043113"/>
                      <a:gd name="connsiteX19" fmla="*/ 336248 w 672704"/>
                      <a:gd name="connsiteY19" fmla="*/ 0 h 10431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672704" h="1043113">
                        <a:moveTo>
                          <a:pt x="257802" y="541071"/>
                        </a:moveTo>
                        <a:lnTo>
                          <a:pt x="414690" y="541071"/>
                        </a:lnTo>
                        <a:cubicBezTo>
                          <a:pt x="553325" y="541071"/>
                          <a:pt x="665711" y="653457"/>
                          <a:pt x="665711" y="792092"/>
                        </a:cubicBezTo>
                        <a:lnTo>
                          <a:pt x="665711" y="940584"/>
                        </a:lnTo>
                        <a:lnTo>
                          <a:pt x="672674" y="942357"/>
                        </a:lnTo>
                        <a:lnTo>
                          <a:pt x="672704" y="942893"/>
                        </a:lnTo>
                        <a:lnTo>
                          <a:pt x="665711" y="940920"/>
                        </a:lnTo>
                        <a:lnTo>
                          <a:pt x="665711" y="1043113"/>
                        </a:lnTo>
                        <a:lnTo>
                          <a:pt x="6781" y="1043113"/>
                        </a:lnTo>
                        <a:lnTo>
                          <a:pt x="6781" y="936867"/>
                        </a:lnTo>
                        <a:lnTo>
                          <a:pt x="7" y="938531"/>
                        </a:lnTo>
                        <a:lnTo>
                          <a:pt x="0" y="938183"/>
                        </a:lnTo>
                        <a:lnTo>
                          <a:pt x="6781" y="936624"/>
                        </a:lnTo>
                        <a:lnTo>
                          <a:pt x="6781" y="792092"/>
                        </a:lnTo>
                        <a:cubicBezTo>
                          <a:pt x="6781" y="653457"/>
                          <a:pt x="119167" y="541071"/>
                          <a:pt x="257802" y="541071"/>
                        </a:cubicBezTo>
                        <a:close/>
                        <a:moveTo>
                          <a:pt x="336248" y="0"/>
                        </a:moveTo>
                        <a:cubicBezTo>
                          <a:pt x="472684" y="0"/>
                          <a:pt x="583287" y="110603"/>
                          <a:pt x="583287" y="247039"/>
                        </a:cubicBezTo>
                        <a:cubicBezTo>
                          <a:pt x="583287" y="383475"/>
                          <a:pt x="472684" y="494078"/>
                          <a:pt x="336248" y="494078"/>
                        </a:cubicBezTo>
                        <a:cubicBezTo>
                          <a:pt x="199812" y="494078"/>
                          <a:pt x="89209" y="383475"/>
                          <a:pt x="89209" y="247039"/>
                        </a:cubicBezTo>
                        <a:cubicBezTo>
                          <a:pt x="89209" y="110603"/>
                          <a:pt x="199812" y="0"/>
                          <a:pt x="336248"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46" name="Freeform 45"/>
                  <p:cNvSpPr/>
                  <p:nvPr/>
                </p:nvSpPr>
                <p:spPr>
                  <a:xfrm>
                    <a:off x="10536247" y="4113330"/>
                    <a:ext cx="432459" cy="670582"/>
                  </a:xfrm>
                  <a:custGeom>
                    <a:avLst/>
                    <a:gdLst>
                      <a:gd name="connsiteX0" fmla="*/ 257802 w 672704"/>
                      <a:gd name="connsiteY0" fmla="*/ 541071 h 1043113"/>
                      <a:gd name="connsiteX1" fmla="*/ 414690 w 672704"/>
                      <a:gd name="connsiteY1" fmla="*/ 541071 h 1043113"/>
                      <a:gd name="connsiteX2" fmla="*/ 665711 w 672704"/>
                      <a:gd name="connsiteY2" fmla="*/ 792092 h 1043113"/>
                      <a:gd name="connsiteX3" fmla="*/ 665711 w 672704"/>
                      <a:gd name="connsiteY3" fmla="*/ 940584 h 1043113"/>
                      <a:gd name="connsiteX4" fmla="*/ 672674 w 672704"/>
                      <a:gd name="connsiteY4" fmla="*/ 942357 h 1043113"/>
                      <a:gd name="connsiteX5" fmla="*/ 672704 w 672704"/>
                      <a:gd name="connsiteY5" fmla="*/ 942893 h 1043113"/>
                      <a:gd name="connsiteX6" fmla="*/ 665711 w 672704"/>
                      <a:gd name="connsiteY6" fmla="*/ 940920 h 1043113"/>
                      <a:gd name="connsiteX7" fmla="*/ 665711 w 672704"/>
                      <a:gd name="connsiteY7" fmla="*/ 1043113 h 1043113"/>
                      <a:gd name="connsiteX8" fmla="*/ 6781 w 672704"/>
                      <a:gd name="connsiteY8" fmla="*/ 1043113 h 1043113"/>
                      <a:gd name="connsiteX9" fmla="*/ 6781 w 672704"/>
                      <a:gd name="connsiteY9" fmla="*/ 936867 h 1043113"/>
                      <a:gd name="connsiteX10" fmla="*/ 7 w 672704"/>
                      <a:gd name="connsiteY10" fmla="*/ 938531 h 1043113"/>
                      <a:gd name="connsiteX11" fmla="*/ 0 w 672704"/>
                      <a:gd name="connsiteY11" fmla="*/ 938183 h 1043113"/>
                      <a:gd name="connsiteX12" fmla="*/ 6781 w 672704"/>
                      <a:gd name="connsiteY12" fmla="*/ 936624 h 1043113"/>
                      <a:gd name="connsiteX13" fmla="*/ 6781 w 672704"/>
                      <a:gd name="connsiteY13" fmla="*/ 792092 h 1043113"/>
                      <a:gd name="connsiteX14" fmla="*/ 257802 w 672704"/>
                      <a:gd name="connsiteY14" fmla="*/ 541071 h 1043113"/>
                      <a:gd name="connsiteX15" fmla="*/ 336248 w 672704"/>
                      <a:gd name="connsiteY15" fmla="*/ 0 h 1043113"/>
                      <a:gd name="connsiteX16" fmla="*/ 583287 w 672704"/>
                      <a:gd name="connsiteY16" fmla="*/ 247039 h 1043113"/>
                      <a:gd name="connsiteX17" fmla="*/ 336248 w 672704"/>
                      <a:gd name="connsiteY17" fmla="*/ 494078 h 1043113"/>
                      <a:gd name="connsiteX18" fmla="*/ 89209 w 672704"/>
                      <a:gd name="connsiteY18" fmla="*/ 247039 h 1043113"/>
                      <a:gd name="connsiteX19" fmla="*/ 336248 w 672704"/>
                      <a:gd name="connsiteY19" fmla="*/ 0 h 10431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672704" h="1043113">
                        <a:moveTo>
                          <a:pt x="257802" y="541071"/>
                        </a:moveTo>
                        <a:lnTo>
                          <a:pt x="414690" y="541071"/>
                        </a:lnTo>
                        <a:cubicBezTo>
                          <a:pt x="553325" y="541071"/>
                          <a:pt x="665711" y="653457"/>
                          <a:pt x="665711" y="792092"/>
                        </a:cubicBezTo>
                        <a:lnTo>
                          <a:pt x="665711" y="940584"/>
                        </a:lnTo>
                        <a:lnTo>
                          <a:pt x="672674" y="942357"/>
                        </a:lnTo>
                        <a:lnTo>
                          <a:pt x="672704" y="942893"/>
                        </a:lnTo>
                        <a:lnTo>
                          <a:pt x="665711" y="940920"/>
                        </a:lnTo>
                        <a:lnTo>
                          <a:pt x="665711" y="1043113"/>
                        </a:lnTo>
                        <a:lnTo>
                          <a:pt x="6781" y="1043113"/>
                        </a:lnTo>
                        <a:lnTo>
                          <a:pt x="6781" y="936867"/>
                        </a:lnTo>
                        <a:lnTo>
                          <a:pt x="7" y="938531"/>
                        </a:lnTo>
                        <a:lnTo>
                          <a:pt x="0" y="938183"/>
                        </a:lnTo>
                        <a:lnTo>
                          <a:pt x="6781" y="936624"/>
                        </a:lnTo>
                        <a:lnTo>
                          <a:pt x="6781" y="792092"/>
                        </a:lnTo>
                        <a:cubicBezTo>
                          <a:pt x="6781" y="653457"/>
                          <a:pt x="119167" y="541071"/>
                          <a:pt x="257802" y="541071"/>
                        </a:cubicBezTo>
                        <a:close/>
                        <a:moveTo>
                          <a:pt x="336248" y="0"/>
                        </a:moveTo>
                        <a:cubicBezTo>
                          <a:pt x="472684" y="0"/>
                          <a:pt x="583287" y="110603"/>
                          <a:pt x="583287" y="247039"/>
                        </a:cubicBezTo>
                        <a:cubicBezTo>
                          <a:pt x="583287" y="383475"/>
                          <a:pt x="472684" y="494078"/>
                          <a:pt x="336248" y="494078"/>
                        </a:cubicBezTo>
                        <a:cubicBezTo>
                          <a:pt x="199812" y="494078"/>
                          <a:pt x="89209" y="383475"/>
                          <a:pt x="89209" y="247039"/>
                        </a:cubicBezTo>
                        <a:cubicBezTo>
                          <a:pt x="89209" y="110603"/>
                          <a:pt x="199812" y="0"/>
                          <a:pt x="336248"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47" name="Freeform 46"/>
                  <p:cNvSpPr/>
                  <p:nvPr/>
                </p:nvSpPr>
                <p:spPr>
                  <a:xfrm>
                    <a:off x="11062931" y="4113330"/>
                    <a:ext cx="432459" cy="670582"/>
                  </a:xfrm>
                  <a:custGeom>
                    <a:avLst/>
                    <a:gdLst>
                      <a:gd name="connsiteX0" fmla="*/ 257802 w 672704"/>
                      <a:gd name="connsiteY0" fmla="*/ 541071 h 1043113"/>
                      <a:gd name="connsiteX1" fmla="*/ 414690 w 672704"/>
                      <a:gd name="connsiteY1" fmla="*/ 541071 h 1043113"/>
                      <a:gd name="connsiteX2" fmla="*/ 665711 w 672704"/>
                      <a:gd name="connsiteY2" fmla="*/ 792092 h 1043113"/>
                      <a:gd name="connsiteX3" fmla="*/ 665711 w 672704"/>
                      <a:gd name="connsiteY3" fmla="*/ 940584 h 1043113"/>
                      <a:gd name="connsiteX4" fmla="*/ 672674 w 672704"/>
                      <a:gd name="connsiteY4" fmla="*/ 942357 h 1043113"/>
                      <a:gd name="connsiteX5" fmla="*/ 672704 w 672704"/>
                      <a:gd name="connsiteY5" fmla="*/ 942893 h 1043113"/>
                      <a:gd name="connsiteX6" fmla="*/ 665711 w 672704"/>
                      <a:gd name="connsiteY6" fmla="*/ 940920 h 1043113"/>
                      <a:gd name="connsiteX7" fmla="*/ 665711 w 672704"/>
                      <a:gd name="connsiteY7" fmla="*/ 1043113 h 1043113"/>
                      <a:gd name="connsiteX8" fmla="*/ 6781 w 672704"/>
                      <a:gd name="connsiteY8" fmla="*/ 1043113 h 1043113"/>
                      <a:gd name="connsiteX9" fmla="*/ 6781 w 672704"/>
                      <a:gd name="connsiteY9" fmla="*/ 936867 h 1043113"/>
                      <a:gd name="connsiteX10" fmla="*/ 7 w 672704"/>
                      <a:gd name="connsiteY10" fmla="*/ 938531 h 1043113"/>
                      <a:gd name="connsiteX11" fmla="*/ 0 w 672704"/>
                      <a:gd name="connsiteY11" fmla="*/ 938183 h 1043113"/>
                      <a:gd name="connsiteX12" fmla="*/ 6781 w 672704"/>
                      <a:gd name="connsiteY12" fmla="*/ 936624 h 1043113"/>
                      <a:gd name="connsiteX13" fmla="*/ 6781 w 672704"/>
                      <a:gd name="connsiteY13" fmla="*/ 792092 h 1043113"/>
                      <a:gd name="connsiteX14" fmla="*/ 257802 w 672704"/>
                      <a:gd name="connsiteY14" fmla="*/ 541071 h 1043113"/>
                      <a:gd name="connsiteX15" fmla="*/ 336248 w 672704"/>
                      <a:gd name="connsiteY15" fmla="*/ 0 h 1043113"/>
                      <a:gd name="connsiteX16" fmla="*/ 583287 w 672704"/>
                      <a:gd name="connsiteY16" fmla="*/ 247039 h 1043113"/>
                      <a:gd name="connsiteX17" fmla="*/ 336248 w 672704"/>
                      <a:gd name="connsiteY17" fmla="*/ 494078 h 1043113"/>
                      <a:gd name="connsiteX18" fmla="*/ 89209 w 672704"/>
                      <a:gd name="connsiteY18" fmla="*/ 247039 h 1043113"/>
                      <a:gd name="connsiteX19" fmla="*/ 336248 w 672704"/>
                      <a:gd name="connsiteY19" fmla="*/ 0 h 10431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672704" h="1043113">
                        <a:moveTo>
                          <a:pt x="257802" y="541071"/>
                        </a:moveTo>
                        <a:lnTo>
                          <a:pt x="414690" y="541071"/>
                        </a:lnTo>
                        <a:cubicBezTo>
                          <a:pt x="553325" y="541071"/>
                          <a:pt x="665711" y="653457"/>
                          <a:pt x="665711" y="792092"/>
                        </a:cubicBezTo>
                        <a:lnTo>
                          <a:pt x="665711" y="940584"/>
                        </a:lnTo>
                        <a:lnTo>
                          <a:pt x="672674" y="942357"/>
                        </a:lnTo>
                        <a:lnTo>
                          <a:pt x="672704" y="942893"/>
                        </a:lnTo>
                        <a:lnTo>
                          <a:pt x="665711" y="940920"/>
                        </a:lnTo>
                        <a:lnTo>
                          <a:pt x="665711" y="1043113"/>
                        </a:lnTo>
                        <a:lnTo>
                          <a:pt x="6781" y="1043113"/>
                        </a:lnTo>
                        <a:lnTo>
                          <a:pt x="6781" y="936867"/>
                        </a:lnTo>
                        <a:lnTo>
                          <a:pt x="7" y="938531"/>
                        </a:lnTo>
                        <a:lnTo>
                          <a:pt x="0" y="938183"/>
                        </a:lnTo>
                        <a:lnTo>
                          <a:pt x="6781" y="936624"/>
                        </a:lnTo>
                        <a:lnTo>
                          <a:pt x="6781" y="792092"/>
                        </a:lnTo>
                        <a:cubicBezTo>
                          <a:pt x="6781" y="653457"/>
                          <a:pt x="119167" y="541071"/>
                          <a:pt x="257802" y="541071"/>
                        </a:cubicBezTo>
                        <a:close/>
                        <a:moveTo>
                          <a:pt x="336248" y="0"/>
                        </a:moveTo>
                        <a:cubicBezTo>
                          <a:pt x="472684" y="0"/>
                          <a:pt x="583287" y="110603"/>
                          <a:pt x="583287" y="247039"/>
                        </a:cubicBezTo>
                        <a:cubicBezTo>
                          <a:pt x="583287" y="383475"/>
                          <a:pt x="472684" y="494078"/>
                          <a:pt x="336248" y="494078"/>
                        </a:cubicBezTo>
                        <a:cubicBezTo>
                          <a:pt x="199812" y="494078"/>
                          <a:pt x="89209" y="383475"/>
                          <a:pt x="89209" y="247039"/>
                        </a:cubicBezTo>
                        <a:cubicBezTo>
                          <a:pt x="89209" y="110603"/>
                          <a:pt x="199812" y="0"/>
                          <a:pt x="336248"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grpSp>
              <p:nvGrpSpPr>
                <p:cNvPr id="41" name="Group 40"/>
                <p:cNvGrpSpPr/>
                <p:nvPr/>
              </p:nvGrpSpPr>
              <p:grpSpPr>
                <a:xfrm>
                  <a:off x="5084540" y="5064215"/>
                  <a:ext cx="1047367" cy="472696"/>
                  <a:chOff x="10009561" y="4113330"/>
                  <a:chExt cx="1485828" cy="670582"/>
                </a:xfrm>
                <a:solidFill>
                  <a:schemeClr val="bg1"/>
                </a:solidFill>
              </p:grpSpPr>
              <p:sp>
                <p:nvSpPr>
                  <p:cNvPr id="42" name="Freeform 41"/>
                  <p:cNvSpPr/>
                  <p:nvPr/>
                </p:nvSpPr>
                <p:spPr>
                  <a:xfrm>
                    <a:off x="10009561" y="4113330"/>
                    <a:ext cx="432458" cy="670582"/>
                  </a:xfrm>
                  <a:custGeom>
                    <a:avLst/>
                    <a:gdLst>
                      <a:gd name="connsiteX0" fmla="*/ 257802 w 672704"/>
                      <a:gd name="connsiteY0" fmla="*/ 541071 h 1043113"/>
                      <a:gd name="connsiteX1" fmla="*/ 414690 w 672704"/>
                      <a:gd name="connsiteY1" fmla="*/ 541071 h 1043113"/>
                      <a:gd name="connsiteX2" fmla="*/ 665711 w 672704"/>
                      <a:gd name="connsiteY2" fmla="*/ 792092 h 1043113"/>
                      <a:gd name="connsiteX3" fmla="*/ 665711 w 672704"/>
                      <a:gd name="connsiteY3" fmla="*/ 940584 h 1043113"/>
                      <a:gd name="connsiteX4" fmla="*/ 672674 w 672704"/>
                      <a:gd name="connsiteY4" fmla="*/ 942357 h 1043113"/>
                      <a:gd name="connsiteX5" fmla="*/ 672704 w 672704"/>
                      <a:gd name="connsiteY5" fmla="*/ 942893 h 1043113"/>
                      <a:gd name="connsiteX6" fmla="*/ 665711 w 672704"/>
                      <a:gd name="connsiteY6" fmla="*/ 940920 h 1043113"/>
                      <a:gd name="connsiteX7" fmla="*/ 665711 w 672704"/>
                      <a:gd name="connsiteY7" fmla="*/ 1043113 h 1043113"/>
                      <a:gd name="connsiteX8" fmla="*/ 6781 w 672704"/>
                      <a:gd name="connsiteY8" fmla="*/ 1043113 h 1043113"/>
                      <a:gd name="connsiteX9" fmla="*/ 6781 w 672704"/>
                      <a:gd name="connsiteY9" fmla="*/ 936867 h 1043113"/>
                      <a:gd name="connsiteX10" fmla="*/ 7 w 672704"/>
                      <a:gd name="connsiteY10" fmla="*/ 938531 h 1043113"/>
                      <a:gd name="connsiteX11" fmla="*/ 0 w 672704"/>
                      <a:gd name="connsiteY11" fmla="*/ 938183 h 1043113"/>
                      <a:gd name="connsiteX12" fmla="*/ 6781 w 672704"/>
                      <a:gd name="connsiteY12" fmla="*/ 936624 h 1043113"/>
                      <a:gd name="connsiteX13" fmla="*/ 6781 w 672704"/>
                      <a:gd name="connsiteY13" fmla="*/ 792092 h 1043113"/>
                      <a:gd name="connsiteX14" fmla="*/ 257802 w 672704"/>
                      <a:gd name="connsiteY14" fmla="*/ 541071 h 1043113"/>
                      <a:gd name="connsiteX15" fmla="*/ 336248 w 672704"/>
                      <a:gd name="connsiteY15" fmla="*/ 0 h 1043113"/>
                      <a:gd name="connsiteX16" fmla="*/ 583287 w 672704"/>
                      <a:gd name="connsiteY16" fmla="*/ 247039 h 1043113"/>
                      <a:gd name="connsiteX17" fmla="*/ 336248 w 672704"/>
                      <a:gd name="connsiteY17" fmla="*/ 494078 h 1043113"/>
                      <a:gd name="connsiteX18" fmla="*/ 89209 w 672704"/>
                      <a:gd name="connsiteY18" fmla="*/ 247039 h 1043113"/>
                      <a:gd name="connsiteX19" fmla="*/ 336248 w 672704"/>
                      <a:gd name="connsiteY19" fmla="*/ 0 h 10431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672704" h="1043113">
                        <a:moveTo>
                          <a:pt x="257802" y="541071"/>
                        </a:moveTo>
                        <a:lnTo>
                          <a:pt x="414690" y="541071"/>
                        </a:lnTo>
                        <a:cubicBezTo>
                          <a:pt x="553325" y="541071"/>
                          <a:pt x="665711" y="653457"/>
                          <a:pt x="665711" y="792092"/>
                        </a:cubicBezTo>
                        <a:lnTo>
                          <a:pt x="665711" y="940584"/>
                        </a:lnTo>
                        <a:lnTo>
                          <a:pt x="672674" y="942357"/>
                        </a:lnTo>
                        <a:lnTo>
                          <a:pt x="672704" y="942893"/>
                        </a:lnTo>
                        <a:lnTo>
                          <a:pt x="665711" y="940920"/>
                        </a:lnTo>
                        <a:lnTo>
                          <a:pt x="665711" y="1043113"/>
                        </a:lnTo>
                        <a:lnTo>
                          <a:pt x="6781" y="1043113"/>
                        </a:lnTo>
                        <a:lnTo>
                          <a:pt x="6781" y="936867"/>
                        </a:lnTo>
                        <a:lnTo>
                          <a:pt x="7" y="938531"/>
                        </a:lnTo>
                        <a:lnTo>
                          <a:pt x="0" y="938183"/>
                        </a:lnTo>
                        <a:lnTo>
                          <a:pt x="6781" y="936624"/>
                        </a:lnTo>
                        <a:lnTo>
                          <a:pt x="6781" y="792092"/>
                        </a:lnTo>
                        <a:cubicBezTo>
                          <a:pt x="6781" y="653457"/>
                          <a:pt x="119167" y="541071"/>
                          <a:pt x="257802" y="541071"/>
                        </a:cubicBezTo>
                        <a:close/>
                        <a:moveTo>
                          <a:pt x="336248" y="0"/>
                        </a:moveTo>
                        <a:cubicBezTo>
                          <a:pt x="472684" y="0"/>
                          <a:pt x="583287" y="110603"/>
                          <a:pt x="583287" y="247039"/>
                        </a:cubicBezTo>
                        <a:cubicBezTo>
                          <a:pt x="583287" y="383475"/>
                          <a:pt x="472684" y="494078"/>
                          <a:pt x="336248" y="494078"/>
                        </a:cubicBezTo>
                        <a:cubicBezTo>
                          <a:pt x="199812" y="494078"/>
                          <a:pt x="89209" y="383475"/>
                          <a:pt x="89209" y="247039"/>
                        </a:cubicBezTo>
                        <a:cubicBezTo>
                          <a:pt x="89209" y="110603"/>
                          <a:pt x="199812" y="0"/>
                          <a:pt x="336248"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43" name="Freeform 42"/>
                  <p:cNvSpPr/>
                  <p:nvPr/>
                </p:nvSpPr>
                <p:spPr>
                  <a:xfrm>
                    <a:off x="10536246" y="4113330"/>
                    <a:ext cx="432458" cy="670582"/>
                  </a:xfrm>
                  <a:custGeom>
                    <a:avLst/>
                    <a:gdLst>
                      <a:gd name="connsiteX0" fmla="*/ 257802 w 672704"/>
                      <a:gd name="connsiteY0" fmla="*/ 541071 h 1043113"/>
                      <a:gd name="connsiteX1" fmla="*/ 414690 w 672704"/>
                      <a:gd name="connsiteY1" fmla="*/ 541071 h 1043113"/>
                      <a:gd name="connsiteX2" fmla="*/ 665711 w 672704"/>
                      <a:gd name="connsiteY2" fmla="*/ 792092 h 1043113"/>
                      <a:gd name="connsiteX3" fmla="*/ 665711 w 672704"/>
                      <a:gd name="connsiteY3" fmla="*/ 940584 h 1043113"/>
                      <a:gd name="connsiteX4" fmla="*/ 672674 w 672704"/>
                      <a:gd name="connsiteY4" fmla="*/ 942357 h 1043113"/>
                      <a:gd name="connsiteX5" fmla="*/ 672704 w 672704"/>
                      <a:gd name="connsiteY5" fmla="*/ 942893 h 1043113"/>
                      <a:gd name="connsiteX6" fmla="*/ 665711 w 672704"/>
                      <a:gd name="connsiteY6" fmla="*/ 940920 h 1043113"/>
                      <a:gd name="connsiteX7" fmla="*/ 665711 w 672704"/>
                      <a:gd name="connsiteY7" fmla="*/ 1043113 h 1043113"/>
                      <a:gd name="connsiteX8" fmla="*/ 6781 w 672704"/>
                      <a:gd name="connsiteY8" fmla="*/ 1043113 h 1043113"/>
                      <a:gd name="connsiteX9" fmla="*/ 6781 w 672704"/>
                      <a:gd name="connsiteY9" fmla="*/ 936867 h 1043113"/>
                      <a:gd name="connsiteX10" fmla="*/ 7 w 672704"/>
                      <a:gd name="connsiteY10" fmla="*/ 938531 h 1043113"/>
                      <a:gd name="connsiteX11" fmla="*/ 0 w 672704"/>
                      <a:gd name="connsiteY11" fmla="*/ 938183 h 1043113"/>
                      <a:gd name="connsiteX12" fmla="*/ 6781 w 672704"/>
                      <a:gd name="connsiteY12" fmla="*/ 936624 h 1043113"/>
                      <a:gd name="connsiteX13" fmla="*/ 6781 w 672704"/>
                      <a:gd name="connsiteY13" fmla="*/ 792092 h 1043113"/>
                      <a:gd name="connsiteX14" fmla="*/ 257802 w 672704"/>
                      <a:gd name="connsiteY14" fmla="*/ 541071 h 1043113"/>
                      <a:gd name="connsiteX15" fmla="*/ 336248 w 672704"/>
                      <a:gd name="connsiteY15" fmla="*/ 0 h 1043113"/>
                      <a:gd name="connsiteX16" fmla="*/ 583287 w 672704"/>
                      <a:gd name="connsiteY16" fmla="*/ 247039 h 1043113"/>
                      <a:gd name="connsiteX17" fmla="*/ 336248 w 672704"/>
                      <a:gd name="connsiteY17" fmla="*/ 494078 h 1043113"/>
                      <a:gd name="connsiteX18" fmla="*/ 89209 w 672704"/>
                      <a:gd name="connsiteY18" fmla="*/ 247039 h 1043113"/>
                      <a:gd name="connsiteX19" fmla="*/ 336248 w 672704"/>
                      <a:gd name="connsiteY19" fmla="*/ 0 h 10431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672704" h="1043113">
                        <a:moveTo>
                          <a:pt x="257802" y="541071"/>
                        </a:moveTo>
                        <a:lnTo>
                          <a:pt x="414690" y="541071"/>
                        </a:lnTo>
                        <a:cubicBezTo>
                          <a:pt x="553325" y="541071"/>
                          <a:pt x="665711" y="653457"/>
                          <a:pt x="665711" y="792092"/>
                        </a:cubicBezTo>
                        <a:lnTo>
                          <a:pt x="665711" y="940584"/>
                        </a:lnTo>
                        <a:lnTo>
                          <a:pt x="672674" y="942357"/>
                        </a:lnTo>
                        <a:lnTo>
                          <a:pt x="672704" y="942893"/>
                        </a:lnTo>
                        <a:lnTo>
                          <a:pt x="665711" y="940920"/>
                        </a:lnTo>
                        <a:lnTo>
                          <a:pt x="665711" y="1043113"/>
                        </a:lnTo>
                        <a:lnTo>
                          <a:pt x="6781" y="1043113"/>
                        </a:lnTo>
                        <a:lnTo>
                          <a:pt x="6781" y="936867"/>
                        </a:lnTo>
                        <a:lnTo>
                          <a:pt x="7" y="938531"/>
                        </a:lnTo>
                        <a:lnTo>
                          <a:pt x="0" y="938183"/>
                        </a:lnTo>
                        <a:lnTo>
                          <a:pt x="6781" y="936624"/>
                        </a:lnTo>
                        <a:lnTo>
                          <a:pt x="6781" y="792092"/>
                        </a:lnTo>
                        <a:cubicBezTo>
                          <a:pt x="6781" y="653457"/>
                          <a:pt x="119167" y="541071"/>
                          <a:pt x="257802" y="541071"/>
                        </a:cubicBezTo>
                        <a:close/>
                        <a:moveTo>
                          <a:pt x="336248" y="0"/>
                        </a:moveTo>
                        <a:cubicBezTo>
                          <a:pt x="472684" y="0"/>
                          <a:pt x="583287" y="110603"/>
                          <a:pt x="583287" y="247039"/>
                        </a:cubicBezTo>
                        <a:cubicBezTo>
                          <a:pt x="583287" y="383475"/>
                          <a:pt x="472684" y="494078"/>
                          <a:pt x="336248" y="494078"/>
                        </a:cubicBezTo>
                        <a:cubicBezTo>
                          <a:pt x="199812" y="494078"/>
                          <a:pt x="89209" y="383475"/>
                          <a:pt x="89209" y="247039"/>
                        </a:cubicBezTo>
                        <a:cubicBezTo>
                          <a:pt x="89209" y="110603"/>
                          <a:pt x="199812" y="0"/>
                          <a:pt x="336248"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44" name="Freeform 43"/>
                  <p:cNvSpPr/>
                  <p:nvPr/>
                </p:nvSpPr>
                <p:spPr>
                  <a:xfrm>
                    <a:off x="11062930" y="4113330"/>
                    <a:ext cx="432459" cy="670582"/>
                  </a:xfrm>
                  <a:custGeom>
                    <a:avLst/>
                    <a:gdLst>
                      <a:gd name="connsiteX0" fmla="*/ 257802 w 672704"/>
                      <a:gd name="connsiteY0" fmla="*/ 541071 h 1043113"/>
                      <a:gd name="connsiteX1" fmla="*/ 414690 w 672704"/>
                      <a:gd name="connsiteY1" fmla="*/ 541071 h 1043113"/>
                      <a:gd name="connsiteX2" fmla="*/ 665711 w 672704"/>
                      <a:gd name="connsiteY2" fmla="*/ 792092 h 1043113"/>
                      <a:gd name="connsiteX3" fmla="*/ 665711 w 672704"/>
                      <a:gd name="connsiteY3" fmla="*/ 940584 h 1043113"/>
                      <a:gd name="connsiteX4" fmla="*/ 672674 w 672704"/>
                      <a:gd name="connsiteY4" fmla="*/ 942357 h 1043113"/>
                      <a:gd name="connsiteX5" fmla="*/ 672704 w 672704"/>
                      <a:gd name="connsiteY5" fmla="*/ 942893 h 1043113"/>
                      <a:gd name="connsiteX6" fmla="*/ 665711 w 672704"/>
                      <a:gd name="connsiteY6" fmla="*/ 940920 h 1043113"/>
                      <a:gd name="connsiteX7" fmla="*/ 665711 w 672704"/>
                      <a:gd name="connsiteY7" fmla="*/ 1043113 h 1043113"/>
                      <a:gd name="connsiteX8" fmla="*/ 6781 w 672704"/>
                      <a:gd name="connsiteY8" fmla="*/ 1043113 h 1043113"/>
                      <a:gd name="connsiteX9" fmla="*/ 6781 w 672704"/>
                      <a:gd name="connsiteY9" fmla="*/ 936867 h 1043113"/>
                      <a:gd name="connsiteX10" fmla="*/ 7 w 672704"/>
                      <a:gd name="connsiteY10" fmla="*/ 938531 h 1043113"/>
                      <a:gd name="connsiteX11" fmla="*/ 0 w 672704"/>
                      <a:gd name="connsiteY11" fmla="*/ 938183 h 1043113"/>
                      <a:gd name="connsiteX12" fmla="*/ 6781 w 672704"/>
                      <a:gd name="connsiteY12" fmla="*/ 936624 h 1043113"/>
                      <a:gd name="connsiteX13" fmla="*/ 6781 w 672704"/>
                      <a:gd name="connsiteY13" fmla="*/ 792092 h 1043113"/>
                      <a:gd name="connsiteX14" fmla="*/ 257802 w 672704"/>
                      <a:gd name="connsiteY14" fmla="*/ 541071 h 1043113"/>
                      <a:gd name="connsiteX15" fmla="*/ 336248 w 672704"/>
                      <a:gd name="connsiteY15" fmla="*/ 0 h 1043113"/>
                      <a:gd name="connsiteX16" fmla="*/ 583287 w 672704"/>
                      <a:gd name="connsiteY16" fmla="*/ 247039 h 1043113"/>
                      <a:gd name="connsiteX17" fmla="*/ 336248 w 672704"/>
                      <a:gd name="connsiteY17" fmla="*/ 494078 h 1043113"/>
                      <a:gd name="connsiteX18" fmla="*/ 89209 w 672704"/>
                      <a:gd name="connsiteY18" fmla="*/ 247039 h 1043113"/>
                      <a:gd name="connsiteX19" fmla="*/ 336248 w 672704"/>
                      <a:gd name="connsiteY19" fmla="*/ 0 h 10431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672704" h="1043113">
                        <a:moveTo>
                          <a:pt x="257802" y="541071"/>
                        </a:moveTo>
                        <a:lnTo>
                          <a:pt x="414690" y="541071"/>
                        </a:lnTo>
                        <a:cubicBezTo>
                          <a:pt x="553325" y="541071"/>
                          <a:pt x="665711" y="653457"/>
                          <a:pt x="665711" y="792092"/>
                        </a:cubicBezTo>
                        <a:lnTo>
                          <a:pt x="665711" y="940584"/>
                        </a:lnTo>
                        <a:lnTo>
                          <a:pt x="672674" y="942357"/>
                        </a:lnTo>
                        <a:lnTo>
                          <a:pt x="672704" y="942893"/>
                        </a:lnTo>
                        <a:lnTo>
                          <a:pt x="665711" y="940920"/>
                        </a:lnTo>
                        <a:lnTo>
                          <a:pt x="665711" y="1043113"/>
                        </a:lnTo>
                        <a:lnTo>
                          <a:pt x="6781" y="1043113"/>
                        </a:lnTo>
                        <a:lnTo>
                          <a:pt x="6781" y="936867"/>
                        </a:lnTo>
                        <a:lnTo>
                          <a:pt x="7" y="938531"/>
                        </a:lnTo>
                        <a:lnTo>
                          <a:pt x="0" y="938183"/>
                        </a:lnTo>
                        <a:lnTo>
                          <a:pt x="6781" y="936624"/>
                        </a:lnTo>
                        <a:lnTo>
                          <a:pt x="6781" y="792092"/>
                        </a:lnTo>
                        <a:cubicBezTo>
                          <a:pt x="6781" y="653457"/>
                          <a:pt x="119167" y="541071"/>
                          <a:pt x="257802" y="541071"/>
                        </a:cubicBezTo>
                        <a:close/>
                        <a:moveTo>
                          <a:pt x="336248" y="0"/>
                        </a:moveTo>
                        <a:cubicBezTo>
                          <a:pt x="472684" y="0"/>
                          <a:pt x="583287" y="110603"/>
                          <a:pt x="583287" y="247039"/>
                        </a:cubicBezTo>
                        <a:cubicBezTo>
                          <a:pt x="583287" y="383475"/>
                          <a:pt x="472684" y="494078"/>
                          <a:pt x="336248" y="494078"/>
                        </a:cubicBezTo>
                        <a:cubicBezTo>
                          <a:pt x="199812" y="494078"/>
                          <a:pt x="89209" y="383475"/>
                          <a:pt x="89209" y="247039"/>
                        </a:cubicBezTo>
                        <a:cubicBezTo>
                          <a:pt x="89209" y="110603"/>
                          <a:pt x="199812" y="0"/>
                          <a:pt x="336248"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grpSp>
          <p:grpSp>
            <p:nvGrpSpPr>
              <p:cNvPr id="9" name="Group 8"/>
              <p:cNvGrpSpPr/>
              <p:nvPr/>
            </p:nvGrpSpPr>
            <p:grpSpPr>
              <a:xfrm>
                <a:off x="7315316" y="3866018"/>
                <a:ext cx="2383454" cy="1730946"/>
                <a:chOff x="4294849" y="3513917"/>
                <a:chExt cx="3570018" cy="2592679"/>
              </a:xfrm>
              <a:solidFill>
                <a:schemeClr val="bg1"/>
              </a:solidFill>
            </p:grpSpPr>
            <p:sp>
              <p:nvSpPr>
                <p:cNvPr id="35" name="Freeform 34"/>
                <p:cNvSpPr/>
                <p:nvPr/>
              </p:nvSpPr>
              <p:spPr>
                <a:xfrm flipH="1">
                  <a:off x="5622354" y="3513917"/>
                  <a:ext cx="773334" cy="1205299"/>
                </a:xfrm>
                <a:custGeom>
                  <a:avLst/>
                  <a:gdLst>
                    <a:gd name="connsiteX0" fmla="*/ 434943 w 701255"/>
                    <a:gd name="connsiteY0" fmla="*/ 954134 h 1092960"/>
                    <a:gd name="connsiteX1" fmla="*/ 405362 w 701255"/>
                    <a:gd name="connsiteY1" fmla="*/ 983063 h 1092960"/>
                    <a:gd name="connsiteX2" fmla="*/ 439614 w 701255"/>
                    <a:gd name="connsiteY2" fmla="*/ 1006274 h 1092960"/>
                    <a:gd name="connsiteX3" fmla="*/ 469195 w 701255"/>
                    <a:gd name="connsiteY3" fmla="*/ 977344 h 1092960"/>
                    <a:gd name="connsiteX4" fmla="*/ 434943 w 701255"/>
                    <a:gd name="connsiteY4" fmla="*/ 954134 h 1092960"/>
                    <a:gd name="connsiteX5" fmla="*/ 437449 w 701255"/>
                    <a:gd name="connsiteY5" fmla="*/ 951888 h 1092960"/>
                    <a:gd name="connsiteX6" fmla="*/ 476463 w 701255"/>
                    <a:gd name="connsiteY6" fmla="*/ 976693 h 1092960"/>
                    <a:gd name="connsiteX7" fmla="*/ 442479 w 701255"/>
                    <a:gd name="connsiteY7" fmla="*/ 1008039 h 1092960"/>
                    <a:gd name="connsiteX8" fmla="*/ 403466 w 701255"/>
                    <a:gd name="connsiteY8" fmla="*/ 983233 h 1092960"/>
                    <a:gd name="connsiteX9" fmla="*/ 437449 w 701255"/>
                    <a:gd name="connsiteY9" fmla="*/ 951888 h 1092960"/>
                    <a:gd name="connsiteX10" fmla="*/ 374642 w 701255"/>
                    <a:gd name="connsiteY10" fmla="*/ 720143 h 1092960"/>
                    <a:gd name="connsiteX11" fmla="*/ 382608 w 701255"/>
                    <a:gd name="connsiteY11" fmla="*/ 1056316 h 1092960"/>
                    <a:gd name="connsiteX12" fmla="*/ 537152 w 701255"/>
                    <a:gd name="connsiteY12" fmla="*/ 1035604 h 1092960"/>
                    <a:gd name="connsiteX13" fmla="*/ 374642 w 701255"/>
                    <a:gd name="connsiteY13" fmla="*/ 1067468 h 1092960"/>
                    <a:gd name="connsiteX14" fmla="*/ 684061 w 701255"/>
                    <a:gd name="connsiteY14" fmla="*/ 654610 h 1092960"/>
                    <a:gd name="connsiteX15" fmla="*/ 684061 w 701255"/>
                    <a:gd name="connsiteY15" fmla="*/ 1009011 h 1092960"/>
                    <a:gd name="connsiteX16" fmla="*/ 683492 w 701255"/>
                    <a:gd name="connsiteY16" fmla="*/ 1009120 h 1092960"/>
                    <a:gd name="connsiteX17" fmla="*/ 664611 w 701255"/>
                    <a:gd name="connsiteY17" fmla="*/ 677126 h 1092960"/>
                    <a:gd name="connsiteX18" fmla="*/ 371792 w 701255"/>
                    <a:gd name="connsiteY18" fmla="*/ 697592 h 1092960"/>
                    <a:gd name="connsiteX19" fmla="*/ 371792 w 701255"/>
                    <a:gd name="connsiteY19" fmla="*/ 674437 h 1092960"/>
                    <a:gd name="connsiteX20" fmla="*/ 668224 w 701255"/>
                    <a:gd name="connsiteY20" fmla="*/ 576957 h 1092960"/>
                    <a:gd name="connsiteX21" fmla="*/ 370209 w 701255"/>
                    <a:gd name="connsiteY21" fmla="*/ 578953 h 1092960"/>
                    <a:gd name="connsiteX22" fmla="*/ 370209 w 701255"/>
                    <a:gd name="connsiteY22" fmla="*/ 644992 h 1092960"/>
                    <a:gd name="connsiteX23" fmla="*/ 669110 w 701255"/>
                    <a:gd name="connsiteY23" fmla="*/ 631596 h 1092960"/>
                    <a:gd name="connsiteX24" fmla="*/ 668224 w 701255"/>
                    <a:gd name="connsiteY24" fmla="*/ 576957 h 1092960"/>
                    <a:gd name="connsiteX25" fmla="*/ 681584 w 701255"/>
                    <a:gd name="connsiteY25" fmla="*/ 562912 h 1092960"/>
                    <a:gd name="connsiteX26" fmla="*/ 681584 w 701255"/>
                    <a:gd name="connsiteY26" fmla="*/ 632305 h 1092960"/>
                    <a:gd name="connsiteX27" fmla="*/ 369314 w 701255"/>
                    <a:gd name="connsiteY27" fmla="*/ 647174 h 1092960"/>
                    <a:gd name="connsiteX28" fmla="*/ 369314 w 701255"/>
                    <a:gd name="connsiteY28" fmla="*/ 567868 h 1092960"/>
                    <a:gd name="connsiteX29" fmla="*/ 370209 w 701255"/>
                    <a:gd name="connsiteY29" fmla="*/ 471950 h 1092960"/>
                    <a:gd name="connsiteX30" fmla="*/ 370209 w 701255"/>
                    <a:gd name="connsiteY30" fmla="*/ 537989 h 1092960"/>
                    <a:gd name="connsiteX31" fmla="*/ 669110 w 701255"/>
                    <a:gd name="connsiteY31" fmla="*/ 534321 h 1092960"/>
                    <a:gd name="connsiteX32" fmla="*/ 669109 w 701255"/>
                    <a:gd name="connsiteY32" fmla="*/ 476145 h 1092960"/>
                    <a:gd name="connsiteX33" fmla="*/ 369314 w 701255"/>
                    <a:gd name="connsiteY33" fmla="*/ 458821 h 1092960"/>
                    <a:gd name="connsiteX34" fmla="*/ 681584 w 701255"/>
                    <a:gd name="connsiteY34" fmla="*/ 461300 h 1092960"/>
                    <a:gd name="connsiteX35" fmla="*/ 681584 w 701255"/>
                    <a:gd name="connsiteY35" fmla="*/ 536506 h 1092960"/>
                    <a:gd name="connsiteX36" fmla="*/ 369314 w 701255"/>
                    <a:gd name="connsiteY36" fmla="*/ 539525 h 1092960"/>
                    <a:gd name="connsiteX37" fmla="*/ 370209 w 701255"/>
                    <a:gd name="connsiteY37" fmla="*/ 364947 h 1092960"/>
                    <a:gd name="connsiteX38" fmla="*/ 370209 w 701255"/>
                    <a:gd name="connsiteY38" fmla="*/ 430987 h 1092960"/>
                    <a:gd name="connsiteX39" fmla="*/ 669110 w 701255"/>
                    <a:gd name="connsiteY39" fmla="*/ 437045 h 1092960"/>
                    <a:gd name="connsiteX40" fmla="*/ 669109 w 701255"/>
                    <a:gd name="connsiteY40" fmla="*/ 377986 h 1092960"/>
                    <a:gd name="connsiteX41" fmla="*/ 369314 w 701255"/>
                    <a:gd name="connsiteY41" fmla="*/ 352235 h 1092960"/>
                    <a:gd name="connsiteX42" fmla="*/ 681584 w 701255"/>
                    <a:gd name="connsiteY42" fmla="*/ 365372 h 1092960"/>
                    <a:gd name="connsiteX43" fmla="*/ 680614 w 701255"/>
                    <a:gd name="connsiteY43" fmla="*/ 439610 h 1092960"/>
                    <a:gd name="connsiteX44" fmla="*/ 369314 w 701255"/>
                    <a:gd name="connsiteY44" fmla="*/ 432939 h 1092960"/>
                    <a:gd name="connsiteX45" fmla="*/ 370209 w 701255"/>
                    <a:gd name="connsiteY45" fmla="*/ 255291 h 1092960"/>
                    <a:gd name="connsiteX46" fmla="*/ 370209 w 701255"/>
                    <a:gd name="connsiteY46" fmla="*/ 321331 h 1092960"/>
                    <a:gd name="connsiteX47" fmla="*/ 669994 w 701255"/>
                    <a:gd name="connsiteY47" fmla="*/ 338886 h 1092960"/>
                    <a:gd name="connsiteX48" fmla="*/ 669993 w 701255"/>
                    <a:gd name="connsiteY48" fmla="*/ 280710 h 1092960"/>
                    <a:gd name="connsiteX49" fmla="*/ 369314 w 701255"/>
                    <a:gd name="connsiteY49" fmla="*/ 242742 h 1092960"/>
                    <a:gd name="connsiteX50" fmla="*/ 681584 w 701255"/>
                    <a:gd name="connsiteY50" fmla="*/ 269445 h 1092960"/>
                    <a:gd name="connsiteX51" fmla="*/ 680614 w 701255"/>
                    <a:gd name="connsiteY51" fmla="*/ 340776 h 1092960"/>
                    <a:gd name="connsiteX52" fmla="*/ 369314 w 701255"/>
                    <a:gd name="connsiteY52" fmla="*/ 323446 h 1092960"/>
                    <a:gd name="connsiteX53" fmla="*/ 370209 w 701255"/>
                    <a:gd name="connsiteY53" fmla="*/ 147404 h 1092960"/>
                    <a:gd name="connsiteX54" fmla="*/ 370209 w 701255"/>
                    <a:gd name="connsiteY54" fmla="*/ 213444 h 1092960"/>
                    <a:gd name="connsiteX55" fmla="*/ 670879 w 701255"/>
                    <a:gd name="connsiteY55" fmla="*/ 241611 h 1092960"/>
                    <a:gd name="connsiteX56" fmla="*/ 670878 w 701255"/>
                    <a:gd name="connsiteY56" fmla="*/ 183435 h 1092960"/>
                    <a:gd name="connsiteX57" fmla="*/ 369314 w 701255"/>
                    <a:gd name="connsiteY57" fmla="*/ 134218 h 1092960"/>
                    <a:gd name="connsiteX58" fmla="*/ 680614 w 701255"/>
                    <a:gd name="connsiteY58" fmla="*/ 171579 h 1092960"/>
                    <a:gd name="connsiteX59" fmla="*/ 680614 w 701255"/>
                    <a:gd name="connsiteY59" fmla="*/ 243880 h 1092960"/>
                    <a:gd name="connsiteX60" fmla="*/ 369314 w 701255"/>
                    <a:gd name="connsiteY60" fmla="*/ 214923 h 1092960"/>
                    <a:gd name="connsiteX61" fmla="*/ 370209 w 701255"/>
                    <a:gd name="connsiteY61" fmla="*/ 39517 h 1092960"/>
                    <a:gd name="connsiteX62" fmla="*/ 370209 w 701255"/>
                    <a:gd name="connsiteY62" fmla="*/ 105557 h 1092960"/>
                    <a:gd name="connsiteX63" fmla="*/ 670878 w 701255"/>
                    <a:gd name="connsiteY63" fmla="*/ 144335 h 1092960"/>
                    <a:gd name="connsiteX64" fmla="*/ 670878 w 701255"/>
                    <a:gd name="connsiteY64" fmla="*/ 87930 h 1092960"/>
                    <a:gd name="connsiteX65" fmla="*/ 369314 w 701255"/>
                    <a:gd name="connsiteY65" fmla="*/ 26664 h 1092960"/>
                    <a:gd name="connsiteX66" fmla="*/ 680614 w 701255"/>
                    <a:gd name="connsiteY66" fmla="*/ 74685 h 1092960"/>
                    <a:gd name="connsiteX67" fmla="*/ 679645 w 701255"/>
                    <a:gd name="connsiteY67" fmla="*/ 146985 h 1092960"/>
                    <a:gd name="connsiteX68" fmla="*/ 369314 w 701255"/>
                    <a:gd name="connsiteY68" fmla="*/ 107368 h 1092960"/>
                    <a:gd name="connsiteX69" fmla="*/ 353929 w 701255"/>
                    <a:gd name="connsiteY69" fmla="*/ 20713 h 1092960"/>
                    <a:gd name="connsiteX70" fmla="*/ 353929 w 701255"/>
                    <a:gd name="connsiteY70" fmla="*/ 1075435 h 1092960"/>
                    <a:gd name="connsiteX71" fmla="*/ 28909 w 701255"/>
                    <a:gd name="connsiteY71" fmla="*/ 1008519 h 1092960"/>
                    <a:gd name="connsiteX72" fmla="*/ 342777 w 701255"/>
                    <a:gd name="connsiteY72" fmla="*/ 1062688 h 1092960"/>
                    <a:gd name="connsiteX73" fmla="*/ 342777 w 701255"/>
                    <a:gd name="connsiteY73" fmla="*/ 41425 h 1092960"/>
                    <a:gd name="connsiteX74" fmla="*/ 20943 w 701255"/>
                    <a:gd name="connsiteY74" fmla="*/ 130646 h 1092960"/>
                    <a:gd name="connsiteX75" fmla="*/ 358709 w 701255"/>
                    <a:gd name="connsiteY75" fmla="*/ 0 h 1092960"/>
                    <a:gd name="connsiteX76" fmla="*/ 0 w 701255"/>
                    <a:gd name="connsiteY76" fmla="*/ 117454 h 1092960"/>
                    <a:gd name="connsiteX77" fmla="*/ 0 w 701255"/>
                    <a:gd name="connsiteY77" fmla="*/ 1015186 h 1092960"/>
                    <a:gd name="connsiteX78" fmla="*/ 360302 w 701255"/>
                    <a:gd name="connsiteY78" fmla="*/ 1092960 h 1092960"/>
                    <a:gd name="connsiteX79" fmla="*/ 701255 w 701255"/>
                    <a:gd name="connsiteY79" fmla="*/ 1022857 h 1092960"/>
                    <a:gd name="connsiteX80" fmla="*/ 699662 w 701255"/>
                    <a:gd name="connsiteY80" fmla="*/ 57356 h 10929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Lst>
                  <a:rect l="l" t="t" r="r" b="b"/>
                  <a:pathLst>
                    <a:path w="701255" h="1092960">
                      <a:moveTo>
                        <a:pt x="434943" y="954134"/>
                      </a:moveTo>
                      <a:cubicBezTo>
                        <a:pt x="417316" y="955714"/>
                        <a:pt x="404072" y="968665"/>
                        <a:pt x="405362" y="983063"/>
                      </a:cubicBezTo>
                      <a:cubicBezTo>
                        <a:pt x="406652" y="997462"/>
                        <a:pt x="421987" y="1007853"/>
                        <a:pt x="439614" y="1006274"/>
                      </a:cubicBezTo>
                      <a:cubicBezTo>
                        <a:pt x="457241" y="1004694"/>
                        <a:pt x="470484" y="991742"/>
                        <a:pt x="469195" y="977344"/>
                      </a:cubicBezTo>
                      <a:cubicBezTo>
                        <a:pt x="467904" y="962946"/>
                        <a:pt x="452569" y="952555"/>
                        <a:pt x="434943" y="954134"/>
                      </a:cubicBezTo>
                      <a:close/>
                      <a:moveTo>
                        <a:pt x="437449" y="951888"/>
                      </a:moveTo>
                      <a:cubicBezTo>
                        <a:pt x="457606" y="950082"/>
                        <a:pt x="475074" y="961187"/>
                        <a:pt x="476463" y="976693"/>
                      </a:cubicBezTo>
                      <a:cubicBezTo>
                        <a:pt x="477852" y="992198"/>
                        <a:pt x="462637" y="1006232"/>
                        <a:pt x="442479" y="1008039"/>
                      </a:cubicBezTo>
                      <a:cubicBezTo>
                        <a:pt x="422322" y="1009844"/>
                        <a:pt x="404855" y="998739"/>
                        <a:pt x="403466" y="983233"/>
                      </a:cubicBezTo>
                      <a:cubicBezTo>
                        <a:pt x="402077" y="967728"/>
                        <a:pt x="417291" y="953694"/>
                        <a:pt x="437449" y="951888"/>
                      </a:cubicBezTo>
                      <a:close/>
                      <a:moveTo>
                        <a:pt x="374642" y="720143"/>
                      </a:moveTo>
                      <a:lnTo>
                        <a:pt x="382608" y="1056316"/>
                      </a:lnTo>
                      <a:lnTo>
                        <a:pt x="537152" y="1035604"/>
                      </a:lnTo>
                      <a:lnTo>
                        <a:pt x="374642" y="1067468"/>
                      </a:lnTo>
                      <a:close/>
                      <a:moveTo>
                        <a:pt x="684061" y="654610"/>
                      </a:moveTo>
                      <a:lnTo>
                        <a:pt x="684061" y="1009011"/>
                      </a:lnTo>
                      <a:lnTo>
                        <a:pt x="683492" y="1009120"/>
                      </a:lnTo>
                      <a:lnTo>
                        <a:pt x="664611" y="677126"/>
                      </a:lnTo>
                      <a:lnTo>
                        <a:pt x="371792" y="697592"/>
                      </a:lnTo>
                      <a:lnTo>
                        <a:pt x="371792" y="674437"/>
                      </a:lnTo>
                      <a:close/>
                      <a:moveTo>
                        <a:pt x="668224" y="576957"/>
                      </a:moveTo>
                      <a:lnTo>
                        <a:pt x="370209" y="578953"/>
                      </a:lnTo>
                      <a:lnTo>
                        <a:pt x="370209" y="644992"/>
                      </a:lnTo>
                      <a:lnTo>
                        <a:pt x="669110" y="631596"/>
                      </a:lnTo>
                      <a:cubicBezTo>
                        <a:pt x="669110" y="612204"/>
                        <a:pt x="668224" y="596349"/>
                        <a:pt x="668224" y="576957"/>
                      </a:cubicBezTo>
                      <a:close/>
                      <a:moveTo>
                        <a:pt x="681584" y="562912"/>
                      </a:moveTo>
                      <a:cubicBezTo>
                        <a:pt x="679932" y="586043"/>
                        <a:pt x="680757" y="609175"/>
                        <a:pt x="681584" y="632305"/>
                      </a:cubicBezTo>
                      <a:lnTo>
                        <a:pt x="369314" y="647174"/>
                      </a:lnTo>
                      <a:lnTo>
                        <a:pt x="369314" y="567868"/>
                      </a:lnTo>
                      <a:close/>
                      <a:moveTo>
                        <a:pt x="370209" y="471950"/>
                      </a:moveTo>
                      <a:lnTo>
                        <a:pt x="370209" y="537989"/>
                      </a:lnTo>
                      <a:lnTo>
                        <a:pt x="669110" y="534321"/>
                      </a:lnTo>
                      <a:cubicBezTo>
                        <a:pt x="669110" y="514929"/>
                        <a:pt x="669109" y="495537"/>
                        <a:pt x="669109" y="476145"/>
                      </a:cubicBezTo>
                      <a:close/>
                      <a:moveTo>
                        <a:pt x="369314" y="458821"/>
                      </a:moveTo>
                      <a:lnTo>
                        <a:pt x="681584" y="461300"/>
                      </a:lnTo>
                      <a:cubicBezTo>
                        <a:pt x="679932" y="484431"/>
                        <a:pt x="680757" y="513376"/>
                        <a:pt x="681584" y="536506"/>
                      </a:cubicBezTo>
                      <a:lnTo>
                        <a:pt x="369314" y="539525"/>
                      </a:lnTo>
                      <a:close/>
                      <a:moveTo>
                        <a:pt x="370209" y="364947"/>
                      </a:moveTo>
                      <a:lnTo>
                        <a:pt x="370209" y="430987"/>
                      </a:lnTo>
                      <a:lnTo>
                        <a:pt x="669110" y="437045"/>
                      </a:lnTo>
                      <a:cubicBezTo>
                        <a:pt x="669110" y="417654"/>
                        <a:pt x="669109" y="397378"/>
                        <a:pt x="669109" y="377986"/>
                      </a:cubicBezTo>
                      <a:close/>
                      <a:moveTo>
                        <a:pt x="369314" y="352235"/>
                      </a:moveTo>
                      <a:lnTo>
                        <a:pt x="681584" y="365372"/>
                      </a:lnTo>
                      <a:cubicBezTo>
                        <a:pt x="679932" y="388504"/>
                        <a:pt x="679788" y="416479"/>
                        <a:pt x="680614" y="439610"/>
                      </a:cubicBezTo>
                      <a:lnTo>
                        <a:pt x="369314" y="432939"/>
                      </a:lnTo>
                      <a:close/>
                      <a:moveTo>
                        <a:pt x="370209" y="255291"/>
                      </a:moveTo>
                      <a:lnTo>
                        <a:pt x="370209" y="321331"/>
                      </a:lnTo>
                      <a:lnTo>
                        <a:pt x="669994" y="338886"/>
                      </a:lnTo>
                      <a:cubicBezTo>
                        <a:pt x="669994" y="319494"/>
                        <a:pt x="669993" y="300103"/>
                        <a:pt x="669993" y="280710"/>
                      </a:cubicBezTo>
                      <a:close/>
                      <a:moveTo>
                        <a:pt x="369314" y="242742"/>
                      </a:moveTo>
                      <a:lnTo>
                        <a:pt x="681584" y="269445"/>
                      </a:lnTo>
                      <a:cubicBezTo>
                        <a:pt x="679932" y="292576"/>
                        <a:pt x="679788" y="317646"/>
                        <a:pt x="680614" y="340776"/>
                      </a:cubicBezTo>
                      <a:lnTo>
                        <a:pt x="369314" y="323446"/>
                      </a:lnTo>
                      <a:close/>
                      <a:moveTo>
                        <a:pt x="370209" y="147404"/>
                      </a:moveTo>
                      <a:lnTo>
                        <a:pt x="370209" y="213444"/>
                      </a:lnTo>
                      <a:lnTo>
                        <a:pt x="670879" y="241611"/>
                      </a:lnTo>
                      <a:cubicBezTo>
                        <a:pt x="670879" y="222220"/>
                        <a:pt x="670878" y="202827"/>
                        <a:pt x="670878" y="183435"/>
                      </a:cubicBezTo>
                      <a:close/>
                      <a:moveTo>
                        <a:pt x="369314" y="134218"/>
                      </a:moveTo>
                      <a:lnTo>
                        <a:pt x="680614" y="171579"/>
                      </a:lnTo>
                      <a:cubicBezTo>
                        <a:pt x="678963" y="194710"/>
                        <a:pt x="679788" y="220749"/>
                        <a:pt x="680614" y="243880"/>
                      </a:cubicBezTo>
                      <a:lnTo>
                        <a:pt x="369314" y="214923"/>
                      </a:lnTo>
                      <a:close/>
                      <a:moveTo>
                        <a:pt x="370209" y="39517"/>
                      </a:moveTo>
                      <a:lnTo>
                        <a:pt x="370209" y="105557"/>
                      </a:lnTo>
                      <a:lnTo>
                        <a:pt x="670878" y="144335"/>
                      </a:lnTo>
                      <a:lnTo>
                        <a:pt x="670878" y="87930"/>
                      </a:lnTo>
                      <a:close/>
                      <a:moveTo>
                        <a:pt x="369314" y="26664"/>
                      </a:moveTo>
                      <a:lnTo>
                        <a:pt x="680614" y="74685"/>
                      </a:lnTo>
                      <a:cubicBezTo>
                        <a:pt x="678963" y="97815"/>
                        <a:pt x="678820" y="123853"/>
                        <a:pt x="679645" y="146985"/>
                      </a:cubicBezTo>
                      <a:lnTo>
                        <a:pt x="369314" y="107368"/>
                      </a:lnTo>
                      <a:close/>
                      <a:moveTo>
                        <a:pt x="353929" y="20713"/>
                      </a:moveTo>
                      <a:lnTo>
                        <a:pt x="353929" y="1075435"/>
                      </a:lnTo>
                      <a:lnTo>
                        <a:pt x="28909" y="1008519"/>
                      </a:lnTo>
                      <a:lnTo>
                        <a:pt x="342777" y="1062688"/>
                      </a:lnTo>
                      <a:lnTo>
                        <a:pt x="342777" y="41425"/>
                      </a:lnTo>
                      <a:lnTo>
                        <a:pt x="20943" y="130646"/>
                      </a:lnTo>
                      <a:close/>
                      <a:moveTo>
                        <a:pt x="358709" y="0"/>
                      </a:moveTo>
                      <a:lnTo>
                        <a:pt x="0" y="117454"/>
                      </a:lnTo>
                      <a:lnTo>
                        <a:pt x="0" y="1015186"/>
                      </a:lnTo>
                      <a:lnTo>
                        <a:pt x="360302" y="1092960"/>
                      </a:lnTo>
                      <a:lnTo>
                        <a:pt x="701255" y="1022857"/>
                      </a:lnTo>
                      <a:cubicBezTo>
                        <a:pt x="700724" y="704210"/>
                        <a:pt x="700193" y="376004"/>
                        <a:pt x="699662" y="57356"/>
                      </a:cubicBezTo>
                      <a:close/>
                    </a:path>
                  </a:pathLst>
                </a:custGeom>
                <a:solidFill>
                  <a:schemeClr val="accent4"/>
                </a:solidFill>
              </p:spPr>
              <p:txBody>
                <a:bodyPr vert="horz" wrap="square" lIns="91440" tIns="91440" rIns="91440" bIns="91440" numCol="1" rtlCol="0" anchor="t" anchorCtr="0" compatLnSpc="1">
                  <a:prstTxWarp prst="textNoShape">
                    <a:avLst/>
                  </a:prstTxWarp>
                  <a:noAutofit/>
                </a:bodyPr>
                <a:lstStyle/>
                <a:p>
                  <a:pPr algn="ctr" defTabSz="914159">
                    <a:lnSpc>
                      <a:spcPct val="90000"/>
                    </a:lnSpc>
                    <a:spcBef>
                      <a:spcPts val="630"/>
                    </a:spcBef>
                    <a:buClr>
                      <a:srgbClr val="FFFF99"/>
                    </a:buClr>
                    <a:buSzPct val="120000"/>
                  </a:pPr>
                  <a:endParaRPr lang="en-US" sz="2000" dirty="0">
                    <a:gradFill>
                      <a:gsLst>
                        <a:gs pos="0">
                          <a:schemeClr val="bg1"/>
                        </a:gs>
                        <a:gs pos="100000">
                          <a:schemeClr val="bg1"/>
                        </a:gs>
                      </a:gsLst>
                      <a:lin ang="5400000" scaled="0"/>
                    </a:gradFill>
                    <a:latin typeface="Segoe UI" pitchFamily="34" charset="0"/>
                    <a:ea typeface="Segoe UI" pitchFamily="34" charset="0"/>
                    <a:cs typeface="Segoe UI" pitchFamily="34" charset="0"/>
                  </a:endParaRPr>
                </a:p>
              </p:txBody>
            </p:sp>
            <p:sp>
              <p:nvSpPr>
                <p:cNvPr id="36" name="Freeform 35"/>
                <p:cNvSpPr/>
                <p:nvPr/>
              </p:nvSpPr>
              <p:spPr>
                <a:xfrm flipH="1">
                  <a:off x="4294849" y="5179957"/>
                  <a:ext cx="594543" cy="926639"/>
                </a:xfrm>
                <a:custGeom>
                  <a:avLst/>
                  <a:gdLst>
                    <a:gd name="connsiteX0" fmla="*/ 434943 w 701255"/>
                    <a:gd name="connsiteY0" fmla="*/ 954134 h 1092960"/>
                    <a:gd name="connsiteX1" fmla="*/ 405362 w 701255"/>
                    <a:gd name="connsiteY1" fmla="*/ 983063 h 1092960"/>
                    <a:gd name="connsiteX2" fmla="*/ 439614 w 701255"/>
                    <a:gd name="connsiteY2" fmla="*/ 1006274 h 1092960"/>
                    <a:gd name="connsiteX3" fmla="*/ 469195 w 701255"/>
                    <a:gd name="connsiteY3" fmla="*/ 977344 h 1092960"/>
                    <a:gd name="connsiteX4" fmla="*/ 434943 w 701255"/>
                    <a:gd name="connsiteY4" fmla="*/ 954134 h 1092960"/>
                    <a:gd name="connsiteX5" fmla="*/ 437449 w 701255"/>
                    <a:gd name="connsiteY5" fmla="*/ 951888 h 1092960"/>
                    <a:gd name="connsiteX6" fmla="*/ 476463 w 701255"/>
                    <a:gd name="connsiteY6" fmla="*/ 976693 h 1092960"/>
                    <a:gd name="connsiteX7" fmla="*/ 442479 w 701255"/>
                    <a:gd name="connsiteY7" fmla="*/ 1008039 h 1092960"/>
                    <a:gd name="connsiteX8" fmla="*/ 403466 w 701255"/>
                    <a:gd name="connsiteY8" fmla="*/ 983233 h 1092960"/>
                    <a:gd name="connsiteX9" fmla="*/ 437449 w 701255"/>
                    <a:gd name="connsiteY9" fmla="*/ 951888 h 1092960"/>
                    <a:gd name="connsiteX10" fmla="*/ 374642 w 701255"/>
                    <a:gd name="connsiteY10" fmla="*/ 720143 h 1092960"/>
                    <a:gd name="connsiteX11" fmla="*/ 382608 w 701255"/>
                    <a:gd name="connsiteY11" fmla="*/ 1056316 h 1092960"/>
                    <a:gd name="connsiteX12" fmla="*/ 537152 w 701255"/>
                    <a:gd name="connsiteY12" fmla="*/ 1035604 h 1092960"/>
                    <a:gd name="connsiteX13" fmla="*/ 374642 w 701255"/>
                    <a:gd name="connsiteY13" fmla="*/ 1067468 h 1092960"/>
                    <a:gd name="connsiteX14" fmla="*/ 684061 w 701255"/>
                    <a:gd name="connsiteY14" fmla="*/ 654610 h 1092960"/>
                    <a:gd name="connsiteX15" fmla="*/ 684061 w 701255"/>
                    <a:gd name="connsiteY15" fmla="*/ 1009011 h 1092960"/>
                    <a:gd name="connsiteX16" fmla="*/ 683492 w 701255"/>
                    <a:gd name="connsiteY16" fmla="*/ 1009120 h 1092960"/>
                    <a:gd name="connsiteX17" fmla="*/ 664611 w 701255"/>
                    <a:gd name="connsiteY17" fmla="*/ 677126 h 1092960"/>
                    <a:gd name="connsiteX18" fmla="*/ 371792 w 701255"/>
                    <a:gd name="connsiteY18" fmla="*/ 697592 h 1092960"/>
                    <a:gd name="connsiteX19" fmla="*/ 371792 w 701255"/>
                    <a:gd name="connsiteY19" fmla="*/ 674437 h 1092960"/>
                    <a:gd name="connsiteX20" fmla="*/ 668224 w 701255"/>
                    <a:gd name="connsiteY20" fmla="*/ 576957 h 1092960"/>
                    <a:gd name="connsiteX21" fmla="*/ 370209 w 701255"/>
                    <a:gd name="connsiteY21" fmla="*/ 578953 h 1092960"/>
                    <a:gd name="connsiteX22" fmla="*/ 370209 w 701255"/>
                    <a:gd name="connsiteY22" fmla="*/ 644992 h 1092960"/>
                    <a:gd name="connsiteX23" fmla="*/ 669110 w 701255"/>
                    <a:gd name="connsiteY23" fmla="*/ 631596 h 1092960"/>
                    <a:gd name="connsiteX24" fmla="*/ 668224 w 701255"/>
                    <a:gd name="connsiteY24" fmla="*/ 576957 h 1092960"/>
                    <a:gd name="connsiteX25" fmla="*/ 681584 w 701255"/>
                    <a:gd name="connsiteY25" fmla="*/ 562912 h 1092960"/>
                    <a:gd name="connsiteX26" fmla="*/ 681584 w 701255"/>
                    <a:gd name="connsiteY26" fmla="*/ 632305 h 1092960"/>
                    <a:gd name="connsiteX27" fmla="*/ 369314 w 701255"/>
                    <a:gd name="connsiteY27" fmla="*/ 647174 h 1092960"/>
                    <a:gd name="connsiteX28" fmla="*/ 369314 w 701255"/>
                    <a:gd name="connsiteY28" fmla="*/ 567868 h 1092960"/>
                    <a:gd name="connsiteX29" fmla="*/ 370209 w 701255"/>
                    <a:gd name="connsiteY29" fmla="*/ 471950 h 1092960"/>
                    <a:gd name="connsiteX30" fmla="*/ 370209 w 701255"/>
                    <a:gd name="connsiteY30" fmla="*/ 537989 h 1092960"/>
                    <a:gd name="connsiteX31" fmla="*/ 669110 w 701255"/>
                    <a:gd name="connsiteY31" fmla="*/ 534321 h 1092960"/>
                    <a:gd name="connsiteX32" fmla="*/ 669109 w 701255"/>
                    <a:gd name="connsiteY32" fmla="*/ 476145 h 1092960"/>
                    <a:gd name="connsiteX33" fmla="*/ 369314 w 701255"/>
                    <a:gd name="connsiteY33" fmla="*/ 458821 h 1092960"/>
                    <a:gd name="connsiteX34" fmla="*/ 681584 w 701255"/>
                    <a:gd name="connsiteY34" fmla="*/ 461300 h 1092960"/>
                    <a:gd name="connsiteX35" fmla="*/ 681584 w 701255"/>
                    <a:gd name="connsiteY35" fmla="*/ 536506 h 1092960"/>
                    <a:gd name="connsiteX36" fmla="*/ 369314 w 701255"/>
                    <a:gd name="connsiteY36" fmla="*/ 539525 h 1092960"/>
                    <a:gd name="connsiteX37" fmla="*/ 370209 w 701255"/>
                    <a:gd name="connsiteY37" fmla="*/ 364947 h 1092960"/>
                    <a:gd name="connsiteX38" fmla="*/ 370209 w 701255"/>
                    <a:gd name="connsiteY38" fmla="*/ 430987 h 1092960"/>
                    <a:gd name="connsiteX39" fmla="*/ 669110 w 701255"/>
                    <a:gd name="connsiteY39" fmla="*/ 437045 h 1092960"/>
                    <a:gd name="connsiteX40" fmla="*/ 669109 w 701255"/>
                    <a:gd name="connsiteY40" fmla="*/ 377986 h 1092960"/>
                    <a:gd name="connsiteX41" fmla="*/ 369314 w 701255"/>
                    <a:gd name="connsiteY41" fmla="*/ 352235 h 1092960"/>
                    <a:gd name="connsiteX42" fmla="*/ 681584 w 701255"/>
                    <a:gd name="connsiteY42" fmla="*/ 365372 h 1092960"/>
                    <a:gd name="connsiteX43" fmla="*/ 680614 w 701255"/>
                    <a:gd name="connsiteY43" fmla="*/ 439610 h 1092960"/>
                    <a:gd name="connsiteX44" fmla="*/ 369314 w 701255"/>
                    <a:gd name="connsiteY44" fmla="*/ 432939 h 1092960"/>
                    <a:gd name="connsiteX45" fmla="*/ 370209 w 701255"/>
                    <a:gd name="connsiteY45" fmla="*/ 255291 h 1092960"/>
                    <a:gd name="connsiteX46" fmla="*/ 370209 w 701255"/>
                    <a:gd name="connsiteY46" fmla="*/ 321331 h 1092960"/>
                    <a:gd name="connsiteX47" fmla="*/ 669994 w 701255"/>
                    <a:gd name="connsiteY47" fmla="*/ 338886 h 1092960"/>
                    <a:gd name="connsiteX48" fmla="*/ 669993 w 701255"/>
                    <a:gd name="connsiteY48" fmla="*/ 280710 h 1092960"/>
                    <a:gd name="connsiteX49" fmla="*/ 369314 w 701255"/>
                    <a:gd name="connsiteY49" fmla="*/ 242742 h 1092960"/>
                    <a:gd name="connsiteX50" fmla="*/ 681584 w 701255"/>
                    <a:gd name="connsiteY50" fmla="*/ 269445 h 1092960"/>
                    <a:gd name="connsiteX51" fmla="*/ 680614 w 701255"/>
                    <a:gd name="connsiteY51" fmla="*/ 340776 h 1092960"/>
                    <a:gd name="connsiteX52" fmla="*/ 369314 w 701255"/>
                    <a:gd name="connsiteY52" fmla="*/ 323446 h 1092960"/>
                    <a:gd name="connsiteX53" fmla="*/ 370209 w 701255"/>
                    <a:gd name="connsiteY53" fmla="*/ 147404 h 1092960"/>
                    <a:gd name="connsiteX54" fmla="*/ 370209 w 701255"/>
                    <a:gd name="connsiteY54" fmla="*/ 213444 h 1092960"/>
                    <a:gd name="connsiteX55" fmla="*/ 670879 w 701255"/>
                    <a:gd name="connsiteY55" fmla="*/ 241611 h 1092960"/>
                    <a:gd name="connsiteX56" fmla="*/ 670878 w 701255"/>
                    <a:gd name="connsiteY56" fmla="*/ 183435 h 1092960"/>
                    <a:gd name="connsiteX57" fmla="*/ 369314 w 701255"/>
                    <a:gd name="connsiteY57" fmla="*/ 134218 h 1092960"/>
                    <a:gd name="connsiteX58" fmla="*/ 680614 w 701255"/>
                    <a:gd name="connsiteY58" fmla="*/ 171579 h 1092960"/>
                    <a:gd name="connsiteX59" fmla="*/ 680614 w 701255"/>
                    <a:gd name="connsiteY59" fmla="*/ 243880 h 1092960"/>
                    <a:gd name="connsiteX60" fmla="*/ 369314 w 701255"/>
                    <a:gd name="connsiteY60" fmla="*/ 214923 h 1092960"/>
                    <a:gd name="connsiteX61" fmla="*/ 370209 w 701255"/>
                    <a:gd name="connsiteY61" fmla="*/ 39517 h 1092960"/>
                    <a:gd name="connsiteX62" fmla="*/ 370209 w 701255"/>
                    <a:gd name="connsiteY62" fmla="*/ 105557 h 1092960"/>
                    <a:gd name="connsiteX63" fmla="*/ 670878 w 701255"/>
                    <a:gd name="connsiteY63" fmla="*/ 144335 h 1092960"/>
                    <a:gd name="connsiteX64" fmla="*/ 670878 w 701255"/>
                    <a:gd name="connsiteY64" fmla="*/ 87930 h 1092960"/>
                    <a:gd name="connsiteX65" fmla="*/ 369314 w 701255"/>
                    <a:gd name="connsiteY65" fmla="*/ 26664 h 1092960"/>
                    <a:gd name="connsiteX66" fmla="*/ 680614 w 701255"/>
                    <a:gd name="connsiteY66" fmla="*/ 74685 h 1092960"/>
                    <a:gd name="connsiteX67" fmla="*/ 679645 w 701255"/>
                    <a:gd name="connsiteY67" fmla="*/ 146985 h 1092960"/>
                    <a:gd name="connsiteX68" fmla="*/ 369314 w 701255"/>
                    <a:gd name="connsiteY68" fmla="*/ 107368 h 1092960"/>
                    <a:gd name="connsiteX69" fmla="*/ 353929 w 701255"/>
                    <a:gd name="connsiteY69" fmla="*/ 20713 h 1092960"/>
                    <a:gd name="connsiteX70" fmla="*/ 353929 w 701255"/>
                    <a:gd name="connsiteY70" fmla="*/ 1075435 h 1092960"/>
                    <a:gd name="connsiteX71" fmla="*/ 28909 w 701255"/>
                    <a:gd name="connsiteY71" fmla="*/ 1008519 h 1092960"/>
                    <a:gd name="connsiteX72" fmla="*/ 342777 w 701255"/>
                    <a:gd name="connsiteY72" fmla="*/ 1062688 h 1092960"/>
                    <a:gd name="connsiteX73" fmla="*/ 342777 w 701255"/>
                    <a:gd name="connsiteY73" fmla="*/ 41425 h 1092960"/>
                    <a:gd name="connsiteX74" fmla="*/ 20943 w 701255"/>
                    <a:gd name="connsiteY74" fmla="*/ 130646 h 1092960"/>
                    <a:gd name="connsiteX75" fmla="*/ 358709 w 701255"/>
                    <a:gd name="connsiteY75" fmla="*/ 0 h 1092960"/>
                    <a:gd name="connsiteX76" fmla="*/ 0 w 701255"/>
                    <a:gd name="connsiteY76" fmla="*/ 117454 h 1092960"/>
                    <a:gd name="connsiteX77" fmla="*/ 0 w 701255"/>
                    <a:gd name="connsiteY77" fmla="*/ 1015186 h 1092960"/>
                    <a:gd name="connsiteX78" fmla="*/ 360302 w 701255"/>
                    <a:gd name="connsiteY78" fmla="*/ 1092960 h 1092960"/>
                    <a:gd name="connsiteX79" fmla="*/ 701255 w 701255"/>
                    <a:gd name="connsiteY79" fmla="*/ 1022857 h 1092960"/>
                    <a:gd name="connsiteX80" fmla="*/ 699662 w 701255"/>
                    <a:gd name="connsiteY80" fmla="*/ 57356 h 10929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Lst>
                  <a:rect l="l" t="t" r="r" b="b"/>
                  <a:pathLst>
                    <a:path w="701255" h="1092960">
                      <a:moveTo>
                        <a:pt x="434943" y="954134"/>
                      </a:moveTo>
                      <a:cubicBezTo>
                        <a:pt x="417316" y="955714"/>
                        <a:pt x="404072" y="968665"/>
                        <a:pt x="405362" y="983063"/>
                      </a:cubicBezTo>
                      <a:cubicBezTo>
                        <a:pt x="406652" y="997462"/>
                        <a:pt x="421987" y="1007853"/>
                        <a:pt x="439614" y="1006274"/>
                      </a:cubicBezTo>
                      <a:cubicBezTo>
                        <a:pt x="457241" y="1004694"/>
                        <a:pt x="470484" y="991742"/>
                        <a:pt x="469195" y="977344"/>
                      </a:cubicBezTo>
                      <a:cubicBezTo>
                        <a:pt x="467904" y="962946"/>
                        <a:pt x="452569" y="952555"/>
                        <a:pt x="434943" y="954134"/>
                      </a:cubicBezTo>
                      <a:close/>
                      <a:moveTo>
                        <a:pt x="437449" y="951888"/>
                      </a:moveTo>
                      <a:cubicBezTo>
                        <a:pt x="457606" y="950082"/>
                        <a:pt x="475074" y="961187"/>
                        <a:pt x="476463" y="976693"/>
                      </a:cubicBezTo>
                      <a:cubicBezTo>
                        <a:pt x="477852" y="992198"/>
                        <a:pt x="462637" y="1006232"/>
                        <a:pt x="442479" y="1008039"/>
                      </a:cubicBezTo>
                      <a:cubicBezTo>
                        <a:pt x="422322" y="1009844"/>
                        <a:pt x="404855" y="998739"/>
                        <a:pt x="403466" y="983233"/>
                      </a:cubicBezTo>
                      <a:cubicBezTo>
                        <a:pt x="402077" y="967728"/>
                        <a:pt x="417291" y="953694"/>
                        <a:pt x="437449" y="951888"/>
                      </a:cubicBezTo>
                      <a:close/>
                      <a:moveTo>
                        <a:pt x="374642" y="720143"/>
                      </a:moveTo>
                      <a:lnTo>
                        <a:pt x="382608" y="1056316"/>
                      </a:lnTo>
                      <a:lnTo>
                        <a:pt x="537152" y="1035604"/>
                      </a:lnTo>
                      <a:lnTo>
                        <a:pt x="374642" y="1067468"/>
                      </a:lnTo>
                      <a:close/>
                      <a:moveTo>
                        <a:pt x="684061" y="654610"/>
                      </a:moveTo>
                      <a:lnTo>
                        <a:pt x="684061" y="1009011"/>
                      </a:lnTo>
                      <a:lnTo>
                        <a:pt x="683492" y="1009120"/>
                      </a:lnTo>
                      <a:lnTo>
                        <a:pt x="664611" y="677126"/>
                      </a:lnTo>
                      <a:lnTo>
                        <a:pt x="371792" y="697592"/>
                      </a:lnTo>
                      <a:lnTo>
                        <a:pt x="371792" y="674437"/>
                      </a:lnTo>
                      <a:close/>
                      <a:moveTo>
                        <a:pt x="668224" y="576957"/>
                      </a:moveTo>
                      <a:lnTo>
                        <a:pt x="370209" y="578953"/>
                      </a:lnTo>
                      <a:lnTo>
                        <a:pt x="370209" y="644992"/>
                      </a:lnTo>
                      <a:lnTo>
                        <a:pt x="669110" y="631596"/>
                      </a:lnTo>
                      <a:cubicBezTo>
                        <a:pt x="669110" y="612204"/>
                        <a:pt x="668224" y="596349"/>
                        <a:pt x="668224" y="576957"/>
                      </a:cubicBezTo>
                      <a:close/>
                      <a:moveTo>
                        <a:pt x="681584" y="562912"/>
                      </a:moveTo>
                      <a:cubicBezTo>
                        <a:pt x="679932" y="586043"/>
                        <a:pt x="680757" y="609175"/>
                        <a:pt x="681584" y="632305"/>
                      </a:cubicBezTo>
                      <a:lnTo>
                        <a:pt x="369314" y="647174"/>
                      </a:lnTo>
                      <a:lnTo>
                        <a:pt x="369314" y="567868"/>
                      </a:lnTo>
                      <a:close/>
                      <a:moveTo>
                        <a:pt x="370209" y="471950"/>
                      </a:moveTo>
                      <a:lnTo>
                        <a:pt x="370209" y="537989"/>
                      </a:lnTo>
                      <a:lnTo>
                        <a:pt x="669110" y="534321"/>
                      </a:lnTo>
                      <a:cubicBezTo>
                        <a:pt x="669110" y="514929"/>
                        <a:pt x="669109" y="495537"/>
                        <a:pt x="669109" y="476145"/>
                      </a:cubicBezTo>
                      <a:close/>
                      <a:moveTo>
                        <a:pt x="369314" y="458821"/>
                      </a:moveTo>
                      <a:lnTo>
                        <a:pt x="681584" y="461300"/>
                      </a:lnTo>
                      <a:cubicBezTo>
                        <a:pt x="679932" y="484431"/>
                        <a:pt x="680757" y="513376"/>
                        <a:pt x="681584" y="536506"/>
                      </a:cubicBezTo>
                      <a:lnTo>
                        <a:pt x="369314" y="539525"/>
                      </a:lnTo>
                      <a:close/>
                      <a:moveTo>
                        <a:pt x="370209" y="364947"/>
                      </a:moveTo>
                      <a:lnTo>
                        <a:pt x="370209" y="430987"/>
                      </a:lnTo>
                      <a:lnTo>
                        <a:pt x="669110" y="437045"/>
                      </a:lnTo>
                      <a:cubicBezTo>
                        <a:pt x="669110" y="417654"/>
                        <a:pt x="669109" y="397378"/>
                        <a:pt x="669109" y="377986"/>
                      </a:cubicBezTo>
                      <a:close/>
                      <a:moveTo>
                        <a:pt x="369314" y="352235"/>
                      </a:moveTo>
                      <a:lnTo>
                        <a:pt x="681584" y="365372"/>
                      </a:lnTo>
                      <a:cubicBezTo>
                        <a:pt x="679932" y="388504"/>
                        <a:pt x="679788" y="416479"/>
                        <a:pt x="680614" y="439610"/>
                      </a:cubicBezTo>
                      <a:lnTo>
                        <a:pt x="369314" y="432939"/>
                      </a:lnTo>
                      <a:close/>
                      <a:moveTo>
                        <a:pt x="370209" y="255291"/>
                      </a:moveTo>
                      <a:lnTo>
                        <a:pt x="370209" y="321331"/>
                      </a:lnTo>
                      <a:lnTo>
                        <a:pt x="669994" y="338886"/>
                      </a:lnTo>
                      <a:cubicBezTo>
                        <a:pt x="669994" y="319494"/>
                        <a:pt x="669993" y="300103"/>
                        <a:pt x="669993" y="280710"/>
                      </a:cubicBezTo>
                      <a:close/>
                      <a:moveTo>
                        <a:pt x="369314" y="242742"/>
                      </a:moveTo>
                      <a:lnTo>
                        <a:pt x="681584" y="269445"/>
                      </a:lnTo>
                      <a:cubicBezTo>
                        <a:pt x="679932" y="292576"/>
                        <a:pt x="679788" y="317646"/>
                        <a:pt x="680614" y="340776"/>
                      </a:cubicBezTo>
                      <a:lnTo>
                        <a:pt x="369314" y="323446"/>
                      </a:lnTo>
                      <a:close/>
                      <a:moveTo>
                        <a:pt x="370209" y="147404"/>
                      </a:moveTo>
                      <a:lnTo>
                        <a:pt x="370209" y="213444"/>
                      </a:lnTo>
                      <a:lnTo>
                        <a:pt x="670879" y="241611"/>
                      </a:lnTo>
                      <a:cubicBezTo>
                        <a:pt x="670879" y="222220"/>
                        <a:pt x="670878" y="202827"/>
                        <a:pt x="670878" y="183435"/>
                      </a:cubicBezTo>
                      <a:close/>
                      <a:moveTo>
                        <a:pt x="369314" y="134218"/>
                      </a:moveTo>
                      <a:lnTo>
                        <a:pt x="680614" y="171579"/>
                      </a:lnTo>
                      <a:cubicBezTo>
                        <a:pt x="678963" y="194710"/>
                        <a:pt x="679788" y="220749"/>
                        <a:pt x="680614" y="243880"/>
                      </a:cubicBezTo>
                      <a:lnTo>
                        <a:pt x="369314" y="214923"/>
                      </a:lnTo>
                      <a:close/>
                      <a:moveTo>
                        <a:pt x="370209" y="39517"/>
                      </a:moveTo>
                      <a:lnTo>
                        <a:pt x="370209" y="105557"/>
                      </a:lnTo>
                      <a:lnTo>
                        <a:pt x="670878" y="144335"/>
                      </a:lnTo>
                      <a:lnTo>
                        <a:pt x="670878" y="87930"/>
                      </a:lnTo>
                      <a:close/>
                      <a:moveTo>
                        <a:pt x="369314" y="26664"/>
                      </a:moveTo>
                      <a:lnTo>
                        <a:pt x="680614" y="74685"/>
                      </a:lnTo>
                      <a:cubicBezTo>
                        <a:pt x="678963" y="97815"/>
                        <a:pt x="678820" y="123853"/>
                        <a:pt x="679645" y="146985"/>
                      </a:cubicBezTo>
                      <a:lnTo>
                        <a:pt x="369314" y="107368"/>
                      </a:lnTo>
                      <a:close/>
                      <a:moveTo>
                        <a:pt x="353929" y="20713"/>
                      </a:moveTo>
                      <a:lnTo>
                        <a:pt x="353929" y="1075435"/>
                      </a:lnTo>
                      <a:lnTo>
                        <a:pt x="28909" y="1008519"/>
                      </a:lnTo>
                      <a:lnTo>
                        <a:pt x="342777" y="1062688"/>
                      </a:lnTo>
                      <a:lnTo>
                        <a:pt x="342777" y="41425"/>
                      </a:lnTo>
                      <a:lnTo>
                        <a:pt x="20943" y="130646"/>
                      </a:lnTo>
                      <a:close/>
                      <a:moveTo>
                        <a:pt x="358709" y="0"/>
                      </a:moveTo>
                      <a:lnTo>
                        <a:pt x="0" y="117454"/>
                      </a:lnTo>
                      <a:lnTo>
                        <a:pt x="0" y="1015186"/>
                      </a:lnTo>
                      <a:lnTo>
                        <a:pt x="360302" y="1092960"/>
                      </a:lnTo>
                      <a:lnTo>
                        <a:pt x="701255" y="1022857"/>
                      </a:lnTo>
                      <a:cubicBezTo>
                        <a:pt x="700724" y="704210"/>
                        <a:pt x="700193" y="376004"/>
                        <a:pt x="699662" y="57356"/>
                      </a:cubicBezTo>
                      <a:close/>
                    </a:path>
                  </a:pathLst>
                </a:custGeom>
                <a:solidFill>
                  <a:schemeClr val="accent4"/>
                </a:solidFill>
              </p:spPr>
              <p:txBody>
                <a:bodyPr vert="horz" wrap="square" lIns="91440" tIns="91440" rIns="91440" bIns="91440" numCol="1" rtlCol="0" anchor="t" anchorCtr="0" compatLnSpc="1">
                  <a:prstTxWarp prst="textNoShape">
                    <a:avLst/>
                  </a:prstTxWarp>
                  <a:noAutofit/>
                </a:bodyPr>
                <a:lstStyle/>
                <a:p>
                  <a:pPr algn="ctr" defTabSz="914159">
                    <a:lnSpc>
                      <a:spcPct val="90000"/>
                    </a:lnSpc>
                    <a:spcBef>
                      <a:spcPts val="630"/>
                    </a:spcBef>
                    <a:buClr>
                      <a:srgbClr val="FFFF99"/>
                    </a:buClr>
                    <a:buSzPct val="120000"/>
                  </a:pPr>
                  <a:endParaRPr lang="en-US" sz="2000" dirty="0">
                    <a:gradFill>
                      <a:gsLst>
                        <a:gs pos="0">
                          <a:schemeClr val="bg1"/>
                        </a:gs>
                        <a:gs pos="100000">
                          <a:schemeClr val="bg1"/>
                        </a:gs>
                      </a:gsLst>
                      <a:lin ang="5400000" scaled="0"/>
                    </a:gradFill>
                    <a:latin typeface="Segoe UI" pitchFamily="34" charset="0"/>
                    <a:ea typeface="Segoe UI" pitchFamily="34" charset="0"/>
                    <a:cs typeface="Segoe UI" pitchFamily="34" charset="0"/>
                  </a:endParaRPr>
                </a:p>
              </p:txBody>
            </p:sp>
            <p:sp>
              <p:nvSpPr>
                <p:cNvPr id="37" name="Freeform 36"/>
                <p:cNvSpPr/>
                <p:nvPr/>
              </p:nvSpPr>
              <p:spPr>
                <a:xfrm flipH="1">
                  <a:off x="5286674" y="5179958"/>
                  <a:ext cx="594543" cy="926638"/>
                </a:xfrm>
                <a:custGeom>
                  <a:avLst/>
                  <a:gdLst>
                    <a:gd name="connsiteX0" fmla="*/ 434943 w 701255"/>
                    <a:gd name="connsiteY0" fmla="*/ 954134 h 1092960"/>
                    <a:gd name="connsiteX1" fmla="*/ 405362 w 701255"/>
                    <a:gd name="connsiteY1" fmla="*/ 983063 h 1092960"/>
                    <a:gd name="connsiteX2" fmla="*/ 439614 w 701255"/>
                    <a:gd name="connsiteY2" fmla="*/ 1006274 h 1092960"/>
                    <a:gd name="connsiteX3" fmla="*/ 469195 w 701255"/>
                    <a:gd name="connsiteY3" fmla="*/ 977344 h 1092960"/>
                    <a:gd name="connsiteX4" fmla="*/ 434943 w 701255"/>
                    <a:gd name="connsiteY4" fmla="*/ 954134 h 1092960"/>
                    <a:gd name="connsiteX5" fmla="*/ 437449 w 701255"/>
                    <a:gd name="connsiteY5" fmla="*/ 951888 h 1092960"/>
                    <a:gd name="connsiteX6" fmla="*/ 476463 w 701255"/>
                    <a:gd name="connsiteY6" fmla="*/ 976693 h 1092960"/>
                    <a:gd name="connsiteX7" fmla="*/ 442479 w 701255"/>
                    <a:gd name="connsiteY7" fmla="*/ 1008039 h 1092960"/>
                    <a:gd name="connsiteX8" fmla="*/ 403466 w 701255"/>
                    <a:gd name="connsiteY8" fmla="*/ 983233 h 1092960"/>
                    <a:gd name="connsiteX9" fmla="*/ 437449 w 701255"/>
                    <a:gd name="connsiteY9" fmla="*/ 951888 h 1092960"/>
                    <a:gd name="connsiteX10" fmla="*/ 374642 w 701255"/>
                    <a:gd name="connsiteY10" fmla="*/ 720143 h 1092960"/>
                    <a:gd name="connsiteX11" fmla="*/ 382608 w 701255"/>
                    <a:gd name="connsiteY11" fmla="*/ 1056316 h 1092960"/>
                    <a:gd name="connsiteX12" fmla="*/ 537152 w 701255"/>
                    <a:gd name="connsiteY12" fmla="*/ 1035604 h 1092960"/>
                    <a:gd name="connsiteX13" fmla="*/ 374642 w 701255"/>
                    <a:gd name="connsiteY13" fmla="*/ 1067468 h 1092960"/>
                    <a:gd name="connsiteX14" fmla="*/ 684061 w 701255"/>
                    <a:gd name="connsiteY14" fmla="*/ 654610 h 1092960"/>
                    <a:gd name="connsiteX15" fmla="*/ 684061 w 701255"/>
                    <a:gd name="connsiteY15" fmla="*/ 1009011 h 1092960"/>
                    <a:gd name="connsiteX16" fmla="*/ 683492 w 701255"/>
                    <a:gd name="connsiteY16" fmla="*/ 1009120 h 1092960"/>
                    <a:gd name="connsiteX17" fmla="*/ 664611 w 701255"/>
                    <a:gd name="connsiteY17" fmla="*/ 677126 h 1092960"/>
                    <a:gd name="connsiteX18" fmla="*/ 371792 w 701255"/>
                    <a:gd name="connsiteY18" fmla="*/ 697592 h 1092960"/>
                    <a:gd name="connsiteX19" fmla="*/ 371792 w 701255"/>
                    <a:gd name="connsiteY19" fmla="*/ 674437 h 1092960"/>
                    <a:gd name="connsiteX20" fmla="*/ 668224 w 701255"/>
                    <a:gd name="connsiteY20" fmla="*/ 576957 h 1092960"/>
                    <a:gd name="connsiteX21" fmla="*/ 370209 w 701255"/>
                    <a:gd name="connsiteY21" fmla="*/ 578953 h 1092960"/>
                    <a:gd name="connsiteX22" fmla="*/ 370209 w 701255"/>
                    <a:gd name="connsiteY22" fmla="*/ 644992 h 1092960"/>
                    <a:gd name="connsiteX23" fmla="*/ 669110 w 701255"/>
                    <a:gd name="connsiteY23" fmla="*/ 631596 h 1092960"/>
                    <a:gd name="connsiteX24" fmla="*/ 668224 w 701255"/>
                    <a:gd name="connsiteY24" fmla="*/ 576957 h 1092960"/>
                    <a:gd name="connsiteX25" fmla="*/ 681584 w 701255"/>
                    <a:gd name="connsiteY25" fmla="*/ 562912 h 1092960"/>
                    <a:gd name="connsiteX26" fmla="*/ 681584 w 701255"/>
                    <a:gd name="connsiteY26" fmla="*/ 632305 h 1092960"/>
                    <a:gd name="connsiteX27" fmla="*/ 369314 w 701255"/>
                    <a:gd name="connsiteY27" fmla="*/ 647174 h 1092960"/>
                    <a:gd name="connsiteX28" fmla="*/ 369314 w 701255"/>
                    <a:gd name="connsiteY28" fmla="*/ 567868 h 1092960"/>
                    <a:gd name="connsiteX29" fmla="*/ 370209 w 701255"/>
                    <a:gd name="connsiteY29" fmla="*/ 471950 h 1092960"/>
                    <a:gd name="connsiteX30" fmla="*/ 370209 w 701255"/>
                    <a:gd name="connsiteY30" fmla="*/ 537989 h 1092960"/>
                    <a:gd name="connsiteX31" fmla="*/ 669110 w 701255"/>
                    <a:gd name="connsiteY31" fmla="*/ 534321 h 1092960"/>
                    <a:gd name="connsiteX32" fmla="*/ 669109 w 701255"/>
                    <a:gd name="connsiteY32" fmla="*/ 476145 h 1092960"/>
                    <a:gd name="connsiteX33" fmla="*/ 369314 w 701255"/>
                    <a:gd name="connsiteY33" fmla="*/ 458821 h 1092960"/>
                    <a:gd name="connsiteX34" fmla="*/ 681584 w 701255"/>
                    <a:gd name="connsiteY34" fmla="*/ 461300 h 1092960"/>
                    <a:gd name="connsiteX35" fmla="*/ 681584 w 701255"/>
                    <a:gd name="connsiteY35" fmla="*/ 536506 h 1092960"/>
                    <a:gd name="connsiteX36" fmla="*/ 369314 w 701255"/>
                    <a:gd name="connsiteY36" fmla="*/ 539525 h 1092960"/>
                    <a:gd name="connsiteX37" fmla="*/ 370209 w 701255"/>
                    <a:gd name="connsiteY37" fmla="*/ 364947 h 1092960"/>
                    <a:gd name="connsiteX38" fmla="*/ 370209 w 701255"/>
                    <a:gd name="connsiteY38" fmla="*/ 430987 h 1092960"/>
                    <a:gd name="connsiteX39" fmla="*/ 669110 w 701255"/>
                    <a:gd name="connsiteY39" fmla="*/ 437045 h 1092960"/>
                    <a:gd name="connsiteX40" fmla="*/ 669109 w 701255"/>
                    <a:gd name="connsiteY40" fmla="*/ 377986 h 1092960"/>
                    <a:gd name="connsiteX41" fmla="*/ 369314 w 701255"/>
                    <a:gd name="connsiteY41" fmla="*/ 352235 h 1092960"/>
                    <a:gd name="connsiteX42" fmla="*/ 681584 w 701255"/>
                    <a:gd name="connsiteY42" fmla="*/ 365372 h 1092960"/>
                    <a:gd name="connsiteX43" fmla="*/ 680614 w 701255"/>
                    <a:gd name="connsiteY43" fmla="*/ 439610 h 1092960"/>
                    <a:gd name="connsiteX44" fmla="*/ 369314 w 701255"/>
                    <a:gd name="connsiteY44" fmla="*/ 432939 h 1092960"/>
                    <a:gd name="connsiteX45" fmla="*/ 370209 w 701255"/>
                    <a:gd name="connsiteY45" fmla="*/ 255291 h 1092960"/>
                    <a:gd name="connsiteX46" fmla="*/ 370209 w 701255"/>
                    <a:gd name="connsiteY46" fmla="*/ 321331 h 1092960"/>
                    <a:gd name="connsiteX47" fmla="*/ 669994 w 701255"/>
                    <a:gd name="connsiteY47" fmla="*/ 338886 h 1092960"/>
                    <a:gd name="connsiteX48" fmla="*/ 669993 w 701255"/>
                    <a:gd name="connsiteY48" fmla="*/ 280710 h 1092960"/>
                    <a:gd name="connsiteX49" fmla="*/ 369314 w 701255"/>
                    <a:gd name="connsiteY49" fmla="*/ 242742 h 1092960"/>
                    <a:gd name="connsiteX50" fmla="*/ 681584 w 701255"/>
                    <a:gd name="connsiteY50" fmla="*/ 269445 h 1092960"/>
                    <a:gd name="connsiteX51" fmla="*/ 680614 w 701255"/>
                    <a:gd name="connsiteY51" fmla="*/ 340776 h 1092960"/>
                    <a:gd name="connsiteX52" fmla="*/ 369314 w 701255"/>
                    <a:gd name="connsiteY52" fmla="*/ 323446 h 1092960"/>
                    <a:gd name="connsiteX53" fmla="*/ 370209 w 701255"/>
                    <a:gd name="connsiteY53" fmla="*/ 147404 h 1092960"/>
                    <a:gd name="connsiteX54" fmla="*/ 370209 w 701255"/>
                    <a:gd name="connsiteY54" fmla="*/ 213444 h 1092960"/>
                    <a:gd name="connsiteX55" fmla="*/ 670879 w 701255"/>
                    <a:gd name="connsiteY55" fmla="*/ 241611 h 1092960"/>
                    <a:gd name="connsiteX56" fmla="*/ 670878 w 701255"/>
                    <a:gd name="connsiteY56" fmla="*/ 183435 h 1092960"/>
                    <a:gd name="connsiteX57" fmla="*/ 369314 w 701255"/>
                    <a:gd name="connsiteY57" fmla="*/ 134218 h 1092960"/>
                    <a:gd name="connsiteX58" fmla="*/ 680614 w 701255"/>
                    <a:gd name="connsiteY58" fmla="*/ 171579 h 1092960"/>
                    <a:gd name="connsiteX59" fmla="*/ 680614 w 701255"/>
                    <a:gd name="connsiteY59" fmla="*/ 243880 h 1092960"/>
                    <a:gd name="connsiteX60" fmla="*/ 369314 w 701255"/>
                    <a:gd name="connsiteY60" fmla="*/ 214923 h 1092960"/>
                    <a:gd name="connsiteX61" fmla="*/ 370209 w 701255"/>
                    <a:gd name="connsiteY61" fmla="*/ 39517 h 1092960"/>
                    <a:gd name="connsiteX62" fmla="*/ 370209 w 701255"/>
                    <a:gd name="connsiteY62" fmla="*/ 105557 h 1092960"/>
                    <a:gd name="connsiteX63" fmla="*/ 670878 w 701255"/>
                    <a:gd name="connsiteY63" fmla="*/ 144335 h 1092960"/>
                    <a:gd name="connsiteX64" fmla="*/ 670878 w 701255"/>
                    <a:gd name="connsiteY64" fmla="*/ 87930 h 1092960"/>
                    <a:gd name="connsiteX65" fmla="*/ 369314 w 701255"/>
                    <a:gd name="connsiteY65" fmla="*/ 26664 h 1092960"/>
                    <a:gd name="connsiteX66" fmla="*/ 680614 w 701255"/>
                    <a:gd name="connsiteY66" fmla="*/ 74685 h 1092960"/>
                    <a:gd name="connsiteX67" fmla="*/ 679645 w 701255"/>
                    <a:gd name="connsiteY67" fmla="*/ 146985 h 1092960"/>
                    <a:gd name="connsiteX68" fmla="*/ 369314 w 701255"/>
                    <a:gd name="connsiteY68" fmla="*/ 107368 h 1092960"/>
                    <a:gd name="connsiteX69" fmla="*/ 353929 w 701255"/>
                    <a:gd name="connsiteY69" fmla="*/ 20713 h 1092960"/>
                    <a:gd name="connsiteX70" fmla="*/ 353929 w 701255"/>
                    <a:gd name="connsiteY70" fmla="*/ 1075435 h 1092960"/>
                    <a:gd name="connsiteX71" fmla="*/ 28909 w 701255"/>
                    <a:gd name="connsiteY71" fmla="*/ 1008519 h 1092960"/>
                    <a:gd name="connsiteX72" fmla="*/ 342777 w 701255"/>
                    <a:gd name="connsiteY72" fmla="*/ 1062688 h 1092960"/>
                    <a:gd name="connsiteX73" fmla="*/ 342777 w 701255"/>
                    <a:gd name="connsiteY73" fmla="*/ 41425 h 1092960"/>
                    <a:gd name="connsiteX74" fmla="*/ 20943 w 701255"/>
                    <a:gd name="connsiteY74" fmla="*/ 130646 h 1092960"/>
                    <a:gd name="connsiteX75" fmla="*/ 358709 w 701255"/>
                    <a:gd name="connsiteY75" fmla="*/ 0 h 1092960"/>
                    <a:gd name="connsiteX76" fmla="*/ 0 w 701255"/>
                    <a:gd name="connsiteY76" fmla="*/ 117454 h 1092960"/>
                    <a:gd name="connsiteX77" fmla="*/ 0 w 701255"/>
                    <a:gd name="connsiteY77" fmla="*/ 1015186 h 1092960"/>
                    <a:gd name="connsiteX78" fmla="*/ 360302 w 701255"/>
                    <a:gd name="connsiteY78" fmla="*/ 1092960 h 1092960"/>
                    <a:gd name="connsiteX79" fmla="*/ 701255 w 701255"/>
                    <a:gd name="connsiteY79" fmla="*/ 1022857 h 1092960"/>
                    <a:gd name="connsiteX80" fmla="*/ 699662 w 701255"/>
                    <a:gd name="connsiteY80" fmla="*/ 57356 h 10929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Lst>
                  <a:rect l="l" t="t" r="r" b="b"/>
                  <a:pathLst>
                    <a:path w="701255" h="1092960">
                      <a:moveTo>
                        <a:pt x="434943" y="954134"/>
                      </a:moveTo>
                      <a:cubicBezTo>
                        <a:pt x="417316" y="955714"/>
                        <a:pt x="404072" y="968665"/>
                        <a:pt x="405362" y="983063"/>
                      </a:cubicBezTo>
                      <a:cubicBezTo>
                        <a:pt x="406652" y="997462"/>
                        <a:pt x="421987" y="1007853"/>
                        <a:pt x="439614" y="1006274"/>
                      </a:cubicBezTo>
                      <a:cubicBezTo>
                        <a:pt x="457241" y="1004694"/>
                        <a:pt x="470484" y="991742"/>
                        <a:pt x="469195" y="977344"/>
                      </a:cubicBezTo>
                      <a:cubicBezTo>
                        <a:pt x="467904" y="962946"/>
                        <a:pt x="452569" y="952555"/>
                        <a:pt x="434943" y="954134"/>
                      </a:cubicBezTo>
                      <a:close/>
                      <a:moveTo>
                        <a:pt x="437449" y="951888"/>
                      </a:moveTo>
                      <a:cubicBezTo>
                        <a:pt x="457606" y="950082"/>
                        <a:pt x="475074" y="961187"/>
                        <a:pt x="476463" y="976693"/>
                      </a:cubicBezTo>
                      <a:cubicBezTo>
                        <a:pt x="477852" y="992198"/>
                        <a:pt x="462637" y="1006232"/>
                        <a:pt x="442479" y="1008039"/>
                      </a:cubicBezTo>
                      <a:cubicBezTo>
                        <a:pt x="422322" y="1009844"/>
                        <a:pt x="404855" y="998739"/>
                        <a:pt x="403466" y="983233"/>
                      </a:cubicBezTo>
                      <a:cubicBezTo>
                        <a:pt x="402077" y="967728"/>
                        <a:pt x="417291" y="953694"/>
                        <a:pt x="437449" y="951888"/>
                      </a:cubicBezTo>
                      <a:close/>
                      <a:moveTo>
                        <a:pt x="374642" y="720143"/>
                      </a:moveTo>
                      <a:lnTo>
                        <a:pt x="382608" y="1056316"/>
                      </a:lnTo>
                      <a:lnTo>
                        <a:pt x="537152" y="1035604"/>
                      </a:lnTo>
                      <a:lnTo>
                        <a:pt x="374642" y="1067468"/>
                      </a:lnTo>
                      <a:close/>
                      <a:moveTo>
                        <a:pt x="684061" y="654610"/>
                      </a:moveTo>
                      <a:lnTo>
                        <a:pt x="684061" y="1009011"/>
                      </a:lnTo>
                      <a:lnTo>
                        <a:pt x="683492" y="1009120"/>
                      </a:lnTo>
                      <a:lnTo>
                        <a:pt x="664611" y="677126"/>
                      </a:lnTo>
                      <a:lnTo>
                        <a:pt x="371792" y="697592"/>
                      </a:lnTo>
                      <a:lnTo>
                        <a:pt x="371792" y="674437"/>
                      </a:lnTo>
                      <a:close/>
                      <a:moveTo>
                        <a:pt x="668224" y="576957"/>
                      </a:moveTo>
                      <a:lnTo>
                        <a:pt x="370209" y="578953"/>
                      </a:lnTo>
                      <a:lnTo>
                        <a:pt x="370209" y="644992"/>
                      </a:lnTo>
                      <a:lnTo>
                        <a:pt x="669110" y="631596"/>
                      </a:lnTo>
                      <a:cubicBezTo>
                        <a:pt x="669110" y="612204"/>
                        <a:pt x="668224" y="596349"/>
                        <a:pt x="668224" y="576957"/>
                      </a:cubicBezTo>
                      <a:close/>
                      <a:moveTo>
                        <a:pt x="681584" y="562912"/>
                      </a:moveTo>
                      <a:cubicBezTo>
                        <a:pt x="679932" y="586043"/>
                        <a:pt x="680757" y="609175"/>
                        <a:pt x="681584" y="632305"/>
                      </a:cubicBezTo>
                      <a:lnTo>
                        <a:pt x="369314" y="647174"/>
                      </a:lnTo>
                      <a:lnTo>
                        <a:pt x="369314" y="567868"/>
                      </a:lnTo>
                      <a:close/>
                      <a:moveTo>
                        <a:pt x="370209" y="471950"/>
                      </a:moveTo>
                      <a:lnTo>
                        <a:pt x="370209" y="537989"/>
                      </a:lnTo>
                      <a:lnTo>
                        <a:pt x="669110" y="534321"/>
                      </a:lnTo>
                      <a:cubicBezTo>
                        <a:pt x="669110" y="514929"/>
                        <a:pt x="669109" y="495537"/>
                        <a:pt x="669109" y="476145"/>
                      </a:cubicBezTo>
                      <a:close/>
                      <a:moveTo>
                        <a:pt x="369314" y="458821"/>
                      </a:moveTo>
                      <a:lnTo>
                        <a:pt x="681584" y="461300"/>
                      </a:lnTo>
                      <a:cubicBezTo>
                        <a:pt x="679932" y="484431"/>
                        <a:pt x="680757" y="513376"/>
                        <a:pt x="681584" y="536506"/>
                      </a:cubicBezTo>
                      <a:lnTo>
                        <a:pt x="369314" y="539525"/>
                      </a:lnTo>
                      <a:close/>
                      <a:moveTo>
                        <a:pt x="370209" y="364947"/>
                      </a:moveTo>
                      <a:lnTo>
                        <a:pt x="370209" y="430987"/>
                      </a:lnTo>
                      <a:lnTo>
                        <a:pt x="669110" y="437045"/>
                      </a:lnTo>
                      <a:cubicBezTo>
                        <a:pt x="669110" y="417654"/>
                        <a:pt x="669109" y="397378"/>
                        <a:pt x="669109" y="377986"/>
                      </a:cubicBezTo>
                      <a:close/>
                      <a:moveTo>
                        <a:pt x="369314" y="352235"/>
                      </a:moveTo>
                      <a:lnTo>
                        <a:pt x="681584" y="365372"/>
                      </a:lnTo>
                      <a:cubicBezTo>
                        <a:pt x="679932" y="388504"/>
                        <a:pt x="679788" y="416479"/>
                        <a:pt x="680614" y="439610"/>
                      </a:cubicBezTo>
                      <a:lnTo>
                        <a:pt x="369314" y="432939"/>
                      </a:lnTo>
                      <a:close/>
                      <a:moveTo>
                        <a:pt x="370209" y="255291"/>
                      </a:moveTo>
                      <a:lnTo>
                        <a:pt x="370209" y="321331"/>
                      </a:lnTo>
                      <a:lnTo>
                        <a:pt x="669994" y="338886"/>
                      </a:lnTo>
                      <a:cubicBezTo>
                        <a:pt x="669994" y="319494"/>
                        <a:pt x="669993" y="300103"/>
                        <a:pt x="669993" y="280710"/>
                      </a:cubicBezTo>
                      <a:close/>
                      <a:moveTo>
                        <a:pt x="369314" y="242742"/>
                      </a:moveTo>
                      <a:lnTo>
                        <a:pt x="681584" y="269445"/>
                      </a:lnTo>
                      <a:cubicBezTo>
                        <a:pt x="679932" y="292576"/>
                        <a:pt x="679788" y="317646"/>
                        <a:pt x="680614" y="340776"/>
                      </a:cubicBezTo>
                      <a:lnTo>
                        <a:pt x="369314" y="323446"/>
                      </a:lnTo>
                      <a:close/>
                      <a:moveTo>
                        <a:pt x="370209" y="147404"/>
                      </a:moveTo>
                      <a:lnTo>
                        <a:pt x="370209" y="213444"/>
                      </a:lnTo>
                      <a:lnTo>
                        <a:pt x="670879" y="241611"/>
                      </a:lnTo>
                      <a:cubicBezTo>
                        <a:pt x="670879" y="222220"/>
                        <a:pt x="670878" y="202827"/>
                        <a:pt x="670878" y="183435"/>
                      </a:cubicBezTo>
                      <a:close/>
                      <a:moveTo>
                        <a:pt x="369314" y="134218"/>
                      </a:moveTo>
                      <a:lnTo>
                        <a:pt x="680614" y="171579"/>
                      </a:lnTo>
                      <a:cubicBezTo>
                        <a:pt x="678963" y="194710"/>
                        <a:pt x="679788" y="220749"/>
                        <a:pt x="680614" y="243880"/>
                      </a:cubicBezTo>
                      <a:lnTo>
                        <a:pt x="369314" y="214923"/>
                      </a:lnTo>
                      <a:close/>
                      <a:moveTo>
                        <a:pt x="370209" y="39517"/>
                      </a:moveTo>
                      <a:lnTo>
                        <a:pt x="370209" y="105557"/>
                      </a:lnTo>
                      <a:lnTo>
                        <a:pt x="670878" y="144335"/>
                      </a:lnTo>
                      <a:lnTo>
                        <a:pt x="670878" y="87930"/>
                      </a:lnTo>
                      <a:close/>
                      <a:moveTo>
                        <a:pt x="369314" y="26664"/>
                      </a:moveTo>
                      <a:lnTo>
                        <a:pt x="680614" y="74685"/>
                      </a:lnTo>
                      <a:cubicBezTo>
                        <a:pt x="678963" y="97815"/>
                        <a:pt x="678820" y="123853"/>
                        <a:pt x="679645" y="146985"/>
                      </a:cubicBezTo>
                      <a:lnTo>
                        <a:pt x="369314" y="107368"/>
                      </a:lnTo>
                      <a:close/>
                      <a:moveTo>
                        <a:pt x="353929" y="20713"/>
                      </a:moveTo>
                      <a:lnTo>
                        <a:pt x="353929" y="1075435"/>
                      </a:lnTo>
                      <a:lnTo>
                        <a:pt x="28909" y="1008519"/>
                      </a:lnTo>
                      <a:lnTo>
                        <a:pt x="342777" y="1062688"/>
                      </a:lnTo>
                      <a:lnTo>
                        <a:pt x="342777" y="41425"/>
                      </a:lnTo>
                      <a:lnTo>
                        <a:pt x="20943" y="130646"/>
                      </a:lnTo>
                      <a:close/>
                      <a:moveTo>
                        <a:pt x="358709" y="0"/>
                      </a:moveTo>
                      <a:lnTo>
                        <a:pt x="0" y="117454"/>
                      </a:lnTo>
                      <a:lnTo>
                        <a:pt x="0" y="1015186"/>
                      </a:lnTo>
                      <a:lnTo>
                        <a:pt x="360302" y="1092960"/>
                      </a:lnTo>
                      <a:lnTo>
                        <a:pt x="701255" y="1022857"/>
                      </a:lnTo>
                      <a:cubicBezTo>
                        <a:pt x="700724" y="704210"/>
                        <a:pt x="700193" y="376004"/>
                        <a:pt x="699662" y="57356"/>
                      </a:cubicBezTo>
                      <a:close/>
                    </a:path>
                  </a:pathLst>
                </a:custGeom>
                <a:solidFill>
                  <a:schemeClr val="accent4"/>
                </a:solidFill>
              </p:spPr>
              <p:txBody>
                <a:bodyPr vert="horz" wrap="square" lIns="91440" tIns="91440" rIns="91440" bIns="91440" numCol="1" rtlCol="0" anchor="t" anchorCtr="0" compatLnSpc="1">
                  <a:prstTxWarp prst="textNoShape">
                    <a:avLst/>
                  </a:prstTxWarp>
                  <a:noAutofit/>
                </a:bodyPr>
                <a:lstStyle/>
                <a:p>
                  <a:pPr algn="ctr" defTabSz="914159">
                    <a:lnSpc>
                      <a:spcPct val="90000"/>
                    </a:lnSpc>
                    <a:spcBef>
                      <a:spcPts val="630"/>
                    </a:spcBef>
                    <a:buClr>
                      <a:srgbClr val="FFFF99"/>
                    </a:buClr>
                    <a:buSzPct val="120000"/>
                  </a:pPr>
                  <a:endParaRPr lang="en-US" sz="2000" dirty="0">
                    <a:gradFill>
                      <a:gsLst>
                        <a:gs pos="0">
                          <a:schemeClr val="bg1"/>
                        </a:gs>
                        <a:gs pos="100000">
                          <a:schemeClr val="bg1"/>
                        </a:gs>
                      </a:gsLst>
                      <a:lin ang="5400000" scaled="0"/>
                    </a:gradFill>
                    <a:latin typeface="Segoe UI" pitchFamily="34" charset="0"/>
                    <a:ea typeface="Segoe UI" pitchFamily="34" charset="0"/>
                    <a:cs typeface="Segoe UI" pitchFamily="34" charset="0"/>
                  </a:endParaRPr>
                </a:p>
              </p:txBody>
            </p:sp>
            <p:sp>
              <p:nvSpPr>
                <p:cNvPr id="38" name="Freeform 37"/>
                <p:cNvSpPr/>
                <p:nvPr/>
              </p:nvSpPr>
              <p:spPr>
                <a:xfrm flipH="1">
                  <a:off x="6278499" y="5179958"/>
                  <a:ext cx="594544" cy="926638"/>
                </a:xfrm>
                <a:custGeom>
                  <a:avLst/>
                  <a:gdLst>
                    <a:gd name="connsiteX0" fmla="*/ 434943 w 701255"/>
                    <a:gd name="connsiteY0" fmla="*/ 954134 h 1092960"/>
                    <a:gd name="connsiteX1" fmla="*/ 405362 w 701255"/>
                    <a:gd name="connsiteY1" fmla="*/ 983063 h 1092960"/>
                    <a:gd name="connsiteX2" fmla="*/ 439614 w 701255"/>
                    <a:gd name="connsiteY2" fmla="*/ 1006274 h 1092960"/>
                    <a:gd name="connsiteX3" fmla="*/ 469195 w 701255"/>
                    <a:gd name="connsiteY3" fmla="*/ 977344 h 1092960"/>
                    <a:gd name="connsiteX4" fmla="*/ 434943 w 701255"/>
                    <a:gd name="connsiteY4" fmla="*/ 954134 h 1092960"/>
                    <a:gd name="connsiteX5" fmla="*/ 437449 w 701255"/>
                    <a:gd name="connsiteY5" fmla="*/ 951888 h 1092960"/>
                    <a:gd name="connsiteX6" fmla="*/ 476463 w 701255"/>
                    <a:gd name="connsiteY6" fmla="*/ 976693 h 1092960"/>
                    <a:gd name="connsiteX7" fmla="*/ 442479 w 701255"/>
                    <a:gd name="connsiteY7" fmla="*/ 1008039 h 1092960"/>
                    <a:gd name="connsiteX8" fmla="*/ 403466 w 701255"/>
                    <a:gd name="connsiteY8" fmla="*/ 983233 h 1092960"/>
                    <a:gd name="connsiteX9" fmla="*/ 437449 w 701255"/>
                    <a:gd name="connsiteY9" fmla="*/ 951888 h 1092960"/>
                    <a:gd name="connsiteX10" fmla="*/ 374642 w 701255"/>
                    <a:gd name="connsiteY10" fmla="*/ 720143 h 1092960"/>
                    <a:gd name="connsiteX11" fmla="*/ 382608 w 701255"/>
                    <a:gd name="connsiteY11" fmla="*/ 1056316 h 1092960"/>
                    <a:gd name="connsiteX12" fmla="*/ 537152 w 701255"/>
                    <a:gd name="connsiteY12" fmla="*/ 1035604 h 1092960"/>
                    <a:gd name="connsiteX13" fmla="*/ 374642 w 701255"/>
                    <a:gd name="connsiteY13" fmla="*/ 1067468 h 1092960"/>
                    <a:gd name="connsiteX14" fmla="*/ 684061 w 701255"/>
                    <a:gd name="connsiteY14" fmla="*/ 654610 h 1092960"/>
                    <a:gd name="connsiteX15" fmla="*/ 684061 w 701255"/>
                    <a:gd name="connsiteY15" fmla="*/ 1009011 h 1092960"/>
                    <a:gd name="connsiteX16" fmla="*/ 683492 w 701255"/>
                    <a:gd name="connsiteY16" fmla="*/ 1009120 h 1092960"/>
                    <a:gd name="connsiteX17" fmla="*/ 664611 w 701255"/>
                    <a:gd name="connsiteY17" fmla="*/ 677126 h 1092960"/>
                    <a:gd name="connsiteX18" fmla="*/ 371792 w 701255"/>
                    <a:gd name="connsiteY18" fmla="*/ 697592 h 1092960"/>
                    <a:gd name="connsiteX19" fmla="*/ 371792 w 701255"/>
                    <a:gd name="connsiteY19" fmla="*/ 674437 h 1092960"/>
                    <a:gd name="connsiteX20" fmla="*/ 668224 w 701255"/>
                    <a:gd name="connsiteY20" fmla="*/ 576957 h 1092960"/>
                    <a:gd name="connsiteX21" fmla="*/ 370209 w 701255"/>
                    <a:gd name="connsiteY21" fmla="*/ 578953 h 1092960"/>
                    <a:gd name="connsiteX22" fmla="*/ 370209 w 701255"/>
                    <a:gd name="connsiteY22" fmla="*/ 644992 h 1092960"/>
                    <a:gd name="connsiteX23" fmla="*/ 669110 w 701255"/>
                    <a:gd name="connsiteY23" fmla="*/ 631596 h 1092960"/>
                    <a:gd name="connsiteX24" fmla="*/ 668224 w 701255"/>
                    <a:gd name="connsiteY24" fmla="*/ 576957 h 1092960"/>
                    <a:gd name="connsiteX25" fmla="*/ 681584 w 701255"/>
                    <a:gd name="connsiteY25" fmla="*/ 562912 h 1092960"/>
                    <a:gd name="connsiteX26" fmla="*/ 681584 w 701255"/>
                    <a:gd name="connsiteY26" fmla="*/ 632305 h 1092960"/>
                    <a:gd name="connsiteX27" fmla="*/ 369314 w 701255"/>
                    <a:gd name="connsiteY27" fmla="*/ 647174 h 1092960"/>
                    <a:gd name="connsiteX28" fmla="*/ 369314 w 701255"/>
                    <a:gd name="connsiteY28" fmla="*/ 567868 h 1092960"/>
                    <a:gd name="connsiteX29" fmla="*/ 370209 w 701255"/>
                    <a:gd name="connsiteY29" fmla="*/ 471950 h 1092960"/>
                    <a:gd name="connsiteX30" fmla="*/ 370209 w 701255"/>
                    <a:gd name="connsiteY30" fmla="*/ 537989 h 1092960"/>
                    <a:gd name="connsiteX31" fmla="*/ 669110 w 701255"/>
                    <a:gd name="connsiteY31" fmla="*/ 534321 h 1092960"/>
                    <a:gd name="connsiteX32" fmla="*/ 669109 w 701255"/>
                    <a:gd name="connsiteY32" fmla="*/ 476145 h 1092960"/>
                    <a:gd name="connsiteX33" fmla="*/ 369314 w 701255"/>
                    <a:gd name="connsiteY33" fmla="*/ 458821 h 1092960"/>
                    <a:gd name="connsiteX34" fmla="*/ 681584 w 701255"/>
                    <a:gd name="connsiteY34" fmla="*/ 461300 h 1092960"/>
                    <a:gd name="connsiteX35" fmla="*/ 681584 w 701255"/>
                    <a:gd name="connsiteY35" fmla="*/ 536506 h 1092960"/>
                    <a:gd name="connsiteX36" fmla="*/ 369314 w 701255"/>
                    <a:gd name="connsiteY36" fmla="*/ 539525 h 1092960"/>
                    <a:gd name="connsiteX37" fmla="*/ 370209 w 701255"/>
                    <a:gd name="connsiteY37" fmla="*/ 364947 h 1092960"/>
                    <a:gd name="connsiteX38" fmla="*/ 370209 w 701255"/>
                    <a:gd name="connsiteY38" fmla="*/ 430987 h 1092960"/>
                    <a:gd name="connsiteX39" fmla="*/ 669110 w 701255"/>
                    <a:gd name="connsiteY39" fmla="*/ 437045 h 1092960"/>
                    <a:gd name="connsiteX40" fmla="*/ 669109 w 701255"/>
                    <a:gd name="connsiteY40" fmla="*/ 377986 h 1092960"/>
                    <a:gd name="connsiteX41" fmla="*/ 369314 w 701255"/>
                    <a:gd name="connsiteY41" fmla="*/ 352235 h 1092960"/>
                    <a:gd name="connsiteX42" fmla="*/ 681584 w 701255"/>
                    <a:gd name="connsiteY42" fmla="*/ 365372 h 1092960"/>
                    <a:gd name="connsiteX43" fmla="*/ 680614 w 701255"/>
                    <a:gd name="connsiteY43" fmla="*/ 439610 h 1092960"/>
                    <a:gd name="connsiteX44" fmla="*/ 369314 w 701255"/>
                    <a:gd name="connsiteY44" fmla="*/ 432939 h 1092960"/>
                    <a:gd name="connsiteX45" fmla="*/ 370209 w 701255"/>
                    <a:gd name="connsiteY45" fmla="*/ 255291 h 1092960"/>
                    <a:gd name="connsiteX46" fmla="*/ 370209 w 701255"/>
                    <a:gd name="connsiteY46" fmla="*/ 321331 h 1092960"/>
                    <a:gd name="connsiteX47" fmla="*/ 669994 w 701255"/>
                    <a:gd name="connsiteY47" fmla="*/ 338886 h 1092960"/>
                    <a:gd name="connsiteX48" fmla="*/ 669993 w 701255"/>
                    <a:gd name="connsiteY48" fmla="*/ 280710 h 1092960"/>
                    <a:gd name="connsiteX49" fmla="*/ 369314 w 701255"/>
                    <a:gd name="connsiteY49" fmla="*/ 242742 h 1092960"/>
                    <a:gd name="connsiteX50" fmla="*/ 681584 w 701255"/>
                    <a:gd name="connsiteY50" fmla="*/ 269445 h 1092960"/>
                    <a:gd name="connsiteX51" fmla="*/ 680614 w 701255"/>
                    <a:gd name="connsiteY51" fmla="*/ 340776 h 1092960"/>
                    <a:gd name="connsiteX52" fmla="*/ 369314 w 701255"/>
                    <a:gd name="connsiteY52" fmla="*/ 323446 h 1092960"/>
                    <a:gd name="connsiteX53" fmla="*/ 370209 w 701255"/>
                    <a:gd name="connsiteY53" fmla="*/ 147404 h 1092960"/>
                    <a:gd name="connsiteX54" fmla="*/ 370209 w 701255"/>
                    <a:gd name="connsiteY54" fmla="*/ 213444 h 1092960"/>
                    <a:gd name="connsiteX55" fmla="*/ 670879 w 701255"/>
                    <a:gd name="connsiteY55" fmla="*/ 241611 h 1092960"/>
                    <a:gd name="connsiteX56" fmla="*/ 670878 w 701255"/>
                    <a:gd name="connsiteY56" fmla="*/ 183435 h 1092960"/>
                    <a:gd name="connsiteX57" fmla="*/ 369314 w 701255"/>
                    <a:gd name="connsiteY57" fmla="*/ 134218 h 1092960"/>
                    <a:gd name="connsiteX58" fmla="*/ 680614 w 701255"/>
                    <a:gd name="connsiteY58" fmla="*/ 171579 h 1092960"/>
                    <a:gd name="connsiteX59" fmla="*/ 680614 w 701255"/>
                    <a:gd name="connsiteY59" fmla="*/ 243880 h 1092960"/>
                    <a:gd name="connsiteX60" fmla="*/ 369314 w 701255"/>
                    <a:gd name="connsiteY60" fmla="*/ 214923 h 1092960"/>
                    <a:gd name="connsiteX61" fmla="*/ 370209 w 701255"/>
                    <a:gd name="connsiteY61" fmla="*/ 39517 h 1092960"/>
                    <a:gd name="connsiteX62" fmla="*/ 370209 w 701255"/>
                    <a:gd name="connsiteY62" fmla="*/ 105557 h 1092960"/>
                    <a:gd name="connsiteX63" fmla="*/ 670878 w 701255"/>
                    <a:gd name="connsiteY63" fmla="*/ 144335 h 1092960"/>
                    <a:gd name="connsiteX64" fmla="*/ 670878 w 701255"/>
                    <a:gd name="connsiteY64" fmla="*/ 87930 h 1092960"/>
                    <a:gd name="connsiteX65" fmla="*/ 369314 w 701255"/>
                    <a:gd name="connsiteY65" fmla="*/ 26664 h 1092960"/>
                    <a:gd name="connsiteX66" fmla="*/ 680614 w 701255"/>
                    <a:gd name="connsiteY66" fmla="*/ 74685 h 1092960"/>
                    <a:gd name="connsiteX67" fmla="*/ 679645 w 701255"/>
                    <a:gd name="connsiteY67" fmla="*/ 146985 h 1092960"/>
                    <a:gd name="connsiteX68" fmla="*/ 369314 w 701255"/>
                    <a:gd name="connsiteY68" fmla="*/ 107368 h 1092960"/>
                    <a:gd name="connsiteX69" fmla="*/ 353929 w 701255"/>
                    <a:gd name="connsiteY69" fmla="*/ 20713 h 1092960"/>
                    <a:gd name="connsiteX70" fmla="*/ 353929 w 701255"/>
                    <a:gd name="connsiteY70" fmla="*/ 1075435 h 1092960"/>
                    <a:gd name="connsiteX71" fmla="*/ 28909 w 701255"/>
                    <a:gd name="connsiteY71" fmla="*/ 1008519 h 1092960"/>
                    <a:gd name="connsiteX72" fmla="*/ 342777 w 701255"/>
                    <a:gd name="connsiteY72" fmla="*/ 1062688 h 1092960"/>
                    <a:gd name="connsiteX73" fmla="*/ 342777 w 701255"/>
                    <a:gd name="connsiteY73" fmla="*/ 41425 h 1092960"/>
                    <a:gd name="connsiteX74" fmla="*/ 20943 w 701255"/>
                    <a:gd name="connsiteY74" fmla="*/ 130646 h 1092960"/>
                    <a:gd name="connsiteX75" fmla="*/ 358709 w 701255"/>
                    <a:gd name="connsiteY75" fmla="*/ 0 h 1092960"/>
                    <a:gd name="connsiteX76" fmla="*/ 0 w 701255"/>
                    <a:gd name="connsiteY76" fmla="*/ 117454 h 1092960"/>
                    <a:gd name="connsiteX77" fmla="*/ 0 w 701255"/>
                    <a:gd name="connsiteY77" fmla="*/ 1015186 h 1092960"/>
                    <a:gd name="connsiteX78" fmla="*/ 360302 w 701255"/>
                    <a:gd name="connsiteY78" fmla="*/ 1092960 h 1092960"/>
                    <a:gd name="connsiteX79" fmla="*/ 701255 w 701255"/>
                    <a:gd name="connsiteY79" fmla="*/ 1022857 h 1092960"/>
                    <a:gd name="connsiteX80" fmla="*/ 699662 w 701255"/>
                    <a:gd name="connsiteY80" fmla="*/ 57356 h 10929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Lst>
                  <a:rect l="l" t="t" r="r" b="b"/>
                  <a:pathLst>
                    <a:path w="701255" h="1092960">
                      <a:moveTo>
                        <a:pt x="434943" y="954134"/>
                      </a:moveTo>
                      <a:cubicBezTo>
                        <a:pt x="417316" y="955714"/>
                        <a:pt x="404072" y="968665"/>
                        <a:pt x="405362" y="983063"/>
                      </a:cubicBezTo>
                      <a:cubicBezTo>
                        <a:pt x="406652" y="997462"/>
                        <a:pt x="421987" y="1007853"/>
                        <a:pt x="439614" y="1006274"/>
                      </a:cubicBezTo>
                      <a:cubicBezTo>
                        <a:pt x="457241" y="1004694"/>
                        <a:pt x="470484" y="991742"/>
                        <a:pt x="469195" y="977344"/>
                      </a:cubicBezTo>
                      <a:cubicBezTo>
                        <a:pt x="467904" y="962946"/>
                        <a:pt x="452569" y="952555"/>
                        <a:pt x="434943" y="954134"/>
                      </a:cubicBezTo>
                      <a:close/>
                      <a:moveTo>
                        <a:pt x="437449" y="951888"/>
                      </a:moveTo>
                      <a:cubicBezTo>
                        <a:pt x="457606" y="950082"/>
                        <a:pt x="475074" y="961187"/>
                        <a:pt x="476463" y="976693"/>
                      </a:cubicBezTo>
                      <a:cubicBezTo>
                        <a:pt x="477852" y="992198"/>
                        <a:pt x="462637" y="1006232"/>
                        <a:pt x="442479" y="1008039"/>
                      </a:cubicBezTo>
                      <a:cubicBezTo>
                        <a:pt x="422322" y="1009844"/>
                        <a:pt x="404855" y="998739"/>
                        <a:pt x="403466" y="983233"/>
                      </a:cubicBezTo>
                      <a:cubicBezTo>
                        <a:pt x="402077" y="967728"/>
                        <a:pt x="417291" y="953694"/>
                        <a:pt x="437449" y="951888"/>
                      </a:cubicBezTo>
                      <a:close/>
                      <a:moveTo>
                        <a:pt x="374642" y="720143"/>
                      </a:moveTo>
                      <a:lnTo>
                        <a:pt x="382608" y="1056316"/>
                      </a:lnTo>
                      <a:lnTo>
                        <a:pt x="537152" y="1035604"/>
                      </a:lnTo>
                      <a:lnTo>
                        <a:pt x="374642" y="1067468"/>
                      </a:lnTo>
                      <a:close/>
                      <a:moveTo>
                        <a:pt x="684061" y="654610"/>
                      </a:moveTo>
                      <a:lnTo>
                        <a:pt x="684061" y="1009011"/>
                      </a:lnTo>
                      <a:lnTo>
                        <a:pt x="683492" y="1009120"/>
                      </a:lnTo>
                      <a:lnTo>
                        <a:pt x="664611" y="677126"/>
                      </a:lnTo>
                      <a:lnTo>
                        <a:pt x="371792" y="697592"/>
                      </a:lnTo>
                      <a:lnTo>
                        <a:pt x="371792" y="674437"/>
                      </a:lnTo>
                      <a:close/>
                      <a:moveTo>
                        <a:pt x="668224" y="576957"/>
                      </a:moveTo>
                      <a:lnTo>
                        <a:pt x="370209" y="578953"/>
                      </a:lnTo>
                      <a:lnTo>
                        <a:pt x="370209" y="644992"/>
                      </a:lnTo>
                      <a:lnTo>
                        <a:pt x="669110" y="631596"/>
                      </a:lnTo>
                      <a:cubicBezTo>
                        <a:pt x="669110" y="612204"/>
                        <a:pt x="668224" y="596349"/>
                        <a:pt x="668224" y="576957"/>
                      </a:cubicBezTo>
                      <a:close/>
                      <a:moveTo>
                        <a:pt x="681584" y="562912"/>
                      </a:moveTo>
                      <a:cubicBezTo>
                        <a:pt x="679932" y="586043"/>
                        <a:pt x="680757" y="609175"/>
                        <a:pt x="681584" y="632305"/>
                      </a:cubicBezTo>
                      <a:lnTo>
                        <a:pt x="369314" y="647174"/>
                      </a:lnTo>
                      <a:lnTo>
                        <a:pt x="369314" y="567868"/>
                      </a:lnTo>
                      <a:close/>
                      <a:moveTo>
                        <a:pt x="370209" y="471950"/>
                      </a:moveTo>
                      <a:lnTo>
                        <a:pt x="370209" y="537989"/>
                      </a:lnTo>
                      <a:lnTo>
                        <a:pt x="669110" y="534321"/>
                      </a:lnTo>
                      <a:cubicBezTo>
                        <a:pt x="669110" y="514929"/>
                        <a:pt x="669109" y="495537"/>
                        <a:pt x="669109" y="476145"/>
                      </a:cubicBezTo>
                      <a:close/>
                      <a:moveTo>
                        <a:pt x="369314" y="458821"/>
                      </a:moveTo>
                      <a:lnTo>
                        <a:pt x="681584" y="461300"/>
                      </a:lnTo>
                      <a:cubicBezTo>
                        <a:pt x="679932" y="484431"/>
                        <a:pt x="680757" y="513376"/>
                        <a:pt x="681584" y="536506"/>
                      </a:cubicBezTo>
                      <a:lnTo>
                        <a:pt x="369314" y="539525"/>
                      </a:lnTo>
                      <a:close/>
                      <a:moveTo>
                        <a:pt x="370209" y="364947"/>
                      </a:moveTo>
                      <a:lnTo>
                        <a:pt x="370209" y="430987"/>
                      </a:lnTo>
                      <a:lnTo>
                        <a:pt x="669110" y="437045"/>
                      </a:lnTo>
                      <a:cubicBezTo>
                        <a:pt x="669110" y="417654"/>
                        <a:pt x="669109" y="397378"/>
                        <a:pt x="669109" y="377986"/>
                      </a:cubicBezTo>
                      <a:close/>
                      <a:moveTo>
                        <a:pt x="369314" y="352235"/>
                      </a:moveTo>
                      <a:lnTo>
                        <a:pt x="681584" y="365372"/>
                      </a:lnTo>
                      <a:cubicBezTo>
                        <a:pt x="679932" y="388504"/>
                        <a:pt x="679788" y="416479"/>
                        <a:pt x="680614" y="439610"/>
                      </a:cubicBezTo>
                      <a:lnTo>
                        <a:pt x="369314" y="432939"/>
                      </a:lnTo>
                      <a:close/>
                      <a:moveTo>
                        <a:pt x="370209" y="255291"/>
                      </a:moveTo>
                      <a:lnTo>
                        <a:pt x="370209" y="321331"/>
                      </a:lnTo>
                      <a:lnTo>
                        <a:pt x="669994" y="338886"/>
                      </a:lnTo>
                      <a:cubicBezTo>
                        <a:pt x="669994" y="319494"/>
                        <a:pt x="669993" y="300103"/>
                        <a:pt x="669993" y="280710"/>
                      </a:cubicBezTo>
                      <a:close/>
                      <a:moveTo>
                        <a:pt x="369314" y="242742"/>
                      </a:moveTo>
                      <a:lnTo>
                        <a:pt x="681584" y="269445"/>
                      </a:lnTo>
                      <a:cubicBezTo>
                        <a:pt x="679932" y="292576"/>
                        <a:pt x="679788" y="317646"/>
                        <a:pt x="680614" y="340776"/>
                      </a:cubicBezTo>
                      <a:lnTo>
                        <a:pt x="369314" y="323446"/>
                      </a:lnTo>
                      <a:close/>
                      <a:moveTo>
                        <a:pt x="370209" y="147404"/>
                      </a:moveTo>
                      <a:lnTo>
                        <a:pt x="370209" y="213444"/>
                      </a:lnTo>
                      <a:lnTo>
                        <a:pt x="670879" y="241611"/>
                      </a:lnTo>
                      <a:cubicBezTo>
                        <a:pt x="670879" y="222220"/>
                        <a:pt x="670878" y="202827"/>
                        <a:pt x="670878" y="183435"/>
                      </a:cubicBezTo>
                      <a:close/>
                      <a:moveTo>
                        <a:pt x="369314" y="134218"/>
                      </a:moveTo>
                      <a:lnTo>
                        <a:pt x="680614" y="171579"/>
                      </a:lnTo>
                      <a:cubicBezTo>
                        <a:pt x="678963" y="194710"/>
                        <a:pt x="679788" y="220749"/>
                        <a:pt x="680614" y="243880"/>
                      </a:cubicBezTo>
                      <a:lnTo>
                        <a:pt x="369314" y="214923"/>
                      </a:lnTo>
                      <a:close/>
                      <a:moveTo>
                        <a:pt x="370209" y="39517"/>
                      </a:moveTo>
                      <a:lnTo>
                        <a:pt x="370209" y="105557"/>
                      </a:lnTo>
                      <a:lnTo>
                        <a:pt x="670878" y="144335"/>
                      </a:lnTo>
                      <a:lnTo>
                        <a:pt x="670878" y="87930"/>
                      </a:lnTo>
                      <a:close/>
                      <a:moveTo>
                        <a:pt x="369314" y="26664"/>
                      </a:moveTo>
                      <a:lnTo>
                        <a:pt x="680614" y="74685"/>
                      </a:lnTo>
                      <a:cubicBezTo>
                        <a:pt x="678963" y="97815"/>
                        <a:pt x="678820" y="123853"/>
                        <a:pt x="679645" y="146985"/>
                      </a:cubicBezTo>
                      <a:lnTo>
                        <a:pt x="369314" y="107368"/>
                      </a:lnTo>
                      <a:close/>
                      <a:moveTo>
                        <a:pt x="353929" y="20713"/>
                      </a:moveTo>
                      <a:lnTo>
                        <a:pt x="353929" y="1075435"/>
                      </a:lnTo>
                      <a:lnTo>
                        <a:pt x="28909" y="1008519"/>
                      </a:lnTo>
                      <a:lnTo>
                        <a:pt x="342777" y="1062688"/>
                      </a:lnTo>
                      <a:lnTo>
                        <a:pt x="342777" y="41425"/>
                      </a:lnTo>
                      <a:lnTo>
                        <a:pt x="20943" y="130646"/>
                      </a:lnTo>
                      <a:close/>
                      <a:moveTo>
                        <a:pt x="358709" y="0"/>
                      </a:moveTo>
                      <a:lnTo>
                        <a:pt x="0" y="117454"/>
                      </a:lnTo>
                      <a:lnTo>
                        <a:pt x="0" y="1015186"/>
                      </a:lnTo>
                      <a:lnTo>
                        <a:pt x="360302" y="1092960"/>
                      </a:lnTo>
                      <a:lnTo>
                        <a:pt x="701255" y="1022857"/>
                      </a:lnTo>
                      <a:cubicBezTo>
                        <a:pt x="700724" y="704210"/>
                        <a:pt x="700193" y="376004"/>
                        <a:pt x="699662" y="57356"/>
                      </a:cubicBezTo>
                      <a:close/>
                    </a:path>
                  </a:pathLst>
                </a:custGeom>
                <a:solidFill>
                  <a:schemeClr val="accent4"/>
                </a:solidFill>
              </p:spPr>
              <p:txBody>
                <a:bodyPr vert="horz" wrap="square" lIns="91440" tIns="91440" rIns="91440" bIns="91440" numCol="1" rtlCol="0" anchor="t" anchorCtr="0" compatLnSpc="1">
                  <a:prstTxWarp prst="textNoShape">
                    <a:avLst/>
                  </a:prstTxWarp>
                  <a:noAutofit/>
                </a:bodyPr>
                <a:lstStyle/>
                <a:p>
                  <a:pPr algn="ctr" defTabSz="914159">
                    <a:lnSpc>
                      <a:spcPct val="90000"/>
                    </a:lnSpc>
                    <a:spcBef>
                      <a:spcPts val="630"/>
                    </a:spcBef>
                    <a:buClr>
                      <a:srgbClr val="FFFF99"/>
                    </a:buClr>
                    <a:buSzPct val="120000"/>
                  </a:pPr>
                  <a:endParaRPr lang="en-US" sz="2000" dirty="0">
                    <a:gradFill>
                      <a:gsLst>
                        <a:gs pos="0">
                          <a:schemeClr val="bg1"/>
                        </a:gs>
                        <a:gs pos="100000">
                          <a:schemeClr val="bg1"/>
                        </a:gs>
                      </a:gsLst>
                      <a:lin ang="5400000" scaled="0"/>
                    </a:gradFill>
                    <a:latin typeface="Segoe UI" pitchFamily="34" charset="0"/>
                    <a:ea typeface="Segoe UI" pitchFamily="34" charset="0"/>
                    <a:cs typeface="Segoe UI" pitchFamily="34" charset="0"/>
                  </a:endParaRPr>
                </a:p>
              </p:txBody>
            </p:sp>
            <p:sp>
              <p:nvSpPr>
                <p:cNvPr id="39" name="Freeform 38"/>
                <p:cNvSpPr/>
                <p:nvPr/>
              </p:nvSpPr>
              <p:spPr>
                <a:xfrm flipH="1">
                  <a:off x="7270324" y="5179957"/>
                  <a:ext cx="594543" cy="926639"/>
                </a:xfrm>
                <a:custGeom>
                  <a:avLst/>
                  <a:gdLst>
                    <a:gd name="connsiteX0" fmla="*/ 434943 w 701255"/>
                    <a:gd name="connsiteY0" fmla="*/ 954134 h 1092960"/>
                    <a:gd name="connsiteX1" fmla="*/ 405362 w 701255"/>
                    <a:gd name="connsiteY1" fmla="*/ 983063 h 1092960"/>
                    <a:gd name="connsiteX2" fmla="*/ 439614 w 701255"/>
                    <a:gd name="connsiteY2" fmla="*/ 1006274 h 1092960"/>
                    <a:gd name="connsiteX3" fmla="*/ 469195 w 701255"/>
                    <a:gd name="connsiteY3" fmla="*/ 977344 h 1092960"/>
                    <a:gd name="connsiteX4" fmla="*/ 434943 w 701255"/>
                    <a:gd name="connsiteY4" fmla="*/ 954134 h 1092960"/>
                    <a:gd name="connsiteX5" fmla="*/ 437449 w 701255"/>
                    <a:gd name="connsiteY5" fmla="*/ 951888 h 1092960"/>
                    <a:gd name="connsiteX6" fmla="*/ 476463 w 701255"/>
                    <a:gd name="connsiteY6" fmla="*/ 976693 h 1092960"/>
                    <a:gd name="connsiteX7" fmla="*/ 442479 w 701255"/>
                    <a:gd name="connsiteY7" fmla="*/ 1008039 h 1092960"/>
                    <a:gd name="connsiteX8" fmla="*/ 403466 w 701255"/>
                    <a:gd name="connsiteY8" fmla="*/ 983233 h 1092960"/>
                    <a:gd name="connsiteX9" fmla="*/ 437449 w 701255"/>
                    <a:gd name="connsiteY9" fmla="*/ 951888 h 1092960"/>
                    <a:gd name="connsiteX10" fmla="*/ 374642 w 701255"/>
                    <a:gd name="connsiteY10" fmla="*/ 720143 h 1092960"/>
                    <a:gd name="connsiteX11" fmla="*/ 382608 w 701255"/>
                    <a:gd name="connsiteY11" fmla="*/ 1056316 h 1092960"/>
                    <a:gd name="connsiteX12" fmla="*/ 537152 w 701255"/>
                    <a:gd name="connsiteY12" fmla="*/ 1035604 h 1092960"/>
                    <a:gd name="connsiteX13" fmla="*/ 374642 w 701255"/>
                    <a:gd name="connsiteY13" fmla="*/ 1067468 h 1092960"/>
                    <a:gd name="connsiteX14" fmla="*/ 684061 w 701255"/>
                    <a:gd name="connsiteY14" fmla="*/ 654610 h 1092960"/>
                    <a:gd name="connsiteX15" fmla="*/ 684061 w 701255"/>
                    <a:gd name="connsiteY15" fmla="*/ 1009011 h 1092960"/>
                    <a:gd name="connsiteX16" fmla="*/ 683492 w 701255"/>
                    <a:gd name="connsiteY16" fmla="*/ 1009120 h 1092960"/>
                    <a:gd name="connsiteX17" fmla="*/ 664611 w 701255"/>
                    <a:gd name="connsiteY17" fmla="*/ 677126 h 1092960"/>
                    <a:gd name="connsiteX18" fmla="*/ 371792 w 701255"/>
                    <a:gd name="connsiteY18" fmla="*/ 697592 h 1092960"/>
                    <a:gd name="connsiteX19" fmla="*/ 371792 w 701255"/>
                    <a:gd name="connsiteY19" fmla="*/ 674437 h 1092960"/>
                    <a:gd name="connsiteX20" fmla="*/ 668224 w 701255"/>
                    <a:gd name="connsiteY20" fmla="*/ 576957 h 1092960"/>
                    <a:gd name="connsiteX21" fmla="*/ 370209 w 701255"/>
                    <a:gd name="connsiteY21" fmla="*/ 578953 h 1092960"/>
                    <a:gd name="connsiteX22" fmla="*/ 370209 w 701255"/>
                    <a:gd name="connsiteY22" fmla="*/ 644992 h 1092960"/>
                    <a:gd name="connsiteX23" fmla="*/ 669110 w 701255"/>
                    <a:gd name="connsiteY23" fmla="*/ 631596 h 1092960"/>
                    <a:gd name="connsiteX24" fmla="*/ 668224 w 701255"/>
                    <a:gd name="connsiteY24" fmla="*/ 576957 h 1092960"/>
                    <a:gd name="connsiteX25" fmla="*/ 681584 w 701255"/>
                    <a:gd name="connsiteY25" fmla="*/ 562912 h 1092960"/>
                    <a:gd name="connsiteX26" fmla="*/ 681584 w 701255"/>
                    <a:gd name="connsiteY26" fmla="*/ 632305 h 1092960"/>
                    <a:gd name="connsiteX27" fmla="*/ 369314 w 701255"/>
                    <a:gd name="connsiteY27" fmla="*/ 647174 h 1092960"/>
                    <a:gd name="connsiteX28" fmla="*/ 369314 w 701255"/>
                    <a:gd name="connsiteY28" fmla="*/ 567868 h 1092960"/>
                    <a:gd name="connsiteX29" fmla="*/ 370209 w 701255"/>
                    <a:gd name="connsiteY29" fmla="*/ 471950 h 1092960"/>
                    <a:gd name="connsiteX30" fmla="*/ 370209 w 701255"/>
                    <a:gd name="connsiteY30" fmla="*/ 537989 h 1092960"/>
                    <a:gd name="connsiteX31" fmla="*/ 669110 w 701255"/>
                    <a:gd name="connsiteY31" fmla="*/ 534321 h 1092960"/>
                    <a:gd name="connsiteX32" fmla="*/ 669109 w 701255"/>
                    <a:gd name="connsiteY32" fmla="*/ 476145 h 1092960"/>
                    <a:gd name="connsiteX33" fmla="*/ 369314 w 701255"/>
                    <a:gd name="connsiteY33" fmla="*/ 458821 h 1092960"/>
                    <a:gd name="connsiteX34" fmla="*/ 681584 w 701255"/>
                    <a:gd name="connsiteY34" fmla="*/ 461300 h 1092960"/>
                    <a:gd name="connsiteX35" fmla="*/ 681584 w 701255"/>
                    <a:gd name="connsiteY35" fmla="*/ 536506 h 1092960"/>
                    <a:gd name="connsiteX36" fmla="*/ 369314 w 701255"/>
                    <a:gd name="connsiteY36" fmla="*/ 539525 h 1092960"/>
                    <a:gd name="connsiteX37" fmla="*/ 370209 w 701255"/>
                    <a:gd name="connsiteY37" fmla="*/ 364947 h 1092960"/>
                    <a:gd name="connsiteX38" fmla="*/ 370209 w 701255"/>
                    <a:gd name="connsiteY38" fmla="*/ 430987 h 1092960"/>
                    <a:gd name="connsiteX39" fmla="*/ 669110 w 701255"/>
                    <a:gd name="connsiteY39" fmla="*/ 437045 h 1092960"/>
                    <a:gd name="connsiteX40" fmla="*/ 669109 w 701255"/>
                    <a:gd name="connsiteY40" fmla="*/ 377986 h 1092960"/>
                    <a:gd name="connsiteX41" fmla="*/ 369314 w 701255"/>
                    <a:gd name="connsiteY41" fmla="*/ 352235 h 1092960"/>
                    <a:gd name="connsiteX42" fmla="*/ 681584 w 701255"/>
                    <a:gd name="connsiteY42" fmla="*/ 365372 h 1092960"/>
                    <a:gd name="connsiteX43" fmla="*/ 680614 w 701255"/>
                    <a:gd name="connsiteY43" fmla="*/ 439610 h 1092960"/>
                    <a:gd name="connsiteX44" fmla="*/ 369314 w 701255"/>
                    <a:gd name="connsiteY44" fmla="*/ 432939 h 1092960"/>
                    <a:gd name="connsiteX45" fmla="*/ 370209 w 701255"/>
                    <a:gd name="connsiteY45" fmla="*/ 255291 h 1092960"/>
                    <a:gd name="connsiteX46" fmla="*/ 370209 w 701255"/>
                    <a:gd name="connsiteY46" fmla="*/ 321331 h 1092960"/>
                    <a:gd name="connsiteX47" fmla="*/ 669994 w 701255"/>
                    <a:gd name="connsiteY47" fmla="*/ 338886 h 1092960"/>
                    <a:gd name="connsiteX48" fmla="*/ 669993 w 701255"/>
                    <a:gd name="connsiteY48" fmla="*/ 280710 h 1092960"/>
                    <a:gd name="connsiteX49" fmla="*/ 369314 w 701255"/>
                    <a:gd name="connsiteY49" fmla="*/ 242742 h 1092960"/>
                    <a:gd name="connsiteX50" fmla="*/ 681584 w 701255"/>
                    <a:gd name="connsiteY50" fmla="*/ 269445 h 1092960"/>
                    <a:gd name="connsiteX51" fmla="*/ 680614 w 701255"/>
                    <a:gd name="connsiteY51" fmla="*/ 340776 h 1092960"/>
                    <a:gd name="connsiteX52" fmla="*/ 369314 w 701255"/>
                    <a:gd name="connsiteY52" fmla="*/ 323446 h 1092960"/>
                    <a:gd name="connsiteX53" fmla="*/ 370209 w 701255"/>
                    <a:gd name="connsiteY53" fmla="*/ 147404 h 1092960"/>
                    <a:gd name="connsiteX54" fmla="*/ 370209 w 701255"/>
                    <a:gd name="connsiteY54" fmla="*/ 213444 h 1092960"/>
                    <a:gd name="connsiteX55" fmla="*/ 670879 w 701255"/>
                    <a:gd name="connsiteY55" fmla="*/ 241611 h 1092960"/>
                    <a:gd name="connsiteX56" fmla="*/ 670878 w 701255"/>
                    <a:gd name="connsiteY56" fmla="*/ 183435 h 1092960"/>
                    <a:gd name="connsiteX57" fmla="*/ 369314 w 701255"/>
                    <a:gd name="connsiteY57" fmla="*/ 134218 h 1092960"/>
                    <a:gd name="connsiteX58" fmla="*/ 680614 w 701255"/>
                    <a:gd name="connsiteY58" fmla="*/ 171579 h 1092960"/>
                    <a:gd name="connsiteX59" fmla="*/ 680614 w 701255"/>
                    <a:gd name="connsiteY59" fmla="*/ 243880 h 1092960"/>
                    <a:gd name="connsiteX60" fmla="*/ 369314 w 701255"/>
                    <a:gd name="connsiteY60" fmla="*/ 214923 h 1092960"/>
                    <a:gd name="connsiteX61" fmla="*/ 370209 w 701255"/>
                    <a:gd name="connsiteY61" fmla="*/ 39517 h 1092960"/>
                    <a:gd name="connsiteX62" fmla="*/ 370209 w 701255"/>
                    <a:gd name="connsiteY62" fmla="*/ 105557 h 1092960"/>
                    <a:gd name="connsiteX63" fmla="*/ 670878 w 701255"/>
                    <a:gd name="connsiteY63" fmla="*/ 144335 h 1092960"/>
                    <a:gd name="connsiteX64" fmla="*/ 670878 w 701255"/>
                    <a:gd name="connsiteY64" fmla="*/ 87930 h 1092960"/>
                    <a:gd name="connsiteX65" fmla="*/ 369314 w 701255"/>
                    <a:gd name="connsiteY65" fmla="*/ 26664 h 1092960"/>
                    <a:gd name="connsiteX66" fmla="*/ 680614 w 701255"/>
                    <a:gd name="connsiteY66" fmla="*/ 74685 h 1092960"/>
                    <a:gd name="connsiteX67" fmla="*/ 679645 w 701255"/>
                    <a:gd name="connsiteY67" fmla="*/ 146985 h 1092960"/>
                    <a:gd name="connsiteX68" fmla="*/ 369314 w 701255"/>
                    <a:gd name="connsiteY68" fmla="*/ 107368 h 1092960"/>
                    <a:gd name="connsiteX69" fmla="*/ 353929 w 701255"/>
                    <a:gd name="connsiteY69" fmla="*/ 20713 h 1092960"/>
                    <a:gd name="connsiteX70" fmla="*/ 353929 w 701255"/>
                    <a:gd name="connsiteY70" fmla="*/ 1075435 h 1092960"/>
                    <a:gd name="connsiteX71" fmla="*/ 28909 w 701255"/>
                    <a:gd name="connsiteY71" fmla="*/ 1008519 h 1092960"/>
                    <a:gd name="connsiteX72" fmla="*/ 342777 w 701255"/>
                    <a:gd name="connsiteY72" fmla="*/ 1062688 h 1092960"/>
                    <a:gd name="connsiteX73" fmla="*/ 342777 w 701255"/>
                    <a:gd name="connsiteY73" fmla="*/ 41425 h 1092960"/>
                    <a:gd name="connsiteX74" fmla="*/ 20943 w 701255"/>
                    <a:gd name="connsiteY74" fmla="*/ 130646 h 1092960"/>
                    <a:gd name="connsiteX75" fmla="*/ 358709 w 701255"/>
                    <a:gd name="connsiteY75" fmla="*/ 0 h 1092960"/>
                    <a:gd name="connsiteX76" fmla="*/ 0 w 701255"/>
                    <a:gd name="connsiteY76" fmla="*/ 117454 h 1092960"/>
                    <a:gd name="connsiteX77" fmla="*/ 0 w 701255"/>
                    <a:gd name="connsiteY77" fmla="*/ 1015186 h 1092960"/>
                    <a:gd name="connsiteX78" fmla="*/ 360302 w 701255"/>
                    <a:gd name="connsiteY78" fmla="*/ 1092960 h 1092960"/>
                    <a:gd name="connsiteX79" fmla="*/ 701255 w 701255"/>
                    <a:gd name="connsiteY79" fmla="*/ 1022857 h 1092960"/>
                    <a:gd name="connsiteX80" fmla="*/ 699662 w 701255"/>
                    <a:gd name="connsiteY80" fmla="*/ 57356 h 10929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Lst>
                  <a:rect l="l" t="t" r="r" b="b"/>
                  <a:pathLst>
                    <a:path w="701255" h="1092960">
                      <a:moveTo>
                        <a:pt x="434943" y="954134"/>
                      </a:moveTo>
                      <a:cubicBezTo>
                        <a:pt x="417316" y="955714"/>
                        <a:pt x="404072" y="968665"/>
                        <a:pt x="405362" y="983063"/>
                      </a:cubicBezTo>
                      <a:cubicBezTo>
                        <a:pt x="406652" y="997462"/>
                        <a:pt x="421987" y="1007853"/>
                        <a:pt x="439614" y="1006274"/>
                      </a:cubicBezTo>
                      <a:cubicBezTo>
                        <a:pt x="457241" y="1004694"/>
                        <a:pt x="470484" y="991742"/>
                        <a:pt x="469195" y="977344"/>
                      </a:cubicBezTo>
                      <a:cubicBezTo>
                        <a:pt x="467904" y="962946"/>
                        <a:pt x="452569" y="952555"/>
                        <a:pt x="434943" y="954134"/>
                      </a:cubicBezTo>
                      <a:close/>
                      <a:moveTo>
                        <a:pt x="437449" y="951888"/>
                      </a:moveTo>
                      <a:cubicBezTo>
                        <a:pt x="457606" y="950082"/>
                        <a:pt x="475074" y="961187"/>
                        <a:pt x="476463" y="976693"/>
                      </a:cubicBezTo>
                      <a:cubicBezTo>
                        <a:pt x="477852" y="992198"/>
                        <a:pt x="462637" y="1006232"/>
                        <a:pt x="442479" y="1008039"/>
                      </a:cubicBezTo>
                      <a:cubicBezTo>
                        <a:pt x="422322" y="1009844"/>
                        <a:pt x="404855" y="998739"/>
                        <a:pt x="403466" y="983233"/>
                      </a:cubicBezTo>
                      <a:cubicBezTo>
                        <a:pt x="402077" y="967728"/>
                        <a:pt x="417291" y="953694"/>
                        <a:pt x="437449" y="951888"/>
                      </a:cubicBezTo>
                      <a:close/>
                      <a:moveTo>
                        <a:pt x="374642" y="720143"/>
                      </a:moveTo>
                      <a:lnTo>
                        <a:pt x="382608" y="1056316"/>
                      </a:lnTo>
                      <a:lnTo>
                        <a:pt x="537152" y="1035604"/>
                      </a:lnTo>
                      <a:lnTo>
                        <a:pt x="374642" y="1067468"/>
                      </a:lnTo>
                      <a:close/>
                      <a:moveTo>
                        <a:pt x="684061" y="654610"/>
                      </a:moveTo>
                      <a:lnTo>
                        <a:pt x="684061" y="1009011"/>
                      </a:lnTo>
                      <a:lnTo>
                        <a:pt x="683492" y="1009120"/>
                      </a:lnTo>
                      <a:lnTo>
                        <a:pt x="664611" y="677126"/>
                      </a:lnTo>
                      <a:lnTo>
                        <a:pt x="371792" y="697592"/>
                      </a:lnTo>
                      <a:lnTo>
                        <a:pt x="371792" y="674437"/>
                      </a:lnTo>
                      <a:close/>
                      <a:moveTo>
                        <a:pt x="668224" y="576957"/>
                      </a:moveTo>
                      <a:lnTo>
                        <a:pt x="370209" y="578953"/>
                      </a:lnTo>
                      <a:lnTo>
                        <a:pt x="370209" y="644992"/>
                      </a:lnTo>
                      <a:lnTo>
                        <a:pt x="669110" y="631596"/>
                      </a:lnTo>
                      <a:cubicBezTo>
                        <a:pt x="669110" y="612204"/>
                        <a:pt x="668224" y="596349"/>
                        <a:pt x="668224" y="576957"/>
                      </a:cubicBezTo>
                      <a:close/>
                      <a:moveTo>
                        <a:pt x="681584" y="562912"/>
                      </a:moveTo>
                      <a:cubicBezTo>
                        <a:pt x="679932" y="586043"/>
                        <a:pt x="680757" y="609175"/>
                        <a:pt x="681584" y="632305"/>
                      </a:cubicBezTo>
                      <a:lnTo>
                        <a:pt x="369314" y="647174"/>
                      </a:lnTo>
                      <a:lnTo>
                        <a:pt x="369314" y="567868"/>
                      </a:lnTo>
                      <a:close/>
                      <a:moveTo>
                        <a:pt x="370209" y="471950"/>
                      </a:moveTo>
                      <a:lnTo>
                        <a:pt x="370209" y="537989"/>
                      </a:lnTo>
                      <a:lnTo>
                        <a:pt x="669110" y="534321"/>
                      </a:lnTo>
                      <a:cubicBezTo>
                        <a:pt x="669110" y="514929"/>
                        <a:pt x="669109" y="495537"/>
                        <a:pt x="669109" y="476145"/>
                      </a:cubicBezTo>
                      <a:close/>
                      <a:moveTo>
                        <a:pt x="369314" y="458821"/>
                      </a:moveTo>
                      <a:lnTo>
                        <a:pt x="681584" y="461300"/>
                      </a:lnTo>
                      <a:cubicBezTo>
                        <a:pt x="679932" y="484431"/>
                        <a:pt x="680757" y="513376"/>
                        <a:pt x="681584" y="536506"/>
                      </a:cubicBezTo>
                      <a:lnTo>
                        <a:pt x="369314" y="539525"/>
                      </a:lnTo>
                      <a:close/>
                      <a:moveTo>
                        <a:pt x="370209" y="364947"/>
                      </a:moveTo>
                      <a:lnTo>
                        <a:pt x="370209" y="430987"/>
                      </a:lnTo>
                      <a:lnTo>
                        <a:pt x="669110" y="437045"/>
                      </a:lnTo>
                      <a:cubicBezTo>
                        <a:pt x="669110" y="417654"/>
                        <a:pt x="669109" y="397378"/>
                        <a:pt x="669109" y="377986"/>
                      </a:cubicBezTo>
                      <a:close/>
                      <a:moveTo>
                        <a:pt x="369314" y="352235"/>
                      </a:moveTo>
                      <a:lnTo>
                        <a:pt x="681584" y="365372"/>
                      </a:lnTo>
                      <a:cubicBezTo>
                        <a:pt x="679932" y="388504"/>
                        <a:pt x="679788" y="416479"/>
                        <a:pt x="680614" y="439610"/>
                      </a:cubicBezTo>
                      <a:lnTo>
                        <a:pt x="369314" y="432939"/>
                      </a:lnTo>
                      <a:close/>
                      <a:moveTo>
                        <a:pt x="370209" y="255291"/>
                      </a:moveTo>
                      <a:lnTo>
                        <a:pt x="370209" y="321331"/>
                      </a:lnTo>
                      <a:lnTo>
                        <a:pt x="669994" y="338886"/>
                      </a:lnTo>
                      <a:cubicBezTo>
                        <a:pt x="669994" y="319494"/>
                        <a:pt x="669993" y="300103"/>
                        <a:pt x="669993" y="280710"/>
                      </a:cubicBezTo>
                      <a:close/>
                      <a:moveTo>
                        <a:pt x="369314" y="242742"/>
                      </a:moveTo>
                      <a:lnTo>
                        <a:pt x="681584" y="269445"/>
                      </a:lnTo>
                      <a:cubicBezTo>
                        <a:pt x="679932" y="292576"/>
                        <a:pt x="679788" y="317646"/>
                        <a:pt x="680614" y="340776"/>
                      </a:cubicBezTo>
                      <a:lnTo>
                        <a:pt x="369314" y="323446"/>
                      </a:lnTo>
                      <a:close/>
                      <a:moveTo>
                        <a:pt x="370209" y="147404"/>
                      </a:moveTo>
                      <a:lnTo>
                        <a:pt x="370209" y="213444"/>
                      </a:lnTo>
                      <a:lnTo>
                        <a:pt x="670879" y="241611"/>
                      </a:lnTo>
                      <a:cubicBezTo>
                        <a:pt x="670879" y="222220"/>
                        <a:pt x="670878" y="202827"/>
                        <a:pt x="670878" y="183435"/>
                      </a:cubicBezTo>
                      <a:close/>
                      <a:moveTo>
                        <a:pt x="369314" y="134218"/>
                      </a:moveTo>
                      <a:lnTo>
                        <a:pt x="680614" y="171579"/>
                      </a:lnTo>
                      <a:cubicBezTo>
                        <a:pt x="678963" y="194710"/>
                        <a:pt x="679788" y="220749"/>
                        <a:pt x="680614" y="243880"/>
                      </a:cubicBezTo>
                      <a:lnTo>
                        <a:pt x="369314" y="214923"/>
                      </a:lnTo>
                      <a:close/>
                      <a:moveTo>
                        <a:pt x="370209" y="39517"/>
                      </a:moveTo>
                      <a:lnTo>
                        <a:pt x="370209" y="105557"/>
                      </a:lnTo>
                      <a:lnTo>
                        <a:pt x="670878" y="144335"/>
                      </a:lnTo>
                      <a:lnTo>
                        <a:pt x="670878" y="87930"/>
                      </a:lnTo>
                      <a:close/>
                      <a:moveTo>
                        <a:pt x="369314" y="26664"/>
                      </a:moveTo>
                      <a:lnTo>
                        <a:pt x="680614" y="74685"/>
                      </a:lnTo>
                      <a:cubicBezTo>
                        <a:pt x="678963" y="97815"/>
                        <a:pt x="678820" y="123853"/>
                        <a:pt x="679645" y="146985"/>
                      </a:cubicBezTo>
                      <a:lnTo>
                        <a:pt x="369314" y="107368"/>
                      </a:lnTo>
                      <a:close/>
                      <a:moveTo>
                        <a:pt x="353929" y="20713"/>
                      </a:moveTo>
                      <a:lnTo>
                        <a:pt x="353929" y="1075435"/>
                      </a:lnTo>
                      <a:lnTo>
                        <a:pt x="28909" y="1008519"/>
                      </a:lnTo>
                      <a:lnTo>
                        <a:pt x="342777" y="1062688"/>
                      </a:lnTo>
                      <a:lnTo>
                        <a:pt x="342777" y="41425"/>
                      </a:lnTo>
                      <a:lnTo>
                        <a:pt x="20943" y="130646"/>
                      </a:lnTo>
                      <a:close/>
                      <a:moveTo>
                        <a:pt x="358709" y="0"/>
                      </a:moveTo>
                      <a:lnTo>
                        <a:pt x="0" y="117454"/>
                      </a:lnTo>
                      <a:lnTo>
                        <a:pt x="0" y="1015186"/>
                      </a:lnTo>
                      <a:lnTo>
                        <a:pt x="360302" y="1092960"/>
                      </a:lnTo>
                      <a:lnTo>
                        <a:pt x="701255" y="1022857"/>
                      </a:lnTo>
                      <a:cubicBezTo>
                        <a:pt x="700724" y="704210"/>
                        <a:pt x="700193" y="376004"/>
                        <a:pt x="699662" y="57356"/>
                      </a:cubicBezTo>
                      <a:close/>
                    </a:path>
                  </a:pathLst>
                </a:custGeom>
                <a:solidFill>
                  <a:schemeClr val="accent4"/>
                </a:solidFill>
              </p:spPr>
              <p:txBody>
                <a:bodyPr vert="horz" wrap="square" lIns="91440" tIns="91440" rIns="91440" bIns="91440" numCol="1" rtlCol="0" anchor="t" anchorCtr="0" compatLnSpc="1">
                  <a:prstTxWarp prst="textNoShape">
                    <a:avLst/>
                  </a:prstTxWarp>
                  <a:noAutofit/>
                </a:bodyPr>
                <a:lstStyle/>
                <a:p>
                  <a:pPr algn="ctr" defTabSz="914159">
                    <a:lnSpc>
                      <a:spcPct val="90000"/>
                    </a:lnSpc>
                    <a:spcBef>
                      <a:spcPts val="630"/>
                    </a:spcBef>
                    <a:buClr>
                      <a:srgbClr val="FFFF99"/>
                    </a:buClr>
                    <a:buSzPct val="120000"/>
                  </a:pPr>
                  <a:endParaRPr lang="en-US" sz="2000" dirty="0">
                    <a:gradFill>
                      <a:gsLst>
                        <a:gs pos="0">
                          <a:schemeClr val="bg1"/>
                        </a:gs>
                        <a:gs pos="100000">
                          <a:schemeClr val="bg1"/>
                        </a:gs>
                      </a:gsLst>
                      <a:lin ang="5400000" scaled="0"/>
                    </a:gradFill>
                    <a:latin typeface="Segoe UI" pitchFamily="34" charset="0"/>
                    <a:ea typeface="Segoe UI" pitchFamily="34" charset="0"/>
                    <a:cs typeface="Segoe UI" pitchFamily="34" charset="0"/>
                  </a:endParaRPr>
                </a:p>
              </p:txBody>
            </p:sp>
          </p:grpSp>
          <p:grpSp>
            <p:nvGrpSpPr>
              <p:cNvPr id="10" name="Group 9"/>
              <p:cNvGrpSpPr/>
              <p:nvPr/>
            </p:nvGrpSpPr>
            <p:grpSpPr>
              <a:xfrm>
                <a:off x="10940990" y="4736884"/>
                <a:ext cx="855134" cy="860080"/>
                <a:chOff x="5134505" y="4483480"/>
                <a:chExt cx="1047370" cy="1053431"/>
              </a:xfrm>
            </p:grpSpPr>
            <p:grpSp>
              <p:nvGrpSpPr>
                <p:cNvPr id="27" name="Group 26"/>
                <p:cNvGrpSpPr/>
                <p:nvPr/>
              </p:nvGrpSpPr>
              <p:grpSpPr>
                <a:xfrm>
                  <a:off x="5134509" y="4483480"/>
                  <a:ext cx="1047366" cy="472696"/>
                  <a:chOff x="10080466" y="4113330"/>
                  <a:chExt cx="1485829" cy="670582"/>
                </a:xfrm>
                <a:solidFill>
                  <a:schemeClr val="bg1"/>
                </a:solidFill>
              </p:grpSpPr>
              <p:sp>
                <p:nvSpPr>
                  <p:cNvPr id="32" name="Freeform 31"/>
                  <p:cNvSpPr/>
                  <p:nvPr/>
                </p:nvSpPr>
                <p:spPr>
                  <a:xfrm>
                    <a:off x="10080466" y="4113330"/>
                    <a:ext cx="432459" cy="670582"/>
                  </a:xfrm>
                  <a:custGeom>
                    <a:avLst/>
                    <a:gdLst>
                      <a:gd name="connsiteX0" fmla="*/ 257802 w 672704"/>
                      <a:gd name="connsiteY0" fmla="*/ 541071 h 1043113"/>
                      <a:gd name="connsiteX1" fmla="*/ 414690 w 672704"/>
                      <a:gd name="connsiteY1" fmla="*/ 541071 h 1043113"/>
                      <a:gd name="connsiteX2" fmla="*/ 665711 w 672704"/>
                      <a:gd name="connsiteY2" fmla="*/ 792092 h 1043113"/>
                      <a:gd name="connsiteX3" fmla="*/ 665711 w 672704"/>
                      <a:gd name="connsiteY3" fmla="*/ 940584 h 1043113"/>
                      <a:gd name="connsiteX4" fmla="*/ 672674 w 672704"/>
                      <a:gd name="connsiteY4" fmla="*/ 942357 h 1043113"/>
                      <a:gd name="connsiteX5" fmla="*/ 672704 w 672704"/>
                      <a:gd name="connsiteY5" fmla="*/ 942893 h 1043113"/>
                      <a:gd name="connsiteX6" fmla="*/ 665711 w 672704"/>
                      <a:gd name="connsiteY6" fmla="*/ 940920 h 1043113"/>
                      <a:gd name="connsiteX7" fmla="*/ 665711 w 672704"/>
                      <a:gd name="connsiteY7" fmla="*/ 1043113 h 1043113"/>
                      <a:gd name="connsiteX8" fmla="*/ 6781 w 672704"/>
                      <a:gd name="connsiteY8" fmla="*/ 1043113 h 1043113"/>
                      <a:gd name="connsiteX9" fmla="*/ 6781 w 672704"/>
                      <a:gd name="connsiteY9" fmla="*/ 936867 h 1043113"/>
                      <a:gd name="connsiteX10" fmla="*/ 7 w 672704"/>
                      <a:gd name="connsiteY10" fmla="*/ 938531 h 1043113"/>
                      <a:gd name="connsiteX11" fmla="*/ 0 w 672704"/>
                      <a:gd name="connsiteY11" fmla="*/ 938183 h 1043113"/>
                      <a:gd name="connsiteX12" fmla="*/ 6781 w 672704"/>
                      <a:gd name="connsiteY12" fmla="*/ 936624 h 1043113"/>
                      <a:gd name="connsiteX13" fmla="*/ 6781 w 672704"/>
                      <a:gd name="connsiteY13" fmla="*/ 792092 h 1043113"/>
                      <a:gd name="connsiteX14" fmla="*/ 257802 w 672704"/>
                      <a:gd name="connsiteY14" fmla="*/ 541071 h 1043113"/>
                      <a:gd name="connsiteX15" fmla="*/ 336248 w 672704"/>
                      <a:gd name="connsiteY15" fmla="*/ 0 h 1043113"/>
                      <a:gd name="connsiteX16" fmla="*/ 583287 w 672704"/>
                      <a:gd name="connsiteY16" fmla="*/ 247039 h 1043113"/>
                      <a:gd name="connsiteX17" fmla="*/ 336248 w 672704"/>
                      <a:gd name="connsiteY17" fmla="*/ 494078 h 1043113"/>
                      <a:gd name="connsiteX18" fmla="*/ 89209 w 672704"/>
                      <a:gd name="connsiteY18" fmla="*/ 247039 h 1043113"/>
                      <a:gd name="connsiteX19" fmla="*/ 336248 w 672704"/>
                      <a:gd name="connsiteY19" fmla="*/ 0 h 10431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672704" h="1043113">
                        <a:moveTo>
                          <a:pt x="257802" y="541071"/>
                        </a:moveTo>
                        <a:lnTo>
                          <a:pt x="414690" y="541071"/>
                        </a:lnTo>
                        <a:cubicBezTo>
                          <a:pt x="553325" y="541071"/>
                          <a:pt x="665711" y="653457"/>
                          <a:pt x="665711" y="792092"/>
                        </a:cubicBezTo>
                        <a:lnTo>
                          <a:pt x="665711" y="940584"/>
                        </a:lnTo>
                        <a:lnTo>
                          <a:pt x="672674" y="942357"/>
                        </a:lnTo>
                        <a:lnTo>
                          <a:pt x="672704" y="942893"/>
                        </a:lnTo>
                        <a:lnTo>
                          <a:pt x="665711" y="940920"/>
                        </a:lnTo>
                        <a:lnTo>
                          <a:pt x="665711" y="1043113"/>
                        </a:lnTo>
                        <a:lnTo>
                          <a:pt x="6781" y="1043113"/>
                        </a:lnTo>
                        <a:lnTo>
                          <a:pt x="6781" y="936867"/>
                        </a:lnTo>
                        <a:lnTo>
                          <a:pt x="7" y="938531"/>
                        </a:lnTo>
                        <a:lnTo>
                          <a:pt x="0" y="938183"/>
                        </a:lnTo>
                        <a:lnTo>
                          <a:pt x="6781" y="936624"/>
                        </a:lnTo>
                        <a:lnTo>
                          <a:pt x="6781" y="792092"/>
                        </a:lnTo>
                        <a:cubicBezTo>
                          <a:pt x="6781" y="653457"/>
                          <a:pt x="119167" y="541071"/>
                          <a:pt x="257802" y="541071"/>
                        </a:cubicBezTo>
                        <a:close/>
                        <a:moveTo>
                          <a:pt x="336248" y="0"/>
                        </a:moveTo>
                        <a:cubicBezTo>
                          <a:pt x="472684" y="0"/>
                          <a:pt x="583287" y="110603"/>
                          <a:pt x="583287" y="247039"/>
                        </a:cubicBezTo>
                        <a:cubicBezTo>
                          <a:pt x="583287" y="383475"/>
                          <a:pt x="472684" y="494078"/>
                          <a:pt x="336248" y="494078"/>
                        </a:cubicBezTo>
                        <a:cubicBezTo>
                          <a:pt x="199812" y="494078"/>
                          <a:pt x="89209" y="383475"/>
                          <a:pt x="89209" y="247039"/>
                        </a:cubicBezTo>
                        <a:cubicBezTo>
                          <a:pt x="89209" y="110603"/>
                          <a:pt x="199812" y="0"/>
                          <a:pt x="336248"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33" name="Freeform 32"/>
                  <p:cNvSpPr/>
                  <p:nvPr/>
                </p:nvSpPr>
                <p:spPr>
                  <a:xfrm>
                    <a:off x="10607153" y="4113330"/>
                    <a:ext cx="432459" cy="670582"/>
                  </a:xfrm>
                  <a:custGeom>
                    <a:avLst/>
                    <a:gdLst>
                      <a:gd name="connsiteX0" fmla="*/ 257802 w 672704"/>
                      <a:gd name="connsiteY0" fmla="*/ 541071 h 1043113"/>
                      <a:gd name="connsiteX1" fmla="*/ 414690 w 672704"/>
                      <a:gd name="connsiteY1" fmla="*/ 541071 h 1043113"/>
                      <a:gd name="connsiteX2" fmla="*/ 665711 w 672704"/>
                      <a:gd name="connsiteY2" fmla="*/ 792092 h 1043113"/>
                      <a:gd name="connsiteX3" fmla="*/ 665711 w 672704"/>
                      <a:gd name="connsiteY3" fmla="*/ 940584 h 1043113"/>
                      <a:gd name="connsiteX4" fmla="*/ 672674 w 672704"/>
                      <a:gd name="connsiteY4" fmla="*/ 942357 h 1043113"/>
                      <a:gd name="connsiteX5" fmla="*/ 672704 w 672704"/>
                      <a:gd name="connsiteY5" fmla="*/ 942893 h 1043113"/>
                      <a:gd name="connsiteX6" fmla="*/ 665711 w 672704"/>
                      <a:gd name="connsiteY6" fmla="*/ 940920 h 1043113"/>
                      <a:gd name="connsiteX7" fmla="*/ 665711 w 672704"/>
                      <a:gd name="connsiteY7" fmla="*/ 1043113 h 1043113"/>
                      <a:gd name="connsiteX8" fmla="*/ 6781 w 672704"/>
                      <a:gd name="connsiteY8" fmla="*/ 1043113 h 1043113"/>
                      <a:gd name="connsiteX9" fmla="*/ 6781 w 672704"/>
                      <a:gd name="connsiteY9" fmla="*/ 936867 h 1043113"/>
                      <a:gd name="connsiteX10" fmla="*/ 7 w 672704"/>
                      <a:gd name="connsiteY10" fmla="*/ 938531 h 1043113"/>
                      <a:gd name="connsiteX11" fmla="*/ 0 w 672704"/>
                      <a:gd name="connsiteY11" fmla="*/ 938183 h 1043113"/>
                      <a:gd name="connsiteX12" fmla="*/ 6781 w 672704"/>
                      <a:gd name="connsiteY12" fmla="*/ 936624 h 1043113"/>
                      <a:gd name="connsiteX13" fmla="*/ 6781 w 672704"/>
                      <a:gd name="connsiteY13" fmla="*/ 792092 h 1043113"/>
                      <a:gd name="connsiteX14" fmla="*/ 257802 w 672704"/>
                      <a:gd name="connsiteY14" fmla="*/ 541071 h 1043113"/>
                      <a:gd name="connsiteX15" fmla="*/ 336248 w 672704"/>
                      <a:gd name="connsiteY15" fmla="*/ 0 h 1043113"/>
                      <a:gd name="connsiteX16" fmla="*/ 583287 w 672704"/>
                      <a:gd name="connsiteY16" fmla="*/ 247039 h 1043113"/>
                      <a:gd name="connsiteX17" fmla="*/ 336248 w 672704"/>
                      <a:gd name="connsiteY17" fmla="*/ 494078 h 1043113"/>
                      <a:gd name="connsiteX18" fmla="*/ 89209 w 672704"/>
                      <a:gd name="connsiteY18" fmla="*/ 247039 h 1043113"/>
                      <a:gd name="connsiteX19" fmla="*/ 336248 w 672704"/>
                      <a:gd name="connsiteY19" fmla="*/ 0 h 10431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672704" h="1043113">
                        <a:moveTo>
                          <a:pt x="257802" y="541071"/>
                        </a:moveTo>
                        <a:lnTo>
                          <a:pt x="414690" y="541071"/>
                        </a:lnTo>
                        <a:cubicBezTo>
                          <a:pt x="553325" y="541071"/>
                          <a:pt x="665711" y="653457"/>
                          <a:pt x="665711" y="792092"/>
                        </a:cubicBezTo>
                        <a:lnTo>
                          <a:pt x="665711" y="940584"/>
                        </a:lnTo>
                        <a:lnTo>
                          <a:pt x="672674" y="942357"/>
                        </a:lnTo>
                        <a:lnTo>
                          <a:pt x="672704" y="942893"/>
                        </a:lnTo>
                        <a:lnTo>
                          <a:pt x="665711" y="940920"/>
                        </a:lnTo>
                        <a:lnTo>
                          <a:pt x="665711" y="1043113"/>
                        </a:lnTo>
                        <a:lnTo>
                          <a:pt x="6781" y="1043113"/>
                        </a:lnTo>
                        <a:lnTo>
                          <a:pt x="6781" y="936867"/>
                        </a:lnTo>
                        <a:lnTo>
                          <a:pt x="7" y="938531"/>
                        </a:lnTo>
                        <a:lnTo>
                          <a:pt x="0" y="938183"/>
                        </a:lnTo>
                        <a:lnTo>
                          <a:pt x="6781" y="936624"/>
                        </a:lnTo>
                        <a:lnTo>
                          <a:pt x="6781" y="792092"/>
                        </a:lnTo>
                        <a:cubicBezTo>
                          <a:pt x="6781" y="653457"/>
                          <a:pt x="119167" y="541071"/>
                          <a:pt x="257802" y="541071"/>
                        </a:cubicBezTo>
                        <a:close/>
                        <a:moveTo>
                          <a:pt x="336248" y="0"/>
                        </a:moveTo>
                        <a:cubicBezTo>
                          <a:pt x="472684" y="0"/>
                          <a:pt x="583287" y="110603"/>
                          <a:pt x="583287" y="247039"/>
                        </a:cubicBezTo>
                        <a:cubicBezTo>
                          <a:pt x="583287" y="383475"/>
                          <a:pt x="472684" y="494078"/>
                          <a:pt x="336248" y="494078"/>
                        </a:cubicBezTo>
                        <a:cubicBezTo>
                          <a:pt x="199812" y="494078"/>
                          <a:pt x="89209" y="383475"/>
                          <a:pt x="89209" y="247039"/>
                        </a:cubicBezTo>
                        <a:cubicBezTo>
                          <a:pt x="89209" y="110603"/>
                          <a:pt x="199812" y="0"/>
                          <a:pt x="336248"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34" name="Freeform 33"/>
                  <p:cNvSpPr/>
                  <p:nvPr/>
                </p:nvSpPr>
                <p:spPr>
                  <a:xfrm>
                    <a:off x="11133836" y="4113330"/>
                    <a:ext cx="432459" cy="670582"/>
                  </a:xfrm>
                  <a:custGeom>
                    <a:avLst/>
                    <a:gdLst>
                      <a:gd name="connsiteX0" fmla="*/ 257802 w 672704"/>
                      <a:gd name="connsiteY0" fmla="*/ 541071 h 1043113"/>
                      <a:gd name="connsiteX1" fmla="*/ 414690 w 672704"/>
                      <a:gd name="connsiteY1" fmla="*/ 541071 h 1043113"/>
                      <a:gd name="connsiteX2" fmla="*/ 665711 w 672704"/>
                      <a:gd name="connsiteY2" fmla="*/ 792092 h 1043113"/>
                      <a:gd name="connsiteX3" fmla="*/ 665711 w 672704"/>
                      <a:gd name="connsiteY3" fmla="*/ 940584 h 1043113"/>
                      <a:gd name="connsiteX4" fmla="*/ 672674 w 672704"/>
                      <a:gd name="connsiteY4" fmla="*/ 942357 h 1043113"/>
                      <a:gd name="connsiteX5" fmla="*/ 672704 w 672704"/>
                      <a:gd name="connsiteY5" fmla="*/ 942893 h 1043113"/>
                      <a:gd name="connsiteX6" fmla="*/ 665711 w 672704"/>
                      <a:gd name="connsiteY6" fmla="*/ 940920 h 1043113"/>
                      <a:gd name="connsiteX7" fmla="*/ 665711 w 672704"/>
                      <a:gd name="connsiteY7" fmla="*/ 1043113 h 1043113"/>
                      <a:gd name="connsiteX8" fmla="*/ 6781 w 672704"/>
                      <a:gd name="connsiteY8" fmla="*/ 1043113 h 1043113"/>
                      <a:gd name="connsiteX9" fmla="*/ 6781 w 672704"/>
                      <a:gd name="connsiteY9" fmla="*/ 936867 h 1043113"/>
                      <a:gd name="connsiteX10" fmla="*/ 7 w 672704"/>
                      <a:gd name="connsiteY10" fmla="*/ 938531 h 1043113"/>
                      <a:gd name="connsiteX11" fmla="*/ 0 w 672704"/>
                      <a:gd name="connsiteY11" fmla="*/ 938183 h 1043113"/>
                      <a:gd name="connsiteX12" fmla="*/ 6781 w 672704"/>
                      <a:gd name="connsiteY12" fmla="*/ 936624 h 1043113"/>
                      <a:gd name="connsiteX13" fmla="*/ 6781 w 672704"/>
                      <a:gd name="connsiteY13" fmla="*/ 792092 h 1043113"/>
                      <a:gd name="connsiteX14" fmla="*/ 257802 w 672704"/>
                      <a:gd name="connsiteY14" fmla="*/ 541071 h 1043113"/>
                      <a:gd name="connsiteX15" fmla="*/ 336248 w 672704"/>
                      <a:gd name="connsiteY15" fmla="*/ 0 h 1043113"/>
                      <a:gd name="connsiteX16" fmla="*/ 583287 w 672704"/>
                      <a:gd name="connsiteY16" fmla="*/ 247039 h 1043113"/>
                      <a:gd name="connsiteX17" fmla="*/ 336248 w 672704"/>
                      <a:gd name="connsiteY17" fmla="*/ 494078 h 1043113"/>
                      <a:gd name="connsiteX18" fmla="*/ 89209 w 672704"/>
                      <a:gd name="connsiteY18" fmla="*/ 247039 h 1043113"/>
                      <a:gd name="connsiteX19" fmla="*/ 336248 w 672704"/>
                      <a:gd name="connsiteY19" fmla="*/ 0 h 10431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672704" h="1043113">
                        <a:moveTo>
                          <a:pt x="257802" y="541071"/>
                        </a:moveTo>
                        <a:lnTo>
                          <a:pt x="414690" y="541071"/>
                        </a:lnTo>
                        <a:cubicBezTo>
                          <a:pt x="553325" y="541071"/>
                          <a:pt x="665711" y="653457"/>
                          <a:pt x="665711" y="792092"/>
                        </a:cubicBezTo>
                        <a:lnTo>
                          <a:pt x="665711" y="940584"/>
                        </a:lnTo>
                        <a:lnTo>
                          <a:pt x="672674" y="942357"/>
                        </a:lnTo>
                        <a:lnTo>
                          <a:pt x="672704" y="942893"/>
                        </a:lnTo>
                        <a:lnTo>
                          <a:pt x="665711" y="940920"/>
                        </a:lnTo>
                        <a:lnTo>
                          <a:pt x="665711" y="1043113"/>
                        </a:lnTo>
                        <a:lnTo>
                          <a:pt x="6781" y="1043113"/>
                        </a:lnTo>
                        <a:lnTo>
                          <a:pt x="6781" y="936867"/>
                        </a:lnTo>
                        <a:lnTo>
                          <a:pt x="7" y="938531"/>
                        </a:lnTo>
                        <a:lnTo>
                          <a:pt x="0" y="938183"/>
                        </a:lnTo>
                        <a:lnTo>
                          <a:pt x="6781" y="936624"/>
                        </a:lnTo>
                        <a:lnTo>
                          <a:pt x="6781" y="792092"/>
                        </a:lnTo>
                        <a:cubicBezTo>
                          <a:pt x="6781" y="653457"/>
                          <a:pt x="119167" y="541071"/>
                          <a:pt x="257802" y="541071"/>
                        </a:cubicBezTo>
                        <a:close/>
                        <a:moveTo>
                          <a:pt x="336248" y="0"/>
                        </a:moveTo>
                        <a:cubicBezTo>
                          <a:pt x="472684" y="0"/>
                          <a:pt x="583287" y="110603"/>
                          <a:pt x="583287" y="247039"/>
                        </a:cubicBezTo>
                        <a:cubicBezTo>
                          <a:pt x="583287" y="383475"/>
                          <a:pt x="472684" y="494078"/>
                          <a:pt x="336248" y="494078"/>
                        </a:cubicBezTo>
                        <a:cubicBezTo>
                          <a:pt x="199812" y="494078"/>
                          <a:pt x="89209" y="383475"/>
                          <a:pt x="89209" y="247039"/>
                        </a:cubicBezTo>
                        <a:cubicBezTo>
                          <a:pt x="89209" y="110603"/>
                          <a:pt x="199812" y="0"/>
                          <a:pt x="336248"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grpSp>
              <p:nvGrpSpPr>
                <p:cNvPr id="28" name="Group 27"/>
                <p:cNvGrpSpPr/>
                <p:nvPr/>
              </p:nvGrpSpPr>
              <p:grpSpPr>
                <a:xfrm>
                  <a:off x="5134505" y="5064215"/>
                  <a:ext cx="1047367" cy="472696"/>
                  <a:chOff x="10080458" y="4113330"/>
                  <a:chExt cx="1485830" cy="670582"/>
                </a:xfrm>
                <a:solidFill>
                  <a:schemeClr val="bg1"/>
                </a:solidFill>
              </p:grpSpPr>
              <p:sp>
                <p:nvSpPr>
                  <p:cNvPr id="29" name="Freeform 28"/>
                  <p:cNvSpPr/>
                  <p:nvPr/>
                </p:nvSpPr>
                <p:spPr>
                  <a:xfrm>
                    <a:off x="10080458" y="4113330"/>
                    <a:ext cx="432458" cy="670582"/>
                  </a:xfrm>
                  <a:custGeom>
                    <a:avLst/>
                    <a:gdLst>
                      <a:gd name="connsiteX0" fmla="*/ 257802 w 672704"/>
                      <a:gd name="connsiteY0" fmla="*/ 541071 h 1043113"/>
                      <a:gd name="connsiteX1" fmla="*/ 414690 w 672704"/>
                      <a:gd name="connsiteY1" fmla="*/ 541071 h 1043113"/>
                      <a:gd name="connsiteX2" fmla="*/ 665711 w 672704"/>
                      <a:gd name="connsiteY2" fmla="*/ 792092 h 1043113"/>
                      <a:gd name="connsiteX3" fmla="*/ 665711 w 672704"/>
                      <a:gd name="connsiteY3" fmla="*/ 940584 h 1043113"/>
                      <a:gd name="connsiteX4" fmla="*/ 672674 w 672704"/>
                      <a:gd name="connsiteY4" fmla="*/ 942357 h 1043113"/>
                      <a:gd name="connsiteX5" fmla="*/ 672704 w 672704"/>
                      <a:gd name="connsiteY5" fmla="*/ 942893 h 1043113"/>
                      <a:gd name="connsiteX6" fmla="*/ 665711 w 672704"/>
                      <a:gd name="connsiteY6" fmla="*/ 940920 h 1043113"/>
                      <a:gd name="connsiteX7" fmla="*/ 665711 w 672704"/>
                      <a:gd name="connsiteY7" fmla="*/ 1043113 h 1043113"/>
                      <a:gd name="connsiteX8" fmla="*/ 6781 w 672704"/>
                      <a:gd name="connsiteY8" fmla="*/ 1043113 h 1043113"/>
                      <a:gd name="connsiteX9" fmla="*/ 6781 w 672704"/>
                      <a:gd name="connsiteY9" fmla="*/ 936867 h 1043113"/>
                      <a:gd name="connsiteX10" fmla="*/ 7 w 672704"/>
                      <a:gd name="connsiteY10" fmla="*/ 938531 h 1043113"/>
                      <a:gd name="connsiteX11" fmla="*/ 0 w 672704"/>
                      <a:gd name="connsiteY11" fmla="*/ 938183 h 1043113"/>
                      <a:gd name="connsiteX12" fmla="*/ 6781 w 672704"/>
                      <a:gd name="connsiteY12" fmla="*/ 936624 h 1043113"/>
                      <a:gd name="connsiteX13" fmla="*/ 6781 w 672704"/>
                      <a:gd name="connsiteY13" fmla="*/ 792092 h 1043113"/>
                      <a:gd name="connsiteX14" fmla="*/ 257802 w 672704"/>
                      <a:gd name="connsiteY14" fmla="*/ 541071 h 1043113"/>
                      <a:gd name="connsiteX15" fmla="*/ 336248 w 672704"/>
                      <a:gd name="connsiteY15" fmla="*/ 0 h 1043113"/>
                      <a:gd name="connsiteX16" fmla="*/ 583287 w 672704"/>
                      <a:gd name="connsiteY16" fmla="*/ 247039 h 1043113"/>
                      <a:gd name="connsiteX17" fmla="*/ 336248 w 672704"/>
                      <a:gd name="connsiteY17" fmla="*/ 494078 h 1043113"/>
                      <a:gd name="connsiteX18" fmla="*/ 89209 w 672704"/>
                      <a:gd name="connsiteY18" fmla="*/ 247039 h 1043113"/>
                      <a:gd name="connsiteX19" fmla="*/ 336248 w 672704"/>
                      <a:gd name="connsiteY19" fmla="*/ 0 h 10431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672704" h="1043113">
                        <a:moveTo>
                          <a:pt x="257802" y="541071"/>
                        </a:moveTo>
                        <a:lnTo>
                          <a:pt x="414690" y="541071"/>
                        </a:lnTo>
                        <a:cubicBezTo>
                          <a:pt x="553325" y="541071"/>
                          <a:pt x="665711" y="653457"/>
                          <a:pt x="665711" y="792092"/>
                        </a:cubicBezTo>
                        <a:lnTo>
                          <a:pt x="665711" y="940584"/>
                        </a:lnTo>
                        <a:lnTo>
                          <a:pt x="672674" y="942357"/>
                        </a:lnTo>
                        <a:lnTo>
                          <a:pt x="672704" y="942893"/>
                        </a:lnTo>
                        <a:lnTo>
                          <a:pt x="665711" y="940920"/>
                        </a:lnTo>
                        <a:lnTo>
                          <a:pt x="665711" y="1043113"/>
                        </a:lnTo>
                        <a:lnTo>
                          <a:pt x="6781" y="1043113"/>
                        </a:lnTo>
                        <a:lnTo>
                          <a:pt x="6781" y="936867"/>
                        </a:lnTo>
                        <a:lnTo>
                          <a:pt x="7" y="938531"/>
                        </a:lnTo>
                        <a:lnTo>
                          <a:pt x="0" y="938183"/>
                        </a:lnTo>
                        <a:lnTo>
                          <a:pt x="6781" y="936624"/>
                        </a:lnTo>
                        <a:lnTo>
                          <a:pt x="6781" y="792092"/>
                        </a:lnTo>
                        <a:cubicBezTo>
                          <a:pt x="6781" y="653457"/>
                          <a:pt x="119167" y="541071"/>
                          <a:pt x="257802" y="541071"/>
                        </a:cubicBezTo>
                        <a:close/>
                        <a:moveTo>
                          <a:pt x="336248" y="0"/>
                        </a:moveTo>
                        <a:cubicBezTo>
                          <a:pt x="472684" y="0"/>
                          <a:pt x="583287" y="110603"/>
                          <a:pt x="583287" y="247039"/>
                        </a:cubicBezTo>
                        <a:cubicBezTo>
                          <a:pt x="583287" y="383475"/>
                          <a:pt x="472684" y="494078"/>
                          <a:pt x="336248" y="494078"/>
                        </a:cubicBezTo>
                        <a:cubicBezTo>
                          <a:pt x="199812" y="494078"/>
                          <a:pt x="89209" y="383475"/>
                          <a:pt x="89209" y="247039"/>
                        </a:cubicBezTo>
                        <a:cubicBezTo>
                          <a:pt x="89209" y="110603"/>
                          <a:pt x="199812" y="0"/>
                          <a:pt x="336248"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30" name="Freeform 29"/>
                  <p:cNvSpPr/>
                  <p:nvPr/>
                </p:nvSpPr>
                <p:spPr>
                  <a:xfrm>
                    <a:off x="10607144" y="4113330"/>
                    <a:ext cx="432458" cy="670582"/>
                  </a:xfrm>
                  <a:custGeom>
                    <a:avLst/>
                    <a:gdLst>
                      <a:gd name="connsiteX0" fmla="*/ 257802 w 672704"/>
                      <a:gd name="connsiteY0" fmla="*/ 541071 h 1043113"/>
                      <a:gd name="connsiteX1" fmla="*/ 414690 w 672704"/>
                      <a:gd name="connsiteY1" fmla="*/ 541071 h 1043113"/>
                      <a:gd name="connsiteX2" fmla="*/ 665711 w 672704"/>
                      <a:gd name="connsiteY2" fmla="*/ 792092 h 1043113"/>
                      <a:gd name="connsiteX3" fmla="*/ 665711 w 672704"/>
                      <a:gd name="connsiteY3" fmla="*/ 940584 h 1043113"/>
                      <a:gd name="connsiteX4" fmla="*/ 672674 w 672704"/>
                      <a:gd name="connsiteY4" fmla="*/ 942357 h 1043113"/>
                      <a:gd name="connsiteX5" fmla="*/ 672704 w 672704"/>
                      <a:gd name="connsiteY5" fmla="*/ 942893 h 1043113"/>
                      <a:gd name="connsiteX6" fmla="*/ 665711 w 672704"/>
                      <a:gd name="connsiteY6" fmla="*/ 940920 h 1043113"/>
                      <a:gd name="connsiteX7" fmla="*/ 665711 w 672704"/>
                      <a:gd name="connsiteY7" fmla="*/ 1043113 h 1043113"/>
                      <a:gd name="connsiteX8" fmla="*/ 6781 w 672704"/>
                      <a:gd name="connsiteY8" fmla="*/ 1043113 h 1043113"/>
                      <a:gd name="connsiteX9" fmla="*/ 6781 w 672704"/>
                      <a:gd name="connsiteY9" fmla="*/ 936867 h 1043113"/>
                      <a:gd name="connsiteX10" fmla="*/ 7 w 672704"/>
                      <a:gd name="connsiteY10" fmla="*/ 938531 h 1043113"/>
                      <a:gd name="connsiteX11" fmla="*/ 0 w 672704"/>
                      <a:gd name="connsiteY11" fmla="*/ 938183 h 1043113"/>
                      <a:gd name="connsiteX12" fmla="*/ 6781 w 672704"/>
                      <a:gd name="connsiteY12" fmla="*/ 936624 h 1043113"/>
                      <a:gd name="connsiteX13" fmla="*/ 6781 w 672704"/>
                      <a:gd name="connsiteY13" fmla="*/ 792092 h 1043113"/>
                      <a:gd name="connsiteX14" fmla="*/ 257802 w 672704"/>
                      <a:gd name="connsiteY14" fmla="*/ 541071 h 1043113"/>
                      <a:gd name="connsiteX15" fmla="*/ 336248 w 672704"/>
                      <a:gd name="connsiteY15" fmla="*/ 0 h 1043113"/>
                      <a:gd name="connsiteX16" fmla="*/ 583287 w 672704"/>
                      <a:gd name="connsiteY16" fmla="*/ 247039 h 1043113"/>
                      <a:gd name="connsiteX17" fmla="*/ 336248 w 672704"/>
                      <a:gd name="connsiteY17" fmla="*/ 494078 h 1043113"/>
                      <a:gd name="connsiteX18" fmla="*/ 89209 w 672704"/>
                      <a:gd name="connsiteY18" fmla="*/ 247039 h 1043113"/>
                      <a:gd name="connsiteX19" fmla="*/ 336248 w 672704"/>
                      <a:gd name="connsiteY19" fmla="*/ 0 h 10431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672704" h="1043113">
                        <a:moveTo>
                          <a:pt x="257802" y="541071"/>
                        </a:moveTo>
                        <a:lnTo>
                          <a:pt x="414690" y="541071"/>
                        </a:lnTo>
                        <a:cubicBezTo>
                          <a:pt x="553325" y="541071"/>
                          <a:pt x="665711" y="653457"/>
                          <a:pt x="665711" y="792092"/>
                        </a:cubicBezTo>
                        <a:lnTo>
                          <a:pt x="665711" y="940584"/>
                        </a:lnTo>
                        <a:lnTo>
                          <a:pt x="672674" y="942357"/>
                        </a:lnTo>
                        <a:lnTo>
                          <a:pt x="672704" y="942893"/>
                        </a:lnTo>
                        <a:lnTo>
                          <a:pt x="665711" y="940920"/>
                        </a:lnTo>
                        <a:lnTo>
                          <a:pt x="665711" y="1043113"/>
                        </a:lnTo>
                        <a:lnTo>
                          <a:pt x="6781" y="1043113"/>
                        </a:lnTo>
                        <a:lnTo>
                          <a:pt x="6781" y="936867"/>
                        </a:lnTo>
                        <a:lnTo>
                          <a:pt x="7" y="938531"/>
                        </a:lnTo>
                        <a:lnTo>
                          <a:pt x="0" y="938183"/>
                        </a:lnTo>
                        <a:lnTo>
                          <a:pt x="6781" y="936624"/>
                        </a:lnTo>
                        <a:lnTo>
                          <a:pt x="6781" y="792092"/>
                        </a:lnTo>
                        <a:cubicBezTo>
                          <a:pt x="6781" y="653457"/>
                          <a:pt x="119167" y="541071"/>
                          <a:pt x="257802" y="541071"/>
                        </a:cubicBezTo>
                        <a:close/>
                        <a:moveTo>
                          <a:pt x="336248" y="0"/>
                        </a:moveTo>
                        <a:cubicBezTo>
                          <a:pt x="472684" y="0"/>
                          <a:pt x="583287" y="110603"/>
                          <a:pt x="583287" y="247039"/>
                        </a:cubicBezTo>
                        <a:cubicBezTo>
                          <a:pt x="583287" y="383475"/>
                          <a:pt x="472684" y="494078"/>
                          <a:pt x="336248" y="494078"/>
                        </a:cubicBezTo>
                        <a:cubicBezTo>
                          <a:pt x="199812" y="494078"/>
                          <a:pt x="89209" y="383475"/>
                          <a:pt x="89209" y="247039"/>
                        </a:cubicBezTo>
                        <a:cubicBezTo>
                          <a:pt x="89209" y="110603"/>
                          <a:pt x="199812" y="0"/>
                          <a:pt x="336248"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31" name="Freeform 30"/>
                  <p:cNvSpPr/>
                  <p:nvPr/>
                </p:nvSpPr>
                <p:spPr>
                  <a:xfrm>
                    <a:off x="11133829" y="4113330"/>
                    <a:ext cx="432459" cy="670582"/>
                  </a:xfrm>
                  <a:custGeom>
                    <a:avLst/>
                    <a:gdLst>
                      <a:gd name="connsiteX0" fmla="*/ 257802 w 672704"/>
                      <a:gd name="connsiteY0" fmla="*/ 541071 h 1043113"/>
                      <a:gd name="connsiteX1" fmla="*/ 414690 w 672704"/>
                      <a:gd name="connsiteY1" fmla="*/ 541071 h 1043113"/>
                      <a:gd name="connsiteX2" fmla="*/ 665711 w 672704"/>
                      <a:gd name="connsiteY2" fmla="*/ 792092 h 1043113"/>
                      <a:gd name="connsiteX3" fmla="*/ 665711 w 672704"/>
                      <a:gd name="connsiteY3" fmla="*/ 940584 h 1043113"/>
                      <a:gd name="connsiteX4" fmla="*/ 672674 w 672704"/>
                      <a:gd name="connsiteY4" fmla="*/ 942357 h 1043113"/>
                      <a:gd name="connsiteX5" fmla="*/ 672704 w 672704"/>
                      <a:gd name="connsiteY5" fmla="*/ 942893 h 1043113"/>
                      <a:gd name="connsiteX6" fmla="*/ 665711 w 672704"/>
                      <a:gd name="connsiteY6" fmla="*/ 940920 h 1043113"/>
                      <a:gd name="connsiteX7" fmla="*/ 665711 w 672704"/>
                      <a:gd name="connsiteY7" fmla="*/ 1043113 h 1043113"/>
                      <a:gd name="connsiteX8" fmla="*/ 6781 w 672704"/>
                      <a:gd name="connsiteY8" fmla="*/ 1043113 h 1043113"/>
                      <a:gd name="connsiteX9" fmla="*/ 6781 w 672704"/>
                      <a:gd name="connsiteY9" fmla="*/ 936867 h 1043113"/>
                      <a:gd name="connsiteX10" fmla="*/ 7 w 672704"/>
                      <a:gd name="connsiteY10" fmla="*/ 938531 h 1043113"/>
                      <a:gd name="connsiteX11" fmla="*/ 0 w 672704"/>
                      <a:gd name="connsiteY11" fmla="*/ 938183 h 1043113"/>
                      <a:gd name="connsiteX12" fmla="*/ 6781 w 672704"/>
                      <a:gd name="connsiteY12" fmla="*/ 936624 h 1043113"/>
                      <a:gd name="connsiteX13" fmla="*/ 6781 w 672704"/>
                      <a:gd name="connsiteY13" fmla="*/ 792092 h 1043113"/>
                      <a:gd name="connsiteX14" fmla="*/ 257802 w 672704"/>
                      <a:gd name="connsiteY14" fmla="*/ 541071 h 1043113"/>
                      <a:gd name="connsiteX15" fmla="*/ 336248 w 672704"/>
                      <a:gd name="connsiteY15" fmla="*/ 0 h 1043113"/>
                      <a:gd name="connsiteX16" fmla="*/ 583287 w 672704"/>
                      <a:gd name="connsiteY16" fmla="*/ 247039 h 1043113"/>
                      <a:gd name="connsiteX17" fmla="*/ 336248 w 672704"/>
                      <a:gd name="connsiteY17" fmla="*/ 494078 h 1043113"/>
                      <a:gd name="connsiteX18" fmla="*/ 89209 w 672704"/>
                      <a:gd name="connsiteY18" fmla="*/ 247039 h 1043113"/>
                      <a:gd name="connsiteX19" fmla="*/ 336248 w 672704"/>
                      <a:gd name="connsiteY19" fmla="*/ 0 h 10431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672704" h="1043113">
                        <a:moveTo>
                          <a:pt x="257802" y="541071"/>
                        </a:moveTo>
                        <a:lnTo>
                          <a:pt x="414690" y="541071"/>
                        </a:lnTo>
                        <a:cubicBezTo>
                          <a:pt x="553325" y="541071"/>
                          <a:pt x="665711" y="653457"/>
                          <a:pt x="665711" y="792092"/>
                        </a:cubicBezTo>
                        <a:lnTo>
                          <a:pt x="665711" y="940584"/>
                        </a:lnTo>
                        <a:lnTo>
                          <a:pt x="672674" y="942357"/>
                        </a:lnTo>
                        <a:lnTo>
                          <a:pt x="672704" y="942893"/>
                        </a:lnTo>
                        <a:lnTo>
                          <a:pt x="665711" y="940920"/>
                        </a:lnTo>
                        <a:lnTo>
                          <a:pt x="665711" y="1043113"/>
                        </a:lnTo>
                        <a:lnTo>
                          <a:pt x="6781" y="1043113"/>
                        </a:lnTo>
                        <a:lnTo>
                          <a:pt x="6781" y="936867"/>
                        </a:lnTo>
                        <a:lnTo>
                          <a:pt x="7" y="938531"/>
                        </a:lnTo>
                        <a:lnTo>
                          <a:pt x="0" y="938183"/>
                        </a:lnTo>
                        <a:lnTo>
                          <a:pt x="6781" y="936624"/>
                        </a:lnTo>
                        <a:lnTo>
                          <a:pt x="6781" y="792092"/>
                        </a:lnTo>
                        <a:cubicBezTo>
                          <a:pt x="6781" y="653457"/>
                          <a:pt x="119167" y="541071"/>
                          <a:pt x="257802" y="541071"/>
                        </a:cubicBezTo>
                        <a:close/>
                        <a:moveTo>
                          <a:pt x="336248" y="0"/>
                        </a:moveTo>
                        <a:cubicBezTo>
                          <a:pt x="472684" y="0"/>
                          <a:pt x="583287" y="110603"/>
                          <a:pt x="583287" y="247039"/>
                        </a:cubicBezTo>
                        <a:cubicBezTo>
                          <a:pt x="583287" y="383475"/>
                          <a:pt x="472684" y="494078"/>
                          <a:pt x="336248" y="494078"/>
                        </a:cubicBezTo>
                        <a:cubicBezTo>
                          <a:pt x="199812" y="494078"/>
                          <a:pt x="89209" y="383475"/>
                          <a:pt x="89209" y="247039"/>
                        </a:cubicBezTo>
                        <a:cubicBezTo>
                          <a:pt x="89209" y="110603"/>
                          <a:pt x="199812" y="0"/>
                          <a:pt x="336248"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grpSp>
          <p:sp>
            <p:nvSpPr>
              <p:cNvPr id="11" name="Freeform 10"/>
              <p:cNvSpPr/>
              <p:nvPr/>
            </p:nvSpPr>
            <p:spPr>
              <a:xfrm>
                <a:off x="10966396" y="2655685"/>
                <a:ext cx="479526" cy="743564"/>
              </a:xfrm>
              <a:custGeom>
                <a:avLst/>
                <a:gdLst>
                  <a:gd name="connsiteX0" fmla="*/ 257802 w 672704"/>
                  <a:gd name="connsiteY0" fmla="*/ 541071 h 1043113"/>
                  <a:gd name="connsiteX1" fmla="*/ 414690 w 672704"/>
                  <a:gd name="connsiteY1" fmla="*/ 541071 h 1043113"/>
                  <a:gd name="connsiteX2" fmla="*/ 665711 w 672704"/>
                  <a:gd name="connsiteY2" fmla="*/ 792092 h 1043113"/>
                  <a:gd name="connsiteX3" fmla="*/ 665711 w 672704"/>
                  <a:gd name="connsiteY3" fmla="*/ 940584 h 1043113"/>
                  <a:gd name="connsiteX4" fmla="*/ 672674 w 672704"/>
                  <a:gd name="connsiteY4" fmla="*/ 942357 h 1043113"/>
                  <a:gd name="connsiteX5" fmla="*/ 672704 w 672704"/>
                  <a:gd name="connsiteY5" fmla="*/ 942893 h 1043113"/>
                  <a:gd name="connsiteX6" fmla="*/ 665711 w 672704"/>
                  <a:gd name="connsiteY6" fmla="*/ 940920 h 1043113"/>
                  <a:gd name="connsiteX7" fmla="*/ 665711 w 672704"/>
                  <a:gd name="connsiteY7" fmla="*/ 1043113 h 1043113"/>
                  <a:gd name="connsiteX8" fmla="*/ 6781 w 672704"/>
                  <a:gd name="connsiteY8" fmla="*/ 1043113 h 1043113"/>
                  <a:gd name="connsiteX9" fmla="*/ 6781 w 672704"/>
                  <a:gd name="connsiteY9" fmla="*/ 936867 h 1043113"/>
                  <a:gd name="connsiteX10" fmla="*/ 7 w 672704"/>
                  <a:gd name="connsiteY10" fmla="*/ 938531 h 1043113"/>
                  <a:gd name="connsiteX11" fmla="*/ 0 w 672704"/>
                  <a:gd name="connsiteY11" fmla="*/ 938183 h 1043113"/>
                  <a:gd name="connsiteX12" fmla="*/ 6781 w 672704"/>
                  <a:gd name="connsiteY12" fmla="*/ 936624 h 1043113"/>
                  <a:gd name="connsiteX13" fmla="*/ 6781 w 672704"/>
                  <a:gd name="connsiteY13" fmla="*/ 792092 h 1043113"/>
                  <a:gd name="connsiteX14" fmla="*/ 257802 w 672704"/>
                  <a:gd name="connsiteY14" fmla="*/ 541071 h 1043113"/>
                  <a:gd name="connsiteX15" fmla="*/ 336248 w 672704"/>
                  <a:gd name="connsiteY15" fmla="*/ 0 h 1043113"/>
                  <a:gd name="connsiteX16" fmla="*/ 583287 w 672704"/>
                  <a:gd name="connsiteY16" fmla="*/ 247039 h 1043113"/>
                  <a:gd name="connsiteX17" fmla="*/ 336248 w 672704"/>
                  <a:gd name="connsiteY17" fmla="*/ 494078 h 1043113"/>
                  <a:gd name="connsiteX18" fmla="*/ 89209 w 672704"/>
                  <a:gd name="connsiteY18" fmla="*/ 247039 h 1043113"/>
                  <a:gd name="connsiteX19" fmla="*/ 336248 w 672704"/>
                  <a:gd name="connsiteY19" fmla="*/ 0 h 10431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672704" h="1043113">
                    <a:moveTo>
                      <a:pt x="257802" y="541071"/>
                    </a:moveTo>
                    <a:lnTo>
                      <a:pt x="414690" y="541071"/>
                    </a:lnTo>
                    <a:cubicBezTo>
                      <a:pt x="553325" y="541071"/>
                      <a:pt x="665711" y="653457"/>
                      <a:pt x="665711" y="792092"/>
                    </a:cubicBezTo>
                    <a:lnTo>
                      <a:pt x="665711" y="940584"/>
                    </a:lnTo>
                    <a:lnTo>
                      <a:pt x="672674" y="942357"/>
                    </a:lnTo>
                    <a:lnTo>
                      <a:pt x="672704" y="942893"/>
                    </a:lnTo>
                    <a:lnTo>
                      <a:pt x="665711" y="940920"/>
                    </a:lnTo>
                    <a:lnTo>
                      <a:pt x="665711" y="1043113"/>
                    </a:lnTo>
                    <a:lnTo>
                      <a:pt x="6781" y="1043113"/>
                    </a:lnTo>
                    <a:lnTo>
                      <a:pt x="6781" y="936867"/>
                    </a:lnTo>
                    <a:lnTo>
                      <a:pt x="7" y="938531"/>
                    </a:lnTo>
                    <a:lnTo>
                      <a:pt x="0" y="938183"/>
                    </a:lnTo>
                    <a:lnTo>
                      <a:pt x="6781" y="936624"/>
                    </a:lnTo>
                    <a:lnTo>
                      <a:pt x="6781" y="792092"/>
                    </a:lnTo>
                    <a:cubicBezTo>
                      <a:pt x="6781" y="653457"/>
                      <a:pt x="119167" y="541071"/>
                      <a:pt x="257802" y="541071"/>
                    </a:cubicBezTo>
                    <a:close/>
                    <a:moveTo>
                      <a:pt x="336248" y="0"/>
                    </a:moveTo>
                    <a:cubicBezTo>
                      <a:pt x="472684" y="0"/>
                      <a:pt x="583287" y="110603"/>
                      <a:pt x="583287" y="247039"/>
                    </a:cubicBezTo>
                    <a:cubicBezTo>
                      <a:pt x="583287" y="383475"/>
                      <a:pt x="472684" y="494078"/>
                      <a:pt x="336248" y="494078"/>
                    </a:cubicBezTo>
                    <a:cubicBezTo>
                      <a:pt x="199812" y="494078"/>
                      <a:pt x="89209" y="383475"/>
                      <a:pt x="89209" y="247039"/>
                    </a:cubicBezTo>
                    <a:cubicBezTo>
                      <a:pt x="89209" y="110603"/>
                      <a:pt x="199812" y="0"/>
                      <a:pt x="336248"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2" name="TextBox 11"/>
              <p:cNvSpPr txBox="1"/>
              <p:nvPr/>
            </p:nvSpPr>
            <p:spPr>
              <a:xfrm>
                <a:off x="10833929" y="3398672"/>
                <a:ext cx="736551" cy="369332"/>
              </a:xfrm>
              <a:prstGeom prst="rect">
                <a:avLst/>
              </a:prstGeom>
              <a:noFill/>
            </p:spPr>
            <p:txBody>
              <a:bodyPr wrap="square" lIns="45720" tIns="45720" rIns="45720" bIns="45720" rtlCol="0">
                <a:spAutoFit/>
              </a:bodyPr>
              <a:lstStyle>
                <a:defPPr>
                  <a:defRPr lang="en-US"/>
                </a:defPPr>
                <a:lvl1pPr algn="ctr">
                  <a:defRPr>
                    <a:gradFill>
                      <a:gsLst>
                        <a:gs pos="21951">
                          <a:schemeClr val="tx1"/>
                        </a:gs>
                        <a:gs pos="64000">
                          <a:schemeClr val="tx1"/>
                        </a:gs>
                      </a:gsLst>
                      <a:lin ang="5400000" scaled="0"/>
                    </a:gradFill>
                  </a:defRPr>
                </a:lvl1pPr>
              </a:lstStyle>
              <a:p>
                <a:r>
                  <a:rPr lang="en-US" dirty="0"/>
                  <a:t>Visitor</a:t>
                </a:r>
              </a:p>
            </p:txBody>
          </p:sp>
          <p:sp>
            <p:nvSpPr>
              <p:cNvPr id="13" name="TextBox 12"/>
              <p:cNvSpPr txBox="1"/>
              <p:nvPr/>
            </p:nvSpPr>
            <p:spPr>
              <a:xfrm>
                <a:off x="5995198" y="2626037"/>
                <a:ext cx="1835968" cy="369332"/>
              </a:xfrm>
              <a:prstGeom prst="rect">
                <a:avLst/>
              </a:prstGeom>
              <a:noFill/>
            </p:spPr>
            <p:txBody>
              <a:bodyPr wrap="square" lIns="45720" tIns="45720" rIns="45720" bIns="45720" rtlCol="0">
                <a:spAutoFit/>
              </a:bodyPr>
              <a:lstStyle/>
              <a:p>
                <a:pPr algn="ctr"/>
                <a:r>
                  <a:rPr lang="en-US" sz="1800" dirty="0">
                    <a:gradFill>
                      <a:gsLst>
                        <a:gs pos="21951">
                          <a:schemeClr val="tx1"/>
                        </a:gs>
                        <a:gs pos="64000">
                          <a:schemeClr val="tx1"/>
                        </a:gs>
                      </a:gsLst>
                      <a:lin ang="5400000" scaled="0"/>
                    </a:gradFill>
                  </a:rPr>
                  <a:t>Webhost (origin)</a:t>
                </a:r>
              </a:p>
            </p:txBody>
          </p:sp>
          <p:sp>
            <p:nvSpPr>
              <p:cNvPr id="14" name="TextBox 13"/>
              <p:cNvSpPr txBox="1"/>
              <p:nvPr/>
            </p:nvSpPr>
            <p:spPr>
              <a:xfrm>
                <a:off x="5157964" y="5604200"/>
                <a:ext cx="835936" cy="369332"/>
              </a:xfrm>
              <a:prstGeom prst="rect">
                <a:avLst/>
              </a:prstGeom>
              <a:noFill/>
            </p:spPr>
            <p:txBody>
              <a:bodyPr wrap="square" lIns="45720" tIns="45720" rIns="45720" bIns="45720" rtlCol="0">
                <a:spAutoFit/>
              </a:bodyPr>
              <a:lstStyle>
                <a:defPPr>
                  <a:defRPr lang="en-US"/>
                </a:defPPr>
                <a:lvl1pPr algn="ctr">
                  <a:defRPr>
                    <a:gradFill>
                      <a:gsLst>
                        <a:gs pos="21951">
                          <a:schemeClr val="tx1"/>
                        </a:gs>
                        <a:gs pos="64000">
                          <a:schemeClr val="tx1"/>
                        </a:gs>
                      </a:gsLst>
                      <a:lin ang="5400000" scaled="0"/>
                    </a:gradFill>
                  </a:defRPr>
                </a:lvl1pPr>
              </a:lstStyle>
              <a:p>
                <a:r>
                  <a:rPr lang="en-US" dirty="0"/>
                  <a:t>Visitors</a:t>
                </a:r>
              </a:p>
            </p:txBody>
          </p:sp>
          <p:sp>
            <p:nvSpPr>
              <p:cNvPr id="15" name="TextBox 14"/>
              <p:cNvSpPr txBox="1"/>
              <p:nvPr/>
            </p:nvSpPr>
            <p:spPr>
              <a:xfrm>
                <a:off x="11002554" y="5604200"/>
                <a:ext cx="835936" cy="369332"/>
              </a:xfrm>
              <a:prstGeom prst="rect">
                <a:avLst/>
              </a:prstGeom>
              <a:noFill/>
            </p:spPr>
            <p:txBody>
              <a:bodyPr wrap="square" lIns="45720" tIns="45720" rIns="45720" bIns="45720" rtlCol="0">
                <a:spAutoFit/>
              </a:bodyPr>
              <a:lstStyle>
                <a:defPPr>
                  <a:defRPr lang="en-US"/>
                </a:defPPr>
                <a:lvl1pPr algn="ctr">
                  <a:defRPr>
                    <a:gradFill>
                      <a:gsLst>
                        <a:gs pos="21951">
                          <a:schemeClr val="tx1"/>
                        </a:gs>
                        <a:gs pos="64000">
                          <a:schemeClr val="tx1"/>
                        </a:gs>
                      </a:gsLst>
                      <a:lin ang="5400000" scaled="0"/>
                    </a:gradFill>
                  </a:defRPr>
                </a:lvl1pPr>
              </a:lstStyle>
              <a:p>
                <a:r>
                  <a:rPr lang="en-US" dirty="0"/>
                  <a:t>Visitors</a:t>
                </a:r>
              </a:p>
            </p:txBody>
          </p:sp>
          <p:sp>
            <p:nvSpPr>
              <p:cNvPr id="16" name="TextBox 15"/>
              <p:cNvSpPr txBox="1"/>
              <p:nvPr/>
            </p:nvSpPr>
            <p:spPr>
              <a:xfrm>
                <a:off x="7333956" y="5604200"/>
                <a:ext cx="2251587" cy="369332"/>
              </a:xfrm>
              <a:prstGeom prst="rect">
                <a:avLst/>
              </a:prstGeom>
              <a:noFill/>
            </p:spPr>
            <p:txBody>
              <a:bodyPr wrap="square" lIns="45720" tIns="45720" rIns="45720" bIns="45720" rtlCol="0">
                <a:spAutoFit/>
              </a:bodyPr>
              <a:lstStyle>
                <a:defPPr>
                  <a:defRPr lang="en-US"/>
                </a:defPPr>
                <a:lvl1pPr algn="ctr">
                  <a:defRPr>
                    <a:gradFill>
                      <a:gsLst>
                        <a:gs pos="21951">
                          <a:schemeClr val="tx1"/>
                        </a:gs>
                        <a:gs pos="64000">
                          <a:schemeClr val="tx1"/>
                        </a:gs>
                      </a:gsLst>
                      <a:lin ang="5400000" scaled="0"/>
                    </a:gradFill>
                  </a:defRPr>
                </a:lvl1pPr>
              </a:lstStyle>
              <a:p>
                <a:r>
                  <a:rPr lang="en-US" dirty="0"/>
                  <a:t>Edge locations/POPs</a:t>
                </a:r>
              </a:p>
            </p:txBody>
          </p:sp>
          <p:cxnSp>
            <p:nvCxnSpPr>
              <p:cNvPr id="17" name="Straight Arrow Connector 11"/>
              <p:cNvCxnSpPr/>
              <p:nvPr/>
            </p:nvCxnSpPr>
            <p:spPr>
              <a:xfrm rot="5400000" flipH="1" flipV="1">
                <a:off x="4847848" y="2937826"/>
                <a:ext cx="2377440" cy="914404"/>
              </a:xfrm>
              <a:prstGeom prst="bentConnector2">
                <a:avLst/>
              </a:prstGeom>
              <a:ln w="38100">
                <a:solidFill>
                  <a:schemeClr val="bg1">
                    <a:lumMod val="50000"/>
                  </a:schemeClr>
                </a:solidFill>
                <a:prstDash val="sysDot"/>
                <a:miter lim="800000"/>
                <a:tailEnd type="triangle" w="lg" len="med"/>
              </a:ln>
            </p:spPr>
            <p:style>
              <a:lnRef idx="1">
                <a:schemeClr val="accent1"/>
              </a:lnRef>
              <a:fillRef idx="0">
                <a:schemeClr val="accent1"/>
              </a:fillRef>
              <a:effectRef idx="0">
                <a:schemeClr val="accent1"/>
              </a:effectRef>
              <a:fontRef idx="minor">
                <a:schemeClr val="tx1"/>
              </a:fontRef>
            </p:style>
          </p:cxnSp>
          <p:cxnSp>
            <p:nvCxnSpPr>
              <p:cNvPr id="18" name="Straight Arrow Connector 10"/>
              <p:cNvCxnSpPr/>
              <p:nvPr/>
            </p:nvCxnSpPr>
            <p:spPr>
              <a:xfrm rot="16200000" flipV="1">
                <a:off x="9096937" y="383435"/>
                <a:ext cx="274485" cy="3931936"/>
              </a:xfrm>
              <a:prstGeom prst="bentConnector2">
                <a:avLst/>
              </a:prstGeom>
              <a:ln w="38100">
                <a:solidFill>
                  <a:schemeClr val="bg1">
                    <a:lumMod val="50000"/>
                  </a:schemeClr>
                </a:solidFill>
                <a:prstDash val="sysDot"/>
                <a:miter lim="800000"/>
                <a:tailEnd type="triangle" w="lg" len="med"/>
              </a:ln>
            </p:spPr>
            <p:style>
              <a:lnRef idx="1">
                <a:schemeClr val="accent1"/>
              </a:lnRef>
              <a:fillRef idx="0">
                <a:schemeClr val="accent1"/>
              </a:fillRef>
              <a:effectRef idx="0">
                <a:schemeClr val="accent1"/>
              </a:effectRef>
              <a:fontRef idx="minor">
                <a:schemeClr val="tx1"/>
              </a:fontRef>
            </p:style>
          </p:cxnSp>
          <p:cxnSp>
            <p:nvCxnSpPr>
              <p:cNvPr id="19" name="Straight Arrow Connector 12"/>
              <p:cNvCxnSpPr/>
              <p:nvPr/>
            </p:nvCxnSpPr>
            <p:spPr>
              <a:xfrm rot="16200000" flipH="1">
                <a:off x="6860762" y="3177502"/>
                <a:ext cx="1097280" cy="1019897"/>
              </a:xfrm>
              <a:prstGeom prst="bentConnector2">
                <a:avLst/>
              </a:prstGeom>
              <a:ln w="38100">
                <a:solidFill>
                  <a:schemeClr val="bg1">
                    <a:lumMod val="50000"/>
                  </a:schemeClr>
                </a:solidFill>
                <a:prstDash val="sysDot"/>
                <a:miter lim="800000"/>
                <a:tailEnd type="triangle" w="lg" len="med"/>
              </a:ln>
            </p:spPr>
            <p:style>
              <a:lnRef idx="1">
                <a:schemeClr val="accent1"/>
              </a:lnRef>
              <a:fillRef idx="0">
                <a:schemeClr val="accent1"/>
              </a:fillRef>
              <a:effectRef idx="0">
                <a:schemeClr val="accent1"/>
              </a:effectRef>
              <a:fontRef idx="minor">
                <a:schemeClr val="tx1"/>
              </a:fontRef>
            </p:style>
          </p:cxnSp>
          <p:cxnSp>
            <p:nvCxnSpPr>
              <p:cNvPr id="20" name="Straight Arrow Connector 19"/>
              <p:cNvCxnSpPr/>
              <p:nvPr/>
            </p:nvCxnSpPr>
            <p:spPr>
              <a:xfrm>
                <a:off x="6120004" y="5360988"/>
                <a:ext cx="914404" cy="0"/>
              </a:xfrm>
              <a:prstGeom prst="straightConnector1">
                <a:avLst/>
              </a:prstGeom>
              <a:ln w="38100">
                <a:solidFill>
                  <a:schemeClr val="bg1">
                    <a:lumMod val="50000"/>
                  </a:schemeClr>
                </a:solidFill>
                <a:prstDash val="sysDot"/>
                <a:miter lim="800000"/>
                <a:tailEnd type="triangle" w="lg" len="med"/>
              </a:ln>
            </p:spPr>
            <p:style>
              <a:lnRef idx="1">
                <a:schemeClr val="accent1"/>
              </a:lnRef>
              <a:fillRef idx="0">
                <a:schemeClr val="accent1"/>
              </a:fillRef>
              <a:effectRef idx="0">
                <a:schemeClr val="accent1"/>
              </a:effectRef>
              <a:fontRef idx="minor">
                <a:schemeClr val="tx1"/>
              </a:fontRef>
            </p:style>
          </p:cxnSp>
          <p:cxnSp>
            <p:nvCxnSpPr>
              <p:cNvPr id="21" name="Straight Arrow Connector 20"/>
              <p:cNvCxnSpPr/>
              <p:nvPr/>
            </p:nvCxnSpPr>
            <p:spPr>
              <a:xfrm flipH="1">
                <a:off x="9832166" y="5360988"/>
                <a:ext cx="914404" cy="0"/>
              </a:xfrm>
              <a:prstGeom prst="straightConnector1">
                <a:avLst/>
              </a:prstGeom>
              <a:ln w="38100">
                <a:solidFill>
                  <a:schemeClr val="bg1">
                    <a:lumMod val="50000"/>
                  </a:schemeClr>
                </a:solidFill>
                <a:prstDash val="sysDot"/>
                <a:miter lim="800000"/>
                <a:tailEnd type="triangle" w="lg" len="med"/>
              </a:ln>
            </p:spPr>
            <p:style>
              <a:lnRef idx="1">
                <a:schemeClr val="accent1"/>
              </a:lnRef>
              <a:fillRef idx="0">
                <a:schemeClr val="accent1"/>
              </a:fillRef>
              <a:effectRef idx="0">
                <a:schemeClr val="accent1"/>
              </a:effectRef>
              <a:fontRef idx="minor">
                <a:schemeClr val="tx1"/>
              </a:fontRef>
            </p:style>
          </p:cxnSp>
          <p:cxnSp>
            <p:nvCxnSpPr>
              <p:cNvPr id="22" name="Straight Arrow Connector 16"/>
              <p:cNvCxnSpPr/>
              <p:nvPr/>
            </p:nvCxnSpPr>
            <p:spPr>
              <a:xfrm rot="10800000" flipV="1">
                <a:off x="9826616" y="3655136"/>
                <a:ext cx="914404" cy="1371600"/>
              </a:xfrm>
              <a:prstGeom prst="bentConnector3">
                <a:avLst>
                  <a:gd name="adj1" fmla="val 15262"/>
                </a:avLst>
              </a:prstGeom>
              <a:ln w="38100">
                <a:solidFill>
                  <a:schemeClr val="bg1">
                    <a:lumMod val="50000"/>
                  </a:schemeClr>
                </a:solidFill>
                <a:prstDash val="sysDot"/>
                <a:miter lim="800000"/>
                <a:tailEnd type="triangle" w="lg" len="med"/>
              </a:ln>
            </p:spPr>
            <p:style>
              <a:lnRef idx="1">
                <a:schemeClr val="accent1"/>
              </a:lnRef>
              <a:fillRef idx="0">
                <a:schemeClr val="accent1"/>
              </a:fillRef>
              <a:effectRef idx="0">
                <a:schemeClr val="accent1"/>
              </a:effectRef>
              <a:fontRef idx="minor">
                <a:schemeClr val="tx1"/>
              </a:fontRef>
            </p:style>
          </p:cxnSp>
          <p:cxnSp>
            <p:nvCxnSpPr>
              <p:cNvPr id="23" name="Straight Arrow Connector 22"/>
              <p:cNvCxnSpPr/>
              <p:nvPr/>
            </p:nvCxnSpPr>
            <p:spPr>
              <a:xfrm flipH="1">
                <a:off x="7434586" y="4594982"/>
                <a:ext cx="672438" cy="306246"/>
              </a:xfrm>
              <a:prstGeom prst="straightConnector1">
                <a:avLst/>
              </a:prstGeom>
              <a:ln w="38100">
                <a:solidFill>
                  <a:schemeClr val="bg1">
                    <a:lumMod val="50000"/>
                  </a:schemeClr>
                </a:solidFill>
                <a:prstDash val="sysDot"/>
                <a:miter lim="800000"/>
                <a:tailEnd type="triangle" w="lg" len="med"/>
              </a:ln>
            </p:spPr>
            <p:style>
              <a:lnRef idx="1">
                <a:schemeClr val="accent1"/>
              </a:lnRef>
              <a:fillRef idx="0">
                <a:schemeClr val="accent1"/>
              </a:fillRef>
              <a:effectRef idx="0">
                <a:schemeClr val="accent1"/>
              </a:effectRef>
              <a:fontRef idx="minor">
                <a:schemeClr val="tx1"/>
              </a:fontRef>
            </p:style>
          </p:cxnSp>
          <p:cxnSp>
            <p:nvCxnSpPr>
              <p:cNvPr id="24" name="Straight Arrow Connector 23"/>
              <p:cNvCxnSpPr/>
              <p:nvPr/>
            </p:nvCxnSpPr>
            <p:spPr>
              <a:xfrm>
                <a:off x="8820488" y="4605338"/>
                <a:ext cx="597598" cy="318028"/>
              </a:xfrm>
              <a:prstGeom prst="straightConnector1">
                <a:avLst/>
              </a:prstGeom>
              <a:ln w="38100">
                <a:solidFill>
                  <a:schemeClr val="bg1">
                    <a:lumMod val="50000"/>
                  </a:schemeClr>
                </a:solidFill>
                <a:prstDash val="sysDot"/>
                <a:miter lim="800000"/>
                <a:tailEnd type="triangle" w="lg" len="med"/>
              </a:ln>
            </p:spPr>
            <p:style>
              <a:lnRef idx="1">
                <a:schemeClr val="accent1"/>
              </a:lnRef>
              <a:fillRef idx="0">
                <a:schemeClr val="accent1"/>
              </a:fillRef>
              <a:effectRef idx="0">
                <a:schemeClr val="accent1"/>
              </a:effectRef>
              <a:fontRef idx="minor">
                <a:schemeClr val="tx1"/>
              </a:fontRef>
            </p:style>
          </p:cxnSp>
          <p:cxnSp>
            <p:nvCxnSpPr>
              <p:cNvPr id="25" name="Straight Arrow Connector 24"/>
              <p:cNvCxnSpPr/>
              <p:nvPr/>
            </p:nvCxnSpPr>
            <p:spPr>
              <a:xfrm>
                <a:off x="8579925" y="4689475"/>
                <a:ext cx="180195" cy="251075"/>
              </a:xfrm>
              <a:prstGeom prst="straightConnector1">
                <a:avLst/>
              </a:prstGeom>
              <a:ln w="38100">
                <a:solidFill>
                  <a:schemeClr val="bg1">
                    <a:lumMod val="50000"/>
                  </a:schemeClr>
                </a:solidFill>
                <a:prstDash val="sysDot"/>
                <a:miter lim="800000"/>
                <a:tailEnd type="triangle" w="lg" len="med"/>
              </a:ln>
            </p:spPr>
            <p:style>
              <a:lnRef idx="1">
                <a:schemeClr val="accent1"/>
              </a:lnRef>
              <a:fillRef idx="0">
                <a:schemeClr val="accent1"/>
              </a:fillRef>
              <a:effectRef idx="0">
                <a:schemeClr val="accent1"/>
              </a:effectRef>
              <a:fontRef idx="minor">
                <a:schemeClr val="tx1"/>
              </a:fontRef>
            </p:style>
          </p:cxnSp>
          <p:cxnSp>
            <p:nvCxnSpPr>
              <p:cNvPr id="26" name="Straight Arrow Connector 25"/>
              <p:cNvCxnSpPr/>
              <p:nvPr/>
            </p:nvCxnSpPr>
            <p:spPr>
              <a:xfrm flipH="1">
                <a:off x="8147597" y="4679379"/>
                <a:ext cx="130837" cy="259821"/>
              </a:xfrm>
              <a:prstGeom prst="straightConnector1">
                <a:avLst/>
              </a:prstGeom>
              <a:ln w="38100">
                <a:solidFill>
                  <a:schemeClr val="bg1">
                    <a:lumMod val="50000"/>
                  </a:schemeClr>
                </a:solidFill>
                <a:prstDash val="sysDot"/>
                <a:miter lim="800000"/>
                <a:tailEnd type="triangle" w="lg" len="med"/>
              </a:ln>
            </p:spPr>
            <p:style>
              <a:lnRef idx="1">
                <a:schemeClr val="accent1"/>
              </a:lnRef>
              <a:fillRef idx="0">
                <a:schemeClr val="accent1"/>
              </a:fillRef>
              <a:effectRef idx="0">
                <a:schemeClr val="accent1"/>
              </a:effectRef>
              <a:fontRef idx="minor">
                <a:schemeClr val="tx1"/>
              </a:fontRef>
            </p:style>
          </p:cxnSp>
        </p:grpSp>
      </p:grpSp>
      <p:grpSp>
        <p:nvGrpSpPr>
          <p:cNvPr id="48" name="Group 47"/>
          <p:cNvGrpSpPr/>
          <p:nvPr/>
        </p:nvGrpSpPr>
        <p:grpSpPr>
          <a:xfrm>
            <a:off x="613625" y="2308555"/>
            <a:ext cx="4269896" cy="4572000"/>
            <a:chOff x="274639" y="1668462"/>
            <a:chExt cx="4269896" cy="4572000"/>
          </a:xfrm>
        </p:grpSpPr>
        <p:sp>
          <p:nvSpPr>
            <p:cNvPr id="49" name="Rectangle 48"/>
            <p:cNvSpPr/>
            <p:nvPr/>
          </p:nvSpPr>
          <p:spPr bwMode="auto">
            <a:xfrm>
              <a:off x="274639" y="1668462"/>
              <a:ext cx="4269896" cy="4572000"/>
            </a:xfrm>
            <a:prstGeom prst="rect">
              <a:avLst/>
            </a:prstGeom>
            <a:solidFill>
              <a:schemeClr val="accent1">
                <a:lumMod val="90000"/>
                <a:lumOff val="1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316" rtl="0" eaLnBrk="1" latinLnBrk="0" hangingPunct="1">
                <a:defRPr sz="1836" kern="1200">
                  <a:solidFill>
                    <a:schemeClr val="lt1"/>
                  </a:solidFill>
                  <a:latin typeface="+mn-lt"/>
                  <a:ea typeface="+mn-ea"/>
                  <a:cs typeface="+mn-cs"/>
                </a:defRPr>
              </a:lvl1pPr>
              <a:lvl2pPr marL="466155" algn="l" defTabSz="932316" rtl="0" eaLnBrk="1" latinLnBrk="0" hangingPunct="1">
                <a:defRPr sz="1836" kern="1200">
                  <a:solidFill>
                    <a:schemeClr val="lt1"/>
                  </a:solidFill>
                  <a:latin typeface="+mn-lt"/>
                  <a:ea typeface="+mn-ea"/>
                  <a:cs typeface="+mn-cs"/>
                </a:defRPr>
              </a:lvl2pPr>
              <a:lvl3pPr marL="932316" algn="l" defTabSz="932316" rtl="0" eaLnBrk="1" latinLnBrk="0" hangingPunct="1">
                <a:defRPr sz="1836" kern="1200">
                  <a:solidFill>
                    <a:schemeClr val="lt1"/>
                  </a:solidFill>
                  <a:latin typeface="+mn-lt"/>
                  <a:ea typeface="+mn-ea"/>
                  <a:cs typeface="+mn-cs"/>
                </a:defRPr>
              </a:lvl3pPr>
              <a:lvl4pPr marL="1398471" algn="l" defTabSz="932316" rtl="0" eaLnBrk="1" latinLnBrk="0" hangingPunct="1">
                <a:defRPr sz="1836" kern="1200">
                  <a:solidFill>
                    <a:schemeClr val="lt1"/>
                  </a:solidFill>
                  <a:latin typeface="+mn-lt"/>
                  <a:ea typeface="+mn-ea"/>
                  <a:cs typeface="+mn-cs"/>
                </a:defRPr>
              </a:lvl4pPr>
              <a:lvl5pPr marL="1864631" algn="l" defTabSz="932316" rtl="0" eaLnBrk="1" latinLnBrk="0" hangingPunct="1">
                <a:defRPr sz="1836" kern="1200">
                  <a:solidFill>
                    <a:schemeClr val="lt1"/>
                  </a:solidFill>
                  <a:latin typeface="+mn-lt"/>
                  <a:ea typeface="+mn-ea"/>
                  <a:cs typeface="+mn-cs"/>
                </a:defRPr>
              </a:lvl5pPr>
              <a:lvl6pPr marL="2330787" algn="l" defTabSz="932316" rtl="0" eaLnBrk="1" latinLnBrk="0" hangingPunct="1">
                <a:defRPr sz="1836" kern="1200">
                  <a:solidFill>
                    <a:schemeClr val="lt1"/>
                  </a:solidFill>
                  <a:latin typeface="+mn-lt"/>
                  <a:ea typeface="+mn-ea"/>
                  <a:cs typeface="+mn-cs"/>
                </a:defRPr>
              </a:lvl6pPr>
              <a:lvl7pPr marL="2796947" algn="l" defTabSz="932316" rtl="0" eaLnBrk="1" latinLnBrk="0" hangingPunct="1">
                <a:defRPr sz="1836" kern="1200">
                  <a:solidFill>
                    <a:schemeClr val="lt1"/>
                  </a:solidFill>
                  <a:latin typeface="+mn-lt"/>
                  <a:ea typeface="+mn-ea"/>
                  <a:cs typeface="+mn-cs"/>
                </a:defRPr>
              </a:lvl7pPr>
              <a:lvl8pPr marL="3263102" algn="l" defTabSz="932316" rtl="0" eaLnBrk="1" latinLnBrk="0" hangingPunct="1">
                <a:defRPr sz="1836" kern="1200">
                  <a:solidFill>
                    <a:schemeClr val="lt1"/>
                  </a:solidFill>
                  <a:latin typeface="+mn-lt"/>
                  <a:ea typeface="+mn-ea"/>
                  <a:cs typeface="+mn-cs"/>
                </a:defRPr>
              </a:lvl8pPr>
              <a:lvl9pPr marL="3729258" algn="l" defTabSz="932316" rtl="0" eaLnBrk="1" latinLnBrk="0" hangingPunct="1">
                <a:defRPr sz="1836" kern="1200">
                  <a:solidFill>
                    <a:schemeClr val="lt1"/>
                  </a:solidFill>
                  <a:latin typeface="+mn-lt"/>
                  <a:ea typeface="+mn-ea"/>
                  <a:cs typeface="+mn-cs"/>
                </a:defRPr>
              </a:lvl9pPr>
            </a:lstStyle>
            <a:p>
              <a:pPr algn="ctr" defTabSz="932472" fontAlgn="base">
                <a:spcBef>
                  <a:spcPct val="0"/>
                </a:spcBef>
                <a:spcAft>
                  <a:spcPct val="0"/>
                </a:spcAft>
              </a:pPr>
              <a:endParaRPr lang="en-US" sz="2000">
                <a:gradFill>
                  <a:gsLst>
                    <a:gs pos="0">
                      <a:srgbClr val="FFFFFF"/>
                    </a:gs>
                    <a:gs pos="100000">
                      <a:srgbClr val="FFFFFF"/>
                    </a:gs>
                  </a:gsLst>
                  <a:lin ang="5400000" scaled="0"/>
                </a:gradFill>
              </a:endParaRPr>
            </a:p>
          </p:txBody>
        </p:sp>
        <p:pic>
          <p:nvPicPr>
            <p:cNvPr id="50" name="Picture 49"/>
            <p:cNvPicPr>
              <a:picLocks noChangeAspect="1"/>
            </p:cNvPicPr>
            <p:nvPr/>
          </p:nvPicPr>
          <p:blipFill>
            <a:blip r:embed="rId3"/>
            <a:stretch>
              <a:fillRect/>
            </a:stretch>
          </p:blipFill>
          <p:spPr>
            <a:xfrm>
              <a:off x="585780" y="1762729"/>
              <a:ext cx="3647614" cy="4383467"/>
            </a:xfrm>
            <a:prstGeom prst="rect">
              <a:avLst/>
            </a:prstGeom>
          </p:spPr>
        </p:pic>
      </p:grpSp>
    </p:spTree>
    <p:extLst>
      <p:ext uri="{BB962C8B-B14F-4D97-AF65-F5344CB8AC3E}">
        <p14:creationId xmlns:p14="http://schemas.microsoft.com/office/powerpoint/2010/main" val="251716194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withEffect">
                                  <p:stCondLst>
                                    <p:cond delay="0"/>
                                  </p:stCondLst>
                                  <p:childTnLst>
                                    <p:set>
                                      <p:cBhvr>
                                        <p:cTn id="6" dur="1" fill="hold">
                                          <p:stCondLst>
                                            <p:cond delay="0"/>
                                          </p:stCondLst>
                                        </p:cTn>
                                        <p:tgtEl>
                                          <p:spTgt spid="48"/>
                                        </p:tgtEl>
                                        <p:attrNameLst>
                                          <p:attrName>style.visibility</p:attrName>
                                        </p:attrNameLst>
                                      </p:cBhvr>
                                      <p:to>
                                        <p:strVal val="visible"/>
                                      </p:to>
                                    </p:set>
                                    <p:anim calcmode="lin" valueType="num">
                                      <p:cBhvr additive="base">
                                        <p:cTn id="7" dur="500" fill="hold"/>
                                        <p:tgtEl>
                                          <p:spTgt spid="48"/>
                                        </p:tgtEl>
                                        <p:attrNameLst>
                                          <p:attrName>ppt_x</p:attrName>
                                        </p:attrNameLst>
                                      </p:cBhvr>
                                      <p:tavLst>
                                        <p:tav tm="0">
                                          <p:val>
                                            <p:strVal val="0-#ppt_w/2"/>
                                          </p:val>
                                        </p:tav>
                                        <p:tav tm="100000">
                                          <p:val>
                                            <p:strVal val="#ppt_x"/>
                                          </p:val>
                                        </p:tav>
                                      </p:tavLst>
                                    </p:anim>
                                    <p:anim calcmode="lin" valueType="num">
                                      <p:cBhvr additive="base">
                                        <p:cTn id="8" dur="500" fill="hold"/>
                                        <p:tgtEl>
                                          <p:spTgt spid="48"/>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2" presetClass="entr" presetSubtype="8" decel="100000" fill="hold" nodeType="afterEffect">
                                  <p:stCondLst>
                                    <p:cond delay="0"/>
                                  </p:stCondLst>
                                  <p:childTnLst>
                                    <p:set>
                                      <p:cBhvr>
                                        <p:cTn id="11" dur="1" fill="hold">
                                          <p:stCondLst>
                                            <p:cond delay="0"/>
                                          </p:stCondLst>
                                        </p:cTn>
                                        <p:tgtEl>
                                          <p:spTgt spid="4"/>
                                        </p:tgtEl>
                                        <p:attrNameLst>
                                          <p:attrName>style.visibility</p:attrName>
                                        </p:attrNameLst>
                                      </p:cBhvr>
                                      <p:to>
                                        <p:strVal val="visible"/>
                                      </p:to>
                                    </p:set>
                                    <p:anim calcmode="lin" valueType="num">
                                      <p:cBhvr additive="base">
                                        <p:cTn id="12" dur="1000" fill="hold"/>
                                        <p:tgtEl>
                                          <p:spTgt spid="4"/>
                                        </p:tgtEl>
                                        <p:attrNameLst>
                                          <p:attrName>ppt_x</p:attrName>
                                        </p:attrNameLst>
                                      </p:cBhvr>
                                      <p:tavLst>
                                        <p:tav tm="0">
                                          <p:val>
                                            <p:strVal val="0-#ppt_w/2"/>
                                          </p:val>
                                        </p:tav>
                                        <p:tav tm="100000">
                                          <p:val>
                                            <p:strVal val="#ppt_x"/>
                                          </p:val>
                                        </p:tav>
                                      </p:tavLst>
                                    </p:anim>
                                    <p:anim calcmode="lin" valueType="num">
                                      <p:cBhvr additive="base">
                                        <p:cTn id="13" dur="1000" fill="hold"/>
                                        <p:tgtEl>
                                          <p:spTgt spid="4"/>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zure CDN POP Locations</a:t>
            </a:r>
          </a:p>
        </p:txBody>
      </p:sp>
      <p:sp>
        <p:nvSpPr>
          <p:cNvPr id="3" name="TextBox 2"/>
          <p:cNvSpPr txBox="1"/>
          <p:nvPr/>
        </p:nvSpPr>
        <p:spPr>
          <a:xfrm>
            <a:off x="1463409" y="6145417"/>
            <a:ext cx="6657715" cy="923330"/>
          </a:xfrm>
          <a:prstGeom prst="rect">
            <a:avLst/>
          </a:prstGeom>
          <a:noFill/>
        </p:spPr>
        <p:txBody>
          <a:bodyPr wrap="square" rtlCol="0">
            <a:spAutoFit/>
          </a:bodyPr>
          <a:lstStyle/>
          <a:p>
            <a:pPr marL="0" marR="0" lvl="0" indent="0" algn="ctr" defTabSz="932742"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gradFill>
                  <a:gsLst>
                    <a:gs pos="29268">
                      <a:schemeClr val="tx2"/>
                    </a:gs>
                    <a:gs pos="67000">
                      <a:schemeClr val="tx2"/>
                    </a:gs>
                  </a:gsLst>
                  <a:lin ang="5400000" scaled="0"/>
                </a:gradFill>
                <a:effectLst/>
                <a:uLnTx/>
                <a:uFillTx/>
                <a:latin typeface="Segoe UI Semibold" panose="020B0702040204020203" pitchFamily="34" charset="0"/>
                <a:cs typeface="Segoe UI Semibold" panose="020B0702040204020203" pitchFamily="34" charset="0"/>
              </a:rPr>
              <a:t>45 massive capacity</a:t>
            </a:r>
            <a:r>
              <a:rPr kumimoji="0" lang="en-US" sz="1800" b="0" i="0" u="none" strike="noStrike" kern="0" cap="none" spc="0" normalizeH="0" noProof="0" dirty="0">
                <a:ln>
                  <a:noFill/>
                </a:ln>
                <a:gradFill>
                  <a:gsLst>
                    <a:gs pos="29268">
                      <a:schemeClr val="tx2"/>
                    </a:gs>
                    <a:gs pos="67000">
                      <a:schemeClr val="tx2"/>
                    </a:gs>
                  </a:gsLst>
                  <a:lin ang="5400000" scaled="0"/>
                </a:gradFill>
                <a:effectLst/>
                <a:uLnTx/>
                <a:uFillTx/>
                <a:latin typeface="Segoe UI Semibold" panose="020B0702040204020203" pitchFamily="34" charset="0"/>
                <a:cs typeface="Segoe UI Semibold" panose="020B0702040204020203" pitchFamily="34" charset="0"/>
              </a:rPr>
              <a:t> </a:t>
            </a:r>
            <a:r>
              <a:rPr kumimoji="0" lang="en-US" sz="1800" b="0" i="0" u="none" strike="noStrike" kern="0" cap="none" spc="0" normalizeH="0" baseline="0" noProof="0" dirty="0">
                <a:ln>
                  <a:noFill/>
                </a:ln>
                <a:gradFill>
                  <a:gsLst>
                    <a:gs pos="29268">
                      <a:schemeClr val="tx2"/>
                    </a:gs>
                    <a:gs pos="67000">
                      <a:schemeClr val="tx2"/>
                    </a:gs>
                  </a:gsLst>
                  <a:lin ang="5400000" scaled="0"/>
                </a:gradFill>
                <a:effectLst/>
                <a:uLnTx/>
                <a:uFillTx/>
                <a:latin typeface="Segoe UI Semibold" panose="020B0702040204020203" pitchFamily="34" charset="0"/>
                <a:cs typeface="Segoe UI Semibold" panose="020B0702040204020203" pitchFamily="34" charset="0"/>
              </a:rPr>
              <a:t>POPs globally </a:t>
            </a:r>
          </a:p>
          <a:p>
            <a:pPr algn="ctr">
              <a:defRPr/>
            </a:pPr>
            <a:r>
              <a:rPr lang="en-US" spc="-30" dirty="0">
                <a:solidFill>
                  <a:schemeClr val="accent3"/>
                </a:solidFill>
              </a:rPr>
              <a:t>https://docs.microsoft.com/en-us/azure/cdn/cdn-pop-locations </a:t>
            </a:r>
            <a:endParaRPr lang="en-US" sz="4000" spc="-30" dirty="0">
              <a:solidFill>
                <a:schemeClr val="accent3"/>
              </a:solidFill>
            </a:endParaRPr>
          </a:p>
          <a:p>
            <a:pPr marL="0" marR="0" lvl="0" indent="0" algn="ctr"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gradFill>
                <a:gsLst>
                  <a:gs pos="29268">
                    <a:schemeClr val="tx2"/>
                  </a:gs>
                  <a:gs pos="67000">
                    <a:schemeClr val="tx2"/>
                  </a:gs>
                </a:gsLst>
                <a:lin ang="5400000" scaled="0"/>
              </a:gradFill>
              <a:effectLst/>
              <a:uLnTx/>
              <a:uFillTx/>
              <a:latin typeface="Segoe UI Semibold" panose="020B0702040204020203" pitchFamily="34" charset="0"/>
              <a:cs typeface="Segoe UI Semibold" panose="020B0702040204020203" pitchFamily="34" charset="0"/>
            </a:endParaRPr>
          </a:p>
        </p:txBody>
      </p:sp>
      <p:grpSp>
        <p:nvGrpSpPr>
          <p:cNvPr id="4" name="Group 3"/>
          <p:cNvGrpSpPr/>
          <p:nvPr/>
        </p:nvGrpSpPr>
        <p:grpSpPr>
          <a:xfrm>
            <a:off x="492809" y="2145013"/>
            <a:ext cx="8532331" cy="3575612"/>
            <a:chOff x="57729" y="2125711"/>
            <a:chExt cx="8777580" cy="3611359"/>
          </a:xfrm>
        </p:grpSpPr>
        <p:cxnSp>
          <p:nvCxnSpPr>
            <p:cNvPr id="5" name="Straight Connector 4"/>
            <p:cNvCxnSpPr/>
            <p:nvPr/>
          </p:nvCxnSpPr>
          <p:spPr>
            <a:xfrm flipV="1">
              <a:off x="142844" y="3744460"/>
              <a:ext cx="1121878" cy="596036"/>
            </a:xfrm>
            <a:prstGeom prst="line">
              <a:avLst/>
            </a:prstGeom>
            <a:noFill/>
            <a:ln w="19050" cap="flat" cmpd="sng" algn="ctr">
              <a:solidFill>
                <a:srgbClr val="0072C6"/>
              </a:solidFill>
              <a:prstDash val="solid"/>
              <a:headEnd type="none"/>
              <a:tailEnd type="none"/>
            </a:ln>
            <a:effectLst/>
          </p:spPr>
        </p:cxnSp>
        <p:cxnSp>
          <p:nvCxnSpPr>
            <p:cNvPr id="6" name="Straight Connector 5"/>
            <p:cNvCxnSpPr>
              <a:stCxn id="1366" idx="6"/>
              <a:endCxn id="1369" idx="2"/>
            </p:cNvCxnSpPr>
            <p:nvPr/>
          </p:nvCxnSpPr>
          <p:spPr>
            <a:xfrm flipV="1">
              <a:off x="1342771" y="3682511"/>
              <a:ext cx="328815" cy="29621"/>
            </a:xfrm>
            <a:prstGeom prst="line">
              <a:avLst/>
            </a:prstGeom>
            <a:noFill/>
            <a:ln w="19050" cap="flat" cmpd="sng" algn="ctr">
              <a:solidFill>
                <a:srgbClr val="0072C6"/>
              </a:solidFill>
              <a:prstDash val="solid"/>
              <a:headEnd type="none"/>
              <a:tailEnd type="none"/>
            </a:ln>
            <a:effectLst/>
          </p:spPr>
        </p:cxnSp>
        <p:cxnSp>
          <p:nvCxnSpPr>
            <p:cNvPr id="7" name="Straight Connector 6"/>
            <p:cNvCxnSpPr>
              <a:stCxn id="891" idx="5"/>
              <a:endCxn id="1371" idx="1"/>
            </p:cNvCxnSpPr>
            <p:nvPr/>
          </p:nvCxnSpPr>
          <p:spPr>
            <a:xfrm>
              <a:off x="2068722" y="3705770"/>
              <a:ext cx="168514" cy="137364"/>
            </a:xfrm>
            <a:prstGeom prst="line">
              <a:avLst/>
            </a:prstGeom>
            <a:noFill/>
            <a:ln w="19050" cap="flat" cmpd="sng" algn="ctr">
              <a:solidFill>
                <a:srgbClr val="0072C6"/>
              </a:solidFill>
              <a:prstDash val="solid"/>
              <a:headEnd type="none"/>
              <a:tailEnd type="none"/>
            </a:ln>
            <a:effectLst/>
          </p:spPr>
        </p:cxnSp>
        <p:cxnSp>
          <p:nvCxnSpPr>
            <p:cNvPr id="8" name="Straight Connector 7"/>
            <p:cNvCxnSpPr>
              <a:stCxn id="1371" idx="6"/>
              <a:endCxn id="1383" idx="2"/>
            </p:cNvCxnSpPr>
            <p:nvPr/>
          </p:nvCxnSpPr>
          <p:spPr>
            <a:xfrm flipV="1">
              <a:off x="2315286" y="3171530"/>
              <a:ext cx="1727378" cy="703933"/>
            </a:xfrm>
            <a:prstGeom prst="line">
              <a:avLst/>
            </a:prstGeom>
            <a:noFill/>
            <a:ln w="19050" cap="flat" cmpd="sng" algn="ctr">
              <a:solidFill>
                <a:srgbClr val="0072C6"/>
              </a:solidFill>
              <a:prstDash val="solid"/>
              <a:headEnd type="none"/>
              <a:tailEnd type="none"/>
            </a:ln>
            <a:effectLst/>
          </p:spPr>
        </p:cxnSp>
        <p:cxnSp>
          <p:nvCxnSpPr>
            <p:cNvPr id="9" name="Straight Connector 8"/>
            <p:cNvCxnSpPr>
              <a:endCxn id="1368" idx="2"/>
            </p:cNvCxnSpPr>
            <p:nvPr/>
          </p:nvCxnSpPr>
          <p:spPr>
            <a:xfrm flipV="1">
              <a:off x="88515" y="3183776"/>
              <a:ext cx="1152662" cy="216706"/>
            </a:xfrm>
            <a:prstGeom prst="line">
              <a:avLst/>
            </a:prstGeom>
            <a:noFill/>
            <a:ln w="19050" cap="flat" cmpd="sng" algn="ctr">
              <a:solidFill>
                <a:srgbClr val="0072C6"/>
              </a:solidFill>
              <a:prstDash val="solid"/>
              <a:headEnd type="none"/>
              <a:tailEnd type="none"/>
            </a:ln>
            <a:effectLst/>
          </p:spPr>
        </p:cxnSp>
        <p:cxnSp>
          <p:nvCxnSpPr>
            <p:cNvPr id="10" name="Straight Connector 9"/>
            <p:cNvCxnSpPr>
              <a:stCxn id="1372" idx="6"/>
              <a:endCxn id="734" idx="1"/>
            </p:cNvCxnSpPr>
            <p:nvPr/>
          </p:nvCxnSpPr>
          <p:spPr>
            <a:xfrm>
              <a:off x="2082594" y="3075559"/>
              <a:ext cx="465784" cy="174256"/>
            </a:xfrm>
            <a:prstGeom prst="line">
              <a:avLst/>
            </a:prstGeom>
            <a:noFill/>
            <a:ln w="19050" cap="flat" cmpd="sng" algn="ctr">
              <a:solidFill>
                <a:srgbClr val="0072C6"/>
              </a:solidFill>
              <a:prstDash val="solid"/>
              <a:headEnd type="none"/>
              <a:tailEnd type="none"/>
            </a:ln>
            <a:effectLst/>
          </p:spPr>
        </p:cxnSp>
        <p:cxnSp>
          <p:nvCxnSpPr>
            <p:cNvPr id="11" name="Straight Connector 10"/>
            <p:cNvCxnSpPr>
              <a:stCxn id="1368" idx="4"/>
              <a:endCxn id="1367" idx="0"/>
            </p:cNvCxnSpPr>
            <p:nvPr/>
          </p:nvCxnSpPr>
          <p:spPr>
            <a:xfrm flipH="1">
              <a:off x="1180863" y="3229496"/>
              <a:ext cx="106034" cy="271784"/>
            </a:xfrm>
            <a:prstGeom prst="line">
              <a:avLst/>
            </a:prstGeom>
            <a:noFill/>
            <a:ln w="19050" cap="flat" cmpd="sng" algn="ctr">
              <a:solidFill>
                <a:srgbClr val="0072C6"/>
              </a:solidFill>
              <a:prstDash val="solid"/>
              <a:headEnd type="none"/>
              <a:tailEnd type="none"/>
            </a:ln>
            <a:effectLst/>
          </p:spPr>
        </p:cxnSp>
        <p:cxnSp>
          <p:nvCxnSpPr>
            <p:cNvPr id="12" name="Straight Connector 11"/>
            <p:cNvCxnSpPr>
              <a:stCxn id="1367" idx="4"/>
              <a:endCxn id="1366" idx="1"/>
            </p:cNvCxnSpPr>
            <p:nvPr/>
          </p:nvCxnSpPr>
          <p:spPr>
            <a:xfrm>
              <a:off x="1180863" y="3592720"/>
              <a:ext cx="83859" cy="87083"/>
            </a:xfrm>
            <a:prstGeom prst="line">
              <a:avLst/>
            </a:prstGeom>
            <a:noFill/>
            <a:ln w="19050" cap="flat" cmpd="sng" algn="ctr">
              <a:solidFill>
                <a:srgbClr val="0072C6"/>
              </a:solidFill>
              <a:prstDash val="solid"/>
              <a:headEnd type="none"/>
              <a:tailEnd type="none"/>
            </a:ln>
            <a:effectLst/>
          </p:spPr>
        </p:cxnSp>
        <p:cxnSp>
          <p:nvCxnSpPr>
            <p:cNvPr id="13" name="Straight Connector 12"/>
            <p:cNvCxnSpPr>
              <a:endCxn id="1367" idx="2"/>
            </p:cNvCxnSpPr>
            <p:nvPr/>
          </p:nvCxnSpPr>
          <p:spPr>
            <a:xfrm flipV="1">
              <a:off x="136454" y="3547000"/>
              <a:ext cx="998689" cy="328463"/>
            </a:xfrm>
            <a:prstGeom prst="line">
              <a:avLst/>
            </a:prstGeom>
            <a:noFill/>
            <a:ln w="19050" cap="flat" cmpd="sng" algn="ctr">
              <a:solidFill>
                <a:srgbClr val="0072C6"/>
              </a:solidFill>
              <a:prstDash val="solid"/>
              <a:headEnd type="none"/>
              <a:tailEnd type="none"/>
            </a:ln>
            <a:effectLst/>
          </p:spPr>
        </p:cxnSp>
        <p:cxnSp>
          <p:nvCxnSpPr>
            <p:cNvPr id="14" name="Straight Connector 13"/>
            <p:cNvCxnSpPr>
              <a:stCxn id="1373" idx="6"/>
              <a:endCxn id="1384" idx="2"/>
            </p:cNvCxnSpPr>
            <p:nvPr/>
          </p:nvCxnSpPr>
          <p:spPr>
            <a:xfrm flipV="1">
              <a:off x="2631048" y="3083165"/>
              <a:ext cx="1305041" cy="193521"/>
            </a:xfrm>
            <a:prstGeom prst="line">
              <a:avLst/>
            </a:prstGeom>
            <a:noFill/>
            <a:ln w="19050" cap="flat" cmpd="sng" algn="ctr">
              <a:solidFill>
                <a:srgbClr val="0072C6"/>
              </a:solidFill>
              <a:prstDash val="solid"/>
              <a:headEnd type="none"/>
              <a:tailEnd type="none"/>
            </a:ln>
            <a:effectLst/>
          </p:spPr>
        </p:cxnSp>
        <p:cxnSp>
          <p:nvCxnSpPr>
            <p:cNvPr id="15" name="Straight Connector 14"/>
            <p:cNvCxnSpPr>
              <a:stCxn id="1373" idx="0"/>
              <a:endCxn id="1374" idx="3"/>
            </p:cNvCxnSpPr>
            <p:nvPr/>
          </p:nvCxnSpPr>
          <p:spPr>
            <a:xfrm flipV="1">
              <a:off x="2585327" y="3109313"/>
              <a:ext cx="63995" cy="121652"/>
            </a:xfrm>
            <a:prstGeom prst="line">
              <a:avLst/>
            </a:prstGeom>
            <a:noFill/>
            <a:ln w="19050" cap="flat" cmpd="sng" algn="ctr">
              <a:solidFill>
                <a:srgbClr val="0072C6"/>
              </a:solidFill>
              <a:prstDash val="solid"/>
              <a:headEnd type="none"/>
              <a:tailEnd type="none"/>
            </a:ln>
            <a:effectLst/>
          </p:spPr>
        </p:cxnSp>
        <p:cxnSp>
          <p:nvCxnSpPr>
            <p:cNvPr id="16" name="Straight Connector 15"/>
            <p:cNvCxnSpPr>
              <a:stCxn id="638" idx="6"/>
              <a:endCxn id="641" idx="2"/>
            </p:cNvCxnSpPr>
            <p:nvPr/>
          </p:nvCxnSpPr>
          <p:spPr>
            <a:xfrm>
              <a:off x="2727189" y="3079398"/>
              <a:ext cx="1210368" cy="0"/>
            </a:xfrm>
            <a:prstGeom prst="line">
              <a:avLst/>
            </a:prstGeom>
            <a:noFill/>
            <a:ln w="19050" cap="flat" cmpd="sng" algn="ctr">
              <a:solidFill>
                <a:srgbClr val="0072C6"/>
              </a:solidFill>
              <a:prstDash val="solid"/>
              <a:headEnd type="none"/>
              <a:tailEnd type="none"/>
            </a:ln>
            <a:effectLst/>
          </p:spPr>
        </p:cxnSp>
        <p:cxnSp>
          <p:nvCxnSpPr>
            <p:cNvPr id="17" name="Straight Connector 16"/>
            <p:cNvCxnSpPr>
              <a:stCxn id="1366" idx="5"/>
              <a:endCxn id="1044" idx="1"/>
            </p:cNvCxnSpPr>
            <p:nvPr/>
          </p:nvCxnSpPr>
          <p:spPr>
            <a:xfrm>
              <a:off x="1329379" y="3744460"/>
              <a:ext cx="357136" cy="400477"/>
            </a:xfrm>
            <a:prstGeom prst="line">
              <a:avLst/>
            </a:prstGeom>
            <a:noFill/>
            <a:ln w="19050" cap="flat" cmpd="sng" algn="ctr">
              <a:solidFill>
                <a:srgbClr val="0072C6"/>
              </a:solidFill>
              <a:prstDash val="solid"/>
              <a:headEnd type="none"/>
              <a:tailEnd type="none"/>
            </a:ln>
            <a:effectLst/>
          </p:spPr>
        </p:cxnSp>
        <p:cxnSp>
          <p:nvCxnSpPr>
            <p:cNvPr id="18" name="Straight Connector 17"/>
            <p:cNvCxnSpPr>
              <a:stCxn id="1044" idx="5"/>
              <a:endCxn id="1090" idx="1"/>
            </p:cNvCxnSpPr>
            <p:nvPr/>
          </p:nvCxnSpPr>
          <p:spPr>
            <a:xfrm>
              <a:off x="1744799" y="4203222"/>
              <a:ext cx="372648" cy="141272"/>
            </a:xfrm>
            <a:prstGeom prst="line">
              <a:avLst/>
            </a:prstGeom>
            <a:noFill/>
            <a:ln w="19050" cap="flat" cmpd="sng" algn="ctr">
              <a:solidFill>
                <a:srgbClr val="0072C6"/>
              </a:solidFill>
              <a:prstDash val="solid"/>
              <a:headEnd type="none"/>
              <a:tailEnd type="none"/>
            </a:ln>
            <a:effectLst/>
          </p:spPr>
        </p:cxnSp>
        <p:cxnSp>
          <p:nvCxnSpPr>
            <p:cNvPr id="19" name="Straight Connector 18"/>
            <p:cNvCxnSpPr>
              <a:stCxn id="1090" idx="4"/>
              <a:endCxn id="1171" idx="1"/>
            </p:cNvCxnSpPr>
            <p:nvPr/>
          </p:nvCxnSpPr>
          <p:spPr>
            <a:xfrm>
              <a:off x="2146591" y="4414851"/>
              <a:ext cx="79313" cy="327317"/>
            </a:xfrm>
            <a:prstGeom prst="line">
              <a:avLst/>
            </a:prstGeom>
            <a:noFill/>
            <a:ln w="19050" cap="flat" cmpd="sng" algn="ctr">
              <a:solidFill>
                <a:srgbClr val="0072C6"/>
              </a:solidFill>
              <a:prstDash val="solid"/>
              <a:headEnd type="none"/>
              <a:tailEnd type="none"/>
            </a:ln>
            <a:effectLst/>
          </p:spPr>
        </p:cxnSp>
        <p:cxnSp>
          <p:nvCxnSpPr>
            <p:cNvPr id="20" name="Straight Connector 19"/>
            <p:cNvCxnSpPr>
              <a:stCxn id="1171" idx="4"/>
              <a:endCxn id="1226" idx="1"/>
            </p:cNvCxnSpPr>
            <p:nvPr/>
          </p:nvCxnSpPr>
          <p:spPr>
            <a:xfrm>
              <a:off x="2255046" y="4812522"/>
              <a:ext cx="186323" cy="227537"/>
            </a:xfrm>
            <a:prstGeom prst="line">
              <a:avLst/>
            </a:prstGeom>
            <a:noFill/>
            <a:ln w="19050" cap="flat" cmpd="sng" algn="ctr">
              <a:solidFill>
                <a:srgbClr val="0072C6"/>
              </a:solidFill>
              <a:prstDash val="solid"/>
              <a:headEnd type="none"/>
              <a:tailEnd type="none"/>
            </a:ln>
            <a:effectLst/>
          </p:spPr>
        </p:cxnSp>
        <p:cxnSp>
          <p:nvCxnSpPr>
            <p:cNvPr id="21" name="Straight Connector 20"/>
            <p:cNvCxnSpPr/>
            <p:nvPr/>
          </p:nvCxnSpPr>
          <p:spPr>
            <a:xfrm flipH="1">
              <a:off x="2292067" y="3308112"/>
              <a:ext cx="278811" cy="521644"/>
            </a:xfrm>
            <a:prstGeom prst="line">
              <a:avLst/>
            </a:prstGeom>
            <a:noFill/>
            <a:ln w="19050" cap="flat" cmpd="sng" algn="ctr">
              <a:solidFill>
                <a:srgbClr val="0072C6"/>
              </a:solidFill>
              <a:prstDash val="solid"/>
              <a:headEnd type="none"/>
              <a:tailEnd type="none"/>
            </a:ln>
            <a:effectLst/>
          </p:spPr>
        </p:cxnSp>
        <p:cxnSp>
          <p:nvCxnSpPr>
            <p:cNvPr id="22" name="Straight Connector 21"/>
            <p:cNvCxnSpPr>
              <a:stCxn id="1373" idx="6"/>
              <a:endCxn id="1383" idx="2"/>
            </p:cNvCxnSpPr>
            <p:nvPr/>
          </p:nvCxnSpPr>
          <p:spPr>
            <a:xfrm flipV="1">
              <a:off x="2631048" y="3171530"/>
              <a:ext cx="1411616" cy="105156"/>
            </a:xfrm>
            <a:prstGeom prst="line">
              <a:avLst/>
            </a:prstGeom>
            <a:noFill/>
            <a:ln w="19050" cap="flat" cmpd="sng" algn="ctr">
              <a:solidFill>
                <a:srgbClr val="0072C6"/>
              </a:solidFill>
              <a:prstDash val="solid"/>
              <a:headEnd type="none"/>
              <a:tailEnd type="none"/>
            </a:ln>
            <a:effectLst/>
          </p:spPr>
        </p:cxnSp>
        <p:cxnSp>
          <p:nvCxnSpPr>
            <p:cNvPr id="23" name="Straight Connector 22"/>
            <p:cNvCxnSpPr>
              <a:stCxn id="1371" idx="3"/>
              <a:endCxn id="1020" idx="7"/>
            </p:cNvCxnSpPr>
            <p:nvPr/>
          </p:nvCxnSpPr>
          <p:spPr>
            <a:xfrm flipH="1">
              <a:off x="2068722" y="3907792"/>
              <a:ext cx="168514" cy="137367"/>
            </a:xfrm>
            <a:prstGeom prst="line">
              <a:avLst/>
            </a:prstGeom>
            <a:noFill/>
            <a:ln w="19050" cap="flat" cmpd="sng" algn="ctr">
              <a:solidFill>
                <a:srgbClr val="0072C6"/>
              </a:solidFill>
              <a:prstDash val="solid"/>
              <a:headEnd type="none"/>
              <a:tailEnd type="none"/>
            </a:ln>
            <a:effectLst/>
          </p:spPr>
        </p:cxnSp>
        <p:cxnSp>
          <p:nvCxnSpPr>
            <p:cNvPr id="24" name="Straight Connector 23"/>
            <p:cNvCxnSpPr>
              <a:stCxn id="1020" idx="5"/>
              <a:endCxn id="1092" idx="1"/>
            </p:cNvCxnSpPr>
            <p:nvPr/>
          </p:nvCxnSpPr>
          <p:spPr>
            <a:xfrm>
              <a:off x="2068722" y="4103443"/>
              <a:ext cx="264192" cy="241052"/>
            </a:xfrm>
            <a:prstGeom prst="line">
              <a:avLst/>
            </a:prstGeom>
            <a:noFill/>
            <a:ln w="19050" cap="flat" cmpd="sng" algn="ctr">
              <a:solidFill>
                <a:srgbClr val="0072C6"/>
              </a:solidFill>
              <a:prstDash val="solid"/>
              <a:headEnd type="none"/>
              <a:tailEnd type="none"/>
            </a:ln>
            <a:effectLst/>
          </p:spPr>
        </p:cxnSp>
        <p:cxnSp>
          <p:nvCxnSpPr>
            <p:cNvPr id="25" name="Straight Connector 24"/>
            <p:cNvCxnSpPr>
              <a:stCxn id="1020" idx="6"/>
              <a:endCxn id="1021" idx="2"/>
            </p:cNvCxnSpPr>
            <p:nvPr/>
          </p:nvCxnSpPr>
          <p:spPr>
            <a:xfrm>
              <a:off x="2080793" y="4074301"/>
              <a:ext cx="133039" cy="0"/>
            </a:xfrm>
            <a:prstGeom prst="line">
              <a:avLst/>
            </a:prstGeom>
            <a:noFill/>
            <a:ln w="19050" cap="flat" cmpd="sng" algn="ctr">
              <a:solidFill>
                <a:srgbClr val="0072C6"/>
              </a:solidFill>
              <a:prstDash val="solid"/>
              <a:headEnd type="none"/>
              <a:tailEnd type="none"/>
            </a:ln>
            <a:effectLst/>
          </p:spPr>
        </p:cxnSp>
        <p:cxnSp>
          <p:nvCxnSpPr>
            <p:cNvPr id="26" name="Straight Connector 25"/>
            <p:cNvCxnSpPr>
              <a:stCxn id="1021" idx="6"/>
              <a:endCxn id="1048" idx="1"/>
            </p:cNvCxnSpPr>
            <p:nvPr/>
          </p:nvCxnSpPr>
          <p:spPr>
            <a:xfrm>
              <a:off x="2296257" y="4074301"/>
              <a:ext cx="145109" cy="70637"/>
            </a:xfrm>
            <a:prstGeom prst="line">
              <a:avLst/>
            </a:prstGeom>
            <a:noFill/>
            <a:ln w="19050" cap="flat" cmpd="sng" algn="ctr">
              <a:solidFill>
                <a:srgbClr val="0072C6"/>
              </a:solidFill>
              <a:prstDash val="solid"/>
              <a:headEnd type="none"/>
              <a:tailEnd type="none"/>
            </a:ln>
            <a:effectLst/>
          </p:spPr>
        </p:cxnSp>
        <p:cxnSp>
          <p:nvCxnSpPr>
            <p:cNvPr id="27" name="Straight Connector 26"/>
            <p:cNvCxnSpPr>
              <a:stCxn id="1048" idx="5"/>
              <a:endCxn id="1094" idx="1"/>
            </p:cNvCxnSpPr>
            <p:nvPr/>
          </p:nvCxnSpPr>
          <p:spPr>
            <a:xfrm>
              <a:off x="2499652" y="4203222"/>
              <a:ext cx="48725" cy="141272"/>
            </a:xfrm>
            <a:prstGeom prst="line">
              <a:avLst/>
            </a:prstGeom>
            <a:noFill/>
            <a:ln w="19050" cap="flat" cmpd="sng" algn="ctr">
              <a:solidFill>
                <a:srgbClr val="0072C6"/>
              </a:solidFill>
              <a:prstDash val="solid"/>
              <a:headEnd type="none"/>
              <a:tailEnd type="none"/>
            </a:ln>
            <a:effectLst/>
          </p:spPr>
        </p:cxnSp>
        <p:cxnSp>
          <p:nvCxnSpPr>
            <p:cNvPr id="28" name="Straight Connector 27"/>
            <p:cNvCxnSpPr>
              <a:stCxn id="1094" idx="5"/>
            </p:cNvCxnSpPr>
            <p:nvPr/>
          </p:nvCxnSpPr>
          <p:spPr>
            <a:xfrm>
              <a:off x="2606663" y="4402780"/>
              <a:ext cx="257305" cy="145890"/>
            </a:xfrm>
            <a:prstGeom prst="line">
              <a:avLst/>
            </a:prstGeom>
            <a:noFill/>
            <a:ln w="19050" cap="flat" cmpd="sng" algn="ctr">
              <a:solidFill>
                <a:srgbClr val="0072C6"/>
              </a:solidFill>
              <a:prstDash val="solid"/>
              <a:headEnd type="none"/>
              <a:tailEnd type="none"/>
            </a:ln>
            <a:effectLst/>
          </p:spPr>
        </p:cxnSp>
        <p:cxnSp>
          <p:nvCxnSpPr>
            <p:cNvPr id="29" name="Straight Connector 28"/>
            <p:cNvCxnSpPr>
              <a:stCxn id="1139" idx="5"/>
              <a:endCxn id="1180" idx="1"/>
            </p:cNvCxnSpPr>
            <p:nvPr/>
          </p:nvCxnSpPr>
          <p:spPr>
            <a:xfrm>
              <a:off x="2930586" y="4600894"/>
              <a:ext cx="265636" cy="141274"/>
            </a:xfrm>
            <a:prstGeom prst="line">
              <a:avLst/>
            </a:prstGeom>
            <a:noFill/>
            <a:ln w="19050" cap="flat" cmpd="sng" algn="ctr">
              <a:solidFill>
                <a:srgbClr val="0072C6"/>
              </a:solidFill>
              <a:prstDash val="solid"/>
              <a:headEnd type="none"/>
              <a:tailEnd type="none"/>
            </a:ln>
            <a:effectLst/>
          </p:spPr>
        </p:cxnSp>
        <p:cxnSp>
          <p:nvCxnSpPr>
            <p:cNvPr id="30" name="Straight Connector 29"/>
            <p:cNvCxnSpPr>
              <a:stCxn id="1094" idx="2"/>
              <a:endCxn id="1092" idx="6"/>
            </p:cNvCxnSpPr>
            <p:nvPr/>
          </p:nvCxnSpPr>
          <p:spPr>
            <a:xfrm flipH="1">
              <a:off x="2403268" y="4373638"/>
              <a:ext cx="133039" cy="0"/>
            </a:xfrm>
            <a:prstGeom prst="line">
              <a:avLst/>
            </a:prstGeom>
            <a:noFill/>
            <a:ln w="19050" cap="flat" cmpd="sng" algn="ctr">
              <a:solidFill>
                <a:srgbClr val="0072C6"/>
              </a:solidFill>
              <a:prstDash val="solid"/>
              <a:headEnd type="none"/>
              <a:tailEnd type="none"/>
            </a:ln>
            <a:effectLst/>
          </p:spPr>
        </p:cxnSp>
        <p:cxnSp>
          <p:nvCxnSpPr>
            <p:cNvPr id="31" name="Straight Connector 30"/>
            <p:cNvCxnSpPr>
              <a:stCxn id="1180" idx="4"/>
              <a:endCxn id="1218" idx="0"/>
            </p:cNvCxnSpPr>
            <p:nvPr/>
          </p:nvCxnSpPr>
          <p:spPr>
            <a:xfrm>
              <a:off x="3225365" y="4812522"/>
              <a:ext cx="0" cy="117133"/>
            </a:xfrm>
            <a:prstGeom prst="line">
              <a:avLst/>
            </a:prstGeom>
            <a:noFill/>
            <a:ln w="19050" cap="flat" cmpd="sng" algn="ctr">
              <a:solidFill>
                <a:srgbClr val="0072C6"/>
              </a:solidFill>
              <a:prstDash val="solid"/>
              <a:headEnd type="none"/>
              <a:tailEnd type="none"/>
            </a:ln>
            <a:effectLst/>
          </p:spPr>
        </p:cxnSp>
        <p:cxnSp>
          <p:nvCxnSpPr>
            <p:cNvPr id="32" name="Straight Connector 31"/>
            <p:cNvCxnSpPr>
              <a:stCxn id="1218" idx="3"/>
              <a:endCxn id="1265" idx="7"/>
            </p:cNvCxnSpPr>
            <p:nvPr/>
          </p:nvCxnSpPr>
          <p:spPr>
            <a:xfrm flipH="1">
              <a:off x="3039040" y="5000011"/>
              <a:ext cx="157182" cy="239609"/>
            </a:xfrm>
            <a:prstGeom prst="line">
              <a:avLst/>
            </a:prstGeom>
            <a:noFill/>
            <a:ln w="19050" cap="flat" cmpd="sng" algn="ctr">
              <a:solidFill>
                <a:srgbClr val="0072C6"/>
              </a:solidFill>
              <a:prstDash val="solid"/>
              <a:headEnd type="none"/>
              <a:tailEnd type="none"/>
            </a:ln>
            <a:effectLst/>
          </p:spPr>
        </p:cxnSp>
        <p:cxnSp>
          <p:nvCxnSpPr>
            <p:cNvPr id="33" name="Straight Connector 32"/>
            <p:cNvCxnSpPr>
              <a:endCxn id="1323" idx="7"/>
            </p:cNvCxnSpPr>
            <p:nvPr/>
          </p:nvCxnSpPr>
          <p:spPr>
            <a:xfrm flipH="1">
              <a:off x="2930586" y="5313583"/>
              <a:ext cx="83819" cy="223930"/>
            </a:xfrm>
            <a:prstGeom prst="line">
              <a:avLst/>
            </a:prstGeom>
            <a:noFill/>
            <a:ln w="19050" cap="flat" cmpd="sng" algn="ctr">
              <a:solidFill>
                <a:srgbClr val="0072C6"/>
              </a:solidFill>
              <a:prstDash val="solid"/>
              <a:headEnd type="none"/>
              <a:tailEnd type="none"/>
            </a:ln>
            <a:effectLst/>
          </p:spPr>
        </p:cxnSp>
        <p:cxnSp>
          <p:nvCxnSpPr>
            <p:cNvPr id="34" name="Straight Connector 33"/>
            <p:cNvCxnSpPr>
              <a:stCxn id="1226" idx="5"/>
              <a:endCxn id="1261" idx="1"/>
            </p:cNvCxnSpPr>
            <p:nvPr/>
          </p:nvCxnSpPr>
          <p:spPr>
            <a:xfrm>
              <a:off x="2499653" y="5098344"/>
              <a:ext cx="48725" cy="141275"/>
            </a:xfrm>
            <a:prstGeom prst="line">
              <a:avLst/>
            </a:prstGeom>
            <a:noFill/>
            <a:ln w="19050" cap="flat" cmpd="sng" algn="ctr">
              <a:solidFill>
                <a:srgbClr val="0072C6"/>
              </a:solidFill>
              <a:prstDash val="solid"/>
              <a:headEnd type="none"/>
              <a:tailEnd type="none"/>
            </a:ln>
            <a:effectLst/>
          </p:spPr>
        </p:cxnSp>
        <p:cxnSp>
          <p:nvCxnSpPr>
            <p:cNvPr id="35" name="Straight Connector 34"/>
            <p:cNvCxnSpPr>
              <a:stCxn id="532" idx="5"/>
              <a:endCxn id="1368" idx="1"/>
            </p:cNvCxnSpPr>
            <p:nvPr/>
          </p:nvCxnSpPr>
          <p:spPr>
            <a:xfrm>
              <a:off x="560461" y="2810647"/>
              <a:ext cx="694108" cy="340800"/>
            </a:xfrm>
            <a:prstGeom prst="line">
              <a:avLst/>
            </a:prstGeom>
            <a:noFill/>
            <a:ln w="19050" cap="flat" cmpd="sng" algn="ctr">
              <a:solidFill>
                <a:srgbClr val="0072C6"/>
              </a:solidFill>
              <a:prstDash val="solid"/>
              <a:headEnd type="none"/>
              <a:tailEnd type="none"/>
            </a:ln>
            <a:effectLst/>
          </p:spPr>
        </p:cxnSp>
        <p:cxnSp>
          <p:nvCxnSpPr>
            <p:cNvPr id="36" name="Straight Connector 35"/>
            <p:cNvCxnSpPr>
              <a:endCxn id="1368" idx="2"/>
            </p:cNvCxnSpPr>
            <p:nvPr/>
          </p:nvCxnSpPr>
          <p:spPr>
            <a:xfrm flipV="1">
              <a:off x="91343" y="3183776"/>
              <a:ext cx="1149834" cy="11127"/>
            </a:xfrm>
            <a:prstGeom prst="line">
              <a:avLst/>
            </a:prstGeom>
            <a:noFill/>
            <a:ln w="19050" cap="flat" cmpd="sng" algn="ctr">
              <a:solidFill>
                <a:srgbClr val="0072C6"/>
              </a:solidFill>
              <a:prstDash val="solid"/>
              <a:headEnd type="none"/>
              <a:tailEnd type="none"/>
            </a:ln>
            <a:effectLst/>
          </p:spPr>
        </p:cxnSp>
        <p:cxnSp>
          <p:nvCxnSpPr>
            <p:cNvPr id="37" name="Straight Connector 36"/>
            <p:cNvCxnSpPr/>
            <p:nvPr/>
          </p:nvCxnSpPr>
          <p:spPr>
            <a:xfrm flipV="1">
              <a:off x="57729" y="3567258"/>
              <a:ext cx="1042180" cy="735743"/>
            </a:xfrm>
            <a:prstGeom prst="line">
              <a:avLst/>
            </a:prstGeom>
            <a:noFill/>
            <a:ln w="19050" cap="flat" cmpd="sng" algn="ctr">
              <a:solidFill>
                <a:srgbClr val="0072C6"/>
              </a:solidFill>
              <a:prstDash val="solid"/>
              <a:headEnd type="none"/>
              <a:tailEnd type="none"/>
            </a:ln>
            <a:effectLst/>
          </p:spPr>
        </p:cxnSp>
        <p:cxnSp>
          <p:nvCxnSpPr>
            <p:cNvPr id="38" name="Straight Connector 37"/>
            <p:cNvCxnSpPr>
              <a:stCxn id="1180" idx="7"/>
              <a:endCxn id="1095" idx="3"/>
            </p:cNvCxnSpPr>
            <p:nvPr/>
          </p:nvCxnSpPr>
          <p:spPr>
            <a:xfrm flipV="1">
              <a:off x="3254507" y="4402780"/>
              <a:ext cx="479656" cy="339388"/>
            </a:xfrm>
            <a:prstGeom prst="line">
              <a:avLst/>
            </a:prstGeom>
            <a:noFill/>
            <a:ln w="19050" cap="flat" cmpd="sng" algn="ctr">
              <a:solidFill>
                <a:srgbClr val="0072C6"/>
              </a:solidFill>
              <a:prstDash val="solid"/>
              <a:headEnd type="none"/>
              <a:tailEnd type="none"/>
            </a:ln>
            <a:effectLst/>
          </p:spPr>
        </p:cxnSp>
        <p:cxnSp>
          <p:nvCxnSpPr>
            <p:cNvPr id="39" name="Straight Connector 38"/>
            <p:cNvCxnSpPr>
              <a:stCxn id="1377" idx="3"/>
              <a:endCxn id="989" idx="0"/>
            </p:cNvCxnSpPr>
            <p:nvPr/>
          </p:nvCxnSpPr>
          <p:spPr>
            <a:xfrm flipH="1">
              <a:off x="3763305" y="3504894"/>
              <a:ext cx="188335" cy="428413"/>
            </a:xfrm>
            <a:prstGeom prst="line">
              <a:avLst/>
            </a:prstGeom>
            <a:noFill/>
            <a:ln w="19050" cap="flat" cmpd="sng" algn="ctr">
              <a:solidFill>
                <a:srgbClr val="0072C6"/>
              </a:solidFill>
              <a:prstDash val="solid"/>
              <a:headEnd type="none"/>
              <a:tailEnd type="none"/>
            </a:ln>
            <a:effectLst/>
          </p:spPr>
        </p:cxnSp>
        <p:cxnSp>
          <p:nvCxnSpPr>
            <p:cNvPr id="40" name="Straight Connector 39"/>
            <p:cNvCxnSpPr>
              <a:stCxn id="989" idx="4"/>
              <a:endCxn id="1095" idx="0"/>
            </p:cNvCxnSpPr>
            <p:nvPr/>
          </p:nvCxnSpPr>
          <p:spPr>
            <a:xfrm>
              <a:off x="3763305" y="4015733"/>
              <a:ext cx="1" cy="316690"/>
            </a:xfrm>
            <a:prstGeom prst="line">
              <a:avLst/>
            </a:prstGeom>
            <a:noFill/>
            <a:ln w="19050" cap="flat" cmpd="sng" algn="ctr">
              <a:solidFill>
                <a:srgbClr val="0072C6"/>
              </a:solidFill>
              <a:prstDash val="solid"/>
              <a:headEnd type="none"/>
              <a:tailEnd type="none"/>
            </a:ln>
            <a:effectLst/>
          </p:spPr>
        </p:cxnSp>
        <p:cxnSp>
          <p:nvCxnSpPr>
            <p:cNvPr id="41" name="Straight Connector 40"/>
            <p:cNvCxnSpPr>
              <a:stCxn id="957" idx="6"/>
              <a:endCxn id="1377" idx="2"/>
            </p:cNvCxnSpPr>
            <p:nvPr/>
          </p:nvCxnSpPr>
          <p:spPr>
            <a:xfrm flipV="1">
              <a:off x="2296257" y="3472565"/>
              <a:ext cx="1641992" cy="403623"/>
            </a:xfrm>
            <a:prstGeom prst="line">
              <a:avLst/>
            </a:prstGeom>
            <a:noFill/>
            <a:ln w="19050" cap="flat" cmpd="sng" algn="ctr">
              <a:solidFill>
                <a:srgbClr val="0072C6"/>
              </a:solidFill>
              <a:prstDash val="solid"/>
              <a:headEnd type="none"/>
              <a:tailEnd type="none"/>
            </a:ln>
            <a:effectLst/>
          </p:spPr>
        </p:cxnSp>
        <p:cxnSp>
          <p:nvCxnSpPr>
            <p:cNvPr id="42" name="Straight Arrow Connector 41"/>
            <p:cNvCxnSpPr>
              <a:stCxn id="435" idx="4"/>
              <a:endCxn id="1374" idx="0"/>
            </p:cNvCxnSpPr>
            <p:nvPr/>
          </p:nvCxnSpPr>
          <p:spPr>
            <a:xfrm>
              <a:off x="2577520" y="2722941"/>
              <a:ext cx="104130" cy="308324"/>
            </a:xfrm>
            <a:prstGeom prst="straightConnector1">
              <a:avLst/>
            </a:prstGeom>
            <a:noFill/>
            <a:ln w="19050" cap="flat" cmpd="sng" algn="ctr">
              <a:solidFill>
                <a:srgbClr val="0072C6"/>
              </a:solidFill>
              <a:prstDash val="solid"/>
              <a:headEnd type="none"/>
              <a:tailEnd type="none"/>
            </a:ln>
            <a:effectLst/>
          </p:spPr>
        </p:cxnSp>
        <p:cxnSp>
          <p:nvCxnSpPr>
            <p:cNvPr id="43" name="Straight Connector 42"/>
            <p:cNvCxnSpPr>
              <a:stCxn id="435" idx="7"/>
              <a:endCxn id="436" idx="2"/>
            </p:cNvCxnSpPr>
            <p:nvPr/>
          </p:nvCxnSpPr>
          <p:spPr>
            <a:xfrm>
              <a:off x="2606662" y="2652584"/>
              <a:ext cx="362022" cy="29142"/>
            </a:xfrm>
            <a:prstGeom prst="line">
              <a:avLst/>
            </a:prstGeom>
            <a:noFill/>
            <a:ln w="19050" cap="flat" cmpd="sng" algn="ctr">
              <a:solidFill>
                <a:srgbClr val="0072C6"/>
              </a:solidFill>
              <a:prstDash val="solid"/>
              <a:headEnd type="none"/>
              <a:tailEnd type="none"/>
            </a:ln>
            <a:effectLst/>
          </p:spPr>
        </p:cxnSp>
        <p:cxnSp>
          <p:nvCxnSpPr>
            <p:cNvPr id="44" name="Straight Connector 43"/>
            <p:cNvCxnSpPr>
              <a:stCxn id="436" idx="5"/>
              <a:endCxn id="493" idx="1"/>
            </p:cNvCxnSpPr>
            <p:nvPr/>
          </p:nvCxnSpPr>
          <p:spPr>
            <a:xfrm>
              <a:off x="3039039" y="2710869"/>
              <a:ext cx="48725" cy="41494"/>
            </a:xfrm>
            <a:prstGeom prst="line">
              <a:avLst/>
            </a:prstGeom>
            <a:noFill/>
            <a:ln w="19050" cap="flat" cmpd="sng" algn="ctr">
              <a:solidFill>
                <a:srgbClr val="0072C6"/>
              </a:solidFill>
              <a:prstDash val="solid"/>
              <a:headEnd type="none"/>
              <a:tailEnd type="none"/>
            </a:ln>
            <a:effectLst/>
          </p:spPr>
        </p:cxnSp>
        <p:cxnSp>
          <p:nvCxnSpPr>
            <p:cNvPr id="45" name="Straight Connector 44"/>
            <p:cNvCxnSpPr>
              <a:stCxn id="1371" idx="7"/>
              <a:endCxn id="1384" idx="3"/>
            </p:cNvCxnSpPr>
            <p:nvPr/>
          </p:nvCxnSpPr>
          <p:spPr>
            <a:xfrm flipV="1">
              <a:off x="2301895" y="3115494"/>
              <a:ext cx="1647585" cy="727640"/>
            </a:xfrm>
            <a:prstGeom prst="line">
              <a:avLst/>
            </a:prstGeom>
            <a:noFill/>
            <a:ln w="19050" cap="flat" cmpd="sng" algn="ctr">
              <a:solidFill>
                <a:srgbClr val="0072C6"/>
              </a:solidFill>
              <a:prstDash val="solid"/>
              <a:headEnd type="none"/>
              <a:tailEnd type="none"/>
            </a:ln>
            <a:effectLst/>
          </p:spPr>
        </p:cxnSp>
        <p:cxnSp>
          <p:nvCxnSpPr>
            <p:cNvPr id="46" name="Straight Connector 45"/>
            <p:cNvCxnSpPr>
              <a:stCxn id="734" idx="6"/>
              <a:endCxn id="1377" idx="2"/>
            </p:cNvCxnSpPr>
            <p:nvPr/>
          </p:nvCxnSpPr>
          <p:spPr>
            <a:xfrm>
              <a:off x="2618733" y="3278956"/>
              <a:ext cx="1319517" cy="193608"/>
            </a:xfrm>
            <a:prstGeom prst="line">
              <a:avLst/>
            </a:prstGeom>
            <a:noFill/>
            <a:ln w="19050" cap="flat" cmpd="sng" algn="ctr">
              <a:solidFill>
                <a:srgbClr val="0072C6"/>
              </a:solidFill>
              <a:prstDash val="solid"/>
              <a:headEnd type="none"/>
              <a:tailEnd type="none"/>
            </a:ln>
            <a:effectLst/>
          </p:spPr>
        </p:cxnSp>
        <p:cxnSp>
          <p:nvCxnSpPr>
            <p:cNvPr id="47" name="Straight Connector 46"/>
            <p:cNvCxnSpPr/>
            <p:nvPr/>
          </p:nvCxnSpPr>
          <p:spPr>
            <a:xfrm flipV="1">
              <a:off x="3139853" y="2681728"/>
              <a:ext cx="348506" cy="99778"/>
            </a:xfrm>
            <a:prstGeom prst="line">
              <a:avLst/>
            </a:prstGeom>
            <a:noFill/>
            <a:ln w="19050" cap="flat" cmpd="sng" algn="ctr">
              <a:solidFill>
                <a:srgbClr val="0072C6"/>
              </a:solidFill>
              <a:prstDash val="solid"/>
              <a:headEnd type="none"/>
              <a:tailEnd type="none"/>
            </a:ln>
            <a:effectLst/>
          </p:spPr>
        </p:cxnSp>
        <p:cxnSp>
          <p:nvCxnSpPr>
            <p:cNvPr id="48" name="Straight Connector 47"/>
            <p:cNvCxnSpPr>
              <a:stCxn id="494" idx="5"/>
              <a:endCxn id="1384" idx="2"/>
            </p:cNvCxnSpPr>
            <p:nvPr/>
          </p:nvCxnSpPr>
          <p:spPr>
            <a:xfrm>
              <a:off x="3576981" y="2710869"/>
              <a:ext cx="359108" cy="372296"/>
            </a:xfrm>
            <a:prstGeom prst="line">
              <a:avLst/>
            </a:prstGeom>
            <a:noFill/>
            <a:ln w="19050" cap="flat" cmpd="sng" algn="ctr">
              <a:solidFill>
                <a:srgbClr val="0072C6"/>
              </a:solidFill>
              <a:prstDash val="solid"/>
              <a:headEnd type="none"/>
              <a:tailEnd type="none"/>
            </a:ln>
            <a:effectLst/>
          </p:spPr>
        </p:cxnSp>
        <p:cxnSp>
          <p:nvCxnSpPr>
            <p:cNvPr id="49" name="Straight Connector 48"/>
            <p:cNvCxnSpPr>
              <a:stCxn id="822" idx="7"/>
              <a:endCxn id="1383" idx="4"/>
            </p:cNvCxnSpPr>
            <p:nvPr/>
          </p:nvCxnSpPr>
          <p:spPr>
            <a:xfrm flipV="1">
              <a:off x="4007913" y="3217250"/>
              <a:ext cx="80470" cy="230677"/>
            </a:xfrm>
            <a:prstGeom prst="line">
              <a:avLst/>
            </a:prstGeom>
            <a:noFill/>
            <a:ln w="19050" cap="flat" cmpd="sng" algn="ctr">
              <a:solidFill>
                <a:srgbClr val="0072C6"/>
              </a:solidFill>
              <a:prstDash val="solid"/>
              <a:headEnd type="none"/>
              <a:tailEnd type="none"/>
            </a:ln>
            <a:effectLst/>
          </p:spPr>
        </p:cxnSp>
        <p:cxnSp>
          <p:nvCxnSpPr>
            <p:cNvPr id="50" name="Straight Connector 49"/>
            <p:cNvCxnSpPr>
              <a:stCxn id="689" idx="0"/>
              <a:endCxn id="822" idx="0"/>
            </p:cNvCxnSpPr>
            <p:nvPr/>
          </p:nvCxnSpPr>
          <p:spPr>
            <a:xfrm>
              <a:off x="3978770" y="3137963"/>
              <a:ext cx="0" cy="297893"/>
            </a:xfrm>
            <a:prstGeom prst="line">
              <a:avLst/>
            </a:prstGeom>
            <a:noFill/>
            <a:ln w="19050" cap="flat" cmpd="sng" algn="ctr">
              <a:solidFill>
                <a:srgbClr val="0072C6"/>
              </a:solidFill>
              <a:prstDash val="solid"/>
              <a:headEnd type="none"/>
              <a:tailEnd type="none"/>
            </a:ln>
            <a:effectLst/>
          </p:spPr>
        </p:cxnSp>
        <p:cxnSp>
          <p:nvCxnSpPr>
            <p:cNvPr id="51" name="Straight Connector 50"/>
            <p:cNvCxnSpPr>
              <a:stCxn id="641" idx="5"/>
              <a:endCxn id="1383" idx="1"/>
            </p:cNvCxnSpPr>
            <p:nvPr/>
          </p:nvCxnSpPr>
          <p:spPr>
            <a:xfrm>
              <a:off x="4007913" y="3108541"/>
              <a:ext cx="48142" cy="30660"/>
            </a:xfrm>
            <a:prstGeom prst="line">
              <a:avLst/>
            </a:prstGeom>
            <a:noFill/>
            <a:ln w="19050" cap="flat" cmpd="sng" algn="ctr">
              <a:solidFill>
                <a:srgbClr val="0072C6"/>
              </a:solidFill>
              <a:prstDash val="solid"/>
              <a:headEnd type="none"/>
              <a:tailEnd type="none"/>
            </a:ln>
            <a:effectLst/>
          </p:spPr>
        </p:cxnSp>
        <p:cxnSp>
          <p:nvCxnSpPr>
            <p:cNvPr id="52" name="Straight Connector 51"/>
            <p:cNvCxnSpPr>
              <a:stCxn id="690" idx="7"/>
              <a:endCxn id="643" idx="3"/>
            </p:cNvCxnSpPr>
            <p:nvPr/>
          </p:nvCxnSpPr>
          <p:spPr>
            <a:xfrm flipV="1">
              <a:off x="4116369" y="3108541"/>
              <a:ext cx="48725" cy="41494"/>
            </a:xfrm>
            <a:prstGeom prst="line">
              <a:avLst/>
            </a:prstGeom>
            <a:noFill/>
            <a:ln w="19050" cap="flat" cmpd="sng" algn="ctr">
              <a:solidFill>
                <a:srgbClr val="0072C6"/>
              </a:solidFill>
              <a:prstDash val="solid"/>
              <a:headEnd type="none"/>
              <a:tailEnd type="none"/>
            </a:ln>
            <a:effectLst/>
          </p:spPr>
        </p:cxnSp>
        <p:cxnSp>
          <p:nvCxnSpPr>
            <p:cNvPr id="53" name="Straight Connector 52"/>
            <p:cNvCxnSpPr>
              <a:stCxn id="1384" idx="7"/>
              <a:endCxn id="1390" idx="3"/>
            </p:cNvCxnSpPr>
            <p:nvPr/>
          </p:nvCxnSpPr>
          <p:spPr>
            <a:xfrm flipV="1">
              <a:off x="4014137" y="2717325"/>
              <a:ext cx="362437" cy="333511"/>
            </a:xfrm>
            <a:prstGeom prst="line">
              <a:avLst/>
            </a:prstGeom>
            <a:noFill/>
            <a:ln w="19050" cap="flat" cmpd="sng" algn="ctr">
              <a:solidFill>
                <a:srgbClr val="0072C6"/>
              </a:solidFill>
              <a:prstDash val="solid"/>
              <a:headEnd type="none"/>
              <a:tailEnd type="none"/>
            </a:ln>
            <a:effectLst/>
          </p:spPr>
        </p:cxnSp>
        <p:cxnSp>
          <p:nvCxnSpPr>
            <p:cNvPr id="54" name="Straight Connector 53"/>
            <p:cNvCxnSpPr>
              <a:stCxn id="1385" idx="7"/>
              <a:endCxn id="595" idx="3"/>
            </p:cNvCxnSpPr>
            <p:nvPr/>
          </p:nvCxnSpPr>
          <p:spPr>
            <a:xfrm flipV="1">
              <a:off x="4231555" y="3008760"/>
              <a:ext cx="41995" cy="42076"/>
            </a:xfrm>
            <a:prstGeom prst="line">
              <a:avLst/>
            </a:prstGeom>
            <a:noFill/>
            <a:ln w="19050" cap="flat" cmpd="sng" algn="ctr">
              <a:solidFill>
                <a:srgbClr val="0072C6"/>
              </a:solidFill>
              <a:prstDash val="solid"/>
              <a:headEnd type="none"/>
              <a:tailEnd type="none"/>
            </a:ln>
            <a:effectLst/>
          </p:spPr>
        </p:cxnSp>
        <p:cxnSp>
          <p:nvCxnSpPr>
            <p:cNvPr id="55" name="Straight Connector 54"/>
            <p:cNvCxnSpPr>
              <a:stCxn id="1390" idx="7"/>
              <a:endCxn id="381" idx="3"/>
            </p:cNvCxnSpPr>
            <p:nvPr/>
          </p:nvCxnSpPr>
          <p:spPr>
            <a:xfrm flipV="1">
              <a:off x="4441232" y="2611089"/>
              <a:ext cx="47784" cy="41579"/>
            </a:xfrm>
            <a:prstGeom prst="line">
              <a:avLst/>
            </a:prstGeom>
            <a:noFill/>
            <a:ln w="19050" cap="flat" cmpd="sng" algn="ctr">
              <a:solidFill>
                <a:srgbClr val="0072C6"/>
              </a:solidFill>
              <a:prstDash val="solid"/>
              <a:headEnd type="none"/>
              <a:tailEnd type="none"/>
            </a:ln>
            <a:effectLst/>
          </p:spPr>
        </p:cxnSp>
        <p:cxnSp>
          <p:nvCxnSpPr>
            <p:cNvPr id="56" name="Straight Connector 55"/>
            <p:cNvCxnSpPr>
              <a:stCxn id="1392" idx="4"/>
              <a:endCxn id="1391" idx="0"/>
            </p:cNvCxnSpPr>
            <p:nvPr/>
          </p:nvCxnSpPr>
          <p:spPr>
            <a:xfrm>
              <a:off x="4518223" y="2522385"/>
              <a:ext cx="0" cy="17100"/>
            </a:xfrm>
            <a:prstGeom prst="line">
              <a:avLst/>
            </a:prstGeom>
            <a:noFill/>
            <a:ln w="19050" cap="flat" cmpd="sng" algn="ctr">
              <a:solidFill>
                <a:srgbClr val="0072C6"/>
              </a:solidFill>
              <a:prstDash val="solid"/>
              <a:headEnd type="none"/>
              <a:tailEnd type="none"/>
            </a:ln>
            <a:effectLst/>
          </p:spPr>
        </p:cxnSp>
        <p:cxnSp>
          <p:nvCxnSpPr>
            <p:cNvPr id="57" name="Straight Connector 56"/>
            <p:cNvCxnSpPr>
              <a:stCxn id="646" idx="3"/>
              <a:endCxn id="1388" idx="7"/>
            </p:cNvCxnSpPr>
            <p:nvPr/>
          </p:nvCxnSpPr>
          <p:spPr>
            <a:xfrm flipH="1">
              <a:off x="4441232" y="3108541"/>
              <a:ext cx="47784" cy="38380"/>
            </a:xfrm>
            <a:prstGeom prst="line">
              <a:avLst/>
            </a:prstGeom>
            <a:noFill/>
            <a:ln w="19050" cap="flat" cmpd="sng" algn="ctr">
              <a:solidFill>
                <a:srgbClr val="0072C6"/>
              </a:solidFill>
              <a:prstDash val="solid"/>
              <a:headEnd type="none"/>
              <a:tailEnd type="none"/>
            </a:ln>
            <a:effectLst/>
          </p:spPr>
        </p:cxnSp>
        <p:cxnSp>
          <p:nvCxnSpPr>
            <p:cNvPr id="58" name="Straight Connector 57"/>
            <p:cNvCxnSpPr>
              <a:stCxn id="693" idx="3"/>
              <a:endCxn id="1387" idx="7"/>
            </p:cNvCxnSpPr>
            <p:nvPr/>
          </p:nvCxnSpPr>
          <p:spPr>
            <a:xfrm flipH="1">
              <a:off x="4326924" y="3208319"/>
              <a:ext cx="53636" cy="36038"/>
            </a:xfrm>
            <a:prstGeom prst="line">
              <a:avLst/>
            </a:prstGeom>
            <a:noFill/>
            <a:ln w="19050" cap="flat" cmpd="sng" algn="ctr">
              <a:solidFill>
                <a:srgbClr val="0072C6"/>
              </a:solidFill>
              <a:prstDash val="solid"/>
              <a:headEnd type="none"/>
              <a:tailEnd type="none"/>
            </a:ln>
            <a:effectLst/>
          </p:spPr>
        </p:cxnSp>
        <p:cxnSp>
          <p:nvCxnSpPr>
            <p:cNvPr id="59" name="Straight Connector 58"/>
            <p:cNvCxnSpPr>
              <a:stCxn id="1383" idx="5"/>
              <a:endCxn id="1387" idx="2"/>
            </p:cNvCxnSpPr>
            <p:nvPr/>
          </p:nvCxnSpPr>
          <p:spPr>
            <a:xfrm>
              <a:off x="4120712" y="3203859"/>
              <a:ext cx="128163" cy="72827"/>
            </a:xfrm>
            <a:prstGeom prst="line">
              <a:avLst/>
            </a:prstGeom>
            <a:noFill/>
            <a:ln w="19050" cap="flat" cmpd="sng" algn="ctr">
              <a:solidFill>
                <a:srgbClr val="0072C6"/>
              </a:solidFill>
              <a:prstDash val="solid"/>
              <a:headEnd type="none"/>
              <a:tailEnd type="none"/>
            </a:ln>
            <a:effectLst/>
          </p:spPr>
        </p:cxnSp>
        <p:cxnSp>
          <p:nvCxnSpPr>
            <p:cNvPr id="60" name="Straight Connector 59"/>
            <p:cNvCxnSpPr>
              <a:stCxn id="493" idx="0"/>
              <a:endCxn id="278" idx="3"/>
            </p:cNvCxnSpPr>
            <p:nvPr/>
          </p:nvCxnSpPr>
          <p:spPr>
            <a:xfrm flipV="1">
              <a:off x="3116906" y="2411531"/>
              <a:ext cx="401790" cy="328761"/>
            </a:xfrm>
            <a:prstGeom prst="line">
              <a:avLst/>
            </a:prstGeom>
            <a:noFill/>
            <a:ln w="19050" cap="flat" cmpd="sng" algn="ctr">
              <a:solidFill>
                <a:srgbClr val="0072C6"/>
              </a:solidFill>
              <a:prstDash val="solid"/>
              <a:headEnd type="none"/>
              <a:tailEnd type="none"/>
            </a:ln>
            <a:effectLst/>
          </p:spPr>
        </p:cxnSp>
        <p:cxnSp>
          <p:nvCxnSpPr>
            <p:cNvPr id="61" name="Straight Connector 60"/>
            <p:cNvCxnSpPr>
              <a:stCxn id="1392" idx="1"/>
              <a:endCxn id="200" idx="4"/>
            </p:cNvCxnSpPr>
            <p:nvPr/>
          </p:nvCxnSpPr>
          <p:spPr>
            <a:xfrm flipH="1" flipV="1">
              <a:off x="4409702" y="2125711"/>
              <a:ext cx="76193" cy="318626"/>
            </a:xfrm>
            <a:prstGeom prst="line">
              <a:avLst/>
            </a:prstGeom>
            <a:noFill/>
            <a:ln w="19050" cap="flat" cmpd="sng" algn="ctr">
              <a:solidFill>
                <a:srgbClr val="0072C6"/>
              </a:solidFill>
              <a:prstDash val="solid"/>
              <a:headEnd type="none"/>
              <a:tailEnd type="none"/>
            </a:ln>
            <a:effectLst/>
          </p:spPr>
        </p:cxnSp>
        <p:cxnSp>
          <p:nvCxnSpPr>
            <p:cNvPr id="62" name="Straight Connector 61"/>
            <p:cNvCxnSpPr>
              <a:stCxn id="822" idx="5"/>
              <a:endCxn id="862" idx="2"/>
            </p:cNvCxnSpPr>
            <p:nvPr/>
          </p:nvCxnSpPr>
          <p:spPr>
            <a:xfrm>
              <a:off x="4007913" y="3506212"/>
              <a:ext cx="360577" cy="70637"/>
            </a:xfrm>
            <a:prstGeom prst="line">
              <a:avLst/>
            </a:prstGeom>
            <a:noFill/>
            <a:ln w="19050" cap="flat" cmpd="sng" algn="ctr">
              <a:solidFill>
                <a:srgbClr val="0072C6"/>
              </a:solidFill>
              <a:prstDash val="solid"/>
              <a:headEnd type="none"/>
              <a:tailEnd type="none"/>
            </a:ln>
            <a:effectLst/>
          </p:spPr>
        </p:cxnSp>
        <p:cxnSp>
          <p:nvCxnSpPr>
            <p:cNvPr id="63" name="Straight Connector 62"/>
            <p:cNvCxnSpPr>
              <a:stCxn id="862" idx="5"/>
              <a:endCxn id="934" idx="1"/>
            </p:cNvCxnSpPr>
            <p:nvPr/>
          </p:nvCxnSpPr>
          <p:spPr>
            <a:xfrm>
              <a:off x="4438843" y="3605990"/>
              <a:ext cx="265638" cy="141274"/>
            </a:xfrm>
            <a:prstGeom prst="line">
              <a:avLst/>
            </a:prstGeom>
            <a:noFill/>
            <a:ln w="19050" cap="flat" cmpd="sng" algn="ctr">
              <a:solidFill>
                <a:srgbClr val="0072C6"/>
              </a:solidFill>
              <a:prstDash val="solid"/>
              <a:headEnd type="none"/>
              <a:tailEnd type="none"/>
            </a:ln>
            <a:effectLst/>
          </p:spPr>
        </p:cxnSp>
        <p:cxnSp>
          <p:nvCxnSpPr>
            <p:cNvPr id="64" name="Straight Connector 63"/>
            <p:cNvCxnSpPr>
              <a:stCxn id="934" idx="5"/>
              <a:endCxn id="967" idx="1"/>
            </p:cNvCxnSpPr>
            <p:nvPr/>
          </p:nvCxnSpPr>
          <p:spPr>
            <a:xfrm>
              <a:off x="4762765" y="3805549"/>
              <a:ext cx="48725" cy="41496"/>
            </a:xfrm>
            <a:prstGeom prst="line">
              <a:avLst/>
            </a:prstGeom>
            <a:noFill/>
            <a:ln w="19050" cap="flat" cmpd="sng" algn="ctr">
              <a:solidFill>
                <a:srgbClr val="0072C6"/>
              </a:solidFill>
              <a:prstDash val="solid"/>
              <a:headEnd type="none"/>
              <a:tailEnd type="none"/>
            </a:ln>
            <a:effectLst/>
          </p:spPr>
        </p:cxnSp>
        <p:cxnSp>
          <p:nvCxnSpPr>
            <p:cNvPr id="65" name="Straight Connector 64"/>
            <p:cNvCxnSpPr>
              <a:stCxn id="967" idx="5"/>
              <a:endCxn id="1084" idx="0"/>
            </p:cNvCxnSpPr>
            <p:nvPr/>
          </p:nvCxnSpPr>
          <p:spPr>
            <a:xfrm>
              <a:off x="4869775" y="3905330"/>
              <a:ext cx="79314" cy="327316"/>
            </a:xfrm>
            <a:prstGeom prst="line">
              <a:avLst/>
            </a:prstGeom>
            <a:noFill/>
            <a:ln w="19050" cap="flat" cmpd="sng" algn="ctr">
              <a:solidFill>
                <a:srgbClr val="0072C6"/>
              </a:solidFill>
              <a:prstDash val="solid"/>
              <a:headEnd type="none"/>
              <a:tailEnd type="none"/>
            </a:ln>
            <a:effectLst/>
          </p:spPr>
        </p:cxnSp>
        <p:cxnSp>
          <p:nvCxnSpPr>
            <p:cNvPr id="66" name="Straight Connector 65"/>
            <p:cNvCxnSpPr>
              <a:stCxn id="1084" idx="5"/>
              <a:endCxn id="1109" idx="1"/>
            </p:cNvCxnSpPr>
            <p:nvPr/>
          </p:nvCxnSpPr>
          <p:spPr>
            <a:xfrm>
              <a:off x="4978232" y="4303001"/>
              <a:ext cx="264192" cy="41494"/>
            </a:xfrm>
            <a:prstGeom prst="line">
              <a:avLst/>
            </a:prstGeom>
            <a:noFill/>
            <a:ln w="19050" cap="flat" cmpd="sng" algn="ctr">
              <a:solidFill>
                <a:srgbClr val="0072C6"/>
              </a:solidFill>
              <a:prstDash val="solid"/>
              <a:headEnd type="none"/>
              <a:tailEnd type="none"/>
            </a:ln>
            <a:effectLst/>
          </p:spPr>
        </p:cxnSp>
        <p:cxnSp>
          <p:nvCxnSpPr>
            <p:cNvPr id="67" name="Straight Connector 66"/>
            <p:cNvCxnSpPr>
              <a:stCxn id="822" idx="5"/>
              <a:endCxn id="897" idx="1"/>
            </p:cNvCxnSpPr>
            <p:nvPr/>
          </p:nvCxnSpPr>
          <p:spPr>
            <a:xfrm>
              <a:off x="4007913" y="3506212"/>
              <a:ext cx="265637" cy="141273"/>
            </a:xfrm>
            <a:prstGeom prst="line">
              <a:avLst/>
            </a:prstGeom>
            <a:noFill/>
            <a:ln w="19050" cap="flat" cmpd="sng" algn="ctr">
              <a:solidFill>
                <a:srgbClr val="0072C6"/>
              </a:solidFill>
              <a:prstDash val="solid"/>
              <a:headEnd type="none"/>
              <a:tailEnd type="none"/>
            </a:ln>
            <a:effectLst/>
          </p:spPr>
        </p:cxnSp>
        <p:cxnSp>
          <p:nvCxnSpPr>
            <p:cNvPr id="68" name="Straight Connector 67"/>
            <p:cNvCxnSpPr>
              <a:stCxn id="897" idx="6"/>
              <a:endCxn id="934" idx="1"/>
            </p:cNvCxnSpPr>
            <p:nvPr/>
          </p:nvCxnSpPr>
          <p:spPr>
            <a:xfrm>
              <a:off x="4343904" y="3676629"/>
              <a:ext cx="360578" cy="70637"/>
            </a:xfrm>
            <a:prstGeom prst="line">
              <a:avLst/>
            </a:prstGeom>
            <a:noFill/>
            <a:ln w="19050" cap="flat" cmpd="sng" algn="ctr">
              <a:solidFill>
                <a:srgbClr val="0072C6"/>
              </a:solidFill>
              <a:prstDash val="solid"/>
              <a:headEnd type="none"/>
              <a:tailEnd type="none"/>
            </a:ln>
            <a:effectLst/>
          </p:spPr>
        </p:cxnSp>
        <p:cxnSp>
          <p:nvCxnSpPr>
            <p:cNvPr id="69" name="Straight Connector 68"/>
            <p:cNvCxnSpPr>
              <a:stCxn id="967" idx="5"/>
              <a:endCxn id="1000" idx="1"/>
            </p:cNvCxnSpPr>
            <p:nvPr/>
          </p:nvCxnSpPr>
          <p:spPr>
            <a:xfrm>
              <a:off x="4869775" y="3905330"/>
              <a:ext cx="50171" cy="40047"/>
            </a:xfrm>
            <a:prstGeom prst="line">
              <a:avLst/>
            </a:prstGeom>
            <a:noFill/>
            <a:ln w="19050" cap="flat" cmpd="sng" algn="ctr">
              <a:solidFill>
                <a:srgbClr val="0072C6"/>
              </a:solidFill>
              <a:prstDash val="solid"/>
              <a:headEnd type="none"/>
              <a:tailEnd type="none"/>
            </a:ln>
            <a:effectLst/>
          </p:spPr>
        </p:cxnSp>
        <p:cxnSp>
          <p:nvCxnSpPr>
            <p:cNvPr id="70" name="Straight Connector 69"/>
            <p:cNvCxnSpPr>
              <a:stCxn id="1000" idx="4"/>
              <a:endCxn id="1060" idx="1"/>
            </p:cNvCxnSpPr>
            <p:nvPr/>
          </p:nvCxnSpPr>
          <p:spPr>
            <a:xfrm>
              <a:off x="4949089" y="4015733"/>
              <a:ext cx="77867" cy="129204"/>
            </a:xfrm>
            <a:prstGeom prst="line">
              <a:avLst/>
            </a:prstGeom>
            <a:noFill/>
            <a:ln w="19050" cap="flat" cmpd="sng" algn="ctr">
              <a:solidFill>
                <a:srgbClr val="0072C6"/>
              </a:solidFill>
              <a:prstDash val="solid"/>
              <a:headEnd type="none"/>
              <a:tailEnd type="none"/>
            </a:ln>
            <a:effectLst/>
          </p:spPr>
        </p:cxnSp>
        <p:cxnSp>
          <p:nvCxnSpPr>
            <p:cNvPr id="71" name="Straight Connector 70"/>
            <p:cNvCxnSpPr>
              <a:stCxn id="1060" idx="6"/>
              <a:endCxn id="1062" idx="2"/>
            </p:cNvCxnSpPr>
            <p:nvPr/>
          </p:nvCxnSpPr>
          <p:spPr>
            <a:xfrm>
              <a:off x="5097312" y="4174081"/>
              <a:ext cx="133040" cy="0"/>
            </a:xfrm>
            <a:prstGeom prst="line">
              <a:avLst/>
            </a:prstGeom>
            <a:noFill/>
            <a:ln w="19050" cap="flat" cmpd="sng" algn="ctr">
              <a:solidFill>
                <a:srgbClr val="0072C6"/>
              </a:solidFill>
              <a:prstDash val="solid"/>
              <a:headEnd type="none"/>
              <a:tailEnd type="none"/>
            </a:ln>
            <a:effectLst/>
          </p:spPr>
        </p:cxnSp>
        <p:cxnSp>
          <p:nvCxnSpPr>
            <p:cNvPr id="72" name="Straight Connector 71"/>
            <p:cNvCxnSpPr>
              <a:stCxn id="1062" idx="6"/>
            </p:cNvCxnSpPr>
            <p:nvPr/>
          </p:nvCxnSpPr>
          <p:spPr>
            <a:xfrm flipV="1">
              <a:off x="5312778" y="4100572"/>
              <a:ext cx="357956" cy="73508"/>
            </a:xfrm>
            <a:prstGeom prst="line">
              <a:avLst/>
            </a:prstGeom>
            <a:noFill/>
            <a:ln w="19050" cap="flat" cmpd="sng" algn="ctr">
              <a:solidFill>
                <a:srgbClr val="0072C6"/>
              </a:solidFill>
              <a:prstDash val="solid"/>
              <a:headEnd type="none"/>
              <a:tailEnd type="none"/>
            </a:ln>
            <a:effectLst/>
          </p:spPr>
        </p:cxnSp>
        <p:cxnSp>
          <p:nvCxnSpPr>
            <p:cNvPr id="73" name="Straight Connector 72"/>
            <p:cNvCxnSpPr>
              <a:stCxn id="934" idx="7"/>
              <a:endCxn id="865" idx="4"/>
            </p:cNvCxnSpPr>
            <p:nvPr/>
          </p:nvCxnSpPr>
          <p:spPr>
            <a:xfrm flipV="1">
              <a:off x="4762765" y="3618062"/>
              <a:ext cx="77868" cy="129204"/>
            </a:xfrm>
            <a:prstGeom prst="line">
              <a:avLst/>
            </a:prstGeom>
            <a:noFill/>
            <a:ln w="19050" cap="flat" cmpd="sng" algn="ctr">
              <a:solidFill>
                <a:srgbClr val="0072C6"/>
              </a:solidFill>
              <a:prstDash val="solid"/>
              <a:headEnd type="none"/>
              <a:tailEnd type="none"/>
            </a:ln>
            <a:effectLst/>
          </p:spPr>
        </p:cxnSp>
        <p:cxnSp>
          <p:nvCxnSpPr>
            <p:cNvPr id="74" name="Straight Connector 73"/>
            <p:cNvCxnSpPr>
              <a:stCxn id="865" idx="5"/>
              <a:endCxn id="868" idx="2"/>
            </p:cNvCxnSpPr>
            <p:nvPr/>
          </p:nvCxnSpPr>
          <p:spPr>
            <a:xfrm flipV="1">
              <a:off x="4869775" y="3576849"/>
              <a:ext cx="253567" cy="29141"/>
            </a:xfrm>
            <a:prstGeom prst="line">
              <a:avLst/>
            </a:prstGeom>
            <a:noFill/>
            <a:ln w="19050" cap="flat" cmpd="sng" algn="ctr">
              <a:solidFill>
                <a:srgbClr val="0072C6"/>
              </a:solidFill>
              <a:prstDash val="solid"/>
              <a:headEnd type="none"/>
              <a:tailEnd type="none"/>
            </a:ln>
            <a:effectLst/>
          </p:spPr>
        </p:cxnSp>
        <p:cxnSp>
          <p:nvCxnSpPr>
            <p:cNvPr id="75" name="Straight Connector 74"/>
            <p:cNvCxnSpPr>
              <a:stCxn id="865" idx="0"/>
              <a:endCxn id="744" idx="4"/>
            </p:cNvCxnSpPr>
            <p:nvPr/>
          </p:nvCxnSpPr>
          <p:spPr>
            <a:xfrm flipV="1">
              <a:off x="4840634" y="3320169"/>
              <a:ext cx="0" cy="215467"/>
            </a:xfrm>
            <a:prstGeom prst="line">
              <a:avLst/>
            </a:prstGeom>
            <a:noFill/>
            <a:ln w="19050" cap="flat" cmpd="sng" algn="ctr">
              <a:solidFill>
                <a:srgbClr val="0072C6"/>
              </a:solidFill>
              <a:prstDash val="solid"/>
              <a:headEnd type="none"/>
              <a:tailEnd type="none"/>
            </a:ln>
            <a:effectLst/>
          </p:spPr>
        </p:cxnSp>
        <p:cxnSp>
          <p:nvCxnSpPr>
            <p:cNvPr id="76" name="Straight Connector 75"/>
            <p:cNvCxnSpPr>
              <a:stCxn id="1037" idx="3"/>
              <a:endCxn id="1109" idx="0"/>
            </p:cNvCxnSpPr>
            <p:nvPr/>
          </p:nvCxnSpPr>
          <p:spPr>
            <a:xfrm flipH="1">
              <a:off x="5271565" y="4103443"/>
              <a:ext cx="403236" cy="228982"/>
            </a:xfrm>
            <a:prstGeom prst="line">
              <a:avLst/>
            </a:prstGeom>
            <a:noFill/>
            <a:ln w="19050" cap="flat" cmpd="sng" algn="ctr">
              <a:solidFill>
                <a:srgbClr val="0072C6"/>
              </a:solidFill>
              <a:prstDash val="solid"/>
              <a:headEnd type="none"/>
              <a:tailEnd type="none"/>
            </a:ln>
            <a:effectLst/>
          </p:spPr>
        </p:cxnSp>
        <p:cxnSp>
          <p:nvCxnSpPr>
            <p:cNvPr id="77" name="Straight Connector 76"/>
            <p:cNvCxnSpPr>
              <a:stCxn id="1109" idx="4"/>
              <a:endCxn id="1148" idx="7"/>
            </p:cNvCxnSpPr>
            <p:nvPr/>
          </p:nvCxnSpPr>
          <p:spPr>
            <a:xfrm flipH="1">
              <a:off x="5193697" y="4414851"/>
              <a:ext cx="77868" cy="127759"/>
            </a:xfrm>
            <a:prstGeom prst="line">
              <a:avLst/>
            </a:prstGeom>
            <a:noFill/>
            <a:ln w="19050" cap="flat" cmpd="sng" algn="ctr">
              <a:solidFill>
                <a:srgbClr val="0072C6"/>
              </a:solidFill>
              <a:prstDash val="solid"/>
              <a:headEnd type="none"/>
              <a:tailEnd type="none"/>
            </a:ln>
            <a:effectLst/>
          </p:spPr>
        </p:cxnSp>
        <p:cxnSp>
          <p:nvCxnSpPr>
            <p:cNvPr id="78" name="Straight Connector 77"/>
            <p:cNvCxnSpPr>
              <a:stCxn id="1148" idx="4"/>
              <a:endCxn id="1254" idx="7"/>
            </p:cNvCxnSpPr>
            <p:nvPr/>
          </p:nvCxnSpPr>
          <p:spPr>
            <a:xfrm flipH="1">
              <a:off x="4978232" y="4612964"/>
              <a:ext cx="186324" cy="526875"/>
            </a:xfrm>
            <a:prstGeom prst="line">
              <a:avLst/>
            </a:prstGeom>
            <a:noFill/>
            <a:ln w="19050" cap="flat" cmpd="sng" algn="ctr">
              <a:solidFill>
                <a:srgbClr val="0072C6"/>
              </a:solidFill>
              <a:prstDash val="solid"/>
              <a:headEnd type="none"/>
              <a:tailEnd type="none"/>
            </a:ln>
            <a:effectLst/>
          </p:spPr>
        </p:cxnSp>
        <p:cxnSp>
          <p:nvCxnSpPr>
            <p:cNvPr id="79" name="Straight Connector 78"/>
            <p:cNvCxnSpPr>
              <a:stCxn id="1254" idx="6"/>
              <a:endCxn id="1255" idx="2"/>
            </p:cNvCxnSpPr>
            <p:nvPr/>
          </p:nvCxnSpPr>
          <p:spPr>
            <a:xfrm>
              <a:off x="4990302" y="5168983"/>
              <a:ext cx="133040" cy="0"/>
            </a:xfrm>
            <a:prstGeom prst="line">
              <a:avLst/>
            </a:prstGeom>
            <a:noFill/>
            <a:ln w="19050" cap="flat" cmpd="sng" algn="ctr">
              <a:solidFill>
                <a:srgbClr val="0072C6"/>
              </a:solidFill>
              <a:prstDash val="solid"/>
              <a:headEnd type="none"/>
              <a:tailEnd type="none"/>
            </a:ln>
            <a:effectLst/>
          </p:spPr>
        </p:cxnSp>
        <p:cxnSp>
          <p:nvCxnSpPr>
            <p:cNvPr id="80" name="Straight Connector 79"/>
            <p:cNvCxnSpPr>
              <a:stCxn id="1254" idx="4"/>
              <a:endCxn id="1290" idx="7"/>
            </p:cNvCxnSpPr>
            <p:nvPr/>
          </p:nvCxnSpPr>
          <p:spPr>
            <a:xfrm flipH="1">
              <a:off x="4869776" y="5210196"/>
              <a:ext cx="79313" cy="129203"/>
            </a:xfrm>
            <a:prstGeom prst="line">
              <a:avLst/>
            </a:prstGeom>
            <a:noFill/>
            <a:ln w="19050" cap="flat" cmpd="sng" algn="ctr">
              <a:solidFill>
                <a:srgbClr val="0072C6"/>
              </a:solidFill>
              <a:prstDash val="solid"/>
              <a:headEnd type="none"/>
              <a:tailEnd type="none"/>
            </a:ln>
            <a:effectLst/>
          </p:spPr>
        </p:cxnSp>
        <p:cxnSp>
          <p:nvCxnSpPr>
            <p:cNvPr id="81" name="Straight Connector 80"/>
            <p:cNvCxnSpPr>
              <a:stCxn id="1095" idx="5"/>
              <a:endCxn id="1118" idx="1"/>
            </p:cNvCxnSpPr>
            <p:nvPr/>
          </p:nvCxnSpPr>
          <p:spPr>
            <a:xfrm>
              <a:off x="3792447" y="4402779"/>
              <a:ext cx="50172" cy="40049"/>
            </a:xfrm>
            <a:prstGeom prst="line">
              <a:avLst/>
            </a:prstGeom>
            <a:noFill/>
            <a:ln w="19050" cap="flat" cmpd="sng" algn="ctr">
              <a:solidFill>
                <a:srgbClr val="0072C6"/>
              </a:solidFill>
              <a:prstDash val="solid"/>
              <a:headEnd type="none"/>
              <a:tailEnd type="none"/>
            </a:ln>
            <a:effectLst/>
          </p:spPr>
        </p:cxnSp>
        <p:cxnSp>
          <p:nvCxnSpPr>
            <p:cNvPr id="82" name="Straight Connector 81"/>
            <p:cNvCxnSpPr>
              <a:stCxn id="1118" idx="5"/>
              <a:endCxn id="1159" idx="2"/>
            </p:cNvCxnSpPr>
            <p:nvPr/>
          </p:nvCxnSpPr>
          <p:spPr>
            <a:xfrm>
              <a:off x="3900904" y="4501115"/>
              <a:ext cx="360577" cy="170417"/>
            </a:xfrm>
            <a:prstGeom prst="line">
              <a:avLst/>
            </a:prstGeom>
            <a:noFill/>
            <a:ln w="19050" cap="flat" cmpd="sng" algn="ctr">
              <a:solidFill>
                <a:srgbClr val="0072C6"/>
              </a:solidFill>
              <a:prstDash val="solid"/>
              <a:headEnd type="none"/>
              <a:tailEnd type="none"/>
            </a:ln>
            <a:effectLst/>
          </p:spPr>
        </p:cxnSp>
        <p:cxnSp>
          <p:nvCxnSpPr>
            <p:cNvPr id="83" name="Straight Connector 82"/>
            <p:cNvCxnSpPr>
              <a:stCxn id="1159" idx="4"/>
              <a:endCxn id="1306" idx="1"/>
            </p:cNvCxnSpPr>
            <p:nvPr/>
          </p:nvCxnSpPr>
          <p:spPr>
            <a:xfrm>
              <a:off x="4302693" y="4712744"/>
              <a:ext cx="77867" cy="726433"/>
            </a:xfrm>
            <a:prstGeom prst="line">
              <a:avLst/>
            </a:prstGeom>
            <a:noFill/>
            <a:ln w="19050" cap="flat" cmpd="sng" algn="ctr">
              <a:solidFill>
                <a:srgbClr val="0072C6"/>
              </a:solidFill>
              <a:prstDash val="solid"/>
              <a:headEnd type="none"/>
              <a:tailEnd type="none"/>
            </a:ln>
            <a:effectLst/>
          </p:spPr>
        </p:cxnSp>
        <p:cxnSp>
          <p:nvCxnSpPr>
            <p:cNvPr id="84" name="Straight Connector 83"/>
            <p:cNvCxnSpPr>
              <a:stCxn id="1306" idx="4"/>
              <a:endCxn id="1337" idx="2"/>
            </p:cNvCxnSpPr>
            <p:nvPr/>
          </p:nvCxnSpPr>
          <p:spPr>
            <a:xfrm>
              <a:off x="4409702" y="5509532"/>
              <a:ext cx="67244" cy="156901"/>
            </a:xfrm>
            <a:prstGeom prst="line">
              <a:avLst/>
            </a:prstGeom>
            <a:noFill/>
            <a:ln w="19050" cap="flat" cmpd="sng" algn="ctr">
              <a:solidFill>
                <a:srgbClr val="0072C6"/>
              </a:solidFill>
              <a:prstDash val="solid"/>
              <a:headEnd type="none"/>
              <a:tailEnd type="none"/>
            </a:ln>
            <a:effectLst/>
          </p:spPr>
        </p:cxnSp>
        <p:cxnSp>
          <p:nvCxnSpPr>
            <p:cNvPr id="85" name="Straight Connector 84"/>
            <p:cNvCxnSpPr>
              <a:stCxn id="1337" idx="6"/>
              <a:endCxn id="1326" idx="3"/>
            </p:cNvCxnSpPr>
            <p:nvPr/>
          </p:nvCxnSpPr>
          <p:spPr>
            <a:xfrm flipV="1">
              <a:off x="4559373" y="5595797"/>
              <a:ext cx="145110" cy="70637"/>
            </a:xfrm>
            <a:prstGeom prst="line">
              <a:avLst/>
            </a:prstGeom>
            <a:noFill/>
            <a:ln w="19050" cap="flat" cmpd="sng" algn="ctr">
              <a:solidFill>
                <a:srgbClr val="0072C6"/>
              </a:solidFill>
              <a:prstDash val="solid"/>
              <a:headEnd type="none"/>
              <a:tailEnd type="none"/>
            </a:ln>
            <a:effectLst/>
          </p:spPr>
        </p:cxnSp>
        <p:cxnSp>
          <p:nvCxnSpPr>
            <p:cNvPr id="86" name="Straight Connector 85"/>
            <p:cNvCxnSpPr>
              <a:stCxn id="1326" idx="7"/>
              <a:endCxn id="1290" idx="4"/>
            </p:cNvCxnSpPr>
            <p:nvPr/>
          </p:nvCxnSpPr>
          <p:spPr>
            <a:xfrm flipV="1">
              <a:off x="4762766" y="5409754"/>
              <a:ext cx="77868" cy="127759"/>
            </a:xfrm>
            <a:prstGeom prst="line">
              <a:avLst/>
            </a:prstGeom>
            <a:noFill/>
            <a:ln w="19050" cap="flat" cmpd="sng" algn="ctr">
              <a:solidFill>
                <a:srgbClr val="0072C6"/>
              </a:solidFill>
              <a:prstDash val="solid"/>
              <a:headEnd type="none"/>
              <a:tailEnd type="none"/>
            </a:ln>
            <a:effectLst/>
          </p:spPr>
        </p:cxnSp>
        <p:cxnSp>
          <p:nvCxnSpPr>
            <p:cNvPr id="87" name="Straight Connector 86"/>
            <p:cNvCxnSpPr>
              <a:stCxn id="1254" idx="7"/>
            </p:cNvCxnSpPr>
            <p:nvPr/>
          </p:nvCxnSpPr>
          <p:spPr>
            <a:xfrm flipV="1">
              <a:off x="4978232" y="4405155"/>
              <a:ext cx="809595" cy="734685"/>
            </a:xfrm>
            <a:prstGeom prst="line">
              <a:avLst/>
            </a:prstGeom>
            <a:noFill/>
            <a:ln w="19050" cap="flat" cmpd="sng" algn="ctr">
              <a:solidFill>
                <a:srgbClr val="0072C6"/>
              </a:solidFill>
              <a:prstDash val="solid"/>
              <a:headEnd type="none"/>
              <a:tailEnd type="none"/>
            </a:ln>
            <a:effectLst/>
          </p:spPr>
        </p:cxnSp>
        <p:cxnSp>
          <p:nvCxnSpPr>
            <p:cNvPr id="88" name="Straight Connector 87"/>
            <p:cNvCxnSpPr>
              <a:stCxn id="1037" idx="4"/>
            </p:cNvCxnSpPr>
            <p:nvPr/>
          </p:nvCxnSpPr>
          <p:spPr>
            <a:xfrm>
              <a:off x="5703943" y="4115513"/>
              <a:ext cx="83884" cy="224983"/>
            </a:xfrm>
            <a:prstGeom prst="line">
              <a:avLst/>
            </a:prstGeom>
            <a:noFill/>
            <a:ln w="19050" cap="flat" cmpd="sng" algn="ctr">
              <a:solidFill>
                <a:srgbClr val="0072C6"/>
              </a:solidFill>
              <a:prstDash val="solid"/>
              <a:headEnd type="none"/>
              <a:tailEnd type="none"/>
            </a:ln>
            <a:effectLst/>
          </p:spPr>
        </p:cxnSp>
        <p:cxnSp>
          <p:nvCxnSpPr>
            <p:cNvPr id="89" name="Straight Connector 88"/>
            <p:cNvCxnSpPr>
              <a:endCxn id="1065" idx="3"/>
            </p:cNvCxnSpPr>
            <p:nvPr/>
          </p:nvCxnSpPr>
          <p:spPr>
            <a:xfrm flipV="1">
              <a:off x="5852485" y="4203222"/>
              <a:ext cx="360257" cy="137275"/>
            </a:xfrm>
            <a:prstGeom prst="line">
              <a:avLst/>
            </a:prstGeom>
            <a:noFill/>
            <a:ln w="19050" cap="flat" cmpd="sng" algn="ctr">
              <a:solidFill>
                <a:srgbClr val="0072C6"/>
              </a:solidFill>
              <a:prstDash val="solid"/>
              <a:headEnd type="none"/>
              <a:tailEnd type="none"/>
            </a:ln>
            <a:effectLst/>
          </p:spPr>
        </p:cxnSp>
        <p:cxnSp>
          <p:nvCxnSpPr>
            <p:cNvPr id="90" name="Straight Connector 89"/>
            <p:cNvCxnSpPr>
              <a:endCxn id="1131" idx="1"/>
            </p:cNvCxnSpPr>
            <p:nvPr/>
          </p:nvCxnSpPr>
          <p:spPr>
            <a:xfrm>
              <a:off x="5852485" y="4405155"/>
              <a:ext cx="37782" cy="37675"/>
            </a:xfrm>
            <a:prstGeom prst="line">
              <a:avLst/>
            </a:prstGeom>
            <a:noFill/>
            <a:ln w="19050" cap="flat" cmpd="sng" algn="ctr">
              <a:solidFill>
                <a:srgbClr val="0072C6"/>
              </a:solidFill>
              <a:prstDash val="solid"/>
              <a:headEnd type="none"/>
              <a:tailEnd type="none"/>
            </a:ln>
            <a:effectLst/>
          </p:spPr>
        </p:cxnSp>
        <p:cxnSp>
          <p:nvCxnSpPr>
            <p:cNvPr id="91" name="Straight Connector 90"/>
            <p:cNvCxnSpPr>
              <a:stCxn id="1131" idx="5"/>
              <a:endCxn id="1167" idx="1"/>
            </p:cNvCxnSpPr>
            <p:nvPr/>
          </p:nvCxnSpPr>
          <p:spPr>
            <a:xfrm>
              <a:off x="5948551" y="4501115"/>
              <a:ext cx="372647" cy="141273"/>
            </a:xfrm>
            <a:prstGeom prst="line">
              <a:avLst/>
            </a:prstGeom>
            <a:noFill/>
            <a:ln w="19050" cap="flat" cmpd="sng" algn="ctr">
              <a:solidFill>
                <a:srgbClr val="0072C6"/>
              </a:solidFill>
              <a:prstDash val="solid"/>
              <a:headEnd type="none"/>
              <a:tailEnd type="none"/>
            </a:ln>
            <a:effectLst/>
          </p:spPr>
        </p:cxnSp>
        <p:cxnSp>
          <p:nvCxnSpPr>
            <p:cNvPr id="92" name="Straight Connector 91"/>
            <p:cNvCxnSpPr>
              <a:stCxn id="1110" idx="7"/>
              <a:endCxn id="1040" idx="3"/>
            </p:cNvCxnSpPr>
            <p:nvPr/>
          </p:nvCxnSpPr>
          <p:spPr>
            <a:xfrm flipV="1">
              <a:off x="5840094" y="4103443"/>
              <a:ext cx="157182" cy="241052"/>
            </a:xfrm>
            <a:prstGeom prst="line">
              <a:avLst/>
            </a:prstGeom>
            <a:noFill/>
            <a:ln w="19050" cap="flat" cmpd="sng" algn="ctr">
              <a:solidFill>
                <a:srgbClr val="0072C6"/>
              </a:solidFill>
              <a:prstDash val="solid"/>
              <a:headEnd type="none"/>
              <a:tailEnd type="none"/>
            </a:ln>
            <a:effectLst/>
          </p:spPr>
        </p:cxnSp>
        <p:cxnSp>
          <p:nvCxnSpPr>
            <p:cNvPr id="93" name="Straight Connector 92"/>
            <p:cNvCxnSpPr>
              <a:stCxn id="1040" idx="7"/>
              <a:endCxn id="1011" idx="3"/>
            </p:cNvCxnSpPr>
            <p:nvPr/>
          </p:nvCxnSpPr>
          <p:spPr>
            <a:xfrm flipV="1">
              <a:off x="6055561" y="4003663"/>
              <a:ext cx="50171" cy="41496"/>
            </a:xfrm>
            <a:prstGeom prst="line">
              <a:avLst/>
            </a:prstGeom>
            <a:noFill/>
            <a:ln w="19050" cap="flat" cmpd="sng" algn="ctr">
              <a:solidFill>
                <a:srgbClr val="0072C6"/>
              </a:solidFill>
              <a:prstDash val="solid"/>
              <a:headEnd type="none"/>
              <a:tailEnd type="none"/>
            </a:ln>
            <a:effectLst/>
          </p:spPr>
        </p:cxnSp>
        <p:cxnSp>
          <p:nvCxnSpPr>
            <p:cNvPr id="94" name="Straight Connector 93"/>
            <p:cNvCxnSpPr>
              <a:stCxn id="1065" idx="4"/>
              <a:endCxn id="1363" idx="1"/>
            </p:cNvCxnSpPr>
            <p:nvPr/>
          </p:nvCxnSpPr>
          <p:spPr>
            <a:xfrm>
              <a:off x="6241884" y="4215294"/>
              <a:ext cx="84520" cy="422283"/>
            </a:xfrm>
            <a:prstGeom prst="line">
              <a:avLst/>
            </a:prstGeom>
            <a:noFill/>
            <a:ln w="19050" cap="flat" cmpd="sng" algn="ctr">
              <a:solidFill>
                <a:srgbClr val="0072C6"/>
              </a:solidFill>
              <a:prstDash val="solid"/>
              <a:headEnd type="none"/>
              <a:tailEnd type="none"/>
            </a:ln>
            <a:effectLst/>
          </p:spPr>
        </p:cxnSp>
        <p:cxnSp>
          <p:nvCxnSpPr>
            <p:cNvPr id="95" name="Straight Connector 94"/>
            <p:cNvCxnSpPr>
              <a:stCxn id="1363" idx="5"/>
              <a:endCxn id="1364" idx="1"/>
            </p:cNvCxnSpPr>
            <p:nvPr/>
          </p:nvCxnSpPr>
          <p:spPr>
            <a:xfrm>
              <a:off x="6391062" y="4702234"/>
              <a:ext cx="32696" cy="31552"/>
            </a:xfrm>
            <a:prstGeom prst="line">
              <a:avLst/>
            </a:prstGeom>
            <a:noFill/>
            <a:ln w="19050" cap="flat" cmpd="sng" algn="ctr">
              <a:solidFill>
                <a:srgbClr val="0072C6"/>
              </a:solidFill>
              <a:prstDash val="solid"/>
              <a:headEnd type="none"/>
              <a:tailEnd type="none"/>
            </a:ln>
            <a:effectLst/>
          </p:spPr>
        </p:cxnSp>
        <p:cxnSp>
          <p:nvCxnSpPr>
            <p:cNvPr id="96" name="Straight Connector 95"/>
            <p:cNvCxnSpPr>
              <a:stCxn id="1187" idx="5"/>
              <a:endCxn id="1207" idx="1"/>
            </p:cNvCxnSpPr>
            <p:nvPr/>
          </p:nvCxnSpPr>
          <p:spPr>
            <a:xfrm>
              <a:off x="6486491" y="4800452"/>
              <a:ext cx="50172" cy="41495"/>
            </a:xfrm>
            <a:prstGeom prst="line">
              <a:avLst/>
            </a:prstGeom>
            <a:noFill/>
            <a:ln w="19050" cap="flat" cmpd="sng" algn="ctr">
              <a:solidFill>
                <a:srgbClr val="0072C6"/>
              </a:solidFill>
              <a:prstDash val="solid"/>
              <a:headEnd type="none"/>
              <a:tailEnd type="none"/>
            </a:ln>
            <a:effectLst/>
          </p:spPr>
        </p:cxnSp>
        <p:cxnSp>
          <p:nvCxnSpPr>
            <p:cNvPr id="97" name="Straight Connector 96"/>
            <p:cNvCxnSpPr>
              <a:stCxn id="1207" idx="4"/>
              <a:endCxn id="1292" idx="1"/>
            </p:cNvCxnSpPr>
            <p:nvPr/>
          </p:nvCxnSpPr>
          <p:spPr>
            <a:xfrm>
              <a:off x="6565806" y="4912302"/>
              <a:ext cx="77867" cy="427096"/>
            </a:xfrm>
            <a:prstGeom prst="line">
              <a:avLst/>
            </a:prstGeom>
            <a:noFill/>
            <a:ln w="19050" cap="flat" cmpd="sng" algn="ctr">
              <a:solidFill>
                <a:srgbClr val="0072C6"/>
              </a:solidFill>
              <a:prstDash val="solid"/>
              <a:headEnd type="none"/>
              <a:tailEnd type="none"/>
            </a:ln>
            <a:effectLst/>
          </p:spPr>
        </p:cxnSp>
        <p:cxnSp>
          <p:nvCxnSpPr>
            <p:cNvPr id="98" name="Straight Connector 97"/>
            <p:cNvCxnSpPr>
              <a:stCxn id="1207" idx="4"/>
              <a:endCxn id="1327" idx="1"/>
            </p:cNvCxnSpPr>
            <p:nvPr/>
          </p:nvCxnSpPr>
          <p:spPr>
            <a:xfrm>
              <a:off x="6565806" y="4912302"/>
              <a:ext cx="77867" cy="625211"/>
            </a:xfrm>
            <a:prstGeom prst="line">
              <a:avLst/>
            </a:prstGeom>
            <a:noFill/>
            <a:ln w="19050" cap="flat" cmpd="sng" algn="ctr">
              <a:solidFill>
                <a:srgbClr val="0072C6"/>
              </a:solidFill>
              <a:prstDash val="solid"/>
              <a:headEnd type="none"/>
              <a:tailEnd type="none"/>
            </a:ln>
            <a:effectLst/>
          </p:spPr>
        </p:cxnSp>
        <p:cxnSp>
          <p:nvCxnSpPr>
            <p:cNvPr id="99" name="Straight Connector 98"/>
            <p:cNvCxnSpPr>
              <a:stCxn id="1207" idx="0"/>
              <a:endCxn id="1168" idx="4"/>
            </p:cNvCxnSpPr>
            <p:nvPr/>
          </p:nvCxnSpPr>
          <p:spPr>
            <a:xfrm flipV="1">
              <a:off x="6565806" y="4712744"/>
              <a:ext cx="0" cy="117131"/>
            </a:xfrm>
            <a:prstGeom prst="line">
              <a:avLst/>
            </a:prstGeom>
            <a:noFill/>
            <a:ln w="19050" cap="flat" cmpd="sng" algn="ctr">
              <a:solidFill>
                <a:srgbClr val="0072C6"/>
              </a:solidFill>
              <a:prstDash val="solid"/>
              <a:headEnd type="none"/>
              <a:tailEnd type="none"/>
            </a:ln>
            <a:effectLst/>
          </p:spPr>
        </p:cxnSp>
        <p:cxnSp>
          <p:nvCxnSpPr>
            <p:cNvPr id="100" name="Straight Connector 99"/>
            <p:cNvCxnSpPr>
              <a:stCxn id="1187" idx="7"/>
              <a:endCxn id="1168" idx="3"/>
            </p:cNvCxnSpPr>
            <p:nvPr/>
          </p:nvCxnSpPr>
          <p:spPr>
            <a:xfrm flipV="1">
              <a:off x="6486491" y="4700673"/>
              <a:ext cx="50172" cy="41495"/>
            </a:xfrm>
            <a:prstGeom prst="line">
              <a:avLst/>
            </a:prstGeom>
            <a:noFill/>
            <a:ln w="19050" cap="flat" cmpd="sng" algn="ctr">
              <a:solidFill>
                <a:srgbClr val="0072C6"/>
              </a:solidFill>
              <a:prstDash val="solid"/>
              <a:headEnd type="none"/>
              <a:tailEnd type="none"/>
            </a:ln>
            <a:effectLst/>
          </p:spPr>
        </p:cxnSp>
        <p:cxnSp>
          <p:nvCxnSpPr>
            <p:cNvPr id="101" name="Straight Connector 100"/>
            <p:cNvCxnSpPr>
              <a:stCxn id="1363" idx="7"/>
              <a:endCxn id="1150" idx="2"/>
            </p:cNvCxnSpPr>
            <p:nvPr/>
          </p:nvCxnSpPr>
          <p:spPr>
            <a:xfrm flipV="1">
              <a:off x="6391062" y="4571751"/>
              <a:ext cx="240541" cy="65825"/>
            </a:xfrm>
            <a:prstGeom prst="line">
              <a:avLst/>
            </a:prstGeom>
            <a:noFill/>
            <a:ln w="19050" cap="flat" cmpd="sng" algn="ctr">
              <a:solidFill>
                <a:srgbClr val="0072C6"/>
              </a:solidFill>
              <a:prstDash val="solid"/>
              <a:headEnd type="none"/>
              <a:tailEnd type="none"/>
            </a:ln>
            <a:effectLst/>
          </p:spPr>
        </p:cxnSp>
        <p:cxnSp>
          <p:nvCxnSpPr>
            <p:cNvPr id="102" name="Straight Connector 101"/>
            <p:cNvCxnSpPr>
              <a:stCxn id="1363" idx="7"/>
              <a:endCxn id="1112" idx="4"/>
            </p:cNvCxnSpPr>
            <p:nvPr/>
          </p:nvCxnSpPr>
          <p:spPr>
            <a:xfrm flipV="1">
              <a:off x="6391062" y="4414851"/>
              <a:ext cx="66288" cy="222726"/>
            </a:xfrm>
            <a:prstGeom prst="line">
              <a:avLst/>
            </a:prstGeom>
            <a:noFill/>
            <a:ln w="19050" cap="flat" cmpd="sng" algn="ctr">
              <a:solidFill>
                <a:srgbClr val="0072C6"/>
              </a:solidFill>
              <a:prstDash val="solid"/>
              <a:headEnd type="none"/>
              <a:tailEnd type="none"/>
            </a:ln>
            <a:effectLst/>
          </p:spPr>
        </p:cxnSp>
        <p:cxnSp>
          <p:nvCxnSpPr>
            <p:cNvPr id="103" name="Straight Connector 102"/>
            <p:cNvCxnSpPr>
              <a:stCxn id="1150" idx="7"/>
              <a:endCxn id="1133" idx="2"/>
            </p:cNvCxnSpPr>
            <p:nvPr/>
          </p:nvCxnSpPr>
          <p:spPr>
            <a:xfrm flipV="1">
              <a:off x="6701958" y="4471972"/>
              <a:ext cx="145109" cy="70637"/>
            </a:xfrm>
            <a:prstGeom prst="line">
              <a:avLst/>
            </a:prstGeom>
            <a:noFill/>
            <a:ln w="19050" cap="flat" cmpd="sng" algn="ctr">
              <a:solidFill>
                <a:srgbClr val="0072C6"/>
              </a:solidFill>
              <a:prstDash val="solid"/>
              <a:headEnd type="none"/>
              <a:tailEnd type="none"/>
            </a:ln>
            <a:effectLst/>
          </p:spPr>
        </p:cxnSp>
        <p:cxnSp>
          <p:nvCxnSpPr>
            <p:cNvPr id="104" name="Straight Connector 103"/>
            <p:cNvCxnSpPr>
              <a:stCxn id="1112" idx="7"/>
              <a:endCxn id="1068" idx="3"/>
            </p:cNvCxnSpPr>
            <p:nvPr/>
          </p:nvCxnSpPr>
          <p:spPr>
            <a:xfrm flipV="1">
              <a:off x="6486491" y="4203222"/>
              <a:ext cx="50172" cy="141272"/>
            </a:xfrm>
            <a:prstGeom prst="line">
              <a:avLst/>
            </a:prstGeom>
            <a:noFill/>
            <a:ln w="19050" cap="flat" cmpd="sng" algn="ctr">
              <a:solidFill>
                <a:srgbClr val="0072C6"/>
              </a:solidFill>
              <a:prstDash val="solid"/>
              <a:headEnd type="none"/>
              <a:tailEnd type="none"/>
            </a:ln>
            <a:effectLst/>
          </p:spPr>
        </p:cxnSp>
        <p:cxnSp>
          <p:nvCxnSpPr>
            <p:cNvPr id="105" name="Straight Connector 104"/>
            <p:cNvCxnSpPr>
              <a:endCxn id="1017" idx="4"/>
            </p:cNvCxnSpPr>
            <p:nvPr/>
          </p:nvCxnSpPr>
          <p:spPr>
            <a:xfrm flipV="1">
              <a:off x="6772549" y="4015733"/>
              <a:ext cx="8722" cy="135984"/>
            </a:xfrm>
            <a:prstGeom prst="line">
              <a:avLst/>
            </a:prstGeom>
            <a:noFill/>
            <a:ln w="19050" cap="flat" cmpd="sng" algn="ctr">
              <a:solidFill>
                <a:srgbClr val="0072C6"/>
              </a:solidFill>
              <a:prstDash val="solid"/>
              <a:headEnd type="none"/>
              <a:tailEnd type="none"/>
            </a:ln>
            <a:effectLst/>
          </p:spPr>
        </p:cxnSp>
        <p:cxnSp>
          <p:nvCxnSpPr>
            <p:cNvPr id="106" name="Straight Connector 105"/>
            <p:cNvCxnSpPr>
              <a:stCxn id="1068" idx="6"/>
              <a:endCxn id="1069" idx="2"/>
            </p:cNvCxnSpPr>
            <p:nvPr/>
          </p:nvCxnSpPr>
          <p:spPr>
            <a:xfrm>
              <a:off x="6607020" y="4174081"/>
              <a:ext cx="133039" cy="0"/>
            </a:xfrm>
            <a:prstGeom prst="line">
              <a:avLst/>
            </a:prstGeom>
            <a:noFill/>
            <a:ln w="19050" cap="flat" cmpd="sng" algn="ctr">
              <a:solidFill>
                <a:srgbClr val="0072C6"/>
              </a:solidFill>
              <a:prstDash val="solid"/>
              <a:headEnd type="none"/>
              <a:tailEnd type="none"/>
            </a:ln>
            <a:effectLst/>
          </p:spPr>
        </p:cxnSp>
        <p:cxnSp>
          <p:nvCxnSpPr>
            <p:cNvPr id="107" name="Straight Connector 106"/>
            <p:cNvCxnSpPr>
              <a:stCxn id="1068" idx="0"/>
              <a:endCxn id="1017" idx="3"/>
            </p:cNvCxnSpPr>
            <p:nvPr/>
          </p:nvCxnSpPr>
          <p:spPr>
            <a:xfrm flipV="1">
              <a:off x="6565806" y="4003663"/>
              <a:ext cx="186323" cy="129204"/>
            </a:xfrm>
            <a:prstGeom prst="line">
              <a:avLst/>
            </a:prstGeom>
            <a:noFill/>
            <a:ln w="19050" cap="flat" cmpd="sng" algn="ctr">
              <a:solidFill>
                <a:srgbClr val="0072C6"/>
              </a:solidFill>
              <a:prstDash val="solid"/>
              <a:headEnd type="none"/>
              <a:tailEnd type="none"/>
            </a:ln>
            <a:effectLst/>
          </p:spPr>
        </p:cxnSp>
        <p:cxnSp>
          <p:nvCxnSpPr>
            <p:cNvPr id="108" name="Straight Connector 107"/>
            <p:cNvCxnSpPr>
              <a:stCxn id="1070" idx="1"/>
              <a:endCxn id="1017" idx="5"/>
            </p:cNvCxnSpPr>
            <p:nvPr/>
          </p:nvCxnSpPr>
          <p:spPr>
            <a:xfrm flipH="1" flipV="1">
              <a:off x="6810413" y="4003663"/>
              <a:ext cx="48725" cy="141274"/>
            </a:xfrm>
            <a:prstGeom prst="line">
              <a:avLst/>
            </a:prstGeom>
            <a:noFill/>
            <a:ln w="19050" cap="flat" cmpd="sng" algn="ctr">
              <a:solidFill>
                <a:srgbClr val="0072C6"/>
              </a:solidFill>
              <a:prstDash val="solid"/>
              <a:headEnd type="none"/>
              <a:tailEnd type="none"/>
            </a:ln>
            <a:effectLst/>
          </p:spPr>
        </p:cxnSp>
        <p:cxnSp>
          <p:nvCxnSpPr>
            <p:cNvPr id="109" name="Straight Connector 108"/>
            <p:cNvCxnSpPr>
              <a:endCxn id="1017" idx="0"/>
            </p:cNvCxnSpPr>
            <p:nvPr/>
          </p:nvCxnSpPr>
          <p:spPr>
            <a:xfrm flipH="1">
              <a:off x="6781271" y="3616194"/>
              <a:ext cx="1674" cy="317112"/>
            </a:xfrm>
            <a:prstGeom prst="line">
              <a:avLst/>
            </a:prstGeom>
            <a:noFill/>
            <a:ln w="19050" cap="flat" cmpd="sng" algn="ctr">
              <a:solidFill>
                <a:srgbClr val="0072C6"/>
              </a:solidFill>
              <a:prstDash val="solid"/>
              <a:headEnd type="none"/>
              <a:tailEnd type="none"/>
            </a:ln>
            <a:effectLst/>
          </p:spPr>
        </p:cxnSp>
        <p:cxnSp>
          <p:nvCxnSpPr>
            <p:cNvPr id="110" name="Straight Connector 109"/>
            <p:cNvCxnSpPr>
              <a:stCxn id="1068" idx="0"/>
              <a:endCxn id="1015" idx="4"/>
            </p:cNvCxnSpPr>
            <p:nvPr/>
          </p:nvCxnSpPr>
          <p:spPr>
            <a:xfrm flipV="1">
              <a:off x="6565806" y="4015733"/>
              <a:ext cx="0" cy="117132"/>
            </a:xfrm>
            <a:prstGeom prst="line">
              <a:avLst/>
            </a:prstGeom>
            <a:noFill/>
            <a:ln w="19050" cap="flat" cmpd="sng" algn="ctr">
              <a:solidFill>
                <a:srgbClr val="0072C6"/>
              </a:solidFill>
              <a:prstDash val="solid"/>
              <a:headEnd type="none"/>
              <a:tailEnd type="none"/>
            </a:ln>
            <a:effectLst/>
          </p:spPr>
        </p:cxnSp>
        <p:cxnSp>
          <p:nvCxnSpPr>
            <p:cNvPr id="111" name="Straight Arrow Connector 110"/>
            <p:cNvCxnSpPr>
              <a:stCxn id="882" idx="3"/>
              <a:endCxn id="1015" idx="7"/>
            </p:cNvCxnSpPr>
            <p:nvPr/>
          </p:nvCxnSpPr>
          <p:spPr>
            <a:xfrm flipH="1">
              <a:off x="6594948" y="3605990"/>
              <a:ext cx="157180" cy="339387"/>
            </a:xfrm>
            <a:prstGeom prst="straightConnector1">
              <a:avLst/>
            </a:prstGeom>
            <a:noFill/>
            <a:ln w="19050" cap="flat" cmpd="sng" algn="ctr">
              <a:solidFill>
                <a:srgbClr val="0072C6"/>
              </a:solidFill>
              <a:prstDash val="solid"/>
              <a:headEnd type="none"/>
              <a:tailEnd type="none"/>
            </a:ln>
            <a:effectLst/>
          </p:spPr>
        </p:cxnSp>
        <p:cxnSp>
          <p:nvCxnSpPr>
            <p:cNvPr id="112" name="Straight Connector 111"/>
            <p:cNvCxnSpPr>
              <a:stCxn id="1112" idx="7"/>
              <a:endCxn id="1015" idx="3"/>
            </p:cNvCxnSpPr>
            <p:nvPr/>
          </p:nvCxnSpPr>
          <p:spPr>
            <a:xfrm flipV="1">
              <a:off x="6486491" y="4003663"/>
              <a:ext cx="50172" cy="340832"/>
            </a:xfrm>
            <a:prstGeom prst="line">
              <a:avLst/>
            </a:prstGeom>
            <a:noFill/>
            <a:ln w="19050" cap="flat" cmpd="sng" algn="ctr">
              <a:solidFill>
                <a:srgbClr val="0072C6"/>
              </a:solidFill>
              <a:prstDash val="solid"/>
              <a:headEnd type="none"/>
              <a:tailEnd type="none"/>
            </a:ln>
            <a:effectLst/>
          </p:spPr>
        </p:cxnSp>
        <p:cxnSp>
          <p:nvCxnSpPr>
            <p:cNvPr id="113" name="Straight Connector 112"/>
            <p:cNvCxnSpPr>
              <a:stCxn id="1168" idx="7"/>
              <a:endCxn id="1150" idx="3"/>
            </p:cNvCxnSpPr>
            <p:nvPr/>
          </p:nvCxnSpPr>
          <p:spPr>
            <a:xfrm flipV="1">
              <a:off x="6594948" y="4600894"/>
              <a:ext cx="48725" cy="41495"/>
            </a:xfrm>
            <a:prstGeom prst="line">
              <a:avLst/>
            </a:prstGeom>
            <a:noFill/>
            <a:ln w="19050" cap="flat" cmpd="sng" algn="ctr">
              <a:solidFill>
                <a:srgbClr val="0072C6"/>
              </a:solidFill>
              <a:prstDash val="solid"/>
              <a:headEnd type="none"/>
              <a:tailEnd type="none"/>
            </a:ln>
            <a:effectLst/>
          </p:spPr>
        </p:cxnSp>
        <p:cxnSp>
          <p:nvCxnSpPr>
            <p:cNvPr id="114" name="Straight Connector 113"/>
            <p:cNvCxnSpPr>
              <a:stCxn id="1168" idx="1"/>
              <a:endCxn id="1112" idx="4"/>
            </p:cNvCxnSpPr>
            <p:nvPr/>
          </p:nvCxnSpPr>
          <p:spPr>
            <a:xfrm flipH="1" flipV="1">
              <a:off x="6457350" y="4414851"/>
              <a:ext cx="79314" cy="227537"/>
            </a:xfrm>
            <a:prstGeom prst="line">
              <a:avLst/>
            </a:prstGeom>
            <a:noFill/>
            <a:ln w="19050" cap="flat" cmpd="sng" algn="ctr">
              <a:solidFill>
                <a:srgbClr val="0072C6"/>
              </a:solidFill>
              <a:prstDash val="solid"/>
              <a:headEnd type="none"/>
              <a:tailEnd type="none"/>
            </a:ln>
            <a:effectLst/>
          </p:spPr>
        </p:cxnSp>
        <p:cxnSp>
          <p:nvCxnSpPr>
            <p:cNvPr id="115" name="Straight Connector 114"/>
            <p:cNvCxnSpPr>
              <a:endCxn id="883" idx="2"/>
            </p:cNvCxnSpPr>
            <p:nvPr/>
          </p:nvCxnSpPr>
          <p:spPr>
            <a:xfrm flipV="1">
              <a:off x="6835365" y="3576849"/>
              <a:ext cx="120158" cy="958"/>
            </a:xfrm>
            <a:prstGeom prst="line">
              <a:avLst/>
            </a:prstGeom>
            <a:noFill/>
            <a:ln w="19050" cap="flat" cmpd="sng" algn="ctr">
              <a:solidFill>
                <a:srgbClr val="0072C6"/>
              </a:solidFill>
              <a:prstDash val="solid"/>
              <a:headEnd type="none"/>
              <a:tailEnd type="none"/>
            </a:ln>
            <a:effectLst/>
          </p:spPr>
        </p:cxnSp>
        <p:cxnSp>
          <p:nvCxnSpPr>
            <p:cNvPr id="116" name="Straight Connector 115"/>
            <p:cNvCxnSpPr>
              <a:stCxn id="1017" idx="7"/>
              <a:endCxn id="883" idx="3"/>
            </p:cNvCxnSpPr>
            <p:nvPr/>
          </p:nvCxnSpPr>
          <p:spPr>
            <a:xfrm flipV="1">
              <a:off x="6810413" y="3605990"/>
              <a:ext cx="157182" cy="339387"/>
            </a:xfrm>
            <a:prstGeom prst="line">
              <a:avLst/>
            </a:prstGeom>
            <a:noFill/>
            <a:ln w="19050" cap="flat" cmpd="sng" algn="ctr">
              <a:solidFill>
                <a:srgbClr val="0072C6"/>
              </a:solidFill>
              <a:prstDash val="solid"/>
              <a:headEnd type="none"/>
              <a:tailEnd type="none"/>
            </a:ln>
            <a:effectLst/>
          </p:spPr>
        </p:cxnSp>
        <p:cxnSp>
          <p:nvCxnSpPr>
            <p:cNvPr id="117" name="Straight Connector 116"/>
            <p:cNvCxnSpPr>
              <a:stCxn id="883" idx="6"/>
            </p:cNvCxnSpPr>
            <p:nvPr/>
          </p:nvCxnSpPr>
          <p:spPr>
            <a:xfrm>
              <a:off x="7037950" y="3576850"/>
              <a:ext cx="140530" cy="80025"/>
            </a:xfrm>
            <a:prstGeom prst="line">
              <a:avLst/>
            </a:prstGeom>
            <a:noFill/>
            <a:ln w="19050" cap="flat" cmpd="sng" algn="ctr">
              <a:solidFill>
                <a:srgbClr val="0072C6"/>
              </a:solidFill>
              <a:prstDash val="solid"/>
              <a:headEnd type="none"/>
              <a:tailEnd type="none"/>
            </a:ln>
            <a:effectLst/>
          </p:spPr>
        </p:cxnSp>
        <p:cxnSp>
          <p:nvCxnSpPr>
            <p:cNvPr id="118" name="Straight Connector 117"/>
            <p:cNvCxnSpPr>
              <a:stCxn id="1070" idx="0"/>
              <a:endCxn id="1380" idx="3"/>
            </p:cNvCxnSpPr>
            <p:nvPr/>
          </p:nvCxnSpPr>
          <p:spPr>
            <a:xfrm flipV="1">
              <a:off x="6888280" y="3711876"/>
              <a:ext cx="290200" cy="420991"/>
            </a:xfrm>
            <a:prstGeom prst="line">
              <a:avLst/>
            </a:prstGeom>
            <a:noFill/>
            <a:ln w="19050" cap="flat" cmpd="sng" algn="ctr">
              <a:solidFill>
                <a:srgbClr val="0072C6"/>
              </a:solidFill>
              <a:prstDash val="solid"/>
              <a:headEnd type="none"/>
              <a:tailEnd type="none"/>
            </a:ln>
            <a:effectLst/>
          </p:spPr>
        </p:cxnSp>
        <p:cxnSp>
          <p:nvCxnSpPr>
            <p:cNvPr id="119" name="Straight Connector 118"/>
            <p:cNvCxnSpPr>
              <a:stCxn id="1070" idx="4"/>
              <a:endCxn id="1133" idx="0"/>
            </p:cNvCxnSpPr>
            <p:nvPr/>
          </p:nvCxnSpPr>
          <p:spPr>
            <a:xfrm>
              <a:off x="6888280" y="4215294"/>
              <a:ext cx="0" cy="215466"/>
            </a:xfrm>
            <a:prstGeom prst="line">
              <a:avLst/>
            </a:prstGeom>
            <a:noFill/>
            <a:ln w="19050" cap="flat" cmpd="sng" algn="ctr">
              <a:solidFill>
                <a:srgbClr val="0072C6"/>
              </a:solidFill>
              <a:prstDash val="solid"/>
              <a:headEnd type="none"/>
              <a:tailEnd type="none"/>
            </a:ln>
            <a:effectLst/>
          </p:spPr>
        </p:cxnSp>
        <p:cxnSp>
          <p:nvCxnSpPr>
            <p:cNvPr id="120" name="Straight Connector 119"/>
            <p:cNvCxnSpPr>
              <a:stCxn id="1112" idx="7"/>
              <a:endCxn id="1069" idx="3"/>
            </p:cNvCxnSpPr>
            <p:nvPr/>
          </p:nvCxnSpPr>
          <p:spPr>
            <a:xfrm flipV="1">
              <a:off x="6486491" y="4203222"/>
              <a:ext cx="265637" cy="141272"/>
            </a:xfrm>
            <a:prstGeom prst="line">
              <a:avLst/>
            </a:prstGeom>
            <a:noFill/>
            <a:ln w="19050" cap="flat" cmpd="sng" algn="ctr">
              <a:solidFill>
                <a:srgbClr val="0072C6"/>
              </a:solidFill>
              <a:prstDash val="solid"/>
              <a:headEnd type="none"/>
              <a:tailEnd type="none"/>
            </a:ln>
            <a:effectLst/>
          </p:spPr>
        </p:cxnSp>
        <p:cxnSp>
          <p:nvCxnSpPr>
            <p:cNvPr id="121" name="Straight Connector 120"/>
            <p:cNvCxnSpPr>
              <a:stCxn id="1380" idx="3"/>
              <a:endCxn id="1017" idx="7"/>
            </p:cNvCxnSpPr>
            <p:nvPr/>
          </p:nvCxnSpPr>
          <p:spPr>
            <a:xfrm flipH="1">
              <a:off x="6810413" y="3711876"/>
              <a:ext cx="368068" cy="233502"/>
            </a:xfrm>
            <a:prstGeom prst="line">
              <a:avLst/>
            </a:prstGeom>
            <a:noFill/>
            <a:ln w="19050" cap="flat" cmpd="sng" algn="ctr">
              <a:solidFill>
                <a:srgbClr val="0072C6"/>
              </a:solidFill>
              <a:prstDash val="solid"/>
              <a:headEnd type="none"/>
              <a:tailEnd type="none"/>
            </a:ln>
            <a:effectLst/>
          </p:spPr>
        </p:cxnSp>
        <p:cxnSp>
          <p:nvCxnSpPr>
            <p:cNvPr id="122" name="Straight Connector 121"/>
            <p:cNvCxnSpPr>
              <a:stCxn id="1069" idx="6"/>
              <a:endCxn id="1070" idx="2"/>
            </p:cNvCxnSpPr>
            <p:nvPr/>
          </p:nvCxnSpPr>
          <p:spPr>
            <a:xfrm>
              <a:off x="6822484" y="4174081"/>
              <a:ext cx="24584" cy="0"/>
            </a:xfrm>
            <a:prstGeom prst="line">
              <a:avLst/>
            </a:prstGeom>
            <a:noFill/>
            <a:ln w="19050" cap="flat" cmpd="sng" algn="ctr">
              <a:solidFill>
                <a:srgbClr val="0072C6"/>
              </a:solidFill>
              <a:prstDash val="solid"/>
              <a:headEnd type="none"/>
              <a:tailEnd type="none"/>
            </a:ln>
            <a:effectLst/>
          </p:spPr>
        </p:cxnSp>
        <p:cxnSp>
          <p:nvCxnSpPr>
            <p:cNvPr id="123" name="Straight Connector 122"/>
            <p:cNvCxnSpPr>
              <a:stCxn id="1133" idx="4"/>
              <a:endCxn id="1189" idx="1"/>
            </p:cNvCxnSpPr>
            <p:nvPr/>
          </p:nvCxnSpPr>
          <p:spPr>
            <a:xfrm>
              <a:off x="6888280" y="4513185"/>
              <a:ext cx="186324" cy="228983"/>
            </a:xfrm>
            <a:prstGeom prst="line">
              <a:avLst/>
            </a:prstGeom>
            <a:noFill/>
            <a:ln w="19050" cap="flat" cmpd="sng" algn="ctr">
              <a:solidFill>
                <a:srgbClr val="0072C6"/>
              </a:solidFill>
              <a:prstDash val="solid"/>
              <a:headEnd type="none"/>
              <a:tailEnd type="none"/>
            </a:ln>
            <a:effectLst/>
          </p:spPr>
        </p:cxnSp>
        <p:cxnSp>
          <p:nvCxnSpPr>
            <p:cNvPr id="124" name="Straight Connector 123"/>
            <p:cNvCxnSpPr>
              <a:stCxn id="1189" idx="5"/>
              <a:endCxn id="1242" idx="1"/>
            </p:cNvCxnSpPr>
            <p:nvPr/>
          </p:nvCxnSpPr>
          <p:spPr>
            <a:xfrm>
              <a:off x="7132890" y="4800452"/>
              <a:ext cx="157181" cy="239609"/>
            </a:xfrm>
            <a:prstGeom prst="line">
              <a:avLst/>
            </a:prstGeom>
            <a:noFill/>
            <a:ln w="19050" cap="flat" cmpd="sng" algn="ctr">
              <a:solidFill>
                <a:srgbClr val="0072C6"/>
              </a:solidFill>
              <a:prstDash val="solid"/>
              <a:headEnd type="none"/>
              <a:tailEnd type="none"/>
            </a:ln>
            <a:effectLst/>
          </p:spPr>
        </p:cxnSp>
        <p:cxnSp>
          <p:nvCxnSpPr>
            <p:cNvPr id="125" name="Straight Connector 124"/>
            <p:cNvCxnSpPr>
              <a:stCxn id="1242" idx="5"/>
              <a:endCxn id="1300" idx="1"/>
            </p:cNvCxnSpPr>
            <p:nvPr/>
          </p:nvCxnSpPr>
          <p:spPr>
            <a:xfrm>
              <a:off x="7348354" y="5098344"/>
              <a:ext cx="157182" cy="241054"/>
            </a:xfrm>
            <a:prstGeom prst="line">
              <a:avLst/>
            </a:prstGeom>
            <a:noFill/>
            <a:ln w="19050" cap="flat" cmpd="sng" algn="ctr">
              <a:solidFill>
                <a:srgbClr val="0072C6"/>
              </a:solidFill>
              <a:prstDash val="solid"/>
              <a:headEnd type="none"/>
              <a:tailEnd type="none"/>
            </a:ln>
            <a:effectLst/>
          </p:spPr>
        </p:cxnSp>
        <p:cxnSp>
          <p:nvCxnSpPr>
            <p:cNvPr id="126" name="Straight Connector 125"/>
            <p:cNvCxnSpPr>
              <a:stCxn id="1300" idx="3"/>
              <a:endCxn id="1376" idx="7"/>
            </p:cNvCxnSpPr>
            <p:nvPr/>
          </p:nvCxnSpPr>
          <p:spPr>
            <a:xfrm flipH="1">
              <a:off x="7467550" y="5397683"/>
              <a:ext cx="37985" cy="130850"/>
            </a:xfrm>
            <a:prstGeom prst="line">
              <a:avLst/>
            </a:prstGeom>
            <a:noFill/>
            <a:ln w="19050" cap="flat" cmpd="sng" algn="ctr">
              <a:solidFill>
                <a:srgbClr val="0072C6"/>
              </a:solidFill>
              <a:prstDash val="solid"/>
              <a:headEnd type="none"/>
              <a:tailEnd type="none"/>
            </a:ln>
            <a:effectLst/>
          </p:spPr>
        </p:cxnSp>
        <p:cxnSp>
          <p:nvCxnSpPr>
            <p:cNvPr id="127" name="Straight Connector 126"/>
            <p:cNvCxnSpPr>
              <a:stCxn id="1332" idx="4"/>
              <a:endCxn id="1345" idx="7"/>
            </p:cNvCxnSpPr>
            <p:nvPr/>
          </p:nvCxnSpPr>
          <p:spPr>
            <a:xfrm flipH="1">
              <a:off x="7348354" y="5607867"/>
              <a:ext cx="79315" cy="129203"/>
            </a:xfrm>
            <a:prstGeom prst="line">
              <a:avLst/>
            </a:prstGeom>
            <a:noFill/>
            <a:ln w="19050" cap="flat" cmpd="sng" algn="ctr">
              <a:solidFill>
                <a:srgbClr val="0072C6"/>
              </a:solidFill>
              <a:prstDash val="solid"/>
              <a:headEnd type="none"/>
              <a:tailEnd type="none"/>
            </a:ln>
            <a:effectLst/>
          </p:spPr>
        </p:cxnSp>
        <p:cxnSp>
          <p:nvCxnSpPr>
            <p:cNvPr id="128" name="Straight Connector 127"/>
            <p:cNvCxnSpPr>
              <a:stCxn id="1379" idx="7"/>
              <a:endCxn id="1381" idx="3"/>
            </p:cNvCxnSpPr>
            <p:nvPr/>
          </p:nvCxnSpPr>
          <p:spPr>
            <a:xfrm flipV="1">
              <a:off x="7033659" y="3311436"/>
              <a:ext cx="357214" cy="230266"/>
            </a:xfrm>
            <a:prstGeom prst="line">
              <a:avLst/>
            </a:prstGeom>
            <a:noFill/>
            <a:ln w="19050" cap="flat" cmpd="sng" algn="ctr">
              <a:solidFill>
                <a:srgbClr val="0072C6"/>
              </a:solidFill>
              <a:prstDash val="solid"/>
              <a:headEnd type="none"/>
              <a:tailEnd type="none"/>
            </a:ln>
            <a:effectLst/>
          </p:spPr>
        </p:cxnSp>
        <p:cxnSp>
          <p:nvCxnSpPr>
            <p:cNvPr id="129" name="Straight Connector 128"/>
            <p:cNvCxnSpPr>
              <a:stCxn id="917" idx="7"/>
              <a:endCxn id="1381" idx="3"/>
            </p:cNvCxnSpPr>
            <p:nvPr/>
          </p:nvCxnSpPr>
          <p:spPr>
            <a:xfrm flipV="1">
              <a:off x="7241344" y="3311436"/>
              <a:ext cx="149529" cy="336050"/>
            </a:xfrm>
            <a:prstGeom prst="line">
              <a:avLst/>
            </a:prstGeom>
            <a:noFill/>
            <a:ln w="19050" cap="flat" cmpd="sng" algn="ctr">
              <a:solidFill>
                <a:srgbClr val="0072C6"/>
              </a:solidFill>
              <a:prstDash val="solid"/>
              <a:headEnd type="none"/>
              <a:tailEnd type="none"/>
            </a:ln>
            <a:effectLst/>
          </p:spPr>
        </p:cxnSp>
        <p:cxnSp>
          <p:nvCxnSpPr>
            <p:cNvPr id="130" name="Straight Connector 129"/>
            <p:cNvCxnSpPr>
              <a:stCxn id="574" idx="5"/>
            </p:cNvCxnSpPr>
            <p:nvPr/>
          </p:nvCxnSpPr>
          <p:spPr>
            <a:xfrm>
              <a:off x="7241344" y="2910427"/>
              <a:ext cx="148097" cy="332254"/>
            </a:xfrm>
            <a:prstGeom prst="line">
              <a:avLst/>
            </a:prstGeom>
            <a:noFill/>
            <a:ln w="19050" cap="flat" cmpd="sng" algn="ctr">
              <a:solidFill>
                <a:srgbClr val="0072C6"/>
              </a:solidFill>
              <a:prstDash val="solid"/>
              <a:headEnd type="none"/>
              <a:tailEnd type="none"/>
            </a:ln>
            <a:effectLst/>
          </p:spPr>
        </p:cxnSp>
        <p:cxnSp>
          <p:nvCxnSpPr>
            <p:cNvPr id="131" name="Straight Connector 130"/>
            <p:cNvCxnSpPr>
              <a:stCxn id="768" idx="7"/>
              <a:endCxn id="1382" idx="2"/>
            </p:cNvCxnSpPr>
            <p:nvPr/>
          </p:nvCxnSpPr>
          <p:spPr>
            <a:xfrm flipV="1">
              <a:off x="7456810" y="3182407"/>
              <a:ext cx="135708" cy="67408"/>
            </a:xfrm>
            <a:prstGeom prst="line">
              <a:avLst/>
            </a:prstGeom>
            <a:noFill/>
            <a:ln w="19050" cap="flat" cmpd="sng" algn="ctr">
              <a:solidFill>
                <a:srgbClr val="0072C6"/>
              </a:solidFill>
              <a:prstDash val="solid"/>
              <a:headEnd type="none"/>
              <a:tailEnd type="none"/>
            </a:ln>
            <a:effectLst/>
          </p:spPr>
        </p:cxnSp>
        <p:cxnSp>
          <p:nvCxnSpPr>
            <p:cNvPr id="132" name="Straight Connector 131"/>
            <p:cNvCxnSpPr/>
            <p:nvPr/>
          </p:nvCxnSpPr>
          <p:spPr>
            <a:xfrm flipH="1">
              <a:off x="6789645" y="2913458"/>
              <a:ext cx="388836" cy="618629"/>
            </a:xfrm>
            <a:prstGeom prst="line">
              <a:avLst/>
            </a:prstGeom>
            <a:noFill/>
            <a:ln w="19050" cap="flat" cmpd="sng" algn="ctr">
              <a:solidFill>
                <a:srgbClr val="0072C6"/>
              </a:solidFill>
              <a:prstDash val="solid"/>
              <a:headEnd type="none"/>
              <a:tailEnd type="none"/>
            </a:ln>
            <a:effectLst/>
          </p:spPr>
        </p:cxnSp>
        <p:cxnSp>
          <p:nvCxnSpPr>
            <p:cNvPr id="133" name="Straight Connector 132"/>
            <p:cNvCxnSpPr>
              <a:stCxn id="574" idx="6"/>
              <a:endCxn id="721" idx="1"/>
            </p:cNvCxnSpPr>
            <p:nvPr/>
          </p:nvCxnSpPr>
          <p:spPr>
            <a:xfrm>
              <a:off x="7253415" y="2881286"/>
              <a:ext cx="360577" cy="268749"/>
            </a:xfrm>
            <a:prstGeom prst="line">
              <a:avLst/>
            </a:prstGeom>
            <a:noFill/>
            <a:ln w="19050" cap="flat" cmpd="sng" algn="ctr">
              <a:solidFill>
                <a:srgbClr val="0072C6"/>
              </a:solidFill>
              <a:prstDash val="solid"/>
              <a:headEnd type="none"/>
              <a:tailEnd type="none"/>
            </a:ln>
            <a:effectLst/>
          </p:spPr>
        </p:cxnSp>
        <p:cxnSp>
          <p:nvCxnSpPr>
            <p:cNvPr id="134" name="Straight Connector 133"/>
            <p:cNvCxnSpPr>
              <a:stCxn id="1382" idx="7"/>
            </p:cNvCxnSpPr>
            <p:nvPr/>
          </p:nvCxnSpPr>
          <p:spPr>
            <a:xfrm flipV="1">
              <a:off x="7670568" y="2858256"/>
              <a:ext cx="1151684" cy="291823"/>
            </a:xfrm>
            <a:prstGeom prst="line">
              <a:avLst/>
            </a:prstGeom>
            <a:noFill/>
            <a:ln w="19050" cap="flat" cmpd="sng" algn="ctr">
              <a:solidFill>
                <a:srgbClr val="0072C6"/>
              </a:solidFill>
              <a:prstDash val="solid"/>
              <a:headEnd type="none"/>
              <a:tailEnd type="none"/>
            </a:ln>
            <a:effectLst/>
          </p:spPr>
        </p:cxnSp>
        <p:cxnSp>
          <p:nvCxnSpPr>
            <p:cNvPr id="135" name="Straight Connector 134"/>
            <p:cNvCxnSpPr>
              <a:stCxn id="1382" idx="6"/>
            </p:cNvCxnSpPr>
            <p:nvPr/>
          </p:nvCxnSpPr>
          <p:spPr>
            <a:xfrm flipV="1">
              <a:off x="7683958" y="3046879"/>
              <a:ext cx="1151351" cy="135528"/>
            </a:xfrm>
            <a:prstGeom prst="line">
              <a:avLst/>
            </a:prstGeom>
            <a:noFill/>
            <a:ln w="19050" cap="flat" cmpd="sng" algn="ctr">
              <a:solidFill>
                <a:srgbClr val="0072C6"/>
              </a:solidFill>
              <a:prstDash val="solid"/>
              <a:headEnd type="none"/>
              <a:tailEnd type="none"/>
            </a:ln>
            <a:effectLst/>
          </p:spPr>
        </p:cxnSp>
        <p:cxnSp>
          <p:nvCxnSpPr>
            <p:cNvPr id="136" name="Straight Connector 135"/>
            <p:cNvCxnSpPr>
              <a:stCxn id="768" idx="6"/>
            </p:cNvCxnSpPr>
            <p:nvPr/>
          </p:nvCxnSpPr>
          <p:spPr>
            <a:xfrm flipV="1">
              <a:off x="7468881" y="3179249"/>
              <a:ext cx="1316404" cy="99708"/>
            </a:xfrm>
            <a:prstGeom prst="line">
              <a:avLst/>
            </a:prstGeom>
            <a:noFill/>
            <a:ln w="19050" cap="flat" cmpd="sng" algn="ctr">
              <a:solidFill>
                <a:srgbClr val="0072C6"/>
              </a:solidFill>
              <a:prstDash val="solid"/>
              <a:headEnd type="none"/>
              <a:tailEnd type="none"/>
            </a:ln>
            <a:effectLst/>
          </p:spPr>
        </p:cxnSp>
        <p:cxnSp>
          <p:nvCxnSpPr>
            <p:cNvPr id="137" name="Straight Connector 136"/>
            <p:cNvCxnSpPr>
              <a:endCxn id="721" idx="4"/>
            </p:cNvCxnSpPr>
            <p:nvPr/>
          </p:nvCxnSpPr>
          <p:spPr>
            <a:xfrm flipV="1">
              <a:off x="7269921" y="3220391"/>
              <a:ext cx="373213" cy="411266"/>
            </a:xfrm>
            <a:prstGeom prst="line">
              <a:avLst/>
            </a:prstGeom>
            <a:noFill/>
            <a:ln w="19050" cap="flat" cmpd="sng" algn="ctr">
              <a:solidFill>
                <a:srgbClr val="0072C6"/>
              </a:solidFill>
              <a:prstDash val="solid"/>
              <a:headEnd type="none"/>
              <a:tailEnd type="none"/>
            </a:ln>
            <a:effectLst/>
          </p:spPr>
        </p:cxnSp>
        <p:cxnSp>
          <p:nvCxnSpPr>
            <p:cNvPr id="138" name="Straight Connector 137"/>
            <p:cNvCxnSpPr>
              <a:stCxn id="917" idx="7"/>
            </p:cNvCxnSpPr>
            <p:nvPr/>
          </p:nvCxnSpPr>
          <p:spPr>
            <a:xfrm flipV="1">
              <a:off x="7241344" y="3046881"/>
              <a:ext cx="1593965" cy="600605"/>
            </a:xfrm>
            <a:prstGeom prst="line">
              <a:avLst/>
            </a:prstGeom>
            <a:noFill/>
            <a:ln w="19050" cap="flat" cmpd="sng" algn="ctr">
              <a:solidFill>
                <a:srgbClr val="0072C6"/>
              </a:solidFill>
              <a:prstDash val="solid"/>
              <a:headEnd type="none"/>
              <a:tailEnd type="none"/>
            </a:ln>
            <a:effectLst/>
          </p:spPr>
        </p:cxnSp>
        <p:cxnSp>
          <p:nvCxnSpPr>
            <p:cNvPr id="139" name="Straight Connector 138"/>
            <p:cNvCxnSpPr>
              <a:stCxn id="1376" idx="5"/>
              <a:endCxn id="1341" idx="2"/>
            </p:cNvCxnSpPr>
            <p:nvPr/>
          </p:nvCxnSpPr>
          <p:spPr>
            <a:xfrm>
              <a:off x="7467550" y="5593193"/>
              <a:ext cx="565302" cy="73242"/>
            </a:xfrm>
            <a:prstGeom prst="line">
              <a:avLst/>
            </a:prstGeom>
            <a:noFill/>
            <a:ln w="19050" cap="flat" cmpd="sng" algn="ctr">
              <a:solidFill>
                <a:srgbClr val="0072C6"/>
              </a:solidFill>
              <a:prstDash val="solid"/>
              <a:headEnd type="none"/>
              <a:tailEnd type="none"/>
            </a:ln>
            <a:effectLst/>
          </p:spPr>
        </p:cxnSp>
        <p:cxnSp>
          <p:nvCxnSpPr>
            <p:cNvPr id="140" name="Straight Connector 139"/>
            <p:cNvCxnSpPr>
              <a:stCxn id="1341" idx="7"/>
            </p:cNvCxnSpPr>
            <p:nvPr/>
          </p:nvCxnSpPr>
          <p:spPr>
            <a:xfrm flipV="1">
              <a:off x="8103208" y="4829876"/>
              <a:ext cx="682077" cy="807414"/>
            </a:xfrm>
            <a:prstGeom prst="line">
              <a:avLst/>
            </a:prstGeom>
            <a:noFill/>
            <a:ln w="19050" cap="flat" cmpd="sng" algn="ctr">
              <a:solidFill>
                <a:srgbClr val="0072C6"/>
              </a:solidFill>
              <a:prstDash val="solid"/>
              <a:headEnd type="none"/>
              <a:tailEnd type="none"/>
            </a:ln>
            <a:effectLst/>
          </p:spPr>
        </p:cxnSp>
        <p:cxnSp>
          <p:nvCxnSpPr>
            <p:cNvPr id="141" name="Straight Connector 140"/>
            <p:cNvCxnSpPr/>
            <p:nvPr/>
          </p:nvCxnSpPr>
          <p:spPr>
            <a:xfrm flipV="1">
              <a:off x="7446306" y="4829876"/>
              <a:ext cx="1338979" cy="707638"/>
            </a:xfrm>
            <a:prstGeom prst="line">
              <a:avLst/>
            </a:prstGeom>
            <a:noFill/>
            <a:ln w="19050" cap="flat" cmpd="sng" algn="ctr">
              <a:solidFill>
                <a:srgbClr val="0072C6"/>
              </a:solidFill>
              <a:prstDash val="solid"/>
              <a:headEnd type="none"/>
              <a:tailEnd type="none"/>
            </a:ln>
            <a:effectLst/>
          </p:spPr>
        </p:cxnSp>
        <p:cxnSp>
          <p:nvCxnSpPr>
            <p:cNvPr id="142" name="Straight Connector 141"/>
            <p:cNvCxnSpPr>
              <a:stCxn id="674" idx="6"/>
              <a:endCxn id="1372" idx="2"/>
            </p:cNvCxnSpPr>
            <p:nvPr/>
          </p:nvCxnSpPr>
          <p:spPr>
            <a:xfrm flipV="1">
              <a:off x="1325938" y="3075562"/>
              <a:ext cx="665214" cy="103618"/>
            </a:xfrm>
            <a:prstGeom prst="line">
              <a:avLst/>
            </a:prstGeom>
            <a:noFill/>
            <a:ln w="19050" cap="flat" cmpd="sng" algn="ctr">
              <a:solidFill>
                <a:srgbClr val="0072C6"/>
              </a:solidFill>
              <a:prstDash val="solid"/>
              <a:headEnd type="none"/>
              <a:tailEnd type="none"/>
            </a:ln>
            <a:effectLst/>
          </p:spPr>
        </p:cxnSp>
        <p:cxnSp>
          <p:nvCxnSpPr>
            <p:cNvPr id="143" name="Straight Connector 142"/>
            <p:cNvCxnSpPr>
              <a:stCxn id="891" idx="2"/>
              <a:endCxn id="1369" idx="6"/>
            </p:cNvCxnSpPr>
            <p:nvPr/>
          </p:nvCxnSpPr>
          <p:spPr>
            <a:xfrm flipH="1">
              <a:off x="1763026" y="3676634"/>
              <a:ext cx="235341" cy="5882"/>
            </a:xfrm>
            <a:prstGeom prst="line">
              <a:avLst/>
            </a:prstGeom>
            <a:noFill/>
            <a:ln w="19050" cap="flat" cmpd="sng" algn="ctr">
              <a:solidFill>
                <a:srgbClr val="0072C6"/>
              </a:solidFill>
              <a:prstDash val="solid"/>
              <a:headEnd type="none"/>
              <a:tailEnd type="none"/>
            </a:ln>
            <a:effectLst/>
          </p:spPr>
        </p:cxnSp>
        <p:cxnSp>
          <p:nvCxnSpPr>
            <p:cNvPr id="144" name="Straight Connector 143"/>
            <p:cNvCxnSpPr>
              <a:stCxn id="1368" idx="5"/>
              <a:endCxn id="770" idx="1"/>
            </p:cNvCxnSpPr>
            <p:nvPr/>
          </p:nvCxnSpPr>
          <p:spPr>
            <a:xfrm>
              <a:off x="1319226" y="3216111"/>
              <a:ext cx="44815" cy="133489"/>
            </a:xfrm>
            <a:prstGeom prst="line">
              <a:avLst/>
            </a:prstGeom>
            <a:noFill/>
            <a:ln w="19050" cap="flat" cmpd="sng" algn="ctr">
              <a:solidFill>
                <a:srgbClr val="0072C6"/>
              </a:solidFill>
              <a:prstDash val="solid"/>
              <a:headEnd type="none"/>
              <a:tailEnd type="none"/>
            </a:ln>
            <a:effectLst/>
          </p:spPr>
        </p:cxnSp>
        <p:cxnSp>
          <p:nvCxnSpPr>
            <p:cNvPr id="145" name="Straight Connector 144"/>
            <p:cNvCxnSpPr>
              <a:stCxn id="770" idx="4"/>
              <a:endCxn id="1366" idx="0"/>
            </p:cNvCxnSpPr>
            <p:nvPr/>
          </p:nvCxnSpPr>
          <p:spPr>
            <a:xfrm flipH="1">
              <a:off x="1297052" y="3419959"/>
              <a:ext cx="96132" cy="246463"/>
            </a:xfrm>
            <a:prstGeom prst="line">
              <a:avLst/>
            </a:prstGeom>
            <a:noFill/>
            <a:ln w="19050" cap="flat" cmpd="sng" algn="ctr">
              <a:solidFill>
                <a:srgbClr val="0072C6"/>
              </a:solidFill>
              <a:prstDash val="solid"/>
              <a:headEnd type="none"/>
              <a:tailEnd type="none"/>
            </a:ln>
            <a:effectLst/>
          </p:spPr>
        </p:cxnSp>
      </p:grpSp>
      <p:grpSp>
        <p:nvGrpSpPr>
          <p:cNvPr id="146" name="Group 145"/>
          <p:cNvGrpSpPr/>
          <p:nvPr/>
        </p:nvGrpSpPr>
        <p:grpSpPr>
          <a:xfrm>
            <a:off x="703659" y="1865819"/>
            <a:ext cx="7831015" cy="4416991"/>
            <a:chOff x="395370" y="1139690"/>
            <a:chExt cx="8399862" cy="4651499"/>
          </a:xfrm>
          <a:solidFill>
            <a:srgbClr val="FFFFFF">
              <a:lumMod val="75000"/>
            </a:srgbClr>
          </a:solidFill>
        </p:grpSpPr>
        <p:sp>
          <p:nvSpPr>
            <p:cNvPr id="147" name="Oval 9"/>
            <p:cNvSpPr>
              <a:spLocks noChangeAspect="1" noChangeArrowheads="1"/>
            </p:cNvSpPr>
            <p:nvPr userDrawn="1"/>
          </p:nvSpPr>
          <p:spPr bwMode="auto">
            <a:xfrm>
              <a:off x="2417309" y="113969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48" name="Oval 10"/>
            <p:cNvSpPr>
              <a:spLocks noChangeAspect="1" noChangeArrowheads="1"/>
            </p:cNvSpPr>
            <p:nvPr userDrawn="1"/>
          </p:nvSpPr>
          <p:spPr bwMode="auto">
            <a:xfrm>
              <a:off x="2528885" y="113969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49" name="Oval 11"/>
            <p:cNvSpPr>
              <a:spLocks noChangeAspect="1" noChangeArrowheads="1"/>
            </p:cNvSpPr>
            <p:nvPr userDrawn="1"/>
          </p:nvSpPr>
          <p:spPr bwMode="auto">
            <a:xfrm>
              <a:off x="2641967" y="113969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50" name="Oval 12"/>
            <p:cNvSpPr>
              <a:spLocks noChangeAspect="1" noChangeArrowheads="1"/>
            </p:cNvSpPr>
            <p:nvPr userDrawn="1"/>
          </p:nvSpPr>
          <p:spPr bwMode="auto">
            <a:xfrm>
              <a:off x="2753543" y="113969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51" name="Oval 13"/>
            <p:cNvSpPr>
              <a:spLocks noChangeAspect="1" noChangeArrowheads="1"/>
            </p:cNvSpPr>
            <p:nvPr userDrawn="1"/>
          </p:nvSpPr>
          <p:spPr bwMode="auto">
            <a:xfrm>
              <a:off x="3091287" y="113969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52" name="Oval 14"/>
            <p:cNvSpPr>
              <a:spLocks noChangeAspect="1" noChangeArrowheads="1"/>
            </p:cNvSpPr>
            <p:nvPr userDrawn="1"/>
          </p:nvSpPr>
          <p:spPr bwMode="auto">
            <a:xfrm>
              <a:off x="3204370" y="113969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53" name="Oval 15"/>
            <p:cNvSpPr>
              <a:spLocks noChangeAspect="1" noChangeArrowheads="1"/>
            </p:cNvSpPr>
            <p:nvPr userDrawn="1"/>
          </p:nvSpPr>
          <p:spPr bwMode="auto">
            <a:xfrm>
              <a:off x="3315946" y="113969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54" name="Oval 16"/>
            <p:cNvSpPr>
              <a:spLocks noChangeAspect="1" noChangeArrowheads="1"/>
            </p:cNvSpPr>
            <p:nvPr userDrawn="1"/>
          </p:nvSpPr>
          <p:spPr bwMode="auto">
            <a:xfrm>
              <a:off x="3429031" y="113969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55" name="Oval 17"/>
            <p:cNvSpPr>
              <a:spLocks noChangeAspect="1" noChangeArrowheads="1"/>
            </p:cNvSpPr>
            <p:nvPr userDrawn="1"/>
          </p:nvSpPr>
          <p:spPr bwMode="auto">
            <a:xfrm>
              <a:off x="3540607" y="113969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56" name="Oval 18"/>
            <p:cNvSpPr>
              <a:spLocks noChangeAspect="1" noChangeArrowheads="1"/>
            </p:cNvSpPr>
            <p:nvPr userDrawn="1"/>
          </p:nvSpPr>
          <p:spPr bwMode="auto">
            <a:xfrm>
              <a:off x="3653691" y="113969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57" name="Oval 19"/>
            <p:cNvSpPr>
              <a:spLocks noChangeAspect="1" noChangeArrowheads="1"/>
            </p:cNvSpPr>
            <p:nvPr userDrawn="1"/>
          </p:nvSpPr>
          <p:spPr bwMode="auto">
            <a:xfrm>
              <a:off x="3765266" y="113969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58" name="Oval 20"/>
            <p:cNvSpPr>
              <a:spLocks noChangeAspect="1" noChangeArrowheads="1"/>
            </p:cNvSpPr>
            <p:nvPr userDrawn="1"/>
          </p:nvSpPr>
          <p:spPr bwMode="auto">
            <a:xfrm>
              <a:off x="3878349" y="113969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59" name="Oval 21"/>
            <p:cNvSpPr>
              <a:spLocks noChangeAspect="1" noChangeArrowheads="1"/>
            </p:cNvSpPr>
            <p:nvPr userDrawn="1"/>
          </p:nvSpPr>
          <p:spPr bwMode="auto">
            <a:xfrm>
              <a:off x="3989925" y="113969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60" name="Oval 22"/>
            <p:cNvSpPr>
              <a:spLocks noChangeAspect="1" noChangeArrowheads="1"/>
            </p:cNvSpPr>
            <p:nvPr userDrawn="1"/>
          </p:nvSpPr>
          <p:spPr bwMode="auto">
            <a:xfrm>
              <a:off x="6574266" y="113969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61" name="Oval 23"/>
            <p:cNvSpPr>
              <a:spLocks noChangeAspect="1" noChangeArrowheads="1"/>
            </p:cNvSpPr>
            <p:nvPr userDrawn="1"/>
          </p:nvSpPr>
          <p:spPr bwMode="auto">
            <a:xfrm>
              <a:off x="2192648" y="124372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62" name="Oval 24"/>
            <p:cNvSpPr>
              <a:spLocks noChangeAspect="1" noChangeArrowheads="1"/>
            </p:cNvSpPr>
            <p:nvPr userDrawn="1"/>
          </p:nvSpPr>
          <p:spPr bwMode="auto">
            <a:xfrm>
              <a:off x="2304225" y="124372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63" name="Oval 25"/>
            <p:cNvSpPr>
              <a:spLocks noChangeAspect="1" noChangeArrowheads="1"/>
            </p:cNvSpPr>
            <p:nvPr userDrawn="1"/>
          </p:nvSpPr>
          <p:spPr bwMode="auto">
            <a:xfrm>
              <a:off x="2417309" y="124372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64" name="Oval 26"/>
            <p:cNvSpPr>
              <a:spLocks noChangeAspect="1" noChangeArrowheads="1"/>
            </p:cNvSpPr>
            <p:nvPr userDrawn="1"/>
          </p:nvSpPr>
          <p:spPr bwMode="auto">
            <a:xfrm>
              <a:off x="2528885" y="124372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65" name="Oval 27"/>
            <p:cNvSpPr>
              <a:spLocks noChangeAspect="1" noChangeArrowheads="1"/>
            </p:cNvSpPr>
            <p:nvPr userDrawn="1"/>
          </p:nvSpPr>
          <p:spPr bwMode="auto">
            <a:xfrm>
              <a:off x="2641967" y="124372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66" name="Oval 28"/>
            <p:cNvSpPr>
              <a:spLocks noChangeAspect="1" noChangeArrowheads="1"/>
            </p:cNvSpPr>
            <p:nvPr userDrawn="1"/>
          </p:nvSpPr>
          <p:spPr bwMode="auto">
            <a:xfrm>
              <a:off x="2866627" y="124372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67" name="Oval 29"/>
            <p:cNvSpPr>
              <a:spLocks noChangeAspect="1" noChangeArrowheads="1"/>
            </p:cNvSpPr>
            <p:nvPr userDrawn="1"/>
          </p:nvSpPr>
          <p:spPr bwMode="auto">
            <a:xfrm>
              <a:off x="2978203" y="124372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68" name="Oval 30"/>
            <p:cNvSpPr>
              <a:spLocks noChangeAspect="1" noChangeArrowheads="1"/>
            </p:cNvSpPr>
            <p:nvPr userDrawn="1"/>
          </p:nvSpPr>
          <p:spPr bwMode="auto">
            <a:xfrm>
              <a:off x="3091287" y="124372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69" name="Oval 31"/>
            <p:cNvSpPr>
              <a:spLocks noChangeAspect="1" noChangeArrowheads="1"/>
            </p:cNvSpPr>
            <p:nvPr userDrawn="1"/>
          </p:nvSpPr>
          <p:spPr bwMode="auto">
            <a:xfrm>
              <a:off x="3204370" y="124372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70" name="Oval 32"/>
            <p:cNvSpPr>
              <a:spLocks noChangeAspect="1" noChangeArrowheads="1"/>
            </p:cNvSpPr>
            <p:nvPr userDrawn="1"/>
          </p:nvSpPr>
          <p:spPr bwMode="auto">
            <a:xfrm>
              <a:off x="3315946" y="124372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71" name="Oval 33"/>
            <p:cNvSpPr>
              <a:spLocks noChangeAspect="1" noChangeArrowheads="1"/>
            </p:cNvSpPr>
            <p:nvPr userDrawn="1"/>
          </p:nvSpPr>
          <p:spPr bwMode="auto">
            <a:xfrm>
              <a:off x="3429031" y="124372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72" name="Oval 34"/>
            <p:cNvSpPr>
              <a:spLocks noChangeAspect="1" noChangeArrowheads="1"/>
            </p:cNvSpPr>
            <p:nvPr userDrawn="1"/>
          </p:nvSpPr>
          <p:spPr bwMode="auto">
            <a:xfrm>
              <a:off x="3540607" y="124372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73" name="Oval 35"/>
            <p:cNvSpPr>
              <a:spLocks noChangeAspect="1" noChangeArrowheads="1"/>
            </p:cNvSpPr>
            <p:nvPr userDrawn="1"/>
          </p:nvSpPr>
          <p:spPr bwMode="auto">
            <a:xfrm>
              <a:off x="3653691" y="124372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74" name="Oval 36"/>
            <p:cNvSpPr>
              <a:spLocks noChangeAspect="1" noChangeArrowheads="1"/>
            </p:cNvSpPr>
            <p:nvPr userDrawn="1"/>
          </p:nvSpPr>
          <p:spPr bwMode="auto">
            <a:xfrm>
              <a:off x="3765266" y="124372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75" name="Oval 37"/>
            <p:cNvSpPr>
              <a:spLocks noChangeAspect="1" noChangeArrowheads="1"/>
            </p:cNvSpPr>
            <p:nvPr userDrawn="1"/>
          </p:nvSpPr>
          <p:spPr bwMode="auto">
            <a:xfrm>
              <a:off x="3878349" y="124372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76" name="Oval 38"/>
            <p:cNvSpPr>
              <a:spLocks noChangeAspect="1" noChangeArrowheads="1"/>
            </p:cNvSpPr>
            <p:nvPr userDrawn="1"/>
          </p:nvSpPr>
          <p:spPr bwMode="auto">
            <a:xfrm>
              <a:off x="4663904" y="124372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77" name="Oval 39"/>
            <p:cNvSpPr>
              <a:spLocks noChangeAspect="1" noChangeArrowheads="1"/>
            </p:cNvSpPr>
            <p:nvPr userDrawn="1"/>
          </p:nvSpPr>
          <p:spPr bwMode="auto">
            <a:xfrm>
              <a:off x="4776989" y="124372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78" name="Oval 40"/>
            <p:cNvSpPr>
              <a:spLocks noChangeAspect="1" noChangeArrowheads="1"/>
            </p:cNvSpPr>
            <p:nvPr userDrawn="1"/>
          </p:nvSpPr>
          <p:spPr bwMode="auto">
            <a:xfrm>
              <a:off x="6462690" y="124372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79" name="Oval 41"/>
            <p:cNvSpPr>
              <a:spLocks noChangeAspect="1" noChangeArrowheads="1"/>
            </p:cNvSpPr>
            <p:nvPr userDrawn="1"/>
          </p:nvSpPr>
          <p:spPr bwMode="auto">
            <a:xfrm>
              <a:off x="6574266" y="124372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80" name="Oval 42"/>
            <p:cNvSpPr>
              <a:spLocks noChangeAspect="1" noChangeArrowheads="1"/>
            </p:cNvSpPr>
            <p:nvPr userDrawn="1"/>
          </p:nvSpPr>
          <p:spPr bwMode="auto">
            <a:xfrm>
              <a:off x="6687351" y="124372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81" name="Oval 43"/>
            <p:cNvSpPr>
              <a:spLocks noChangeAspect="1" noChangeArrowheads="1"/>
            </p:cNvSpPr>
            <p:nvPr userDrawn="1"/>
          </p:nvSpPr>
          <p:spPr bwMode="auto">
            <a:xfrm>
              <a:off x="1518670" y="134776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82" name="Oval 44"/>
            <p:cNvSpPr>
              <a:spLocks noChangeAspect="1" noChangeArrowheads="1"/>
            </p:cNvSpPr>
            <p:nvPr userDrawn="1"/>
          </p:nvSpPr>
          <p:spPr bwMode="auto">
            <a:xfrm>
              <a:off x="1630246" y="134776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83" name="Oval 45"/>
            <p:cNvSpPr>
              <a:spLocks noChangeAspect="1" noChangeArrowheads="1"/>
            </p:cNvSpPr>
            <p:nvPr userDrawn="1"/>
          </p:nvSpPr>
          <p:spPr bwMode="auto">
            <a:xfrm>
              <a:off x="1743329" y="134776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84" name="Oval 46"/>
            <p:cNvSpPr>
              <a:spLocks noChangeAspect="1" noChangeArrowheads="1"/>
            </p:cNvSpPr>
            <p:nvPr userDrawn="1"/>
          </p:nvSpPr>
          <p:spPr bwMode="auto">
            <a:xfrm>
              <a:off x="1854905" y="134776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85" name="Oval 47"/>
            <p:cNvSpPr>
              <a:spLocks noChangeAspect="1" noChangeArrowheads="1"/>
            </p:cNvSpPr>
            <p:nvPr userDrawn="1"/>
          </p:nvSpPr>
          <p:spPr bwMode="auto">
            <a:xfrm>
              <a:off x="1967987" y="134776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86" name="Oval 48"/>
            <p:cNvSpPr>
              <a:spLocks noChangeAspect="1" noChangeArrowheads="1"/>
            </p:cNvSpPr>
            <p:nvPr userDrawn="1"/>
          </p:nvSpPr>
          <p:spPr bwMode="auto">
            <a:xfrm>
              <a:off x="2192648" y="134776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87" name="Oval 49"/>
            <p:cNvSpPr>
              <a:spLocks noChangeAspect="1" noChangeArrowheads="1"/>
            </p:cNvSpPr>
            <p:nvPr userDrawn="1"/>
          </p:nvSpPr>
          <p:spPr bwMode="auto">
            <a:xfrm>
              <a:off x="2304225" y="134776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88" name="Oval 50"/>
            <p:cNvSpPr>
              <a:spLocks noChangeAspect="1" noChangeArrowheads="1"/>
            </p:cNvSpPr>
            <p:nvPr userDrawn="1"/>
          </p:nvSpPr>
          <p:spPr bwMode="auto">
            <a:xfrm>
              <a:off x="2417309" y="134776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89" name="Oval 51"/>
            <p:cNvSpPr>
              <a:spLocks noChangeAspect="1" noChangeArrowheads="1"/>
            </p:cNvSpPr>
            <p:nvPr userDrawn="1"/>
          </p:nvSpPr>
          <p:spPr bwMode="auto">
            <a:xfrm>
              <a:off x="2528885" y="134776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90" name="Oval 52"/>
            <p:cNvSpPr>
              <a:spLocks noChangeAspect="1" noChangeArrowheads="1"/>
            </p:cNvSpPr>
            <p:nvPr userDrawn="1"/>
          </p:nvSpPr>
          <p:spPr bwMode="auto">
            <a:xfrm>
              <a:off x="2753543" y="134776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91" name="Oval 53"/>
            <p:cNvSpPr>
              <a:spLocks noChangeAspect="1" noChangeArrowheads="1"/>
            </p:cNvSpPr>
            <p:nvPr userDrawn="1"/>
          </p:nvSpPr>
          <p:spPr bwMode="auto">
            <a:xfrm>
              <a:off x="2866627" y="134776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92" name="Oval 54"/>
            <p:cNvSpPr>
              <a:spLocks noChangeAspect="1" noChangeArrowheads="1"/>
            </p:cNvSpPr>
            <p:nvPr userDrawn="1"/>
          </p:nvSpPr>
          <p:spPr bwMode="auto">
            <a:xfrm>
              <a:off x="2978203" y="134776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93" name="Oval 55"/>
            <p:cNvSpPr>
              <a:spLocks noChangeAspect="1" noChangeArrowheads="1"/>
            </p:cNvSpPr>
            <p:nvPr userDrawn="1"/>
          </p:nvSpPr>
          <p:spPr bwMode="auto">
            <a:xfrm>
              <a:off x="3091287" y="134776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94" name="Oval 56"/>
            <p:cNvSpPr>
              <a:spLocks noChangeAspect="1" noChangeArrowheads="1"/>
            </p:cNvSpPr>
            <p:nvPr userDrawn="1"/>
          </p:nvSpPr>
          <p:spPr bwMode="auto">
            <a:xfrm>
              <a:off x="3204370" y="134776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95" name="Oval 57"/>
            <p:cNvSpPr>
              <a:spLocks noChangeAspect="1" noChangeArrowheads="1"/>
            </p:cNvSpPr>
            <p:nvPr userDrawn="1"/>
          </p:nvSpPr>
          <p:spPr bwMode="auto">
            <a:xfrm>
              <a:off x="3315946" y="134776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96" name="Oval 58"/>
            <p:cNvSpPr>
              <a:spLocks noChangeAspect="1" noChangeArrowheads="1"/>
            </p:cNvSpPr>
            <p:nvPr userDrawn="1"/>
          </p:nvSpPr>
          <p:spPr bwMode="auto">
            <a:xfrm>
              <a:off x="3429031" y="134776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97" name="Oval 59"/>
            <p:cNvSpPr>
              <a:spLocks noChangeAspect="1" noChangeArrowheads="1"/>
            </p:cNvSpPr>
            <p:nvPr userDrawn="1"/>
          </p:nvSpPr>
          <p:spPr bwMode="auto">
            <a:xfrm>
              <a:off x="3540607" y="134776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98" name="Oval 60"/>
            <p:cNvSpPr>
              <a:spLocks noChangeAspect="1" noChangeArrowheads="1"/>
            </p:cNvSpPr>
            <p:nvPr userDrawn="1"/>
          </p:nvSpPr>
          <p:spPr bwMode="auto">
            <a:xfrm>
              <a:off x="3653691" y="134776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99" name="Oval 61"/>
            <p:cNvSpPr>
              <a:spLocks noChangeAspect="1" noChangeArrowheads="1"/>
            </p:cNvSpPr>
            <p:nvPr userDrawn="1"/>
          </p:nvSpPr>
          <p:spPr bwMode="auto">
            <a:xfrm>
              <a:off x="3765266" y="134776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00" name="Oval 62"/>
            <p:cNvSpPr>
              <a:spLocks noChangeAspect="1" noChangeArrowheads="1"/>
            </p:cNvSpPr>
            <p:nvPr userDrawn="1"/>
          </p:nvSpPr>
          <p:spPr bwMode="auto">
            <a:xfrm>
              <a:off x="4663904" y="134776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01" name="Oval 63"/>
            <p:cNvSpPr>
              <a:spLocks noChangeAspect="1" noChangeArrowheads="1"/>
            </p:cNvSpPr>
            <p:nvPr userDrawn="1"/>
          </p:nvSpPr>
          <p:spPr bwMode="auto">
            <a:xfrm>
              <a:off x="6687351" y="134776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02" name="Oval 64"/>
            <p:cNvSpPr>
              <a:spLocks noChangeAspect="1" noChangeArrowheads="1"/>
            </p:cNvSpPr>
            <p:nvPr userDrawn="1"/>
          </p:nvSpPr>
          <p:spPr bwMode="auto">
            <a:xfrm>
              <a:off x="6798926" y="134776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03" name="Oval 65"/>
            <p:cNvSpPr>
              <a:spLocks noChangeAspect="1" noChangeArrowheads="1"/>
            </p:cNvSpPr>
            <p:nvPr userDrawn="1"/>
          </p:nvSpPr>
          <p:spPr bwMode="auto">
            <a:xfrm>
              <a:off x="1405584" y="145180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04" name="Oval 66"/>
            <p:cNvSpPr>
              <a:spLocks noChangeAspect="1" noChangeArrowheads="1"/>
            </p:cNvSpPr>
            <p:nvPr userDrawn="1"/>
          </p:nvSpPr>
          <p:spPr bwMode="auto">
            <a:xfrm>
              <a:off x="1518670" y="145180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05" name="Oval 67"/>
            <p:cNvSpPr>
              <a:spLocks noChangeAspect="1" noChangeArrowheads="1"/>
            </p:cNvSpPr>
            <p:nvPr userDrawn="1"/>
          </p:nvSpPr>
          <p:spPr bwMode="auto">
            <a:xfrm>
              <a:off x="1630246" y="145180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06" name="Oval 68"/>
            <p:cNvSpPr>
              <a:spLocks noChangeAspect="1" noChangeArrowheads="1"/>
            </p:cNvSpPr>
            <p:nvPr userDrawn="1"/>
          </p:nvSpPr>
          <p:spPr bwMode="auto">
            <a:xfrm>
              <a:off x="1743329" y="145180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07" name="Oval 69"/>
            <p:cNvSpPr>
              <a:spLocks noChangeAspect="1" noChangeArrowheads="1"/>
            </p:cNvSpPr>
            <p:nvPr userDrawn="1"/>
          </p:nvSpPr>
          <p:spPr bwMode="auto">
            <a:xfrm>
              <a:off x="1854905" y="145180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08" name="Oval 70"/>
            <p:cNvSpPr>
              <a:spLocks noChangeAspect="1" noChangeArrowheads="1"/>
            </p:cNvSpPr>
            <p:nvPr userDrawn="1"/>
          </p:nvSpPr>
          <p:spPr bwMode="auto">
            <a:xfrm>
              <a:off x="1967987" y="145180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09" name="Oval 71"/>
            <p:cNvSpPr>
              <a:spLocks noChangeAspect="1" noChangeArrowheads="1"/>
            </p:cNvSpPr>
            <p:nvPr userDrawn="1"/>
          </p:nvSpPr>
          <p:spPr bwMode="auto">
            <a:xfrm>
              <a:off x="2079563" y="145180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10" name="Oval 72"/>
            <p:cNvSpPr>
              <a:spLocks noChangeAspect="1" noChangeArrowheads="1"/>
            </p:cNvSpPr>
            <p:nvPr userDrawn="1"/>
          </p:nvSpPr>
          <p:spPr bwMode="auto">
            <a:xfrm>
              <a:off x="2192648" y="145180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11" name="Oval 73"/>
            <p:cNvSpPr>
              <a:spLocks noChangeAspect="1" noChangeArrowheads="1"/>
            </p:cNvSpPr>
            <p:nvPr userDrawn="1"/>
          </p:nvSpPr>
          <p:spPr bwMode="auto">
            <a:xfrm>
              <a:off x="2304225" y="145180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12" name="Oval 74"/>
            <p:cNvSpPr>
              <a:spLocks noChangeAspect="1" noChangeArrowheads="1"/>
            </p:cNvSpPr>
            <p:nvPr userDrawn="1"/>
          </p:nvSpPr>
          <p:spPr bwMode="auto">
            <a:xfrm>
              <a:off x="2417309" y="145180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13" name="Oval 75"/>
            <p:cNvSpPr>
              <a:spLocks noChangeAspect="1" noChangeArrowheads="1"/>
            </p:cNvSpPr>
            <p:nvPr userDrawn="1"/>
          </p:nvSpPr>
          <p:spPr bwMode="auto">
            <a:xfrm>
              <a:off x="2753543" y="145180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14" name="Oval 76"/>
            <p:cNvSpPr>
              <a:spLocks noChangeAspect="1" noChangeArrowheads="1"/>
            </p:cNvSpPr>
            <p:nvPr userDrawn="1"/>
          </p:nvSpPr>
          <p:spPr bwMode="auto">
            <a:xfrm>
              <a:off x="2866627" y="145180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15" name="Oval 77"/>
            <p:cNvSpPr>
              <a:spLocks noChangeAspect="1" noChangeArrowheads="1"/>
            </p:cNvSpPr>
            <p:nvPr userDrawn="1"/>
          </p:nvSpPr>
          <p:spPr bwMode="auto">
            <a:xfrm>
              <a:off x="2978203" y="145180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16" name="Oval 78"/>
            <p:cNvSpPr>
              <a:spLocks noChangeAspect="1" noChangeArrowheads="1"/>
            </p:cNvSpPr>
            <p:nvPr userDrawn="1"/>
          </p:nvSpPr>
          <p:spPr bwMode="auto">
            <a:xfrm>
              <a:off x="3091287" y="145180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17" name="Oval 79"/>
            <p:cNvSpPr>
              <a:spLocks noChangeAspect="1" noChangeArrowheads="1"/>
            </p:cNvSpPr>
            <p:nvPr userDrawn="1"/>
          </p:nvSpPr>
          <p:spPr bwMode="auto">
            <a:xfrm>
              <a:off x="3204370" y="145180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18" name="Oval 80"/>
            <p:cNvSpPr>
              <a:spLocks noChangeAspect="1" noChangeArrowheads="1"/>
            </p:cNvSpPr>
            <p:nvPr userDrawn="1"/>
          </p:nvSpPr>
          <p:spPr bwMode="auto">
            <a:xfrm>
              <a:off x="3315946" y="145180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19" name="Oval 81"/>
            <p:cNvSpPr>
              <a:spLocks noChangeAspect="1" noChangeArrowheads="1"/>
            </p:cNvSpPr>
            <p:nvPr userDrawn="1"/>
          </p:nvSpPr>
          <p:spPr bwMode="auto">
            <a:xfrm>
              <a:off x="3429031" y="145180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20" name="Oval 82"/>
            <p:cNvSpPr>
              <a:spLocks noChangeAspect="1" noChangeArrowheads="1"/>
            </p:cNvSpPr>
            <p:nvPr userDrawn="1"/>
          </p:nvSpPr>
          <p:spPr bwMode="auto">
            <a:xfrm>
              <a:off x="3540607" y="145180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21" name="Oval 83"/>
            <p:cNvSpPr>
              <a:spLocks noChangeAspect="1" noChangeArrowheads="1"/>
            </p:cNvSpPr>
            <p:nvPr userDrawn="1"/>
          </p:nvSpPr>
          <p:spPr bwMode="auto">
            <a:xfrm>
              <a:off x="3653691" y="145180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22" name="Oval 84"/>
            <p:cNvSpPr>
              <a:spLocks noChangeAspect="1" noChangeArrowheads="1"/>
            </p:cNvSpPr>
            <p:nvPr userDrawn="1"/>
          </p:nvSpPr>
          <p:spPr bwMode="auto">
            <a:xfrm>
              <a:off x="3765266" y="145180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23" name="Oval 85"/>
            <p:cNvSpPr>
              <a:spLocks noChangeAspect="1" noChangeArrowheads="1"/>
            </p:cNvSpPr>
            <p:nvPr userDrawn="1"/>
          </p:nvSpPr>
          <p:spPr bwMode="auto">
            <a:xfrm>
              <a:off x="5787203" y="145180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24" name="Oval 86"/>
            <p:cNvSpPr>
              <a:spLocks noChangeAspect="1" noChangeArrowheads="1"/>
            </p:cNvSpPr>
            <p:nvPr userDrawn="1"/>
          </p:nvSpPr>
          <p:spPr bwMode="auto">
            <a:xfrm>
              <a:off x="5900287" y="145180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25" name="Oval 87"/>
            <p:cNvSpPr>
              <a:spLocks noChangeAspect="1" noChangeArrowheads="1"/>
            </p:cNvSpPr>
            <p:nvPr userDrawn="1"/>
          </p:nvSpPr>
          <p:spPr bwMode="auto">
            <a:xfrm>
              <a:off x="6574266" y="145180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26" name="Oval 88"/>
            <p:cNvSpPr>
              <a:spLocks noChangeAspect="1" noChangeArrowheads="1"/>
            </p:cNvSpPr>
            <p:nvPr userDrawn="1"/>
          </p:nvSpPr>
          <p:spPr bwMode="auto">
            <a:xfrm>
              <a:off x="6687351" y="145180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27" name="Oval 89"/>
            <p:cNvSpPr>
              <a:spLocks noChangeAspect="1" noChangeArrowheads="1"/>
            </p:cNvSpPr>
            <p:nvPr userDrawn="1"/>
          </p:nvSpPr>
          <p:spPr bwMode="auto">
            <a:xfrm>
              <a:off x="6798926" y="145180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28" name="Oval 90"/>
            <p:cNvSpPr>
              <a:spLocks noChangeAspect="1" noChangeArrowheads="1"/>
            </p:cNvSpPr>
            <p:nvPr userDrawn="1"/>
          </p:nvSpPr>
          <p:spPr bwMode="auto">
            <a:xfrm>
              <a:off x="6912010" y="145180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29" name="Oval 91"/>
            <p:cNvSpPr>
              <a:spLocks noChangeAspect="1" noChangeArrowheads="1"/>
            </p:cNvSpPr>
            <p:nvPr userDrawn="1"/>
          </p:nvSpPr>
          <p:spPr bwMode="auto">
            <a:xfrm>
              <a:off x="7585989" y="145180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30" name="Oval 92"/>
            <p:cNvSpPr>
              <a:spLocks noChangeAspect="1" noChangeArrowheads="1"/>
            </p:cNvSpPr>
            <p:nvPr userDrawn="1"/>
          </p:nvSpPr>
          <p:spPr bwMode="auto">
            <a:xfrm>
              <a:off x="7697565" y="145180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31" name="Oval 93"/>
            <p:cNvSpPr>
              <a:spLocks noChangeAspect="1" noChangeArrowheads="1"/>
            </p:cNvSpPr>
            <p:nvPr userDrawn="1"/>
          </p:nvSpPr>
          <p:spPr bwMode="auto">
            <a:xfrm>
              <a:off x="7810649" y="145180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32" name="Oval 94"/>
            <p:cNvSpPr>
              <a:spLocks noChangeAspect="1" noChangeArrowheads="1"/>
            </p:cNvSpPr>
            <p:nvPr userDrawn="1"/>
          </p:nvSpPr>
          <p:spPr bwMode="auto">
            <a:xfrm>
              <a:off x="1405584" y="155583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33" name="Oval 95"/>
            <p:cNvSpPr>
              <a:spLocks noChangeAspect="1" noChangeArrowheads="1"/>
            </p:cNvSpPr>
            <p:nvPr userDrawn="1"/>
          </p:nvSpPr>
          <p:spPr bwMode="auto">
            <a:xfrm>
              <a:off x="1518670" y="155583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34" name="Oval 96"/>
            <p:cNvSpPr>
              <a:spLocks noChangeAspect="1" noChangeArrowheads="1"/>
            </p:cNvSpPr>
            <p:nvPr userDrawn="1"/>
          </p:nvSpPr>
          <p:spPr bwMode="auto">
            <a:xfrm>
              <a:off x="1630246" y="155583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35" name="Oval 97"/>
            <p:cNvSpPr>
              <a:spLocks noChangeAspect="1" noChangeArrowheads="1"/>
            </p:cNvSpPr>
            <p:nvPr userDrawn="1"/>
          </p:nvSpPr>
          <p:spPr bwMode="auto">
            <a:xfrm>
              <a:off x="1743329" y="155583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36" name="Oval 98"/>
            <p:cNvSpPr>
              <a:spLocks noChangeAspect="1" noChangeArrowheads="1"/>
            </p:cNvSpPr>
            <p:nvPr userDrawn="1"/>
          </p:nvSpPr>
          <p:spPr bwMode="auto">
            <a:xfrm>
              <a:off x="1854905" y="155583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37" name="Oval 99"/>
            <p:cNvSpPr>
              <a:spLocks noChangeAspect="1" noChangeArrowheads="1"/>
            </p:cNvSpPr>
            <p:nvPr userDrawn="1"/>
          </p:nvSpPr>
          <p:spPr bwMode="auto">
            <a:xfrm>
              <a:off x="1967987" y="155583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38" name="Oval 100"/>
            <p:cNvSpPr>
              <a:spLocks noChangeAspect="1" noChangeArrowheads="1"/>
            </p:cNvSpPr>
            <p:nvPr userDrawn="1"/>
          </p:nvSpPr>
          <p:spPr bwMode="auto">
            <a:xfrm>
              <a:off x="2079563" y="155583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39" name="Oval 101"/>
            <p:cNvSpPr>
              <a:spLocks noChangeAspect="1" noChangeArrowheads="1"/>
            </p:cNvSpPr>
            <p:nvPr userDrawn="1"/>
          </p:nvSpPr>
          <p:spPr bwMode="auto">
            <a:xfrm>
              <a:off x="2192648" y="155583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40" name="Oval 102"/>
            <p:cNvSpPr>
              <a:spLocks noChangeAspect="1" noChangeArrowheads="1"/>
            </p:cNvSpPr>
            <p:nvPr userDrawn="1"/>
          </p:nvSpPr>
          <p:spPr bwMode="auto">
            <a:xfrm>
              <a:off x="2304225" y="155583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41" name="Oval 103"/>
            <p:cNvSpPr>
              <a:spLocks noChangeAspect="1" noChangeArrowheads="1"/>
            </p:cNvSpPr>
            <p:nvPr userDrawn="1"/>
          </p:nvSpPr>
          <p:spPr bwMode="auto">
            <a:xfrm>
              <a:off x="2417309" y="155583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42" name="Oval 104"/>
            <p:cNvSpPr>
              <a:spLocks noChangeAspect="1" noChangeArrowheads="1"/>
            </p:cNvSpPr>
            <p:nvPr userDrawn="1"/>
          </p:nvSpPr>
          <p:spPr bwMode="auto">
            <a:xfrm>
              <a:off x="3091287" y="155583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43" name="Oval 105"/>
            <p:cNvSpPr>
              <a:spLocks noChangeAspect="1" noChangeArrowheads="1"/>
            </p:cNvSpPr>
            <p:nvPr userDrawn="1"/>
          </p:nvSpPr>
          <p:spPr bwMode="auto">
            <a:xfrm>
              <a:off x="3204370" y="155583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44" name="Oval 106"/>
            <p:cNvSpPr>
              <a:spLocks noChangeAspect="1" noChangeArrowheads="1"/>
            </p:cNvSpPr>
            <p:nvPr userDrawn="1"/>
          </p:nvSpPr>
          <p:spPr bwMode="auto">
            <a:xfrm>
              <a:off x="3315946" y="155583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45" name="Oval 107"/>
            <p:cNvSpPr>
              <a:spLocks noChangeAspect="1" noChangeArrowheads="1"/>
            </p:cNvSpPr>
            <p:nvPr userDrawn="1"/>
          </p:nvSpPr>
          <p:spPr bwMode="auto">
            <a:xfrm>
              <a:off x="3429031" y="155583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46" name="Oval 108"/>
            <p:cNvSpPr>
              <a:spLocks noChangeAspect="1" noChangeArrowheads="1"/>
            </p:cNvSpPr>
            <p:nvPr userDrawn="1"/>
          </p:nvSpPr>
          <p:spPr bwMode="auto">
            <a:xfrm>
              <a:off x="3540607" y="155583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47" name="Oval 109"/>
            <p:cNvSpPr>
              <a:spLocks noChangeAspect="1" noChangeArrowheads="1"/>
            </p:cNvSpPr>
            <p:nvPr userDrawn="1"/>
          </p:nvSpPr>
          <p:spPr bwMode="auto">
            <a:xfrm>
              <a:off x="3653691" y="155583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48" name="Oval 110"/>
            <p:cNvSpPr>
              <a:spLocks noChangeAspect="1" noChangeArrowheads="1"/>
            </p:cNvSpPr>
            <p:nvPr userDrawn="1"/>
          </p:nvSpPr>
          <p:spPr bwMode="auto">
            <a:xfrm>
              <a:off x="3765266" y="155583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49" name="Oval 111"/>
            <p:cNvSpPr>
              <a:spLocks noChangeAspect="1" noChangeArrowheads="1"/>
            </p:cNvSpPr>
            <p:nvPr userDrawn="1"/>
          </p:nvSpPr>
          <p:spPr bwMode="auto">
            <a:xfrm>
              <a:off x="5675627" y="155583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50" name="Oval 112"/>
            <p:cNvSpPr>
              <a:spLocks noChangeAspect="1" noChangeArrowheads="1"/>
            </p:cNvSpPr>
            <p:nvPr userDrawn="1"/>
          </p:nvSpPr>
          <p:spPr bwMode="auto">
            <a:xfrm>
              <a:off x="6238032" y="155583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51" name="Oval 113"/>
            <p:cNvSpPr>
              <a:spLocks noChangeAspect="1" noChangeArrowheads="1"/>
            </p:cNvSpPr>
            <p:nvPr userDrawn="1"/>
          </p:nvSpPr>
          <p:spPr bwMode="auto">
            <a:xfrm>
              <a:off x="6349608" y="155583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52" name="Oval 114"/>
            <p:cNvSpPr>
              <a:spLocks noChangeAspect="1" noChangeArrowheads="1"/>
            </p:cNvSpPr>
            <p:nvPr userDrawn="1"/>
          </p:nvSpPr>
          <p:spPr bwMode="auto">
            <a:xfrm>
              <a:off x="6462690" y="155583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53" name="Oval 115"/>
            <p:cNvSpPr>
              <a:spLocks noChangeAspect="1" noChangeArrowheads="1"/>
            </p:cNvSpPr>
            <p:nvPr userDrawn="1"/>
          </p:nvSpPr>
          <p:spPr bwMode="auto">
            <a:xfrm>
              <a:off x="6574266" y="155583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54" name="Oval 116"/>
            <p:cNvSpPr>
              <a:spLocks noChangeAspect="1" noChangeArrowheads="1"/>
            </p:cNvSpPr>
            <p:nvPr userDrawn="1"/>
          </p:nvSpPr>
          <p:spPr bwMode="auto">
            <a:xfrm>
              <a:off x="6687351" y="155583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55" name="Oval 117"/>
            <p:cNvSpPr>
              <a:spLocks noChangeAspect="1" noChangeArrowheads="1"/>
            </p:cNvSpPr>
            <p:nvPr userDrawn="1"/>
          </p:nvSpPr>
          <p:spPr bwMode="auto">
            <a:xfrm>
              <a:off x="6798926" y="155583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56" name="Oval 118"/>
            <p:cNvSpPr>
              <a:spLocks noChangeAspect="1" noChangeArrowheads="1"/>
            </p:cNvSpPr>
            <p:nvPr userDrawn="1"/>
          </p:nvSpPr>
          <p:spPr bwMode="auto">
            <a:xfrm>
              <a:off x="6912010" y="155583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57" name="Oval 119"/>
            <p:cNvSpPr>
              <a:spLocks noChangeAspect="1" noChangeArrowheads="1"/>
            </p:cNvSpPr>
            <p:nvPr userDrawn="1"/>
          </p:nvSpPr>
          <p:spPr bwMode="auto">
            <a:xfrm>
              <a:off x="7023586" y="155583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58" name="Oval 120"/>
            <p:cNvSpPr>
              <a:spLocks noChangeAspect="1" noChangeArrowheads="1"/>
            </p:cNvSpPr>
            <p:nvPr userDrawn="1"/>
          </p:nvSpPr>
          <p:spPr bwMode="auto">
            <a:xfrm>
              <a:off x="7136671" y="155583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59" name="Oval 121"/>
            <p:cNvSpPr>
              <a:spLocks noChangeAspect="1" noChangeArrowheads="1"/>
            </p:cNvSpPr>
            <p:nvPr userDrawn="1"/>
          </p:nvSpPr>
          <p:spPr bwMode="auto">
            <a:xfrm>
              <a:off x="7248247" y="155583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60" name="Oval 122"/>
            <p:cNvSpPr>
              <a:spLocks noChangeAspect="1" noChangeArrowheads="1"/>
            </p:cNvSpPr>
            <p:nvPr userDrawn="1"/>
          </p:nvSpPr>
          <p:spPr bwMode="auto">
            <a:xfrm>
              <a:off x="7585989" y="155583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61" name="Oval 123"/>
            <p:cNvSpPr>
              <a:spLocks noChangeAspect="1" noChangeArrowheads="1"/>
            </p:cNvSpPr>
            <p:nvPr userDrawn="1"/>
          </p:nvSpPr>
          <p:spPr bwMode="auto">
            <a:xfrm>
              <a:off x="1405584" y="165836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62" name="Oval 124"/>
            <p:cNvSpPr>
              <a:spLocks noChangeAspect="1" noChangeArrowheads="1"/>
            </p:cNvSpPr>
            <p:nvPr userDrawn="1"/>
          </p:nvSpPr>
          <p:spPr bwMode="auto">
            <a:xfrm>
              <a:off x="1518670" y="165836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63" name="Oval 125"/>
            <p:cNvSpPr>
              <a:spLocks noChangeAspect="1" noChangeArrowheads="1"/>
            </p:cNvSpPr>
            <p:nvPr userDrawn="1"/>
          </p:nvSpPr>
          <p:spPr bwMode="auto">
            <a:xfrm>
              <a:off x="1630246" y="165836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64" name="Oval 126"/>
            <p:cNvSpPr>
              <a:spLocks noChangeAspect="1" noChangeArrowheads="1"/>
            </p:cNvSpPr>
            <p:nvPr userDrawn="1"/>
          </p:nvSpPr>
          <p:spPr bwMode="auto">
            <a:xfrm>
              <a:off x="1743329" y="165836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65" name="Oval 127"/>
            <p:cNvSpPr>
              <a:spLocks noChangeAspect="1" noChangeArrowheads="1"/>
            </p:cNvSpPr>
            <p:nvPr userDrawn="1"/>
          </p:nvSpPr>
          <p:spPr bwMode="auto">
            <a:xfrm>
              <a:off x="1854905" y="165836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66" name="Oval 128"/>
            <p:cNvSpPr>
              <a:spLocks noChangeAspect="1" noChangeArrowheads="1"/>
            </p:cNvSpPr>
            <p:nvPr userDrawn="1"/>
          </p:nvSpPr>
          <p:spPr bwMode="auto">
            <a:xfrm>
              <a:off x="1967987" y="165836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67" name="Oval 129"/>
            <p:cNvSpPr>
              <a:spLocks noChangeAspect="1" noChangeArrowheads="1"/>
            </p:cNvSpPr>
            <p:nvPr userDrawn="1"/>
          </p:nvSpPr>
          <p:spPr bwMode="auto">
            <a:xfrm>
              <a:off x="2079563" y="165836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68" name="Oval 130"/>
            <p:cNvSpPr>
              <a:spLocks noChangeAspect="1" noChangeArrowheads="1"/>
            </p:cNvSpPr>
            <p:nvPr userDrawn="1"/>
          </p:nvSpPr>
          <p:spPr bwMode="auto">
            <a:xfrm>
              <a:off x="2192648" y="165836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69" name="Oval 131"/>
            <p:cNvSpPr>
              <a:spLocks noChangeAspect="1" noChangeArrowheads="1"/>
            </p:cNvSpPr>
            <p:nvPr userDrawn="1"/>
          </p:nvSpPr>
          <p:spPr bwMode="auto">
            <a:xfrm>
              <a:off x="2304225" y="165836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70" name="Oval 132"/>
            <p:cNvSpPr>
              <a:spLocks noChangeAspect="1" noChangeArrowheads="1"/>
            </p:cNvSpPr>
            <p:nvPr userDrawn="1"/>
          </p:nvSpPr>
          <p:spPr bwMode="auto">
            <a:xfrm>
              <a:off x="2417309" y="165836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71" name="Oval 133"/>
            <p:cNvSpPr>
              <a:spLocks noChangeAspect="1" noChangeArrowheads="1"/>
            </p:cNvSpPr>
            <p:nvPr userDrawn="1"/>
          </p:nvSpPr>
          <p:spPr bwMode="auto">
            <a:xfrm>
              <a:off x="2528885" y="165836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72" name="Oval 134"/>
            <p:cNvSpPr>
              <a:spLocks noChangeAspect="1" noChangeArrowheads="1"/>
            </p:cNvSpPr>
            <p:nvPr userDrawn="1"/>
          </p:nvSpPr>
          <p:spPr bwMode="auto">
            <a:xfrm>
              <a:off x="3091287" y="165836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73" name="Oval 135"/>
            <p:cNvSpPr>
              <a:spLocks noChangeAspect="1" noChangeArrowheads="1"/>
            </p:cNvSpPr>
            <p:nvPr userDrawn="1"/>
          </p:nvSpPr>
          <p:spPr bwMode="auto">
            <a:xfrm>
              <a:off x="3204370" y="165836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74" name="Oval 136"/>
            <p:cNvSpPr>
              <a:spLocks noChangeAspect="1" noChangeArrowheads="1"/>
            </p:cNvSpPr>
            <p:nvPr userDrawn="1"/>
          </p:nvSpPr>
          <p:spPr bwMode="auto">
            <a:xfrm>
              <a:off x="3315946" y="165836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75" name="Oval 137"/>
            <p:cNvSpPr>
              <a:spLocks noChangeAspect="1" noChangeArrowheads="1"/>
            </p:cNvSpPr>
            <p:nvPr userDrawn="1"/>
          </p:nvSpPr>
          <p:spPr bwMode="auto">
            <a:xfrm>
              <a:off x="3429031" y="165836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76" name="Oval 138"/>
            <p:cNvSpPr>
              <a:spLocks noChangeAspect="1" noChangeArrowheads="1"/>
            </p:cNvSpPr>
            <p:nvPr userDrawn="1"/>
          </p:nvSpPr>
          <p:spPr bwMode="auto">
            <a:xfrm>
              <a:off x="3540607" y="165836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77" name="Oval 139"/>
            <p:cNvSpPr>
              <a:spLocks noChangeAspect="1" noChangeArrowheads="1"/>
            </p:cNvSpPr>
            <p:nvPr userDrawn="1"/>
          </p:nvSpPr>
          <p:spPr bwMode="auto">
            <a:xfrm>
              <a:off x="3653691" y="165836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78" name="Oval 140"/>
            <p:cNvSpPr>
              <a:spLocks noChangeAspect="1" noChangeArrowheads="1"/>
            </p:cNvSpPr>
            <p:nvPr userDrawn="1"/>
          </p:nvSpPr>
          <p:spPr bwMode="auto">
            <a:xfrm>
              <a:off x="3765266" y="165836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79" name="Oval 141"/>
            <p:cNvSpPr>
              <a:spLocks noChangeAspect="1" noChangeArrowheads="1"/>
            </p:cNvSpPr>
            <p:nvPr userDrawn="1"/>
          </p:nvSpPr>
          <p:spPr bwMode="auto">
            <a:xfrm>
              <a:off x="4776989" y="165836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80" name="Oval 142"/>
            <p:cNvSpPr>
              <a:spLocks noChangeAspect="1" noChangeArrowheads="1"/>
            </p:cNvSpPr>
            <p:nvPr userDrawn="1"/>
          </p:nvSpPr>
          <p:spPr bwMode="auto">
            <a:xfrm>
              <a:off x="4888565" y="165836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81" name="Oval 143"/>
            <p:cNvSpPr>
              <a:spLocks noChangeAspect="1" noChangeArrowheads="1"/>
            </p:cNvSpPr>
            <p:nvPr userDrawn="1"/>
          </p:nvSpPr>
          <p:spPr bwMode="auto">
            <a:xfrm>
              <a:off x="5001649" y="165836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82" name="Oval 144"/>
            <p:cNvSpPr>
              <a:spLocks noChangeAspect="1" noChangeArrowheads="1"/>
            </p:cNvSpPr>
            <p:nvPr userDrawn="1"/>
          </p:nvSpPr>
          <p:spPr bwMode="auto">
            <a:xfrm>
              <a:off x="5562544" y="165836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83" name="Oval 145"/>
            <p:cNvSpPr>
              <a:spLocks noChangeAspect="1" noChangeArrowheads="1"/>
            </p:cNvSpPr>
            <p:nvPr userDrawn="1"/>
          </p:nvSpPr>
          <p:spPr bwMode="auto">
            <a:xfrm>
              <a:off x="6013372" y="165836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84" name="Oval 146"/>
            <p:cNvSpPr>
              <a:spLocks noChangeAspect="1" noChangeArrowheads="1"/>
            </p:cNvSpPr>
            <p:nvPr userDrawn="1"/>
          </p:nvSpPr>
          <p:spPr bwMode="auto">
            <a:xfrm>
              <a:off x="6124948" y="165836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85" name="Oval 147"/>
            <p:cNvSpPr>
              <a:spLocks noChangeAspect="1" noChangeArrowheads="1"/>
            </p:cNvSpPr>
            <p:nvPr userDrawn="1"/>
          </p:nvSpPr>
          <p:spPr bwMode="auto">
            <a:xfrm>
              <a:off x="6238032" y="165836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86" name="Oval 148"/>
            <p:cNvSpPr>
              <a:spLocks noChangeAspect="1" noChangeArrowheads="1"/>
            </p:cNvSpPr>
            <p:nvPr userDrawn="1"/>
          </p:nvSpPr>
          <p:spPr bwMode="auto">
            <a:xfrm>
              <a:off x="6349608" y="165836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87" name="Oval 149"/>
            <p:cNvSpPr>
              <a:spLocks noChangeAspect="1" noChangeArrowheads="1"/>
            </p:cNvSpPr>
            <p:nvPr userDrawn="1"/>
          </p:nvSpPr>
          <p:spPr bwMode="auto">
            <a:xfrm>
              <a:off x="6462690" y="165836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88" name="Oval 150"/>
            <p:cNvSpPr>
              <a:spLocks noChangeAspect="1" noChangeArrowheads="1"/>
            </p:cNvSpPr>
            <p:nvPr userDrawn="1"/>
          </p:nvSpPr>
          <p:spPr bwMode="auto">
            <a:xfrm>
              <a:off x="6574266" y="165836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89" name="Oval 151"/>
            <p:cNvSpPr>
              <a:spLocks noChangeAspect="1" noChangeArrowheads="1"/>
            </p:cNvSpPr>
            <p:nvPr userDrawn="1"/>
          </p:nvSpPr>
          <p:spPr bwMode="auto">
            <a:xfrm>
              <a:off x="6687351" y="165836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90" name="Oval 152"/>
            <p:cNvSpPr>
              <a:spLocks noChangeAspect="1" noChangeArrowheads="1"/>
            </p:cNvSpPr>
            <p:nvPr userDrawn="1"/>
          </p:nvSpPr>
          <p:spPr bwMode="auto">
            <a:xfrm>
              <a:off x="6798926" y="165836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91" name="Oval 153"/>
            <p:cNvSpPr>
              <a:spLocks noChangeAspect="1" noChangeArrowheads="1"/>
            </p:cNvSpPr>
            <p:nvPr userDrawn="1"/>
          </p:nvSpPr>
          <p:spPr bwMode="auto">
            <a:xfrm>
              <a:off x="6912010" y="165836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92" name="Oval 154"/>
            <p:cNvSpPr>
              <a:spLocks noChangeAspect="1" noChangeArrowheads="1"/>
            </p:cNvSpPr>
            <p:nvPr userDrawn="1"/>
          </p:nvSpPr>
          <p:spPr bwMode="auto">
            <a:xfrm>
              <a:off x="7023586" y="165836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93" name="Oval 155"/>
            <p:cNvSpPr>
              <a:spLocks noChangeAspect="1" noChangeArrowheads="1"/>
            </p:cNvSpPr>
            <p:nvPr userDrawn="1"/>
          </p:nvSpPr>
          <p:spPr bwMode="auto">
            <a:xfrm>
              <a:off x="7136671" y="165836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94" name="Oval 156"/>
            <p:cNvSpPr>
              <a:spLocks noChangeAspect="1" noChangeArrowheads="1"/>
            </p:cNvSpPr>
            <p:nvPr userDrawn="1"/>
          </p:nvSpPr>
          <p:spPr bwMode="auto">
            <a:xfrm>
              <a:off x="7248247" y="165836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95" name="Oval 157"/>
            <p:cNvSpPr>
              <a:spLocks noChangeAspect="1" noChangeArrowheads="1"/>
            </p:cNvSpPr>
            <p:nvPr userDrawn="1"/>
          </p:nvSpPr>
          <p:spPr bwMode="auto">
            <a:xfrm>
              <a:off x="7361330" y="165836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96" name="Oval 158"/>
            <p:cNvSpPr>
              <a:spLocks noChangeAspect="1" noChangeArrowheads="1"/>
            </p:cNvSpPr>
            <p:nvPr userDrawn="1"/>
          </p:nvSpPr>
          <p:spPr bwMode="auto">
            <a:xfrm>
              <a:off x="7472905" y="165836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97" name="Oval 159"/>
            <p:cNvSpPr>
              <a:spLocks noChangeAspect="1" noChangeArrowheads="1"/>
            </p:cNvSpPr>
            <p:nvPr userDrawn="1"/>
          </p:nvSpPr>
          <p:spPr bwMode="auto">
            <a:xfrm>
              <a:off x="7585989" y="165836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98" name="Oval 160"/>
            <p:cNvSpPr>
              <a:spLocks noChangeAspect="1" noChangeArrowheads="1"/>
            </p:cNvSpPr>
            <p:nvPr userDrawn="1"/>
          </p:nvSpPr>
          <p:spPr bwMode="auto">
            <a:xfrm>
              <a:off x="7697565" y="165836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99" name="Oval 161"/>
            <p:cNvSpPr>
              <a:spLocks noChangeAspect="1" noChangeArrowheads="1"/>
            </p:cNvSpPr>
            <p:nvPr userDrawn="1"/>
          </p:nvSpPr>
          <p:spPr bwMode="auto">
            <a:xfrm>
              <a:off x="7810649" y="165836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300" name="Oval 162"/>
            <p:cNvSpPr>
              <a:spLocks noChangeAspect="1" noChangeArrowheads="1"/>
            </p:cNvSpPr>
            <p:nvPr userDrawn="1"/>
          </p:nvSpPr>
          <p:spPr bwMode="auto">
            <a:xfrm>
              <a:off x="844690" y="176240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301" name="Oval 163"/>
            <p:cNvSpPr>
              <a:spLocks noChangeAspect="1" noChangeArrowheads="1"/>
            </p:cNvSpPr>
            <p:nvPr userDrawn="1"/>
          </p:nvSpPr>
          <p:spPr bwMode="auto">
            <a:xfrm>
              <a:off x="956266" y="176240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302" name="Oval 164"/>
            <p:cNvSpPr>
              <a:spLocks noChangeAspect="1" noChangeArrowheads="1"/>
            </p:cNvSpPr>
            <p:nvPr userDrawn="1"/>
          </p:nvSpPr>
          <p:spPr bwMode="auto">
            <a:xfrm>
              <a:off x="1069350" y="176240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303" name="Oval 165"/>
            <p:cNvSpPr>
              <a:spLocks noChangeAspect="1" noChangeArrowheads="1"/>
            </p:cNvSpPr>
            <p:nvPr userDrawn="1"/>
          </p:nvSpPr>
          <p:spPr bwMode="auto">
            <a:xfrm>
              <a:off x="1180926" y="176240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304" name="Oval 166"/>
            <p:cNvSpPr>
              <a:spLocks noChangeAspect="1" noChangeArrowheads="1"/>
            </p:cNvSpPr>
            <p:nvPr userDrawn="1"/>
          </p:nvSpPr>
          <p:spPr bwMode="auto">
            <a:xfrm>
              <a:off x="1294009" y="176240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305" name="Oval 167"/>
            <p:cNvSpPr>
              <a:spLocks noChangeAspect="1" noChangeArrowheads="1"/>
            </p:cNvSpPr>
            <p:nvPr userDrawn="1"/>
          </p:nvSpPr>
          <p:spPr bwMode="auto">
            <a:xfrm>
              <a:off x="1405584" y="176240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306" name="Oval 168"/>
            <p:cNvSpPr>
              <a:spLocks noChangeAspect="1" noChangeArrowheads="1"/>
            </p:cNvSpPr>
            <p:nvPr userDrawn="1"/>
          </p:nvSpPr>
          <p:spPr bwMode="auto">
            <a:xfrm>
              <a:off x="1518670" y="176240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307" name="Oval 169"/>
            <p:cNvSpPr>
              <a:spLocks noChangeAspect="1" noChangeArrowheads="1"/>
            </p:cNvSpPr>
            <p:nvPr userDrawn="1"/>
          </p:nvSpPr>
          <p:spPr bwMode="auto">
            <a:xfrm>
              <a:off x="1630246" y="176240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308" name="Oval 170"/>
            <p:cNvSpPr>
              <a:spLocks noChangeAspect="1" noChangeArrowheads="1"/>
            </p:cNvSpPr>
            <p:nvPr userDrawn="1"/>
          </p:nvSpPr>
          <p:spPr bwMode="auto">
            <a:xfrm>
              <a:off x="1743329" y="176240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309" name="Oval 171"/>
            <p:cNvSpPr>
              <a:spLocks noChangeAspect="1" noChangeArrowheads="1"/>
            </p:cNvSpPr>
            <p:nvPr userDrawn="1"/>
          </p:nvSpPr>
          <p:spPr bwMode="auto">
            <a:xfrm>
              <a:off x="1854905" y="176240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310" name="Oval 172"/>
            <p:cNvSpPr>
              <a:spLocks noChangeAspect="1" noChangeArrowheads="1"/>
            </p:cNvSpPr>
            <p:nvPr userDrawn="1"/>
          </p:nvSpPr>
          <p:spPr bwMode="auto">
            <a:xfrm>
              <a:off x="1967987" y="176240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311" name="Oval 173"/>
            <p:cNvSpPr>
              <a:spLocks noChangeAspect="1" noChangeArrowheads="1"/>
            </p:cNvSpPr>
            <p:nvPr userDrawn="1"/>
          </p:nvSpPr>
          <p:spPr bwMode="auto">
            <a:xfrm>
              <a:off x="2079563" y="176240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312" name="Oval 174"/>
            <p:cNvSpPr>
              <a:spLocks noChangeAspect="1" noChangeArrowheads="1"/>
            </p:cNvSpPr>
            <p:nvPr userDrawn="1"/>
          </p:nvSpPr>
          <p:spPr bwMode="auto">
            <a:xfrm>
              <a:off x="2192648" y="176240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313" name="Oval 175"/>
            <p:cNvSpPr>
              <a:spLocks noChangeAspect="1" noChangeArrowheads="1"/>
            </p:cNvSpPr>
            <p:nvPr userDrawn="1"/>
          </p:nvSpPr>
          <p:spPr bwMode="auto">
            <a:xfrm>
              <a:off x="2304225" y="176240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314" name="Oval 176"/>
            <p:cNvSpPr>
              <a:spLocks noChangeAspect="1" noChangeArrowheads="1"/>
            </p:cNvSpPr>
            <p:nvPr userDrawn="1"/>
          </p:nvSpPr>
          <p:spPr bwMode="auto">
            <a:xfrm>
              <a:off x="2417309" y="176240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315" name="Oval 177"/>
            <p:cNvSpPr>
              <a:spLocks noChangeAspect="1" noChangeArrowheads="1"/>
            </p:cNvSpPr>
            <p:nvPr userDrawn="1"/>
          </p:nvSpPr>
          <p:spPr bwMode="auto">
            <a:xfrm>
              <a:off x="2528885" y="176240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316" name="Oval 178"/>
            <p:cNvSpPr>
              <a:spLocks noChangeAspect="1" noChangeArrowheads="1"/>
            </p:cNvSpPr>
            <p:nvPr userDrawn="1"/>
          </p:nvSpPr>
          <p:spPr bwMode="auto">
            <a:xfrm>
              <a:off x="2641967" y="176240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317" name="Oval 179"/>
            <p:cNvSpPr>
              <a:spLocks noChangeAspect="1" noChangeArrowheads="1"/>
            </p:cNvSpPr>
            <p:nvPr userDrawn="1"/>
          </p:nvSpPr>
          <p:spPr bwMode="auto">
            <a:xfrm>
              <a:off x="2753543" y="176240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318" name="Oval 180"/>
            <p:cNvSpPr>
              <a:spLocks noChangeAspect="1" noChangeArrowheads="1"/>
            </p:cNvSpPr>
            <p:nvPr userDrawn="1"/>
          </p:nvSpPr>
          <p:spPr bwMode="auto">
            <a:xfrm>
              <a:off x="3204370" y="176240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319" name="Oval 181"/>
            <p:cNvSpPr>
              <a:spLocks noChangeAspect="1" noChangeArrowheads="1"/>
            </p:cNvSpPr>
            <p:nvPr userDrawn="1"/>
          </p:nvSpPr>
          <p:spPr bwMode="auto">
            <a:xfrm>
              <a:off x="3315946" y="176240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320" name="Oval 182"/>
            <p:cNvSpPr>
              <a:spLocks noChangeAspect="1" noChangeArrowheads="1"/>
            </p:cNvSpPr>
            <p:nvPr userDrawn="1"/>
          </p:nvSpPr>
          <p:spPr bwMode="auto">
            <a:xfrm>
              <a:off x="3429031" y="176240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321" name="Oval 183"/>
            <p:cNvSpPr>
              <a:spLocks noChangeAspect="1" noChangeArrowheads="1"/>
            </p:cNvSpPr>
            <p:nvPr userDrawn="1"/>
          </p:nvSpPr>
          <p:spPr bwMode="auto">
            <a:xfrm>
              <a:off x="3540607" y="176240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322" name="Oval 184"/>
            <p:cNvSpPr>
              <a:spLocks noChangeAspect="1" noChangeArrowheads="1"/>
            </p:cNvSpPr>
            <p:nvPr userDrawn="1"/>
          </p:nvSpPr>
          <p:spPr bwMode="auto">
            <a:xfrm>
              <a:off x="3653691" y="176240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323" name="Oval 185"/>
            <p:cNvSpPr>
              <a:spLocks noChangeAspect="1" noChangeArrowheads="1"/>
            </p:cNvSpPr>
            <p:nvPr userDrawn="1"/>
          </p:nvSpPr>
          <p:spPr bwMode="auto">
            <a:xfrm>
              <a:off x="4663904" y="176240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324" name="Oval 186"/>
            <p:cNvSpPr>
              <a:spLocks noChangeAspect="1" noChangeArrowheads="1"/>
            </p:cNvSpPr>
            <p:nvPr userDrawn="1"/>
          </p:nvSpPr>
          <p:spPr bwMode="auto">
            <a:xfrm>
              <a:off x="4776989" y="176240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325" name="Oval 187"/>
            <p:cNvSpPr>
              <a:spLocks noChangeAspect="1" noChangeArrowheads="1"/>
            </p:cNvSpPr>
            <p:nvPr userDrawn="1"/>
          </p:nvSpPr>
          <p:spPr bwMode="auto">
            <a:xfrm>
              <a:off x="4888565" y="176240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326" name="Oval 188"/>
            <p:cNvSpPr>
              <a:spLocks noChangeAspect="1" noChangeArrowheads="1"/>
            </p:cNvSpPr>
            <p:nvPr userDrawn="1"/>
          </p:nvSpPr>
          <p:spPr bwMode="auto">
            <a:xfrm>
              <a:off x="5001649" y="176240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327" name="Oval 189"/>
            <p:cNvSpPr>
              <a:spLocks noChangeAspect="1" noChangeArrowheads="1"/>
            </p:cNvSpPr>
            <p:nvPr userDrawn="1"/>
          </p:nvSpPr>
          <p:spPr bwMode="auto">
            <a:xfrm>
              <a:off x="5113225" y="176240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328" name="Oval 190"/>
            <p:cNvSpPr>
              <a:spLocks noChangeAspect="1" noChangeArrowheads="1"/>
            </p:cNvSpPr>
            <p:nvPr userDrawn="1"/>
          </p:nvSpPr>
          <p:spPr bwMode="auto">
            <a:xfrm>
              <a:off x="5562544" y="176240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329" name="Oval 191"/>
            <p:cNvSpPr>
              <a:spLocks noChangeAspect="1" noChangeArrowheads="1"/>
            </p:cNvSpPr>
            <p:nvPr userDrawn="1"/>
          </p:nvSpPr>
          <p:spPr bwMode="auto">
            <a:xfrm>
              <a:off x="5675627" y="176240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330" name="Oval 192"/>
            <p:cNvSpPr>
              <a:spLocks noChangeAspect="1" noChangeArrowheads="1"/>
            </p:cNvSpPr>
            <p:nvPr userDrawn="1"/>
          </p:nvSpPr>
          <p:spPr bwMode="auto">
            <a:xfrm>
              <a:off x="5787203" y="176240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331" name="Oval 193"/>
            <p:cNvSpPr>
              <a:spLocks noChangeAspect="1" noChangeArrowheads="1"/>
            </p:cNvSpPr>
            <p:nvPr userDrawn="1"/>
          </p:nvSpPr>
          <p:spPr bwMode="auto">
            <a:xfrm>
              <a:off x="5900287" y="176240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332" name="Oval 194"/>
            <p:cNvSpPr>
              <a:spLocks noChangeAspect="1" noChangeArrowheads="1"/>
            </p:cNvSpPr>
            <p:nvPr userDrawn="1"/>
          </p:nvSpPr>
          <p:spPr bwMode="auto">
            <a:xfrm>
              <a:off x="6013372" y="176240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333" name="Oval 195"/>
            <p:cNvSpPr>
              <a:spLocks noChangeAspect="1" noChangeArrowheads="1"/>
            </p:cNvSpPr>
            <p:nvPr userDrawn="1"/>
          </p:nvSpPr>
          <p:spPr bwMode="auto">
            <a:xfrm>
              <a:off x="6124948" y="176240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334" name="Oval 196"/>
            <p:cNvSpPr>
              <a:spLocks noChangeAspect="1" noChangeArrowheads="1"/>
            </p:cNvSpPr>
            <p:nvPr userDrawn="1"/>
          </p:nvSpPr>
          <p:spPr bwMode="auto">
            <a:xfrm>
              <a:off x="6238032" y="176240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335" name="Oval 197"/>
            <p:cNvSpPr>
              <a:spLocks noChangeAspect="1" noChangeArrowheads="1"/>
            </p:cNvSpPr>
            <p:nvPr userDrawn="1"/>
          </p:nvSpPr>
          <p:spPr bwMode="auto">
            <a:xfrm>
              <a:off x="6349608" y="176240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336" name="Oval 198"/>
            <p:cNvSpPr>
              <a:spLocks noChangeAspect="1" noChangeArrowheads="1"/>
            </p:cNvSpPr>
            <p:nvPr userDrawn="1"/>
          </p:nvSpPr>
          <p:spPr bwMode="auto">
            <a:xfrm>
              <a:off x="6462690" y="176240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337" name="Oval 199"/>
            <p:cNvSpPr>
              <a:spLocks noChangeAspect="1" noChangeArrowheads="1"/>
            </p:cNvSpPr>
            <p:nvPr userDrawn="1"/>
          </p:nvSpPr>
          <p:spPr bwMode="auto">
            <a:xfrm>
              <a:off x="6574266" y="176240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338" name="Oval 200"/>
            <p:cNvSpPr>
              <a:spLocks noChangeAspect="1" noChangeArrowheads="1"/>
            </p:cNvSpPr>
            <p:nvPr userDrawn="1"/>
          </p:nvSpPr>
          <p:spPr bwMode="auto">
            <a:xfrm>
              <a:off x="6687351" y="176240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339" name="Oval 201"/>
            <p:cNvSpPr>
              <a:spLocks noChangeAspect="1" noChangeArrowheads="1"/>
            </p:cNvSpPr>
            <p:nvPr userDrawn="1"/>
          </p:nvSpPr>
          <p:spPr bwMode="auto">
            <a:xfrm>
              <a:off x="6798926" y="176240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340" name="Oval 202"/>
            <p:cNvSpPr>
              <a:spLocks noChangeAspect="1" noChangeArrowheads="1"/>
            </p:cNvSpPr>
            <p:nvPr userDrawn="1"/>
          </p:nvSpPr>
          <p:spPr bwMode="auto">
            <a:xfrm>
              <a:off x="6912010" y="176240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341" name="Oval 203"/>
            <p:cNvSpPr>
              <a:spLocks noChangeAspect="1" noChangeArrowheads="1"/>
            </p:cNvSpPr>
            <p:nvPr userDrawn="1"/>
          </p:nvSpPr>
          <p:spPr bwMode="auto">
            <a:xfrm>
              <a:off x="7023586" y="176240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342" name="Oval 204"/>
            <p:cNvSpPr>
              <a:spLocks noChangeAspect="1" noChangeArrowheads="1"/>
            </p:cNvSpPr>
            <p:nvPr userDrawn="1"/>
          </p:nvSpPr>
          <p:spPr bwMode="auto">
            <a:xfrm>
              <a:off x="7136671" y="176240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343" name="Oval 205"/>
            <p:cNvSpPr>
              <a:spLocks noChangeAspect="1" noChangeArrowheads="1"/>
            </p:cNvSpPr>
            <p:nvPr userDrawn="1"/>
          </p:nvSpPr>
          <p:spPr bwMode="auto">
            <a:xfrm>
              <a:off x="7248247" y="176240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344" name="Oval 206"/>
            <p:cNvSpPr>
              <a:spLocks noChangeAspect="1" noChangeArrowheads="1"/>
            </p:cNvSpPr>
            <p:nvPr userDrawn="1"/>
          </p:nvSpPr>
          <p:spPr bwMode="auto">
            <a:xfrm>
              <a:off x="7361330" y="176240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345" name="Oval 207"/>
            <p:cNvSpPr>
              <a:spLocks noChangeAspect="1" noChangeArrowheads="1"/>
            </p:cNvSpPr>
            <p:nvPr userDrawn="1"/>
          </p:nvSpPr>
          <p:spPr bwMode="auto">
            <a:xfrm>
              <a:off x="7472905" y="176240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346" name="Oval 208"/>
            <p:cNvSpPr>
              <a:spLocks noChangeAspect="1" noChangeArrowheads="1"/>
            </p:cNvSpPr>
            <p:nvPr userDrawn="1"/>
          </p:nvSpPr>
          <p:spPr bwMode="auto">
            <a:xfrm>
              <a:off x="7585989" y="176240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347" name="Oval 209"/>
            <p:cNvSpPr>
              <a:spLocks noChangeAspect="1" noChangeArrowheads="1"/>
            </p:cNvSpPr>
            <p:nvPr userDrawn="1"/>
          </p:nvSpPr>
          <p:spPr bwMode="auto">
            <a:xfrm>
              <a:off x="7697565" y="176240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348" name="Oval 210"/>
            <p:cNvSpPr>
              <a:spLocks noChangeAspect="1" noChangeArrowheads="1"/>
            </p:cNvSpPr>
            <p:nvPr userDrawn="1"/>
          </p:nvSpPr>
          <p:spPr bwMode="auto">
            <a:xfrm>
              <a:off x="7810649" y="176240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349" name="Oval 211"/>
            <p:cNvSpPr>
              <a:spLocks noChangeAspect="1" noChangeArrowheads="1"/>
            </p:cNvSpPr>
            <p:nvPr userDrawn="1"/>
          </p:nvSpPr>
          <p:spPr bwMode="auto">
            <a:xfrm>
              <a:off x="7922225" y="176240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350" name="Oval 212"/>
            <p:cNvSpPr>
              <a:spLocks noChangeAspect="1" noChangeArrowheads="1"/>
            </p:cNvSpPr>
            <p:nvPr userDrawn="1"/>
          </p:nvSpPr>
          <p:spPr bwMode="auto">
            <a:xfrm>
              <a:off x="8035309" y="176240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351" name="Oval 213"/>
            <p:cNvSpPr>
              <a:spLocks noChangeAspect="1" noChangeArrowheads="1"/>
            </p:cNvSpPr>
            <p:nvPr userDrawn="1"/>
          </p:nvSpPr>
          <p:spPr bwMode="auto">
            <a:xfrm>
              <a:off x="8146885" y="176240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352" name="Oval 214"/>
            <p:cNvSpPr>
              <a:spLocks noChangeAspect="1" noChangeArrowheads="1"/>
            </p:cNvSpPr>
            <p:nvPr userDrawn="1"/>
          </p:nvSpPr>
          <p:spPr bwMode="auto">
            <a:xfrm>
              <a:off x="8259967" y="176240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353" name="Oval 215"/>
            <p:cNvSpPr>
              <a:spLocks noChangeAspect="1" noChangeArrowheads="1"/>
            </p:cNvSpPr>
            <p:nvPr userDrawn="1"/>
          </p:nvSpPr>
          <p:spPr bwMode="auto">
            <a:xfrm>
              <a:off x="8371543" y="176240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354" name="Oval 216"/>
            <p:cNvSpPr>
              <a:spLocks noChangeAspect="1" noChangeArrowheads="1"/>
            </p:cNvSpPr>
            <p:nvPr userDrawn="1"/>
          </p:nvSpPr>
          <p:spPr bwMode="auto">
            <a:xfrm>
              <a:off x="8484629" y="176240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355" name="Oval 217"/>
            <p:cNvSpPr>
              <a:spLocks noChangeAspect="1" noChangeArrowheads="1"/>
            </p:cNvSpPr>
            <p:nvPr userDrawn="1"/>
          </p:nvSpPr>
          <p:spPr bwMode="auto">
            <a:xfrm>
              <a:off x="8596205" y="176240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356" name="Oval 218"/>
            <p:cNvSpPr>
              <a:spLocks noChangeAspect="1" noChangeArrowheads="1"/>
            </p:cNvSpPr>
            <p:nvPr userDrawn="1"/>
          </p:nvSpPr>
          <p:spPr bwMode="auto">
            <a:xfrm>
              <a:off x="506946" y="176240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357" name="Oval 219"/>
            <p:cNvSpPr>
              <a:spLocks noChangeAspect="1" noChangeArrowheads="1"/>
            </p:cNvSpPr>
            <p:nvPr userDrawn="1"/>
          </p:nvSpPr>
          <p:spPr bwMode="auto">
            <a:xfrm>
              <a:off x="620030" y="176240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358" name="Oval 220"/>
            <p:cNvSpPr>
              <a:spLocks noChangeAspect="1" noChangeArrowheads="1"/>
            </p:cNvSpPr>
            <p:nvPr userDrawn="1"/>
          </p:nvSpPr>
          <p:spPr bwMode="auto">
            <a:xfrm>
              <a:off x="731606" y="176240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359" name="Oval 221"/>
            <p:cNvSpPr>
              <a:spLocks noChangeAspect="1" noChangeArrowheads="1"/>
            </p:cNvSpPr>
            <p:nvPr userDrawn="1"/>
          </p:nvSpPr>
          <p:spPr bwMode="auto">
            <a:xfrm>
              <a:off x="844690" y="186643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360" name="Oval 222"/>
            <p:cNvSpPr>
              <a:spLocks noChangeAspect="1" noChangeArrowheads="1"/>
            </p:cNvSpPr>
            <p:nvPr userDrawn="1"/>
          </p:nvSpPr>
          <p:spPr bwMode="auto">
            <a:xfrm>
              <a:off x="956266" y="186643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361" name="Oval 223"/>
            <p:cNvSpPr>
              <a:spLocks noChangeAspect="1" noChangeArrowheads="1"/>
            </p:cNvSpPr>
            <p:nvPr userDrawn="1"/>
          </p:nvSpPr>
          <p:spPr bwMode="auto">
            <a:xfrm>
              <a:off x="1069350" y="186643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362" name="Oval 224"/>
            <p:cNvSpPr>
              <a:spLocks noChangeAspect="1" noChangeArrowheads="1"/>
            </p:cNvSpPr>
            <p:nvPr userDrawn="1"/>
          </p:nvSpPr>
          <p:spPr bwMode="auto">
            <a:xfrm>
              <a:off x="1180926" y="186643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363" name="Oval 225"/>
            <p:cNvSpPr>
              <a:spLocks noChangeAspect="1" noChangeArrowheads="1"/>
            </p:cNvSpPr>
            <p:nvPr userDrawn="1"/>
          </p:nvSpPr>
          <p:spPr bwMode="auto">
            <a:xfrm>
              <a:off x="1294009" y="186643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364" name="Oval 226"/>
            <p:cNvSpPr>
              <a:spLocks noChangeAspect="1" noChangeArrowheads="1"/>
            </p:cNvSpPr>
            <p:nvPr userDrawn="1"/>
          </p:nvSpPr>
          <p:spPr bwMode="auto">
            <a:xfrm>
              <a:off x="1405584" y="186643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365" name="Oval 227"/>
            <p:cNvSpPr>
              <a:spLocks noChangeAspect="1" noChangeArrowheads="1"/>
            </p:cNvSpPr>
            <p:nvPr userDrawn="1"/>
          </p:nvSpPr>
          <p:spPr bwMode="auto">
            <a:xfrm>
              <a:off x="1518670" y="186643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366" name="Oval 228"/>
            <p:cNvSpPr>
              <a:spLocks noChangeAspect="1" noChangeArrowheads="1"/>
            </p:cNvSpPr>
            <p:nvPr userDrawn="1"/>
          </p:nvSpPr>
          <p:spPr bwMode="auto">
            <a:xfrm>
              <a:off x="1630246" y="186643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367" name="Oval 229"/>
            <p:cNvSpPr>
              <a:spLocks noChangeAspect="1" noChangeArrowheads="1"/>
            </p:cNvSpPr>
            <p:nvPr userDrawn="1"/>
          </p:nvSpPr>
          <p:spPr bwMode="auto">
            <a:xfrm>
              <a:off x="1743329" y="186643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368" name="Oval 230"/>
            <p:cNvSpPr>
              <a:spLocks noChangeAspect="1" noChangeArrowheads="1"/>
            </p:cNvSpPr>
            <p:nvPr userDrawn="1"/>
          </p:nvSpPr>
          <p:spPr bwMode="auto">
            <a:xfrm>
              <a:off x="1854905" y="186643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369" name="Oval 231"/>
            <p:cNvSpPr>
              <a:spLocks noChangeAspect="1" noChangeArrowheads="1"/>
            </p:cNvSpPr>
            <p:nvPr userDrawn="1"/>
          </p:nvSpPr>
          <p:spPr bwMode="auto">
            <a:xfrm>
              <a:off x="1967987" y="186643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370" name="Oval 232"/>
            <p:cNvSpPr>
              <a:spLocks noChangeAspect="1" noChangeArrowheads="1"/>
            </p:cNvSpPr>
            <p:nvPr userDrawn="1"/>
          </p:nvSpPr>
          <p:spPr bwMode="auto">
            <a:xfrm>
              <a:off x="2079563" y="186643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371" name="Oval 233"/>
            <p:cNvSpPr>
              <a:spLocks noChangeAspect="1" noChangeArrowheads="1"/>
            </p:cNvSpPr>
            <p:nvPr userDrawn="1"/>
          </p:nvSpPr>
          <p:spPr bwMode="auto">
            <a:xfrm>
              <a:off x="2192648" y="186643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372" name="Oval 234"/>
            <p:cNvSpPr>
              <a:spLocks noChangeAspect="1" noChangeArrowheads="1"/>
            </p:cNvSpPr>
            <p:nvPr userDrawn="1"/>
          </p:nvSpPr>
          <p:spPr bwMode="auto">
            <a:xfrm>
              <a:off x="2304225" y="186643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373" name="Oval 235"/>
            <p:cNvSpPr>
              <a:spLocks noChangeAspect="1" noChangeArrowheads="1"/>
            </p:cNvSpPr>
            <p:nvPr userDrawn="1"/>
          </p:nvSpPr>
          <p:spPr bwMode="auto">
            <a:xfrm>
              <a:off x="2528885" y="186643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374" name="Oval 236"/>
            <p:cNvSpPr>
              <a:spLocks noChangeAspect="1" noChangeArrowheads="1"/>
            </p:cNvSpPr>
            <p:nvPr userDrawn="1"/>
          </p:nvSpPr>
          <p:spPr bwMode="auto">
            <a:xfrm>
              <a:off x="2641967" y="186643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375" name="Oval 237"/>
            <p:cNvSpPr>
              <a:spLocks noChangeAspect="1" noChangeArrowheads="1"/>
            </p:cNvSpPr>
            <p:nvPr userDrawn="1"/>
          </p:nvSpPr>
          <p:spPr bwMode="auto">
            <a:xfrm>
              <a:off x="2753543" y="186643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376" name="Oval 238"/>
            <p:cNvSpPr>
              <a:spLocks noChangeAspect="1" noChangeArrowheads="1"/>
            </p:cNvSpPr>
            <p:nvPr userDrawn="1"/>
          </p:nvSpPr>
          <p:spPr bwMode="auto">
            <a:xfrm>
              <a:off x="3204370" y="186643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377" name="Oval 239"/>
            <p:cNvSpPr>
              <a:spLocks noChangeAspect="1" noChangeArrowheads="1"/>
            </p:cNvSpPr>
            <p:nvPr userDrawn="1"/>
          </p:nvSpPr>
          <p:spPr bwMode="auto">
            <a:xfrm>
              <a:off x="3315946" y="186643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378" name="Oval 240"/>
            <p:cNvSpPr>
              <a:spLocks noChangeAspect="1" noChangeArrowheads="1"/>
            </p:cNvSpPr>
            <p:nvPr userDrawn="1"/>
          </p:nvSpPr>
          <p:spPr bwMode="auto">
            <a:xfrm>
              <a:off x="3429031" y="186643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379" name="Oval 241"/>
            <p:cNvSpPr>
              <a:spLocks noChangeAspect="1" noChangeArrowheads="1"/>
            </p:cNvSpPr>
            <p:nvPr userDrawn="1"/>
          </p:nvSpPr>
          <p:spPr bwMode="auto">
            <a:xfrm>
              <a:off x="3878349" y="186643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380" name="Oval 242"/>
            <p:cNvSpPr>
              <a:spLocks noChangeAspect="1" noChangeArrowheads="1"/>
            </p:cNvSpPr>
            <p:nvPr userDrawn="1"/>
          </p:nvSpPr>
          <p:spPr bwMode="auto">
            <a:xfrm>
              <a:off x="4663904" y="186643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381" name="Oval 243"/>
            <p:cNvSpPr>
              <a:spLocks noChangeAspect="1" noChangeArrowheads="1"/>
            </p:cNvSpPr>
            <p:nvPr userDrawn="1"/>
          </p:nvSpPr>
          <p:spPr bwMode="auto">
            <a:xfrm>
              <a:off x="4776989" y="186643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382" name="Oval 244"/>
            <p:cNvSpPr>
              <a:spLocks noChangeAspect="1" noChangeArrowheads="1"/>
            </p:cNvSpPr>
            <p:nvPr userDrawn="1"/>
          </p:nvSpPr>
          <p:spPr bwMode="auto">
            <a:xfrm>
              <a:off x="4888565" y="186643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383" name="Oval 245"/>
            <p:cNvSpPr>
              <a:spLocks noChangeAspect="1" noChangeArrowheads="1"/>
            </p:cNvSpPr>
            <p:nvPr userDrawn="1"/>
          </p:nvSpPr>
          <p:spPr bwMode="auto">
            <a:xfrm>
              <a:off x="5001649" y="186643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384" name="Oval 246"/>
            <p:cNvSpPr>
              <a:spLocks noChangeAspect="1" noChangeArrowheads="1"/>
            </p:cNvSpPr>
            <p:nvPr userDrawn="1"/>
          </p:nvSpPr>
          <p:spPr bwMode="auto">
            <a:xfrm>
              <a:off x="5113225" y="186643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385" name="Oval 247"/>
            <p:cNvSpPr>
              <a:spLocks noChangeAspect="1" noChangeArrowheads="1"/>
            </p:cNvSpPr>
            <p:nvPr userDrawn="1"/>
          </p:nvSpPr>
          <p:spPr bwMode="auto">
            <a:xfrm>
              <a:off x="5226308" y="186643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386" name="Oval 248"/>
            <p:cNvSpPr>
              <a:spLocks noChangeAspect="1" noChangeArrowheads="1"/>
            </p:cNvSpPr>
            <p:nvPr userDrawn="1"/>
          </p:nvSpPr>
          <p:spPr bwMode="auto">
            <a:xfrm>
              <a:off x="5337884" y="186643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387" name="Oval 249"/>
            <p:cNvSpPr>
              <a:spLocks noChangeAspect="1" noChangeArrowheads="1"/>
            </p:cNvSpPr>
            <p:nvPr userDrawn="1"/>
          </p:nvSpPr>
          <p:spPr bwMode="auto">
            <a:xfrm>
              <a:off x="5450969" y="186643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388" name="Oval 250"/>
            <p:cNvSpPr>
              <a:spLocks noChangeAspect="1" noChangeArrowheads="1"/>
            </p:cNvSpPr>
            <p:nvPr userDrawn="1"/>
          </p:nvSpPr>
          <p:spPr bwMode="auto">
            <a:xfrm>
              <a:off x="5562544" y="186643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389" name="Oval 251"/>
            <p:cNvSpPr>
              <a:spLocks noChangeAspect="1" noChangeArrowheads="1"/>
            </p:cNvSpPr>
            <p:nvPr userDrawn="1"/>
          </p:nvSpPr>
          <p:spPr bwMode="auto">
            <a:xfrm>
              <a:off x="5675627" y="186643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390" name="Oval 252"/>
            <p:cNvSpPr>
              <a:spLocks noChangeAspect="1" noChangeArrowheads="1"/>
            </p:cNvSpPr>
            <p:nvPr userDrawn="1"/>
          </p:nvSpPr>
          <p:spPr bwMode="auto">
            <a:xfrm>
              <a:off x="5787203" y="186643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391" name="Oval 253"/>
            <p:cNvSpPr>
              <a:spLocks noChangeAspect="1" noChangeArrowheads="1"/>
            </p:cNvSpPr>
            <p:nvPr userDrawn="1"/>
          </p:nvSpPr>
          <p:spPr bwMode="auto">
            <a:xfrm>
              <a:off x="5900287" y="186643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392" name="Oval 254"/>
            <p:cNvSpPr>
              <a:spLocks noChangeAspect="1" noChangeArrowheads="1"/>
            </p:cNvSpPr>
            <p:nvPr userDrawn="1"/>
          </p:nvSpPr>
          <p:spPr bwMode="auto">
            <a:xfrm>
              <a:off x="6013372" y="186643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393" name="Oval 255"/>
            <p:cNvSpPr>
              <a:spLocks noChangeAspect="1" noChangeArrowheads="1"/>
            </p:cNvSpPr>
            <p:nvPr userDrawn="1"/>
          </p:nvSpPr>
          <p:spPr bwMode="auto">
            <a:xfrm>
              <a:off x="6124948" y="186643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394" name="Oval 256"/>
            <p:cNvSpPr>
              <a:spLocks noChangeAspect="1" noChangeArrowheads="1"/>
            </p:cNvSpPr>
            <p:nvPr userDrawn="1"/>
          </p:nvSpPr>
          <p:spPr bwMode="auto">
            <a:xfrm>
              <a:off x="6238032" y="186643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395" name="Oval 257"/>
            <p:cNvSpPr>
              <a:spLocks noChangeAspect="1" noChangeArrowheads="1"/>
            </p:cNvSpPr>
            <p:nvPr userDrawn="1"/>
          </p:nvSpPr>
          <p:spPr bwMode="auto">
            <a:xfrm>
              <a:off x="6349608" y="186643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396" name="Oval 258"/>
            <p:cNvSpPr>
              <a:spLocks noChangeAspect="1" noChangeArrowheads="1"/>
            </p:cNvSpPr>
            <p:nvPr userDrawn="1"/>
          </p:nvSpPr>
          <p:spPr bwMode="auto">
            <a:xfrm>
              <a:off x="6462690" y="186643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397" name="Oval 259"/>
            <p:cNvSpPr>
              <a:spLocks noChangeAspect="1" noChangeArrowheads="1"/>
            </p:cNvSpPr>
            <p:nvPr userDrawn="1"/>
          </p:nvSpPr>
          <p:spPr bwMode="auto">
            <a:xfrm>
              <a:off x="6574266" y="186643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398" name="Oval 260"/>
            <p:cNvSpPr>
              <a:spLocks noChangeAspect="1" noChangeArrowheads="1"/>
            </p:cNvSpPr>
            <p:nvPr userDrawn="1"/>
          </p:nvSpPr>
          <p:spPr bwMode="auto">
            <a:xfrm>
              <a:off x="6687351" y="186643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399" name="Oval 261"/>
            <p:cNvSpPr>
              <a:spLocks noChangeAspect="1" noChangeArrowheads="1"/>
            </p:cNvSpPr>
            <p:nvPr userDrawn="1"/>
          </p:nvSpPr>
          <p:spPr bwMode="auto">
            <a:xfrm>
              <a:off x="6798926" y="186643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400" name="Oval 262"/>
            <p:cNvSpPr>
              <a:spLocks noChangeAspect="1" noChangeArrowheads="1"/>
            </p:cNvSpPr>
            <p:nvPr userDrawn="1"/>
          </p:nvSpPr>
          <p:spPr bwMode="auto">
            <a:xfrm>
              <a:off x="6912010" y="186643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401" name="Oval 263"/>
            <p:cNvSpPr>
              <a:spLocks noChangeAspect="1" noChangeArrowheads="1"/>
            </p:cNvSpPr>
            <p:nvPr userDrawn="1"/>
          </p:nvSpPr>
          <p:spPr bwMode="auto">
            <a:xfrm>
              <a:off x="7023586" y="186643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402" name="Oval 264"/>
            <p:cNvSpPr>
              <a:spLocks noChangeAspect="1" noChangeArrowheads="1"/>
            </p:cNvSpPr>
            <p:nvPr userDrawn="1"/>
          </p:nvSpPr>
          <p:spPr bwMode="auto">
            <a:xfrm>
              <a:off x="7136671" y="186643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403" name="Oval 265"/>
            <p:cNvSpPr>
              <a:spLocks noChangeAspect="1" noChangeArrowheads="1"/>
            </p:cNvSpPr>
            <p:nvPr userDrawn="1"/>
          </p:nvSpPr>
          <p:spPr bwMode="auto">
            <a:xfrm>
              <a:off x="7248247" y="186643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404" name="Oval 266"/>
            <p:cNvSpPr>
              <a:spLocks noChangeAspect="1" noChangeArrowheads="1"/>
            </p:cNvSpPr>
            <p:nvPr userDrawn="1"/>
          </p:nvSpPr>
          <p:spPr bwMode="auto">
            <a:xfrm>
              <a:off x="7361330" y="186643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405" name="Oval 267"/>
            <p:cNvSpPr>
              <a:spLocks noChangeAspect="1" noChangeArrowheads="1"/>
            </p:cNvSpPr>
            <p:nvPr userDrawn="1"/>
          </p:nvSpPr>
          <p:spPr bwMode="auto">
            <a:xfrm>
              <a:off x="7472905" y="186643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406" name="Oval 268"/>
            <p:cNvSpPr>
              <a:spLocks noChangeAspect="1" noChangeArrowheads="1"/>
            </p:cNvSpPr>
            <p:nvPr userDrawn="1"/>
          </p:nvSpPr>
          <p:spPr bwMode="auto">
            <a:xfrm>
              <a:off x="7585989" y="186643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407" name="Oval 269"/>
            <p:cNvSpPr>
              <a:spLocks noChangeAspect="1" noChangeArrowheads="1"/>
            </p:cNvSpPr>
            <p:nvPr userDrawn="1"/>
          </p:nvSpPr>
          <p:spPr bwMode="auto">
            <a:xfrm>
              <a:off x="7697565" y="186643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408" name="Oval 270"/>
            <p:cNvSpPr>
              <a:spLocks noChangeAspect="1" noChangeArrowheads="1"/>
            </p:cNvSpPr>
            <p:nvPr userDrawn="1"/>
          </p:nvSpPr>
          <p:spPr bwMode="auto">
            <a:xfrm>
              <a:off x="7810649" y="186643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409" name="Oval 271"/>
            <p:cNvSpPr>
              <a:spLocks noChangeAspect="1" noChangeArrowheads="1"/>
            </p:cNvSpPr>
            <p:nvPr userDrawn="1"/>
          </p:nvSpPr>
          <p:spPr bwMode="auto">
            <a:xfrm>
              <a:off x="7922225" y="186643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410" name="Oval 272"/>
            <p:cNvSpPr>
              <a:spLocks noChangeAspect="1" noChangeArrowheads="1"/>
            </p:cNvSpPr>
            <p:nvPr userDrawn="1"/>
          </p:nvSpPr>
          <p:spPr bwMode="auto">
            <a:xfrm>
              <a:off x="8035309" y="186643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411" name="Oval 273"/>
            <p:cNvSpPr>
              <a:spLocks noChangeAspect="1" noChangeArrowheads="1"/>
            </p:cNvSpPr>
            <p:nvPr userDrawn="1"/>
          </p:nvSpPr>
          <p:spPr bwMode="auto">
            <a:xfrm>
              <a:off x="8146885" y="186643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412" name="Oval 274"/>
            <p:cNvSpPr>
              <a:spLocks noChangeAspect="1" noChangeArrowheads="1"/>
            </p:cNvSpPr>
            <p:nvPr userDrawn="1"/>
          </p:nvSpPr>
          <p:spPr bwMode="auto">
            <a:xfrm>
              <a:off x="8259967" y="186643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413" name="Oval 275"/>
            <p:cNvSpPr>
              <a:spLocks noChangeAspect="1" noChangeArrowheads="1"/>
            </p:cNvSpPr>
            <p:nvPr userDrawn="1"/>
          </p:nvSpPr>
          <p:spPr bwMode="auto">
            <a:xfrm>
              <a:off x="8371543" y="186643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414" name="Oval 276"/>
            <p:cNvSpPr>
              <a:spLocks noChangeAspect="1" noChangeArrowheads="1"/>
            </p:cNvSpPr>
            <p:nvPr userDrawn="1"/>
          </p:nvSpPr>
          <p:spPr bwMode="auto">
            <a:xfrm>
              <a:off x="8484629" y="186643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415" name="Oval 277"/>
            <p:cNvSpPr>
              <a:spLocks noChangeAspect="1" noChangeArrowheads="1"/>
            </p:cNvSpPr>
            <p:nvPr userDrawn="1"/>
          </p:nvSpPr>
          <p:spPr bwMode="auto">
            <a:xfrm>
              <a:off x="8596205" y="186643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416" name="Oval 278"/>
            <p:cNvSpPr>
              <a:spLocks noChangeAspect="1" noChangeArrowheads="1"/>
            </p:cNvSpPr>
            <p:nvPr userDrawn="1"/>
          </p:nvSpPr>
          <p:spPr bwMode="auto">
            <a:xfrm>
              <a:off x="8709288" y="186643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417" name="Oval 279"/>
            <p:cNvSpPr>
              <a:spLocks noChangeAspect="1" noChangeArrowheads="1"/>
            </p:cNvSpPr>
            <p:nvPr userDrawn="1"/>
          </p:nvSpPr>
          <p:spPr bwMode="auto">
            <a:xfrm>
              <a:off x="506946" y="186643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418" name="Oval 280"/>
            <p:cNvSpPr>
              <a:spLocks noChangeAspect="1" noChangeArrowheads="1"/>
            </p:cNvSpPr>
            <p:nvPr userDrawn="1"/>
          </p:nvSpPr>
          <p:spPr bwMode="auto">
            <a:xfrm>
              <a:off x="620030" y="186643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419" name="Oval 281"/>
            <p:cNvSpPr>
              <a:spLocks noChangeAspect="1" noChangeArrowheads="1"/>
            </p:cNvSpPr>
            <p:nvPr userDrawn="1"/>
          </p:nvSpPr>
          <p:spPr bwMode="auto">
            <a:xfrm>
              <a:off x="731606" y="186643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420" name="Oval 282"/>
            <p:cNvSpPr>
              <a:spLocks noChangeAspect="1" noChangeArrowheads="1"/>
            </p:cNvSpPr>
            <p:nvPr userDrawn="1"/>
          </p:nvSpPr>
          <p:spPr bwMode="auto">
            <a:xfrm>
              <a:off x="844690" y="197047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421" name="Oval 283"/>
            <p:cNvSpPr>
              <a:spLocks noChangeAspect="1" noChangeArrowheads="1"/>
            </p:cNvSpPr>
            <p:nvPr userDrawn="1"/>
          </p:nvSpPr>
          <p:spPr bwMode="auto">
            <a:xfrm>
              <a:off x="956266" y="197047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422" name="Oval 284"/>
            <p:cNvSpPr>
              <a:spLocks noChangeAspect="1" noChangeArrowheads="1"/>
            </p:cNvSpPr>
            <p:nvPr userDrawn="1"/>
          </p:nvSpPr>
          <p:spPr bwMode="auto">
            <a:xfrm>
              <a:off x="1069350" y="197047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423" name="Oval 285"/>
            <p:cNvSpPr>
              <a:spLocks noChangeAspect="1" noChangeArrowheads="1"/>
            </p:cNvSpPr>
            <p:nvPr userDrawn="1"/>
          </p:nvSpPr>
          <p:spPr bwMode="auto">
            <a:xfrm>
              <a:off x="1180926" y="197047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424" name="Oval 286"/>
            <p:cNvSpPr>
              <a:spLocks noChangeAspect="1" noChangeArrowheads="1"/>
            </p:cNvSpPr>
            <p:nvPr userDrawn="1"/>
          </p:nvSpPr>
          <p:spPr bwMode="auto">
            <a:xfrm>
              <a:off x="1294009" y="197047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425" name="Oval 287"/>
            <p:cNvSpPr>
              <a:spLocks noChangeAspect="1" noChangeArrowheads="1"/>
            </p:cNvSpPr>
            <p:nvPr userDrawn="1"/>
          </p:nvSpPr>
          <p:spPr bwMode="auto">
            <a:xfrm>
              <a:off x="1405584" y="197047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426" name="Oval 288"/>
            <p:cNvSpPr>
              <a:spLocks noChangeAspect="1" noChangeArrowheads="1"/>
            </p:cNvSpPr>
            <p:nvPr userDrawn="1"/>
          </p:nvSpPr>
          <p:spPr bwMode="auto">
            <a:xfrm>
              <a:off x="1518670" y="197047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427" name="Oval 289"/>
            <p:cNvSpPr>
              <a:spLocks noChangeAspect="1" noChangeArrowheads="1"/>
            </p:cNvSpPr>
            <p:nvPr userDrawn="1"/>
          </p:nvSpPr>
          <p:spPr bwMode="auto">
            <a:xfrm>
              <a:off x="1630246" y="197047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428" name="Oval 290"/>
            <p:cNvSpPr>
              <a:spLocks noChangeAspect="1" noChangeArrowheads="1"/>
            </p:cNvSpPr>
            <p:nvPr userDrawn="1"/>
          </p:nvSpPr>
          <p:spPr bwMode="auto">
            <a:xfrm>
              <a:off x="1743329" y="197047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429" name="Oval 291"/>
            <p:cNvSpPr>
              <a:spLocks noChangeAspect="1" noChangeArrowheads="1"/>
            </p:cNvSpPr>
            <p:nvPr userDrawn="1"/>
          </p:nvSpPr>
          <p:spPr bwMode="auto">
            <a:xfrm>
              <a:off x="1854905" y="197047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430" name="Oval 292"/>
            <p:cNvSpPr>
              <a:spLocks noChangeAspect="1" noChangeArrowheads="1"/>
            </p:cNvSpPr>
            <p:nvPr userDrawn="1"/>
          </p:nvSpPr>
          <p:spPr bwMode="auto">
            <a:xfrm>
              <a:off x="1967987" y="197047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431" name="Oval 293"/>
            <p:cNvSpPr>
              <a:spLocks noChangeAspect="1" noChangeArrowheads="1"/>
            </p:cNvSpPr>
            <p:nvPr userDrawn="1"/>
          </p:nvSpPr>
          <p:spPr bwMode="auto">
            <a:xfrm>
              <a:off x="2079563" y="197047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432" name="Oval 294"/>
            <p:cNvSpPr>
              <a:spLocks noChangeAspect="1" noChangeArrowheads="1"/>
            </p:cNvSpPr>
            <p:nvPr userDrawn="1"/>
          </p:nvSpPr>
          <p:spPr bwMode="auto">
            <a:xfrm>
              <a:off x="2192649" y="197047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433" name="Oval 295"/>
            <p:cNvSpPr>
              <a:spLocks noChangeAspect="1" noChangeArrowheads="1"/>
            </p:cNvSpPr>
            <p:nvPr userDrawn="1"/>
          </p:nvSpPr>
          <p:spPr bwMode="auto">
            <a:xfrm>
              <a:off x="2304225" y="197047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434" name="Oval 296"/>
            <p:cNvSpPr>
              <a:spLocks noChangeAspect="1" noChangeArrowheads="1"/>
            </p:cNvSpPr>
            <p:nvPr userDrawn="1"/>
          </p:nvSpPr>
          <p:spPr bwMode="auto">
            <a:xfrm>
              <a:off x="2641967" y="197047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435" name="Oval 297"/>
            <p:cNvSpPr>
              <a:spLocks noChangeAspect="1" noChangeArrowheads="1"/>
            </p:cNvSpPr>
            <p:nvPr userDrawn="1"/>
          </p:nvSpPr>
          <p:spPr bwMode="auto">
            <a:xfrm>
              <a:off x="2753543" y="197047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436" name="Oval 298"/>
            <p:cNvSpPr>
              <a:spLocks noChangeAspect="1" noChangeArrowheads="1"/>
            </p:cNvSpPr>
            <p:nvPr userDrawn="1"/>
          </p:nvSpPr>
          <p:spPr bwMode="auto">
            <a:xfrm>
              <a:off x="3204370" y="197047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437" name="Oval 299"/>
            <p:cNvSpPr>
              <a:spLocks noChangeAspect="1" noChangeArrowheads="1"/>
            </p:cNvSpPr>
            <p:nvPr userDrawn="1"/>
          </p:nvSpPr>
          <p:spPr bwMode="auto">
            <a:xfrm>
              <a:off x="3315946" y="197047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438" name="Oval 300"/>
            <p:cNvSpPr>
              <a:spLocks noChangeAspect="1" noChangeArrowheads="1"/>
            </p:cNvSpPr>
            <p:nvPr userDrawn="1"/>
          </p:nvSpPr>
          <p:spPr bwMode="auto">
            <a:xfrm>
              <a:off x="3878349" y="197047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439" name="Oval 301"/>
            <p:cNvSpPr>
              <a:spLocks noChangeAspect="1" noChangeArrowheads="1"/>
            </p:cNvSpPr>
            <p:nvPr userDrawn="1"/>
          </p:nvSpPr>
          <p:spPr bwMode="auto">
            <a:xfrm>
              <a:off x="3989925" y="197047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440" name="Oval 302"/>
            <p:cNvSpPr>
              <a:spLocks noChangeAspect="1" noChangeArrowheads="1"/>
            </p:cNvSpPr>
            <p:nvPr userDrawn="1"/>
          </p:nvSpPr>
          <p:spPr bwMode="auto">
            <a:xfrm>
              <a:off x="4552328" y="197047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441" name="Oval 303"/>
            <p:cNvSpPr>
              <a:spLocks noChangeAspect="1" noChangeArrowheads="1"/>
            </p:cNvSpPr>
            <p:nvPr userDrawn="1"/>
          </p:nvSpPr>
          <p:spPr bwMode="auto">
            <a:xfrm>
              <a:off x="4663905" y="197047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442" name="Oval 304"/>
            <p:cNvSpPr>
              <a:spLocks noChangeAspect="1" noChangeArrowheads="1"/>
            </p:cNvSpPr>
            <p:nvPr userDrawn="1"/>
          </p:nvSpPr>
          <p:spPr bwMode="auto">
            <a:xfrm>
              <a:off x="4776989" y="197047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443" name="Oval 305"/>
            <p:cNvSpPr>
              <a:spLocks noChangeAspect="1" noChangeArrowheads="1"/>
            </p:cNvSpPr>
            <p:nvPr userDrawn="1"/>
          </p:nvSpPr>
          <p:spPr bwMode="auto">
            <a:xfrm>
              <a:off x="4888565" y="197047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444" name="Oval 306"/>
            <p:cNvSpPr>
              <a:spLocks noChangeAspect="1" noChangeArrowheads="1"/>
            </p:cNvSpPr>
            <p:nvPr userDrawn="1"/>
          </p:nvSpPr>
          <p:spPr bwMode="auto">
            <a:xfrm>
              <a:off x="5001649" y="197047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445" name="Oval 307"/>
            <p:cNvSpPr>
              <a:spLocks noChangeAspect="1" noChangeArrowheads="1"/>
            </p:cNvSpPr>
            <p:nvPr userDrawn="1"/>
          </p:nvSpPr>
          <p:spPr bwMode="auto">
            <a:xfrm>
              <a:off x="5113225" y="197047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446" name="Oval 308"/>
            <p:cNvSpPr>
              <a:spLocks noChangeAspect="1" noChangeArrowheads="1"/>
            </p:cNvSpPr>
            <p:nvPr userDrawn="1"/>
          </p:nvSpPr>
          <p:spPr bwMode="auto">
            <a:xfrm>
              <a:off x="5226308" y="197047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447" name="Oval 309"/>
            <p:cNvSpPr>
              <a:spLocks noChangeAspect="1" noChangeArrowheads="1"/>
            </p:cNvSpPr>
            <p:nvPr userDrawn="1"/>
          </p:nvSpPr>
          <p:spPr bwMode="auto">
            <a:xfrm>
              <a:off x="5337884" y="197047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448" name="Oval 310"/>
            <p:cNvSpPr>
              <a:spLocks noChangeAspect="1" noChangeArrowheads="1"/>
            </p:cNvSpPr>
            <p:nvPr userDrawn="1"/>
          </p:nvSpPr>
          <p:spPr bwMode="auto">
            <a:xfrm>
              <a:off x="5450968" y="197047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449" name="Oval 311"/>
            <p:cNvSpPr>
              <a:spLocks noChangeAspect="1" noChangeArrowheads="1"/>
            </p:cNvSpPr>
            <p:nvPr userDrawn="1"/>
          </p:nvSpPr>
          <p:spPr bwMode="auto">
            <a:xfrm>
              <a:off x="5562544" y="197047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450" name="Oval 312"/>
            <p:cNvSpPr>
              <a:spLocks noChangeAspect="1" noChangeArrowheads="1"/>
            </p:cNvSpPr>
            <p:nvPr userDrawn="1"/>
          </p:nvSpPr>
          <p:spPr bwMode="auto">
            <a:xfrm>
              <a:off x="5675627" y="197047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451" name="Oval 313"/>
            <p:cNvSpPr>
              <a:spLocks noChangeAspect="1" noChangeArrowheads="1"/>
            </p:cNvSpPr>
            <p:nvPr userDrawn="1"/>
          </p:nvSpPr>
          <p:spPr bwMode="auto">
            <a:xfrm>
              <a:off x="5787203" y="197047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452" name="Oval 314"/>
            <p:cNvSpPr>
              <a:spLocks noChangeAspect="1" noChangeArrowheads="1"/>
            </p:cNvSpPr>
            <p:nvPr userDrawn="1"/>
          </p:nvSpPr>
          <p:spPr bwMode="auto">
            <a:xfrm>
              <a:off x="5900288" y="197047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453" name="Oval 315"/>
            <p:cNvSpPr>
              <a:spLocks noChangeAspect="1" noChangeArrowheads="1"/>
            </p:cNvSpPr>
            <p:nvPr userDrawn="1"/>
          </p:nvSpPr>
          <p:spPr bwMode="auto">
            <a:xfrm>
              <a:off x="6013372" y="197047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454" name="Oval 316"/>
            <p:cNvSpPr>
              <a:spLocks noChangeAspect="1" noChangeArrowheads="1"/>
            </p:cNvSpPr>
            <p:nvPr userDrawn="1"/>
          </p:nvSpPr>
          <p:spPr bwMode="auto">
            <a:xfrm>
              <a:off x="6124948" y="197047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455" name="Oval 317"/>
            <p:cNvSpPr>
              <a:spLocks noChangeAspect="1" noChangeArrowheads="1"/>
            </p:cNvSpPr>
            <p:nvPr userDrawn="1"/>
          </p:nvSpPr>
          <p:spPr bwMode="auto">
            <a:xfrm>
              <a:off x="6238031" y="197047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456" name="Oval 318"/>
            <p:cNvSpPr>
              <a:spLocks noChangeAspect="1" noChangeArrowheads="1"/>
            </p:cNvSpPr>
            <p:nvPr userDrawn="1"/>
          </p:nvSpPr>
          <p:spPr bwMode="auto">
            <a:xfrm>
              <a:off x="6349607" y="197047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457" name="Oval 319"/>
            <p:cNvSpPr>
              <a:spLocks noChangeAspect="1" noChangeArrowheads="1"/>
            </p:cNvSpPr>
            <p:nvPr userDrawn="1"/>
          </p:nvSpPr>
          <p:spPr bwMode="auto">
            <a:xfrm>
              <a:off x="6462690" y="197047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458" name="Oval 320"/>
            <p:cNvSpPr>
              <a:spLocks noChangeAspect="1" noChangeArrowheads="1"/>
            </p:cNvSpPr>
            <p:nvPr userDrawn="1"/>
          </p:nvSpPr>
          <p:spPr bwMode="auto">
            <a:xfrm>
              <a:off x="6574266" y="197047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459" name="Oval 321"/>
            <p:cNvSpPr>
              <a:spLocks noChangeAspect="1" noChangeArrowheads="1"/>
            </p:cNvSpPr>
            <p:nvPr userDrawn="1"/>
          </p:nvSpPr>
          <p:spPr bwMode="auto">
            <a:xfrm>
              <a:off x="6687351" y="197047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460" name="Oval 322"/>
            <p:cNvSpPr>
              <a:spLocks noChangeAspect="1" noChangeArrowheads="1"/>
            </p:cNvSpPr>
            <p:nvPr userDrawn="1"/>
          </p:nvSpPr>
          <p:spPr bwMode="auto">
            <a:xfrm>
              <a:off x="6798926" y="197047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461" name="Oval 323"/>
            <p:cNvSpPr>
              <a:spLocks noChangeAspect="1" noChangeArrowheads="1"/>
            </p:cNvSpPr>
            <p:nvPr userDrawn="1"/>
          </p:nvSpPr>
          <p:spPr bwMode="auto">
            <a:xfrm>
              <a:off x="6912011" y="197047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462" name="Oval 324"/>
            <p:cNvSpPr>
              <a:spLocks noChangeAspect="1" noChangeArrowheads="1"/>
            </p:cNvSpPr>
            <p:nvPr userDrawn="1"/>
          </p:nvSpPr>
          <p:spPr bwMode="auto">
            <a:xfrm>
              <a:off x="7023587" y="197047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463" name="Oval 325"/>
            <p:cNvSpPr>
              <a:spLocks noChangeAspect="1" noChangeArrowheads="1"/>
            </p:cNvSpPr>
            <p:nvPr userDrawn="1"/>
          </p:nvSpPr>
          <p:spPr bwMode="auto">
            <a:xfrm>
              <a:off x="7136670" y="197047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464" name="Oval 326"/>
            <p:cNvSpPr>
              <a:spLocks noChangeAspect="1" noChangeArrowheads="1"/>
            </p:cNvSpPr>
            <p:nvPr userDrawn="1"/>
          </p:nvSpPr>
          <p:spPr bwMode="auto">
            <a:xfrm>
              <a:off x="7248246" y="197047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465" name="Oval 327"/>
            <p:cNvSpPr>
              <a:spLocks noChangeAspect="1" noChangeArrowheads="1"/>
            </p:cNvSpPr>
            <p:nvPr userDrawn="1"/>
          </p:nvSpPr>
          <p:spPr bwMode="auto">
            <a:xfrm>
              <a:off x="7361330" y="197047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466" name="Oval 328"/>
            <p:cNvSpPr>
              <a:spLocks noChangeAspect="1" noChangeArrowheads="1"/>
            </p:cNvSpPr>
            <p:nvPr userDrawn="1"/>
          </p:nvSpPr>
          <p:spPr bwMode="auto">
            <a:xfrm>
              <a:off x="7472905" y="197047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467" name="Oval 329"/>
            <p:cNvSpPr>
              <a:spLocks noChangeAspect="1" noChangeArrowheads="1"/>
            </p:cNvSpPr>
            <p:nvPr userDrawn="1"/>
          </p:nvSpPr>
          <p:spPr bwMode="auto">
            <a:xfrm>
              <a:off x="7585989" y="197047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468" name="Oval 330"/>
            <p:cNvSpPr>
              <a:spLocks noChangeAspect="1" noChangeArrowheads="1"/>
            </p:cNvSpPr>
            <p:nvPr userDrawn="1"/>
          </p:nvSpPr>
          <p:spPr bwMode="auto">
            <a:xfrm>
              <a:off x="7697565" y="197047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469" name="Oval 331"/>
            <p:cNvSpPr>
              <a:spLocks noChangeAspect="1" noChangeArrowheads="1"/>
            </p:cNvSpPr>
            <p:nvPr userDrawn="1"/>
          </p:nvSpPr>
          <p:spPr bwMode="auto">
            <a:xfrm>
              <a:off x="7810649" y="197047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470" name="Oval 332"/>
            <p:cNvSpPr>
              <a:spLocks noChangeAspect="1" noChangeArrowheads="1"/>
            </p:cNvSpPr>
            <p:nvPr userDrawn="1"/>
          </p:nvSpPr>
          <p:spPr bwMode="auto">
            <a:xfrm>
              <a:off x="7922225" y="197047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471" name="Oval 333"/>
            <p:cNvSpPr>
              <a:spLocks noChangeAspect="1" noChangeArrowheads="1"/>
            </p:cNvSpPr>
            <p:nvPr userDrawn="1"/>
          </p:nvSpPr>
          <p:spPr bwMode="auto">
            <a:xfrm>
              <a:off x="8035308" y="197047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472" name="Oval 334"/>
            <p:cNvSpPr>
              <a:spLocks noChangeAspect="1" noChangeArrowheads="1"/>
            </p:cNvSpPr>
            <p:nvPr userDrawn="1"/>
          </p:nvSpPr>
          <p:spPr bwMode="auto">
            <a:xfrm>
              <a:off x="8146884" y="197047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473" name="Oval 335"/>
            <p:cNvSpPr>
              <a:spLocks noChangeAspect="1" noChangeArrowheads="1"/>
            </p:cNvSpPr>
            <p:nvPr userDrawn="1"/>
          </p:nvSpPr>
          <p:spPr bwMode="auto">
            <a:xfrm>
              <a:off x="8259968" y="197047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474" name="Oval 336"/>
            <p:cNvSpPr>
              <a:spLocks noChangeAspect="1" noChangeArrowheads="1"/>
            </p:cNvSpPr>
            <p:nvPr userDrawn="1"/>
          </p:nvSpPr>
          <p:spPr bwMode="auto">
            <a:xfrm>
              <a:off x="8371544" y="197047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475" name="Oval 337"/>
            <p:cNvSpPr>
              <a:spLocks noChangeAspect="1" noChangeArrowheads="1"/>
            </p:cNvSpPr>
            <p:nvPr userDrawn="1"/>
          </p:nvSpPr>
          <p:spPr bwMode="auto">
            <a:xfrm>
              <a:off x="8484629" y="197047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476" name="Oval 338"/>
            <p:cNvSpPr>
              <a:spLocks noChangeAspect="1" noChangeArrowheads="1"/>
            </p:cNvSpPr>
            <p:nvPr userDrawn="1"/>
          </p:nvSpPr>
          <p:spPr bwMode="auto">
            <a:xfrm>
              <a:off x="395370" y="197047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477" name="Oval 339"/>
            <p:cNvSpPr>
              <a:spLocks noChangeAspect="1" noChangeArrowheads="1"/>
            </p:cNvSpPr>
            <p:nvPr userDrawn="1"/>
          </p:nvSpPr>
          <p:spPr bwMode="auto">
            <a:xfrm>
              <a:off x="506946" y="197047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478" name="Oval 340"/>
            <p:cNvSpPr>
              <a:spLocks noChangeAspect="1" noChangeArrowheads="1"/>
            </p:cNvSpPr>
            <p:nvPr userDrawn="1"/>
          </p:nvSpPr>
          <p:spPr bwMode="auto">
            <a:xfrm>
              <a:off x="620030" y="197047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479" name="Oval 341"/>
            <p:cNvSpPr>
              <a:spLocks noChangeAspect="1" noChangeArrowheads="1"/>
            </p:cNvSpPr>
            <p:nvPr userDrawn="1"/>
          </p:nvSpPr>
          <p:spPr bwMode="auto">
            <a:xfrm>
              <a:off x="731606" y="197047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480" name="Oval 342"/>
            <p:cNvSpPr>
              <a:spLocks noChangeAspect="1" noChangeArrowheads="1"/>
            </p:cNvSpPr>
            <p:nvPr userDrawn="1"/>
          </p:nvSpPr>
          <p:spPr bwMode="auto">
            <a:xfrm>
              <a:off x="844690" y="207451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481" name="Oval 343"/>
            <p:cNvSpPr>
              <a:spLocks noChangeAspect="1" noChangeArrowheads="1"/>
            </p:cNvSpPr>
            <p:nvPr userDrawn="1"/>
          </p:nvSpPr>
          <p:spPr bwMode="auto">
            <a:xfrm>
              <a:off x="956266" y="207451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482" name="Oval 344"/>
            <p:cNvSpPr>
              <a:spLocks noChangeAspect="1" noChangeArrowheads="1"/>
            </p:cNvSpPr>
            <p:nvPr userDrawn="1"/>
          </p:nvSpPr>
          <p:spPr bwMode="auto">
            <a:xfrm>
              <a:off x="1069350" y="207451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483" name="Oval 345"/>
            <p:cNvSpPr>
              <a:spLocks noChangeAspect="1" noChangeArrowheads="1"/>
            </p:cNvSpPr>
            <p:nvPr userDrawn="1"/>
          </p:nvSpPr>
          <p:spPr bwMode="auto">
            <a:xfrm>
              <a:off x="1180926" y="207451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484" name="Oval 346"/>
            <p:cNvSpPr>
              <a:spLocks noChangeAspect="1" noChangeArrowheads="1"/>
            </p:cNvSpPr>
            <p:nvPr userDrawn="1"/>
          </p:nvSpPr>
          <p:spPr bwMode="auto">
            <a:xfrm>
              <a:off x="1294009" y="207451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485" name="Oval 347"/>
            <p:cNvSpPr>
              <a:spLocks noChangeAspect="1" noChangeArrowheads="1"/>
            </p:cNvSpPr>
            <p:nvPr userDrawn="1"/>
          </p:nvSpPr>
          <p:spPr bwMode="auto">
            <a:xfrm>
              <a:off x="1405584" y="207451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486" name="Oval 348"/>
            <p:cNvSpPr>
              <a:spLocks noChangeAspect="1" noChangeArrowheads="1"/>
            </p:cNvSpPr>
            <p:nvPr userDrawn="1"/>
          </p:nvSpPr>
          <p:spPr bwMode="auto">
            <a:xfrm>
              <a:off x="1518670" y="207451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487" name="Oval 349"/>
            <p:cNvSpPr>
              <a:spLocks noChangeAspect="1" noChangeArrowheads="1"/>
            </p:cNvSpPr>
            <p:nvPr userDrawn="1"/>
          </p:nvSpPr>
          <p:spPr bwMode="auto">
            <a:xfrm>
              <a:off x="1630246" y="207451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488" name="Oval 350"/>
            <p:cNvSpPr>
              <a:spLocks noChangeAspect="1" noChangeArrowheads="1"/>
            </p:cNvSpPr>
            <p:nvPr userDrawn="1"/>
          </p:nvSpPr>
          <p:spPr bwMode="auto">
            <a:xfrm>
              <a:off x="1743329" y="207451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489" name="Oval 351"/>
            <p:cNvSpPr>
              <a:spLocks noChangeAspect="1" noChangeArrowheads="1"/>
            </p:cNvSpPr>
            <p:nvPr userDrawn="1"/>
          </p:nvSpPr>
          <p:spPr bwMode="auto">
            <a:xfrm>
              <a:off x="1854905" y="207451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490" name="Oval 352"/>
            <p:cNvSpPr>
              <a:spLocks noChangeAspect="1" noChangeArrowheads="1"/>
            </p:cNvSpPr>
            <p:nvPr userDrawn="1"/>
          </p:nvSpPr>
          <p:spPr bwMode="auto">
            <a:xfrm>
              <a:off x="1967987" y="207451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491" name="Oval 353"/>
            <p:cNvSpPr>
              <a:spLocks noChangeAspect="1" noChangeArrowheads="1"/>
            </p:cNvSpPr>
            <p:nvPr userDrawn="1"/>
          </p:nvSpPr>
          <p:spPr bwMode="auto">
            <a:xfrm>
              <a:off x="2079563" y="207451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492" name="Oval 354"/>
            <p:cNvSpPr>
              <a:spLocks noChangeAspect="1" noChangeArrowheads="1"/>
            </p:cNvSpPr>
            <p:nvPr userDrawn="1"/>
          </p:nvSpPr>
          <p:spPr bwMode="auto">
            <a:xfrm>
              <a:off x="2528885" y="207451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493" name="Oval 355"/>
            <p:cNvSpPr>
              <a:spLocks noChangeAspect="1" noChangeArrowheads="1"/>
            </p:cNvSpPr>
            <p:nvPr userDrawn="1"/>
          </p:nvSpPr>
          <p:spPr bwMode="auto">
            <a:xfrm>
              <a:off x="3315946" y="207451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494" name="Oval 356"/>
            <p:cNvSpPr>
              <a:spLocks noChangeAspect="1" noChangeArrowheads="1"/>
            </p:cNvSpPr>
            <p:nvPr userDrawn="1"/>
          </p:nvSpPr>
          <p:spPr bwMode="auto">
            <a:xfrm>
              <a:off x="3765266" y="197047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495" name="Oval 357"/>
            <p:cNvSpPr>
              <a:spLocks noChangeAspect="1" noChangeArrowheads="1"/>
            </p:cNvSpPr>
            <p:nvPr userDrawn="1"/>
          </p:nvSpPr>
          <p:spPr bwMode="auto">
            <a:xfrm>
              <a:off x="4439245" y="207451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496" name="Oval 358"/>
            <p:cNvSpPr>
              <a:spLocks noChangeAspect="1" noChangeArrowheads="1"/>
            </p:cNvSpPr>
            <p:nvPr userDrawn="1"/>
          </p:nvSpPr>
          <p:spPr bwMode="auto">
            <a:xfrm>
              <a:off x="4552328" y="207451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497" name="Oval 359"/>
            <p:cNvSpPr>
              <a:spLocks noChangeAspect="1" noChangeArrowheads="1"/>
            </p:cNvSpPr>
            <p:nvPr userDrawn="1"/>
          </p:nvSpPr>
          <p:spPr bwMode="auto">
            <a:xfrm>
              <a:off x="4663905" y="2074510"/>
              <a:ext cx="85943" cy="85943"/>
            </a:xfrm>
            <a:prstGeom prst="ellipse">
              <a:avLst/>
            </a:prstGeom>
            <a:grpFill/>
            <a:ln>
              <a:noFill/>
            </a:ln>
            <a:effec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498" name="Oval 360"/>
            <p:cNvSpPr>
              <a:spLocks noChangeAspect="1" noChangeArrowheads="1"/>
            </p:cNvSpPr>
            <p:nvPr userDrawn="1"/>
          </p:nvSpPr>
          <p:spPr bwMode="auto">
            <a:xfrm>
              <a:off x="4888565" y="207451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499" name="Oval 361"/>
            <p:cNvSpPr>
              <a:spLocks noChangeAspect="1" noChangeArrowheads="1"/>
            </p:cNvSpPr>
            <p:nvPr userDrawn="1"/>
          </p:nvSpPr>
          <p:spPr bwMode="auto">
            <a:xfrm>
              <a:off x="5001649" y="207451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500" name="Oval 362"/>
            <p:cNvSpPr>
              <a:spLocks noChangeAspect="1" noChangeArrowheads="1"/>
            </p:cNvSpPr>
            <p:nvPr userDrawn="1"/>
          </p:nvSpPr>
          <p:spPr bwMode="auto">
            <a:xfrm>
              <a:off x="5113225" y="207451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501" name="Oval 363"/>
            <p:cNvSpPr>
              <a:spLocks noChangeAspect="1" noChangeArrowheads="1"/>
            </p:cNvSpPr>
            <p:nvPr userDrawn="1"/>
          </p:nvSpPr>
          <p:spPr bwMode="auto">
            <a:xfrm>
              <a:off x="5226308" y="2074510"/>
              <a:ext cx="85944" cy="85943"/>
            </a:xfrm>
            <a:prstGeom prst="ellipse">
              <a:avLst/>
            </a:prstGeom>
            <a:grpFill/>
            <a:ln>
              <a:noFill/>
            </a:ln>
            <a:effec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502" name="Oval 364"/>
            <p:cNvSpPr>
              <a:spLocks noChangeAspect="1" noChangeArrowheads="1"/>
            </p:cNvSpPr>
            <p:nvPr userDrawn="1"/>
          </p:nvSpPr>
          <p:spPr bwMode="auto">
            <a:xfrm>
              <a:off x="5337884" y="207451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503" name="Oval 365"/>
            <p:cNvSpPr>
              <a:spLocks noChangeAspect="1" noChangeArrowheads="1"/>
            </p:cNvSpPr>
            <p:nvPr userDrawn="1"/>
          </p:nvSpPr>
          <p:spPr bwMode="auto">
            <a:xfrm>
              <a:off x="5450968" y="207451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504" name="Oval 366"/>
            <p:cNvSpPr>
              <a:spLocks noChangeAspect="1" noChangeArrowheads="1"/>
            </p:cNvSpPr>
            <p:nvPr userDrawn="1"/>
          </p:nvSpPr>
          <p:spPr bwMode="auto">
            <a:xfrm>
              <a:off x="5562544" y="207451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505" name="Oval 367"/>
            <p:cNvSpPr>
              <a:spLocks noChangeAspect="1" noChangeArrowheads="1"/>
            </p:cNvSpPr>
            <p:nvPr userDrawn="1"/>
          </p:nvSpPr>
          <p:spPr bwMode="auto">
            <a:xfrm>
              <a:off x="5675627" y="207451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506" name="Oval 368"/>
            <p:cNvSpPr>
              <a:spLocks noChangeAspect="1" noChangeArrowheads="1"/>
            </p:cNvSpPr>
            <p:nvPr userDrawn="1"/>
          </p:nvSpPr>
          <p:spPr bwMode="auto">
            <a:xfrm>
              <a:off x="5787203" y="207451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507" name="Oval 369"/>
            <p:cNvSpPr>
              <a:spLocks noChangeAspect="1" noChangeArrowheads="1"/>
            </p:cNvSpPr>
            <p:nvPr userDrawn="1"/>
          </p:nvSpPr>
          <p:spPr bwMode="auto">
            <a:xfrm>
              <a:off x="5900288" y="207451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508" name="Oval 370"/>
            <p:cNvSpPr>
              <a:spLocks noChangeAspect="1" noChangeArrowheads="1"/>
            </p:cNvSpPr>
            <p:nvPr userDrawn="1"/>
          </p:nvSpPr>
          <p:spPr bwMode="auto">
            <a:xfrm>
              <a:off x="6013372" y="207451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509" name="Oval 371"/>
            <p:cNvSpPr>
              <a:spLocks noChangeAspect="1" noChangeArrowheads="1"/>
            </p:cNvSpPr>
            <p:nvPr userDrawn="1"/>
          </p:nvSpPr>
          <p:spPr bwMode="auto">
            <a:xfrm>
              <a:off x="6124948" y="207451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510" name="Oval 372"/>
            <p:cNvSpPr>
              <a:spLocks noChangeAspect="1" noChangeArrowheads="1"/>
            </p:cNvSpPr>
            <p:nvPr userDrawn="1"/>
          </p:nvSpPr>
          <p:spPr bwMode="auto">
            <a:xfrm>
              <a:off x="6238031" y="207451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511" name="Oval 373"/>
            <p:cNvSpPr>
              <a:spLocks noChangeAspect="1" noChangeArrowheads="1"/>
            </p:cNvSpPr>
            <p:nvPr userDrawn="1"/>
          </p:nvSpPr>
          <p:spPr bwMode="auto">
            <a:xfrm>
              <a:off x="6349607" y="207451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512" name="Oval 374"/>
            <p:cNvSpPr>
              <a:spLocks noChangeAspect="1" noChangeArrowheads="1"/>
            </p:cNvSpPr>
            <p:nvPr userDrawn="1"/>
          </p:nvSpPr>
          <p:spPr bwMode="auto">
            <a:xfrm>
              <a:off x="6462690" y="207451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513" name="Oval 375"/>
            <p:cNvSpPr>
              <a:spLocks noChangeAspect="1" noChangeArrowheads="1"/>
            </p:cNvSpPr>
            <p:nvPr userDrawn="1"/>
          </p:nvSpPr>
          <p:spPr bwMode="auto">
            <a:xfrm>
              <a:off x="6574266" y="207451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514" name="Oval 376"/>
            <p:cNvSpPr>
              <a:spLocks noChangeAspect="1" noChangeArrowheads="1"/>
            </p:cNvSpPr>
            <p:nvPr userDrawn="1"/>
          </p:nvSpPr>
          <p:spPr bwMode="auto">
            <a:xfrm>
              <a:off x="6687351" y="207451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515" name="Oval 377"/>
            <p:cNvSpPr>
              <a:spLocks noChangeAspect="1" noChangeArrowheads="1"/>
            </p:cNvSpPr>
            <p:nvPr userDrawn="1"/>
          </p:nvSpPr>
          <p:spPr bwMode="auto">
            <a:xfrm>
              <a:off x="6798926" y="207451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516" name="Oval 378"/>
            <p:cNvSpPr>
              <a:spLocks noChangeAspect="1" noChangeArrowheads="1"/>
            </p:cNvSpPr>
            <p:nvPr userDrawn="1"/>
          </p:nvSpPr>
          <p:spPr bwMode="auto">
            <a:xfrm>
              <a:off x="6912011" y="207451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517" name="Oval 379"/>
            <p:cNvSpPr>
              <a:spLocks noChangeAspect="1" noChangeArrowheads="1"/>
            </p:cNvSpPr>
            <p:nvPr userDrawn="1"/>
          </p:nvSpPr>
          <p:spPr bwMode="auto">
            <a:xfrm>
              <a:off x="7023587" y="207451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518" name="Oval 380"/>
            <p:cNvSpPr>
              <a:spLocks noChangeAspect="1" noChangeArrowheads="1"/>
            </p:cNvSpPr>
            <p:nvPr userDrawn="1"/>
          </p:nvSpPr>
          <p:spPr bwMode="auto">
            <a:xfrm>
              <a:off x="7136670" y="207451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519" name="Oval 381"/>
            <p:cNvSpPr>
              <a:spLocks noChangeAspect="1" noChangeArrowheads="1"/>
            </p:cNvSpPr>
            <p:nvPr userDrawn="1"/>
          </p:nvSpPr>
          <p:spPr bwMode="auto">
            <a:xfrm>
              <a:off x="7248246" y="207451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520" name="Oval 382"/>
            <p:cNvSpPr>
              <a:spLocks noChangeAspect="1" noChangeArrowheads="1"/>
            </p:cNvSpPr>
            <p:nvPr userDrawn="1"/>
          </p:nvSpPr>
          <p:spPr bwMode="auto">
            <a:xfrm>
              <a:off x="7361330" y="207451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521" name="Oval 383"/>
            <p:cNvSpPr>
              <a:spLocks noChangeAspect="1" noChangeArrowheads="1"/>
            </p:cNvSpPr>
            <p:nvPr userDrawn="1"/>
          </p:nvSpPr>
          <p:spPr bwMode="auto">
            <a:xfrm>
              <a:off x="7472905" y="207451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522" name="Oval 384"/>
            <p:cNvSpPr>
              <a:spLocks noChangeAspect="1" noChangeArrowheads="1"/>
            </p:cNvSpPr>
            <p:nvPr userDrawn="1"/>
          </p:nvSpPr>
          <p:spPr bwMode="auto">
            <a:xfrm>
              <a:off x="7585989" y="207451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523" name="Oval 385"/>
            <p:cNvSpPr>
              <a:spLocks noChangeAspect="1" noChangeArrowheads="1"/>
            </p:cNvSpPr>
            <p:nvPr userDrawn="1"/>
          </p:nvSpPr>
          <p:spPr bwMode="auto">
            <a:xfrm>
              <a:off x="7697565" y="207451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524" name="Oval 386"/>
            <p:cNvSpPr>
              <a:spLocks noChangeAspect="1" noChangeArrowheads="1"/>
            </p:cNvSpPr>
            <p:nvPr userDrawn="1"/>
          </p:nvSpPr>
          <p:spPr bwMode="auto">
            <a:xfrm>
              <a:off x="7810649" y="207451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525" name="Oval 387"/>
            <p:cNvSpPr>
              <a:spLocks noChangeAspect="1" noChangeArrowheads="1"/>
            </p:cNvSpPr>
            <p:nvPr userDrawn="1"/>
          </p:nvSpPr>
          <p:spPr bwMode="auto">
            <a:xfrm>
              <a:off x="7922225" y="207451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526" name="Oval 388"/>
            <p:cNvSpPr>
              <a:spLocks noChangeAspect="1" noChangeArrowheads="1"/>
            </p:cNvSpPr>
            <p:nvPr userDrawn="1"/>
          </p:nvSpPr>
          <p:spPr bwMode="auto">
            <a:xfrm>
              <a:off x="8035308" y="207451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527" name="Oval 389"/>
            <p:cNvSpPr>
              <a:spLocks noChangeAspect="1" noChangeArrowheads="1"/>
            </p:cNvSpPr>
            <p:nvPr userDrawn="1"/>
          </p:nvSpPr>
          <p:spPr bwMode="auto">
            <a:xfrm>
              <a:off x="8146884" y="207451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528" name="Oval 390"/>
            <p:cNvSpPr>
              <a:spLocks noChangeAspect="1" noChangeArrowheads="1"/>
            </p:cNvSpPr>
            <p:nvPr userDrawn="1"/>
          </p:nvSpPr>
          <p:spPr bwMode="auto">
            <a:xfrm>
              <a:off x="8259968" y="207451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529" name="Oval 391"/>
            <p:cNvSpPr>
              <a:spLocks noChangeAspect="1" noChangeArrowheads="1"/>
            </p:cNvSpPr>
            <p:nvPr userDrawn="1"/>
          </p:nvSpPr>
          <p:spPr bwMode="auto">
            <a:xfrm>
              <a:off x="8371544" y="207451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530" name="Oval 392"/>
            <p:cNvSpPr>
              <a:spLocks noChangeAspect="1" noChangeArrowheads="1"/>
            </p:cNvSpPr>
            <p:nvPr userDrawn="1"/>
          </p:nvSpPr>
          <p:spPr bwMode="auto">
            <a:xfrm>
              <a:off x="395370" y="207451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531" name="Oval 393"/>
            <p:cNvSpPr>
              <a:spLocks noChangeAspect="1" noChangeArrowheads="1"/>
            </p:cNvSpPr>
            <p:nvPr userDrawn="1"/>
          </p:nvSpPr>
          <p:spPr bwMode="auto">
            <a:xfrm>
              <a:off x="506946" y="207451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532" name="Oval 394"/>
            <p:cNvSpPr>
              <a:spLocks noChangeAspect="1" noChangeArrowheads="1"/>
            </p:cNvSpPr>
            <p:nvPr userDrawn="1"/>
          </p:nvSpPr>
          <p:spPr bwMode="auto">
            <a:xfrm>
              <a:off x="620030" y="207451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533" name="Oval 395"/>
            <p:cNvSpPr>
              <a:spLocks noChangeAspect="1" noChangeArrowheads="1"/>
            </p:cNvSpPr>
            <p:nvPr userDrawn="1"/>
          </p:nvSpPr>
          <p:spPr bwMode="auto">
            <a:xfrm>
              <a:off x="731606" y="207451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534" name="Oval 396"/>
            <p:cNvSpPr>
              <a:spLocks noChangeAspect="1" noChangeArrowheads="1"/>
            </p:cNvSpPr>
            <p:nvPr userDrawn="1"/>
          </p:nvSpPr>
          <p:spPr bwMode="auto">
            <a:xfrm>
              <a:off x="1180926" y="217854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535" name="Oval 397"/>
            <p:cNvSpPr>
              <a:spLocks noChangeAspect="1" noChangeArrowheads="1"/>
            </p:cNvSpPr>
            <p:nvPr userDrawn="1"/>
          </p:nvSpPr>
          <p:spPr bwMode="auto">
            <a:xfrm>
              <a:off x="1294009" y="217854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536" name="Oval 398"/>
            <p:cNvSpPr>
              <a:spLocks noChangeAspect="1" noChangeArrowheads="1"/>
            </p:cNvSpPr>
            <p:nvPr userDrawn="1"/>
          </p:nvSpPr>
          <p:spPr bwMode="auto">
            <a:xfrm>
              <a:off x="1405584" y="217854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537" name="Oval 399"/>
            <p:cNvSpPr>
              <a:spLocks noChangeAspect="1" noChangeArrowheads="1"/>
            </p:cNvSpPr>
            <p:nvPr userDrawn="1"/>
          </p:nvSpPr>
          <p:spPr bwMode="auto">
            <a:xfrm>
              <a:off x="1518670" y="217854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538" name="Oval 400"/>
            <p:cNvSpPr>
              <a:spLocks noChangeAspect="1" noChangeArrowheads="1"/>
            </p:cNvSpPr>
            <p:nvPr userDrawn="1"/>
          </p:nvSpPr>
          <p:spPr bwMode="auto">
            <a:xfrm>
              <a:off x="1630246" y="217854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539" name="Oval 401"/>
            <p:cNvSpPr>
              <a:spLocks noChangeAspect="1" noChangeArrowheads="1"/>
            </p:cNvSpPr>
            <p:nvPr userDrawn="1"/>
          </p:nvSpPr>
          <p:spPr bwMode="auto">
            <a:xfrm>
              <a:off x="1743329" y="217854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540" name="Oval 402"/>
            <p:cNvSpPr>
              <a:spLocks noChangeAspect="1" noChangeArrowheads="1"/>
            </p:cNvSpPr>
            <p:nvPr userDrawn="1"/>
          </p:nvSpPr>
          <p:spPr bwMode="auto">
            <a:xfrm>
              <a:off x="1854905" y="217854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541" name="Oval 403"/>
            <p:cNvSpPr>
              <a:spLocks noChangeAspect="1" noChangeArrowheads="1"/>
            </p:cNvSpPr>
            <p:nvPr userDrawn="1"/>
          </p:nvSpPr>
          <p:spPr bwMode="auto">
            <a:xfrm>
              <a:off x="1967987" y="217854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542" name="Oval 404"/>
            <p:cNvSpPr>
              <a:spLocks noChangeAspect="1" noChangeArrowheads="1"/>
            </p:cNvSpPr>
            <p:nvPr userDrawn="1"/>
          </p:nvSpPr>
          <p:spPr bwMode="auto">
            <a:xfrm>
              <a:off x="2079563" y="217854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543" name="Oval 405"/>
            <p:cNvSpPr>
              <a:spLocks noChangeAspect="1" noChangeArrowheads="1"/>
            </p:cNvSpPr>
            <p:nvPr userDrawn="1"/>
          </p:nvSpPr>
          <p:spPr bwMode="auto">
            <a:xfrm>
              <a:off x="2528885" y="217854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544" name="Oval 406"/>
            <p:cNvSpPr>
              <a:spLocks noChangeAspect="1" noChangeArrowheads="1"/>
            </p:cNvSpPr>
            <p:nvPr userDrawn="1"/>
          </p:nvSpPr>
          <p:spPr bwMode="auto">
            <a:xfrm>
              <a:off x="2641967" y="217854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545" name="Oval 407"/>
            <p:cNvSpPr>
              <a:spLocks noChangeAspect="1" noChangeArrowheads="1"/>
            </p:cNvSpPr>
            <p:nvPr userDrawn="1"/>
          </p:nvSpPr>
          <p:spPr bwMode="auto">
            <a:xfrm>
              <a:off x="2753543" y="217854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546" name="Oval 408"/>
            <p:cNvSpPr>
              <a:spLocks noChangeAspect="1" noChangeArrowheads="1"/>
            </p:cNvSpPr>
            <p:nvPr userDrawn="1"/>
          </p:nvSpPr>
          <p:spPr bwMode="auto">
            <a:xfrm>
              <a:off x="4214586" y="2178547"/>
              <a:ext cx="85943" cy="85944"/>
            </a:xfrm>
            <a:prstGeom prst="ellipse">
              <a:avLst/>
            </a:prstGeom>
            <a:grpFill/>
            <a:ln>
              <a:noFill/>
            </a:ln>
            <a:effec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547" name="Oval 409"/>
            <p:cNvSpPr>
              <a:spLocks noChangeAspect="1" noChangeArrowheads="1"/>
            </p:cNvSpPr>
            <p:nvPr userDrawn="1"/>
          </p:nvSpPr>
          <p:spPr bwMode="auto">
            <a:xfrm>
              <a:off x="4439245" y="217854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548" name="Oval 410"/>
            <p:cNvSpPr>
              <a:spLocks noChangeAspect="1" noChangeArrowheads="1"/>
            </p:cNvSpPr>
            <p:nvPr userDrawn="1"/>
          </p:nvSpPr>
          <p:spPr bwMode="auto">
            <a:xfrm>
              <a:off x="4552328" y="217854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549" name="Oval 411"/>
            <p:cNvSpPr>
              <a:spLocks noChangeAspect="1" noChangeArrowheads="1"/>
            </p:cNvSpPr>
            <p:nvPr userDrawn="1"/>
          </p:nvSpPr>
          <p:spPr bwMode="auto">
            <a:xfrm>
              <a:off x="4663904" y="217854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550" name="Oval 412"/>
            <p:cNvSpPr>
              <a:spLocks noChangeAspect="1" noChangeArrowheads="1"/>
            </p:cNvSpPr>
            <p:nvPr userDrawn="1"/>
          </p:nvSpPr>
          <p:spPr bwMode="auto">
            <a:xfrm>
              <a:off x="4888565" y="217854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551" name="Oval 413"/>
            <p:cNvSpPr>
              <a:spLocks noChangeAspect="1" noChangeArrowheads="1"/>
            </p:cNvSpPr>
            <p:nvPr userDrawn="1"/>
          </p:nvSpPr>
          <p:spPr bwMode="auto">
            <a:xfrm>
              <a:off x="5001649" y="217854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552" name="Oval 414"/>
            <p:cNvSpPr>
              <a:spLocks noChangeAspect="1" noChangeArrowheads="1"/>
            </p:cNvSpPr>
            <p:nvPr userDrawn="1"/>
          </p:nvSpPr>
          <p:spPr bwMode="auto">
            <a:xfrm>
              <a:off x="5113225" y="217854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553" name="Oval 415"/>
            <p:cNvSpPr>
              <a:spLocks noChangeAspect="1" noChangeArrowheads="1"/>
            </p:cNvSpPr>
            <p:nvPr userDrawn="1"/>
          </p:nvSpPr>
          <p:spPr bwMode="auto">
            <a:xfrm>
              <a:off x="5226308" y="217854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554" name="Oval 416"/>
            <p:cNvSpPr>
              <a:spLocks noChangeAspect="1" noChangeArrowheads="1"/>
            </p:cNvSpPr>
            <p:nvPr userDrawn="1"/>
          </p:nvSpPr>
          <p:spPr bwMode="auto">
            <a:xfrm>
              <a:off x="5337884" y="217854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555" name="Oval 417"/>
            <p:cNvSpPr>
              <a:spLocks noChangeAspect="1" noChangeArrowheads="1"/>
            </p:cNvSpPr>
            <p:nvPr userDrawn="1"/>
          </p:nvSpPr>
          <p:spPr bwMode="auto">
            <a:xfrm>
              <a:off x="5450968" y="217854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556" name="Oval 418"/>
            <p:cNvSpPr>
              <a:spLocks noChangeAspect="1" noChangeArrowheads="1"/>
            </p:cNvSpPr>
            <p:nvPr userDrawn="1"/>
          </p:nvSpPr>
          <p:spPr bwMode="auto">
            <a:xfrm>
              <a:off x="5562544" y="217854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557" name="Oval 419"/>
            <p:cNvSpPr>
              <a:spLocks noChangeAspect="1" noChangeArrowheads="1"/>
            </p:cNvSpPr>
            <p:nvPr userDrawn="1"/>
          </p:nvSpPr>
          <p:spPr bwMode="auto">
            <a:xfrm>
              <a:off x="5675627" y="217854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558" name="Oval 420"/>
            <p:cNvSpPr>
              <a:spLocks noChangeAspect="1" noChangeArrowheads="1"/>
            </p:cNvSpPr>
            <p:nvPr userDrawn="1"/>
          </p:nvSpPr>
          <p:spPr bwMode="auto">
            <a:xfrm>
              <a:off x="5787203" y="217854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559" name="Oval 421"/>
            <p:cNvSpPr>
              <a:spLocks noChangeAspect="1" noChangeArrowheads="1"/>
            </p:cNvSpPr>
            <p:nvPr userDrawn="1"/>
          </p:nvSpPr>
          <p:spPr bwMode="auto">
            <a:xfrm>
              <a:off x="5900288" y="217854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560" name="Oval 422"/>
            <p:cNvSpPr>
              <a:spLocks noChangeAspect="1" noChangeArrowheads="1"/>
            </p:cNvSpPr>
            <p:nvPr userDrawn="1"/>
          </p:nvSpPr>
          <p:spPr bwMode="auto">
            <a:xfrm>
              <a:off x="6013372" y="217854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561" name="Oval 423"/>
            <p:cNvSpPr>
              <a:spLocks noChangeAspect="1" noChangeArrowheads="1"/>
            </p:cNvSpPr>
            <p:nvPr userDrawn="1"/>
          </p:nvSpPr>
          <p:spPr bwMode="auto">
            <a:xfrm>
              <a:off x="6124948" y="217854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562" name="Oval 424"/>
            <p:cNvSpPr>
              <a:spLocks noChangeAspect="1" noChangeArrowheads="1"/>
            </p:cNvSpPr>
            <p:nvPr userDrawn="1"/>
          </p:nvSpPr>
          <p:spPr bwMode="auto">
            <a:xfrm>
              <a:off x="6238031" y="217854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563" name="Oval 425"/>
            <p:cNvSpPr>
              <a:spLocks noChangeAspect="1" noChangeArrowheads="1"/>
            </p:cNvSpPr>
            <p:nvPr userDrawn="1"/>
          </p:nvSpPr>
          <p:spPr bwMode="auto">
            <a:xfrm>
              <a:off x="6349607" y="217854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564" name="Oval 426"/>
            <p:cNvSpPr>
              <a:spLocks noChangeAspect="1" noChangeArrowheads="1"/>
            </p:cNvSpPr>
            <p:nvPr userDrawn="1"/>
          </p:nvSpPr>
          <p:spPr bwMode="auto">
            <a:xfrm>
              <a:off x="6462690" y="217854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565" name="Oval 427"/>
            <p:cNvSpPr>
              <a:spLocks noChangeAspect="1" noChangeArrowheads="1"/>
            </p:cNvSpPr>
            <p:nvPr userDrawn="1"/>
          </p:nvSpPr>
          <p:spPr bwMode="auto">
            <a:xfrm>
              <a:off x="6574266" y="217854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566" name="Oval 428"/>
            <p:cNvSpPr>
              <a:spLocks noChangeAspect="1" noChangeArrowheads="1"/>
            </p:cNvSpPr>
            <p:nvPr userDrawn="1"/>
          </p:nvSpPr>
          <p:spPr bwMode="auto">
            <a:xfrm>
              <a:off x="6687351" y="217854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567" name="Oval 429"/>
            <p:cNvSpPr>
              <a:spLocks noChangeAspect="1" noChangeArrowheads="1"/>
            </p:cNvSpPr>
            <p:nvPr userDrawn="1"/>
          </p:nvSpPr>
          <p:spPr bwMode="auto">
            <a:xfrm>
              <a:off x="6798926" y="217854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568" name="Oval 430"/>
            <p:cNvSpPr>
              <a:spLocks noChangeAspect="1" noChangeArrowheads="1"/>
            </p:cNvSpPr>
            <p:nvPr userDrawn="1"/>
          </p:nvSpPr>
          <p:spPr bwMode="auto">
            <a:xfrm>
              <a:off x="6912011" y="217854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569" name="Oval 431"/>
            <p:cNvSpPr>
              <a:spLocks noChangeAspect="1" noChangeArrowheads="1"/>
            </p:cNvSpPr>
            <p:nvPr userDrawn="1"/>
          </p:nvSpPr>
          <p:spPr bwMode="auto">
            <a:xfrm>
              <a:off x="7023587" y="217854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570" name="Oval 432"/>
            <p:cNvSpPr>
              <a:spLocks noChangeAspect="1" noChangeArrowheads="1"/>
            </p:cNvSpPr>
            <p:nvPr userDrawn="1"/>
          </p:nvSpPr>
          <p:spPr bwMode="auto">
            <a:xfrm>
              <a:off x="7136670" y="217854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571" name="Oval 433"/>
            <p:cNvSpPr>
              <a:spLocks noChangeAspect="1" noChangeArrowheads="1"/>
            </p:cNvSpPr>
            <p:nvPr userDrawn="1"/>
          </p:nvSpPr>
          <p:spPr bwMode="auto">
            <a:xfrm>
              <a:off x="7248246" y="217854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572" name="Oval 434"/>
            <p:cNvSpPr>
              <a:spLocks noChangeAspect="1" noChangeArrowheads="1"/>
            </p:cNvSpPr>
            <p:nvPr userDrawn="1"/>
          </p:nvSpPr>
          <p:spPr bwMode="auto">
            <a:xfrm>
              <a:off x="7361330" y="217854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573" name="Oval 435"/>
            <p:cNvSpPr>
              <a:spLocks noChangeAspect="1" noChangeArrowheads="1"/>
            </p:cNvSpPr>
            <p:nvPr userDrawn="1"/>
          </p:nvSpPr>
          <p:spPr bwMode="auto">
            <a:xfrm>
              <a:off x="7472905" y="217854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574" name="Oval 436"/>
            <p:cNvSpPr>
              <a:spLocks noChangeAspect="1" noChangeArrowheads="1"/>
            </p:cNvSpPr>
            <p:nvPr userDrawn="1"/>
          </p:nvSpPr>
          <p:spPr bwMode="auto">
            <a:xfrm>
              <a:off x="7585989" y="217854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575" name="Oval 437"/>
            <p:cNvSpPr>
              <a:spLocks noChangeAspect="1" noChangeArrowheads="1"/>
            </p:cNvSpPr>
            <p:nvPr userDrawn="1"/>
          </p:nvSpPr>
          <p:spPr bwMode="auto">
            <a:xfrm>
              <a:off x="8035308" y="217854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576" name="Oval 438"/>
            <p:cNvSpPr>
              <a:spLocks noChangeAspect="1" noChangeArrowheads="1"/>
            </p:cNvSpPr>
            <p:nvPr userDrawn="1"/>
          </p:nvSpPr>
          <p:spPr bwMode="auto">
            <a:xfrm>
              <a:off x="8146884" y="217854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577" name="Oval 439"/>
            <p:cNvSpPr>
              <a:spLocks noChangeAspect="1" noChangeArrowheads="1"/>
            </p:cNvSpPr>
            <p:nvPr userDrawn="1"/>
          </p:nvSpPr>
          <p:spPr bwMode="auto">
            <a:xfrm>
              <a:off x="506946" y="217854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578" name="Oval 440"/>
            <p:cNvSpPr>
              <a:spLocks noChangeAspect="1" noChangeArrowheads="1"/>
            </p:cNvSpPr>
            <p:nvPr userDrawn="1"/>
          </p:nvSpPr>
          <p:spPr bwMode="auto">
            <a:xfrm>
              <a:off x="620030" y="217854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579" name="Oval 441"/>
            <p:cNvSpPr>
              <a:spLocks noChangeAspect="1" noChangeArrowheads="1"/>
            </p:cNvSpPr>
            <p:nvPr userDrawn="1"/>
          </p:nvSpPr>
          <p:spPr bwMode="auto">
            <a:xfrm>
              <a:off x="731606" y="217854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580" name="Oval 442"/>
            <p:cNvSpPr>
              <a:spLocks noChangeAspect="1" noChangeArrowheads="1"/>
            </p:cNvSpPr>
            <p:nvPr userDrawn="1"/>
          </p:nvSpPr>
          <p:spPr bwMode="auto">
            <a:xfrm>
              <a:off x="1180926" y="228107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581" name="Oval 443"/>
            <p:cNvSpPr>
              <a:spLocks noChangeAspect="1" noChangeArrowheads="1"/>
            </p:cNvSpPr>
            <p:nvPr userDrawn="1"/>
          </p:nvSpPr>
          <p:spPr bwMode="auto">
            <a:xfrm>
              <a:off x="1294009" y="228107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582" name="Oval 444"/>
            <p:cNvSpPr>
              <a:spLocks noChangeAspect="1" noChangeArrowheads="1"/>
            </p:cNvSpPr>
            <p:nvPr userDrawn="1"/>
          </p:nvSpPr>
          <p:spPr bwMode="auto">
            <a:xfrm>
              <a:off x="1405584" y="228107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583" name="Oval 445"/>
            <p:cNvSpPr>
              <a:spLocks noChangeAspect="1" noChangeArrowheads="1"/>
            </p:cNvSpPr>
            <p:nvPr userDrawn="1"/>
          </p:nvSpPr>
          <p:spPr bwMode="auto">
            <a:xfrm>
              <a:off x="1518670" y="228107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584" name="Oval 446"/>
            <p:cNvSpPr>
              <a:spLocks noChangeAspect="1" noChangeArrowheads="1"/>
            </p:cNvSpPr>
            <p:nvPr userDrawn="1"/>
          </p:nvSpPr>
          <p:spPr bwMode="auto">
            <a:xfrm>
              <a:off x="1630246" y="228107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585" name="Oval 447"/>
            <p:cNvSpPr>
              <a:spLocks noChangeAspect="1" noChangeArrowheads="1"/>
            </p:cNvSpPr>
            <p:nvPr userDrawn="1"/>
          </p:nvSpPr>
          <p:spPr bwMode="auto">
            <a:xfrm>
              <a:off x="1743329" y="228107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586" name="Oval 448"/>
            <p:cNvSpPr>
              <a:spLocks noChangeAspect="1" noChangeArrowheads="1"/>
            </p:cNvSpPr>
            <p:nvPr userDrawn="1"/>
          </p:nvSpPr>
          <p:spPr bwMode="auto">
            <a:xfrm>
              <a:off x="1854905" y="228107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587" name="Oval 449"/>
            <p:cNvSpPr>
              <a:spLocks noChangeAspect="1" noChangeArrowheads="1"/>
            </p:cNvSpPr>
            <p:nvPr userDrawn="1"/>
          </p:nvSpPr>
          <p:spPr bwMode="auto">
            <a:xfrm>
              <a:off x="1967987" y="228107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588" name="Oval 450"/>
            <p:cNvSpPr>
              <a:spLocks noChangeAspect="1" noChangeArrowheads="1"/>
            </p:cNvSpPr>
            <p:nvPr userDrawn="1"/>
          </p:nvSpPr>
          <p:spPr bwMode="auto">
            <a:xfrm>
              <a:off x="2079563" y="228107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589" name="Oval 451"/>
            <p:cNvSpPr>
              <a:spLocks noChangeAspect="1" noChangeArrowheads="1"/>
            </p:cNvSpPr>
            <p:nvPr userDrawn="1"/>
          </p:nvSpPr>
          <p:spPr bwMode="auto">
            <a:xfrm>
              <a:off x="2192648" y="228107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590" name="Oval 452"/>
            <p:cNvSpPr>
              <a:spLocks noChangeAspect="1" noChangeArrowheads="1"/>
            </p:cNvSpPr>
            <p:nvPr userDrawn="1"/>
          </p:nvSpPr>
          <p:spPr bwMode="auto">
            <a:xfrm>
              <a:off x="2528885" y="228107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591" name="Oval 453"/>
            <p:cNvSpPr>
              <a:spLocks noChangeAspect="1" noChangeArrowheads="1"/>
            </p:cNvSpPr>
            <p:nvPr userDrawn="1"/>
          </p:nvSpPr>
          <p:spPr bwMode="auto">
            <a:xfrm>
              <a:off x="2641967" y="228107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592" name="Oval 454"/>
            <p:cNvSpPr>
              <a:spLocks noChangeAspect="1" noChangeArrowheads="1"/>
            </p:cNvSpPr>
            <p:nvPr userDrawn="1"/>
          </p:nvSpPr>
          <p:spPr bwMode="auto">
            <a:xfrm>
              <a:off x="2753543" y="228107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593" name="Oval 455"/>
            <p:cNvSpPr>
              <a:spLocks noChangeAspect="1" noChangeArrowheads="1"/>
            </p:cNvSpPr>
            <p:nvPr userDrawn="1"/>
          </p:nvSpPr>
          <p:spPr bwMode="auto">
            <a:xfrm>
              <a:off x="2866627" y="228107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594" name="Oval 456"/>
            <p:cNvSpPr>
              <a:spLocks noChangeAspect="1" noChangeArrowheads="1"/>
            </p:cNvSpPr>
            <p:nvPr userDrawn="1"/>
          </p:nvSpPr>
          <p:spPr bwMode="auto">
            <a:xfrm>
              <a:off x="4214586" y="228107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595" name="Oval 457"/>
            <p:cNvSpPr>
              <a:spLocks noChangeAspect="1" noChangeArrowheads="1"/>
            </p:cNvSpPr>
            <p:nvPr userDrawn="1"/>
          </p:nvSpPr>
          <p:spPr bwMode="auto">
            <a:xfrm>
              <a:off x="4552328" y="228107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596" name="Oval 458"/>
            <p:cNvSpPr>
              <a:spLocks noChangeAspect="1" noChangeArrowheads="1"/>
            </p:cNvSpPr>
            <p:nvPr userDrawn="1"/>
          </p:nvSpPr>
          <p:spPr bwMode="auto">
            <a:xfrm>
              <a:off x="4888565" y="228107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597" name="Oval 459"/>
            <p:cNvSpPr>
              <a:spLocks noChangeAspect="1" noChangeArrowheads="1"/>
            </p:cNvSpPr>
            <p:nvPr userDrawn="1"/>
          </p:nvSpPr>
          <p:spPr bwMode="auto">
            <a:xfrm>
              <a:off x="5001649" y="228107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598" name="Oval 460"/>
            <p:cNvSpPr>
              <a:spLocks noChangeAspect="1" noChangeArrowheads="1"/>
            </p:cNvSpPr>
            <p:nvPr userDrawn="1"/>
          </p:nvSpPr>
          <p:spPr bwMode="auto">
            <a:xfrm>
              <a:off x="5113225" y="228107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599" name="Oval 461"/>
            <p:cNvSpPr>
              <a:spLocks noChangeAspect="1" noChangeArrowheads="1"/>
            </p:cNvSpPr>
            <p:nvPr userDrawn="1"/>
          </p:nvSpPr>
          <p:spPr bwMode="auto">
            <a:xfrm>
              <a:off x="5226308" y="228107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600" name="Oval 462"/>
            <p:cNvSpPr>
              <a:spLocks noChangeAspect="1" noChangeArrowheads="1"/>
            </p:cNvSpPr>
            <p:nvPr userDrawn="1"/>
          </p:nvSpPr>
          <p:spPr bwMode="auto">
            <a:xfrm>
              <a:off x="5337884" y="228107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601" name="Oval 463"/>
            <p:cNvSpPr>
              <a:spLocks noChangeAspect="1" noChangeArrowheads="1"/>
            </p:cNvSpPr>
            <p:nvPr userDrawn="1"/>
          </p:nvSpPr>
          <p:spPr bwMode="auto">
            <a:xfrm>
              <a:off x="5450968" y="228107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602" name="Oval 464"/>
            <p:cNvSpPr>
              <a:spLocks noChangeAspect="1" noChangeArrowheads="1"/>
            </p:cNvSpPr>
            <p:nvPr userDrawn="1"/>
          </p:nvSpPr>
          <p:spPr bwMode="auto">
            <a:xfrm>
              <a:off x="5562544" y="228107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603" name="Oval 465"/>
            <p:cNvSpPr>
              <a:spLocks noChangeAspect="1" noChangeArrowheads="1"/>
            </p:cNvSpPr>
            <p:nvPr userDrawn="1"/>
          </p:nvSpPr>
          <p:spPr bwMode="auto">
            <a:xfrm>
              <a:off x="5675627" y="228107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604" name="Oval 466"/>
            <p:cNvSpPr>
              <a:spLocks noChangeAspect="1" noChangeArrowheads="1"/>
            </p:cNvSpPr>
            <p:nvPr userDrawn="1"/>
          </p:nvSpPr>
          <p:spPr bwMode="auto">
            <a:xfrm>
              <a:off x="5787203" y="228107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605" name="Oval 467"/>
            <p:cNvSpPr>
              <a:spLocks noChangeAspect="1" noChangeArrowheads="1"/>
            </p:cNvSpPr>
            <p:nvPr userDrawn="1"/>
          </p:nvSpPr>
          <p:spPr bwMode="auto">
            <a:xfrm>
              <a:off x="5900288" y="228107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606" name="Oval 468"/>
            <p:cNvSpPr>
              <a:spLocks noChangeAspect="1" noChangeArrowheads="1"/>
            </p:cNvSpPr>
            <p:nvPr userDrawn="1"/>
          </p:nvSpPr>
          <p:spPr bwMode="auto">
            <a:xfrm>
              <a:off x="6013372" y="228107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607" name="Oval 469"/>
            <p:cNvSpPr>
              <a:spLocks noChangeAspect="1" noChangeArrowheads="1"/>
            </p:cNvSpPr>
            <p:nvPr userDrawn="1"/>
          </p:nvSpPr>
          <p:spPr bwMode="auto">
            <a:xfrm>
              <a:off x="6124948" y="228107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608" name="Oval 470"/>
            <p:cNvSpPr>
              <a:spLocks noChangeAspect="1" noChangeArrowheads="1"/>
            </p:cNvSpPr>
            <p:nvPr userDrawn="1"/>
          </p:nvSpPr>
          <p:spPr bwMode="auto">
            <a:xfrm>
              <a:off x="6238031" y="228107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609" name="Oval 471"/>
            <p:cNvSpPr>
              <a:spLocks noChangeAspect="1" noChangeArrowheads="1"/>
            </p:cNvSpPr>
            <p:nvPr userDrawn="1"/>
          </p:nvSpPr>
          <p:spPr bwMode="auto">
            <a:xfrm>
              <a:off x="6349607" y="228107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610" name="Oval 472"/>
            <p:cNvSpPr>
              <a:spLocks noChangeAspect="1" noChangeArrowheads="1"/>
            </p:cNvSpPr>
            <p:nvPr userDrawn="1"/>
          </p:nvSpPr>
          <p:spPr bwMode="auto">
            <a:xfrm>
              <a:off x="6462690" y="228107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611" name="Oval 473"/>
            <p:cNvSpPr>
              <a:spLocks noChangeAspect="1" noChangeArrowheads="1"/>
            </p:cNvSpPr>
            <p:nvPr userDrawn="1"/>
          </p:nvSpPr>
          <p:spPr bwMode="auto">
            <a:xfrm>
              <a:off x="6574266" y="228107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612" name="Oval 474"/>
            <p:cNvSpPr>
              <a:spLocks noChangeAspect="1" noChangeArrowheads="1"/>
            </p:cNvSpPr>
            <p:nvPr userDrawn="1"/>
          </p:nvSpPr>
          <p:spPr bwMode="auto">
            <a:xfrm>
              <a:off x="6687351" y="228107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613" name="Oval 475"/>
            <p:cNvSpPr>
              <a:spLocks noChangeAspect="1" noChangeArrowheads="1"/>
            </p:cNvSpPr>
            <p:nvPr userDrawn="1"/>
          </p:nvSpPr>
          <p:spPr bwMode="auto">
            <a:xfrm>
              <a:off x="6798926" y="228107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614" name="Oval 476"/>
            <p:cNvSpPr>
              <a:spLocks noChangeAspect="1" noChangeArrowheads="1"/>
            </p:cNvSpPr>
            <p:nvPr userDrawn="1"/>
          </p:nvSpPr>
          <p:spPr bwMode="auto">
            <a:xfrm>
              <a:off x="6912011" y="228107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615" name="Oval 477"/>
            <p:cNvSpPr>
              <a:spLocks noChangeAspect="1" noChangeArrowheads="1"/>
            </p:cNvSpPr>
            <p:nvPr userDrawn="1"/>
          </p:nvSpPr>
          <p:spPr bwMode="auto">
            <a:xfrm>
              <a:off x="7023587" y="228107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616" name="Oval 478"/>
            <p:cNvSpPr>
              <a:spLocks noChangeAspect="1" noChangeArrowheads="1"/>
            </p:cNvSpPr>
            <p:nvPr userDrawn="1"/>
          </p:nvSpPr>
          <p:spPr bwMode="auto">
            <a:xfrm>
              <a:off x="7136670" y="228107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617" name="Oval 479"/>
            <p:cNvSpPr>
              <a:spLocks noChangeAspect="1" noChangeArrowheads="1"/>
            </p:cNvSpPr>
            <p:nvPr userDrawn="1"/>
          </p:nvSpPr>
          <p:spPr bwMode="auto">
            <a:xfrm>
              <a:off x="7248246" y="228107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618" name="Oval 480"/>
            <p:cNvSpPr>
              <a:spLocks noChangeAspect="1" noChangeArrowheads="1"/>
            </p:cNvSpPr>
            <p:nvPr userDrawn="1"/>
          </p:nvSpPr>
          <p:spPr bwMode="auto">
            <a:xfrm>
              <a:off x="7361330" y="228107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619" name="Oval 481"/>
            <p:cNvSpPr>
              <a:spLocks noChangeAspect="1" noChangeArrowheads="1"/>
            </p:cNvSpPr>
            <p:nvPr userDrawn="1"/>
          </p:nvSpPr>
          <p:spPr bwMode="auto">
            <a:xfrm>
              <a:off x="7472905" y="228107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620" name="Oval 482"/>
            <p:cNvSpPr>
              <a:spLocks noChangeAspect="1" noChangeArrowheads="1"/>
            </p:cNvSpPr>
            <p:nvPr userDrawn="1"/>
          </p:nvSpPr>
          <p:spPr bwMode="auto">
            <a:xfrm>
              <a:off x="8035308" y="228107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621" name="Oval 483"/>
            <p:cNvSpPr>
              <a:spLocks noChangeAspect="1" noChangeArrowheads="1"/>
            </p:cNvSpPr>
            <p:nvPr userDrawn="1"/>
          </p:nvSpPr>
          <p:spPr bwMode="auto">
            <a:xfrm>
              <a:off x="8146884" y="228107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622" name="Oval 484"/>
            <p:cNvSpPr>
              <a:spLocks noChangeAspect="1" noChangeArrowheads="1"/>
            </p:cNvSpPr>
            <p:nvPr userDrawn="1"/>
          </p:nvSpPr>
          <p:spPr bwMode="auto">
            <a:xfrm>
              <a:off x="506946" y="228107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623" name="Oval 485"/>
            <p:cNvSpPr>
              <a:spLocks noChangeAspect="1" noChangeArrowheads="1"/>
            </p:cNvSpPr>
            <p:nvPr userDrawn="1"/>
          </p:nvSpPr>
          <p:spPr bwMode="auto">
            <a:xfrm>
              <a:off x="1180926" y="238511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624" name="Oval 486"/>
            <p:cNvSpPr>
              <a:spLocks noChangeAspect="1" noChangeArrowheads="1"/>
            </p:cNvSpPr>
            <p:nvPr userDrawn="1"/>
          </p:nvSpPr>
          <p:spPr bwMode="auto">
            <a:xfrm>
              <a:off x="1294009" y="238511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625" name="Oval 487"/>
            <p:cNvSpPr>
              <a:spLocks noChangeAspect="1" noChangeArrowheads="1"/>
            </p:cNvSpPr>
            <p:nvPr userDrawn="1"/>
          </p:nvSpPr>
          <p:spPr bwMode="auto">
            <a:xfrm>
              <a:off x="1405584" y="238511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626" name="Oval 488"/>
            <p:cNvSpPr>
              <a:spLocks noChangeAspect="1" noChangeArrowheads="1"/>
            </p:cNvSpPr>
            <p:nvPr userDrawn="1"/>
          </p:nvSpPr>
          <p:spPr bwMode="auto">
            <a:xfrm>
              <a:off x="1518670" y="238511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627" name="Oval 489"/>
            <p:cNvSpPr>
              <a:spLocks noChangeAspect="1" noChangeArrowheads="1"/>
            </p:cNvSpPr>
            <p:nvPr userDrawn="1"/>
          </p:nvSpPr>
          <p:spPr bwMode="auto">
            <a:xfrm>
              <a:off x="1630246" y="238511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628" name="Oval 490"/>
            <p:cNvSpPr>
              <a:spLocks noChangeAspect="1" noChangeArrowheads="1"/>
            </p:cNvSpPr>
            <p:nvPr userDrawn="1"/>
          </p:nvSpPr>
          <p:spPr bwMode="auto">
            <a:xfrm>
              <a:off x="1743329" y="238511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629" name="Oval 491"/>
            <p:cNvSpPr>
              <a:spLocks noChangeAspect="1" noChangeArrowheads="1"/>
            </p:cNvSpPr>
            <p:nvPr userDrawn="1"/>
          </p:nvSpPr>
          <p:spPr bwMode="auto">
            <a:xfrm>
              <a:off x="1854905" y="238511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630" name="Oval 492"/>
            <p:cNvSpPr>
              <a:spLocks noChangeAspect="1" noChangeArrowheads="1"/>
            </p:cNvSpPr>
            <p:nvPr userDrawn="1"/>
          </p:nvSpPr>
          <p:spPr bwMode="auto">
            <a:xfrm>
              <a:off x="1967988" y="238511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631" name="Oval 493"/>
            <p:cNvSpPr>
              <a:spLocks noChangeAspect="1" noChangeArrowheads="1"/>
            </p:cNvSpPr>
            <p:nvPr userDrawn="1"/>
          </p:nvSpPr>
          <p:spPr bwMode="auto">
            <a:xfrm>
              <a:off x="2079564" y="238511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632" name="Oval 494"/>
            <p:cNvSpPr>
              <a:spLocks noChangeAspect="1" noChangeArrowheads="1"/>
            </p:cNvSpPr>
            <p:nvPr userDrawn="1"/>
          </p:nvSpPr>
          <p:spPr bwMode="auto">
            <a:xfrm>
              <a:off x="2192649" y="238511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633" name="Oval 495"/>
            <p:cNvSpPr>
              <a:spLocks noChangeAspect="1" noChangeArrowheads="1"/>
            </p:cNvSpPr>
            <p:nvPr userDrawn="1"/>
          </p:nvSpPr>
          <p:spPr bwMode="auto">
            <a:xfrm>
              <a:off x="2304225" y="238511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634" name="Oval 496"/>
            <p:cNvSpPr>
              <a:spLocks noChangeAspect="1" noChangeArrowheads="1"/>
            </p:cNvSpPr>
            <p:nvPr userDrawn="1"/>
          </p:nvSpPr>
          <p:spPr bwMode="auto">
            <a:xfrm>
              <a:off x="2417309" y="238511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635" name="Oval 497"/>
            <p:cNvSpPr>
              <a:spLocks noChangeAspect="1" noChangeArrowheads="1"/>
            </p:cNvSpPr>
            <p:nvPr userDrawn="1"/>
          </p:nvSpPr>
          <p:spPr bwMode="auto">
            <a:xfrm>
              <a:off x="2528885" y="238511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636" name="Oval 498"/>
            <p:cNvSpPr>
              <a:spLocks noChangeAspect="1" noChangeArrowheads="1"/>
            </p:cNvSpPr>
            <p:nvPr userDrawn="1"/>
          </p:nvSpPr>
          <p:spPr bwMode="auto">
            <a:xfrm>
              <a:off x="2641967" y="238511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637" name="Oval 499"/>
            <p:cNvSpPr>
              <a:spLocks noChangeAspect="1" noChangeArrowheads="1"/>
            </p:cNvSpPr>
            <p:nvPr userDrawn="1"/>
          </p:nvSpPr>
          <p:spPr bwMode="auto">
            <a:xfrm>
              <a:off x="2753543" y="238511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638" name="Oval 500"/>
            <p:cNvSpPr>
              <a:spLocks noChangeAspect="1" noChangeArrowheads="1"/>
            </p:cNvSpPr>
            <p:nvPr userDrawn="1"/>
          </p:nvSpPr>
          <p:spPr bwMode="auto">
            <a:xfrm>
              <a:off x="2866627" y="238511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639" name="Oval 501"/>
            <p:cNvSpPr>
              <a:spLocks noChangeAspect="1" noChangeArrowheads="1"/>
            </p:cNvSpPr>
            <p:nvPr userDrawn="1"/>
          </p:nvSpPr>
          <p:spPr bwMode="auto">
            <a:xfrm>
              <a:off x="2978203" y="238511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640" name="Oval 502"/>
            <p:cNvSpPr>
              <a:spLocks noChangeAspect="1" noChangeArrowheads="1"/>
            </p:cNvSpPr>
            <p:nvPr userDrawn="1"/>
          </p:nvSpPr>
          <p:spPr bwMode="auto">
            <a:xfrm>
              <a:off x="4103010" y="238511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641" name="Oval 503"/>
            <p:cNvSpPr>
              <a:spLocks noChangeAspect="1" noChangeArrowheads="1"/>
            </p:cNvSpPr>
            <p:nvPr userDrawn="1"/>
          </p:nvSpPr>
          <p:spPr bwMode="auto">
            <a:xfrm>
              <a:off x="4214586" y="238511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642" name="Oval 504"/>
            <p:cNvSpPr>
              <a:spLocks noChangeAspect="1" noChangeArrowheads="1"/>
            </p:cNvSpPr>
            <p:nvPr userDrawn="1"/>
          </p:nvSpPr>
          <p:spPr bwMode="auto">
            <a:xfrm>
              <a:off x="4327669" y="238511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643" name="Oval 505"/>
            <p:cNvSpPr>
              <a:spLocks noChangeAspect="1" noChangeArrowheads="1"/>
            </p:cNvSpPr>
            <p:nvPr userDrawn="1"/>
          </p:nvSpPr>
          <p:spPr bwMode="auto">
            <a:xfrm>
              <a:off x="4439246" y="238511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644" name="Oval 506"/>
            <p:cNvSpPr>
              <a:spLocks noChangeAspect="1" noChangeArrowheads="1"/>
            </p:cNvSpPr>
            <p:nvPr userDrawn="1"/>
          </p:nvSpPr>
          <p:spPr bwMode="auto">
            <a:xfrm>
              <a:off x="4552329" y="238511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645" name="Oval 507"/>
            <p:cNvSpPr>
              <a:spLocks noChangeAspect="1" noChangeArrowheads="1"/>
            </p:cNvSpPr>
            <p:nvPr userDrawn="1"/>
          </p:nvSpPr>
          <p:spPr bwMode="auto">
            <a:xfrm>
              <a:off x="4663905" y="238511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646" name="Oval 508"/>
            <p:cNvSpPr>
              <a:spLocks noChangeAspect="1" noChangeArrowheads="1"/>
            </p:cNvSpPr>
            <p:nvPr userDrawn="1"/>
          </p:nvSpPr>
          <p:spPr bwMode="auto">
            <a:xfrm>
              <a:off x="4776989" y="238511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647" name="Oval 509"/>
            <p:cNvSpPr>
              <a:spLocks noChangeAspect="1" noChangeArrowheads="1"/>
            </p:cNvSpPr>
            <p:nvPr userDrawn="1"/>
          </p:nvSpPr>
          <p:spPr bwMode="auto">
            <a:xfrm>
              <a:off x="4888565" y="2385113"/>
              <a:ext cx="85944" cy="85943"/>
            </a:xfrm>
            <a:prstGeom prst="ellipse">
              <a:avLst/>
            </a:prstGeom>
            <a:grpFill/>
            <a:ln>
              <a:noFill/>
            </a:ln>
            <a:effec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648" name="Oval 510"/>
            <p:cNvSpPr>
              <a:spLocks noChangeAspect="1" noChangeArrowheads="1"/>
            </p:cNvSpPr>
            <p:nvPr userDrawn="1"/>
          </p:nvSpPr>
          <p:spPr bwMode="auto">
            <a:xfrm>
              <a:off x="5001649" y="238511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649" name="Oval 511"/>
            <p:cNvSpPr>
              <a:spLocks noChangeAspect="1" noChangeArrowheads="1"/>
            </p:cNvSpPr>
            <p:nvPr userDrawn="1"/>
          </p:nvSpPr>
          <p:spPr bwMode="auto">
            <a:xfrm>
              <a:off x="5113225" y="238511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650" name="Oval 512"/>
            <p:cNvSpPr>
              <a:spLocks noChangeAspect="1" noChangeArrowheads="1"/>
            </p:cNvSpPr>
            <p:nvPr userDrawn="1"/>
          </p:nvSpPr>
          <p:spPr bwMode="auto">
            <a:xfrm>
              <a:off x="5226308" y="238511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651" name="Oval 513"/>
            <p:cNvSpPr>
              <a:spLocks noChangeAspect="1" noChangeArrowheads="1"/>
            </p:cNvSpPr>
            <p:nvPr userDrawn="1"/>
          </p:nvSpPr>
          <p:spPr bwMode="auto">
            <a:xfrm>
              <a:off x="5337884" y="238511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652" name="Oval 514"/>
            <p:cNvSpPr>
              <a:spLocks noChangeAspect="1" noChangeArrowheads="1"/>
            </p:cNvSpPr>
            <p:nvPr userDrawn="1"/>
          </p:nvSpPr>
          <p:spPr bwMode="auto">
            <a:xfrm>
              <a:off x="5450968" y="238511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653" name="Oval 515"/>
            <p:cNvSpPr>
              <a:spLocks noChangeAspect="1" noChangeArrowheads="1"/>
            </p:cNvSpPr>
            <p:nvPr userDrawn="1"/>
          </p:nvSpPr>
          <p:spPr bwMode="auto">
            <a:xfrm>
              <a:off x="5562544" y="238511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654" name="Oval 516"/>
            <p:cNvSpPr>
              <a:spLocks noChangeAspect="1" noChangeArrowheads="1"/>
            </p:cNvSpPr>
            <p:nvPr userDrawn="1"/>
          </p:nvSpPr>
          <p:spPr bwMode="auto">
            <a:xfrm>
              <a:off x="5675628" y="238511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655" name="Oval 517"/>
            <p:cNvSpPr>
              <a:spLocks noChangeAspect="1" noChangeArrowheads="1"/>
            </p:cNvSpPr>
            <p:nvPr userDrawn="1"/>
          </p:nvSpPr>
          <p:spPr bwMode="auto">
            <a:xfrm>
              <a:off x="5787204" y="238511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656" name="Oval 518"/>
            <p:cNvSpPr>
              <a:spLocks noChangeAspect="1" noChangeArrowheads="1"/>
            </p:cNvSpPr>
            <p:nvPr userDrawn="1"/>
          </p:nvSpPr>
          <p:spPr bwMode="auto">
            <a:xfrm>
              <a:off x="5900288" y="238511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657" name="Oval 519"/>
            <p:cNvSpPr>
              <a:spLocks noChangeAspect="1" noChangeArrowheads="1"/>
            </p:cNvSpPr>
            <p:nvPr userDrawn="1"/>
          </p:nvSpPr>
          <p:spPr bwMode="auto">
            <a:xfrm>
              <a:off x="6013372" y="238511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658" name="Oval 520"/>
            <p:cNvSpPr>
              <a:spLocks noChangeAspect="1" noChangeArrowheads="1"/>
            </p:cNvSpPr>
            <p:nvPr userDrawn="1"/>
          </p:nvSpPr>
          <p:spPr bwMode="auto">
            <a:xfrm>
              <a:off x="6124948" y="238511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659" name="Oval 521"/>
            <p:cNvSpPr>
              <a:spLocks noChangeAspect="1" noChangeArrowheads="1"/>
            </p:cNvSpPr>
            <p:nvPr userDrawn="1"/>
          </p:nvSpPr>
          <p:spPr bwMode="auto">
            <a:xfrm>
              <a:off x="6238031" y="238511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660" name="Oval 522"/>
            <p:cNvSpPr>
              <a:spLocks noChangeAspect="1" noChangeArrowheads="1"/>
            </p:cNvSpPr>
            <p:nvPr userDrawn="1"/>
          </p:nvSpPr>
          <p:spPr bwMode="auto">
            <a:xfrm>
              <a:off x="6349607" y="238511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661" name="Oval 523"/>
            <p:cNvSpPr>
              <a:spLocks noChangeAspect="1" noChangeArrowheads="1"/>
            </p:cNvSpPr>
            <p:nvPr userDrawn="1"/>
          </p:nvSpPr>
          <p:spPr bwMode="auto">
            <a:xfrm>
              <a:off x="6462690" y="238511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662" name="Oval 524"/>
            <p:cNvSpPr>
              <a:spLocks noChangeAspect="1" noChangeArrowheads="1"/>
            </p:cNvSpPr>
            <p:nvPr userDrawn="1"/>
          </p:nvSpPr>
          <p:spPr bwMode="auto">
            <a:xfrm>
              <a:off x="6574266" y="238511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663" name="Oval 525"/>
            <p:cNvSpPr>
              <a:spLocks noChangeAspect="1" noChangeArrowheads="1"/>
            </p:cNvSpPr>
            <p:nvPr userDrawn="1"/>
          </p:nvSpPr>
          <p:spPr bwMode="auto">
            <a:xfrm>
              <a:off x="6687351" y="238511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664" name="Oval 526"/>
            <p:cNvSpPr>
              <a:spLocks noChangeAspect="1" noChangeArrowheads="1"/>
            </p:cNvSpPr>
            <p:nvPr userDrawn="1"/>
          </p:nvSpPr>
          <p:spPr bwMode="auto">
            <a:xfrm>
              <a:off x="6798926" y="238511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665" name="Oval 527"/>
            <p:cNvSpPr>
              <a:spLocks noChangeAspect="1" noChangeArrowheads="1"/>
            </p:cNvSpPr>
            <p:nvPr userDrawn="1"/>
          </p:nvSpPr>
          <p:spPr bwMode="auto">
            <a:xfrm>
              <a:off x="6912011" y="238511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666" name="Oval 528"/>
            <p:cNvSpPr>
              <a:spLocks noChangeAspect="1" noChangeArrowheads="1"/>
            </p:cNvSpPr>
            <p:nvPr userDrawn="1"/>
          </p:nvSpPr>
          <p:spPr bwMode="auto">
            <a:xfrm>
              <a:off x="7023587" y="238511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667" name="Oval 529"/>
            <p:cNvSpPr>
              <a:spLocks noChangeAspect="1" noChangeArrowheads="1"/>
            </p:cNvSpPr>
            <p:nvPr userDrawn="1"/>
          </p:nvSpPr>
          <p:spPr bwMode="auto">
            <a:xfrm>
              <a:off x="7136670" y="238511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668" name="Oval 530"/>
            <p:cNvSpPr>
              <a:spLocks noChangeAspect="1" noChangeArrowheads="1"/>
            </p:cNvSpPr>
            <p:nvPr userDrawn="1"/>
          </p:nvSpPr>
          <p:spPr bwMode="auto">
            <a:xfrm>
              <a:off x="7248246" y="238511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669" name="Oval 531"/>
            <p:cNvSpPr>
              <a:spLocks noChangeAspect="1" noChangeArrowheads="1"/>
            </p:cNvSpPr>
            <p:nvPr userDrawn="1"/>
          </p:nvSpPr>
          <p:spPr bwMode="auto">
            <a:xfrm>
              <a:off x="7361330" y="238511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670" name="Oval 532"/>
            <p:cNvSpPr>
              <a:spLocks noChangeAspect="1" noChangeArrowheads="1"/>
            </p:cNvSpPr>
            <p:nvPr userDrawn="1"/>
          </p:nvSpPr>
          <p:spPr bwMode="auto">
            <a:xfrm>
              <a:off x="7472905" y="238511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671" name="Oval 533"/>
            <p:cNvSpPr>
              <a:spLocks noChangeAspect="1" noChangeArrowheads="1"/>
            </p:cNvSpPr>
            <p:nvPr userDrawn="1"/>
          </p:nvSpPr>
          <p:spPr bwMode="auto">
            <a:xfrm>
              <a:off x="7585989" y="238511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672" name="Oval 534"/>
            <p:cNvSpPr>
              <a:spLocks noChangeAspect="1" noChangeArrowheads="1"/>
            </p:cNvSpPr>
            <p:nvPr userDrawn="1"/>
          </p:nvSpPr>
          <p:spPr bwMode="auto">
            <a:xfrm>
              <a:off x="7697565" y="238511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673" name="Oval 535"/>
            <p:cNvSpPr>
              <a:spLocks noChangeAspect="1" noChangeArrowheads="1"/>
            </p:cNvSpPr>
            <p:nvPr userDrawn="1"/>
          </p:nvSpPr>
          <p:spPr bwMode="auto">
            <a:xfrm>
              <a:off x="8035308" y="238511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674" name="Oval 536"/>
            <p:cNvSpPr>
              <a:spLocks noChangeAspect="1" noChangeArrowheads="1"/>
            </p:cNvSpPr>
            <p:nvPr userDrawn="1"/>
          </p:nvSpPr>
          <p:spPr bwMode="auto">
            <a:xfrm>
              <a:off x="1405584" y="248914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675" name="Oval 537"/>
            <p:cNvSpPr>
              <a:spLocks noChangeAspect="1" noChangeArrowheads="1"/>
            </p:cNvSpPr>
            <p:nvPr userDrawn="1"/>
          </p:nvSpPr>
          <p:spPr bwMode="auto">
            <a:xfrm>
              <a:off x="1518670" y="248914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676" name="Oval 538"/>
            <p:cNvSpPr>
              <a:spLocks noChangeAspect="1" noChangeArrowheads="1"/>
            </p:cNvSpPr>
            <p:nvPr userDrawn="1"/>
          </p:nvSpPr>
          <p:spPr bwMode="auto">
            <a:xfrm>
              <a:off x="1630246" y="248914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677" name="Oval 539"/>
            <p:cNvSpPr>
              <a:spLocks noChangeAspect="1" noChangeArrowheads="1"/>
            </p:cNvSpPr>
            <p:nvPr userDrawn="1"/>
          </p:nvSpPr>
          <p:spPr bwMode="auto">
            <a:xfrm>
              <a:off x="1743329" y="248914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678" name="Oval 540"/>
            <p:cNvSpPr>
              <a:spLocks noChangeAspect="1" noChangeArrowheads="1"/>
            </p:cNvSpPr>
            <p:nvPr userDrawn="1"/>
          </p:nvSpPr>
          <p:spPr bwMode="auto">
            <a:xfrm>
              <a:off x="1854905" y="248914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679" name="Oval 541"/>
            <p:cNvSpPr>
              <a:spLocks noChangeAspect="1" noChangeArrowheads="1"/>
            </p:cNvSpPr>
            <p:nvPr userDrawn="1"/>
          </p:nvSpPr>
          <p:spPr bwMode="auto">
            <a:xfrm>
              <a:off x="1967988" y="248914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680" name="Oval 542"/>
            <p:cNvSpPr>
              <a:spLocks noChangeAspect="1" noChangeArrowheads="1"/>
            </p:cNvSpPr>
            <p:nvPr userDrawn="1"/>
          </p:nvSpPr>
          <p:spPr bwMode="auto">
            <a:xfrm>
              <a:off x="2079564" y="248914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681" name="Oval 543"/>
            <p:cNvSpPr>
              <a:spLocks noChangeAspect="1" noChangeArrowheads="1"/>
            </p:cNvSpPr>
            <p:nvPr userDrawn="1"/>
          </p:nvSpPr>
          <p:spPr bwMode="auto">
            <a:xfrm>
              <a:off x="2192649" y="248914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682" name="Oval 544"/>
            <p:cNvSpPr>
              <a:spLocks noChangeAspect="1" noChangeArrowheads="1"/>
            </p:cNvSpPr>
            <p:nvPr userDrawn="1"/>
          </p:nvSpPr>
          <p:spPr bwMode="auto">
            <a:xfrm>
              <a:off x="2304225" y="248914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683" name="Oval 545"/>
            <p:cNvSpPr>
              <a:spLocks noChangeAspect="1" noChangeArrowheads="1"/>
            </p:cNvSpPr>
            <p:nvPr userDrawn="1"/>
          </p:nvSpPr>
          <p:spPr bwMode="auto">
            <a:xfrm>
              <a:off x="2417309" y="248914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684" name="Oval 546"/>
            <p:cNvSpPr>
              <a:spLocks noChangeAspect="1" noChangeArrowheads="1"/>
            </p:cNvSpPr>
            <p:nvPr userDrawn="1"/>
          </p:nvSpPr>
          <p:spPr bwMode="auto">
            <a:xfrm>
              <a:off x="2528885" y="248914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685" name="Oval 547"/>
            <p:cNvSpPr>
              <a:spLocks noChangeAspect="1" noChangeArrowheads="1"/>
            </p:cNvSpPr>
            <p:nvPr userDrawn="1"/>
          </p:nvSpPr>
          <p:spPr bwMode="auto">
            <a:xfrm>
              <a:off x="2641967" y="248914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686" name="Oval 548"/>
            <p:cNvSpPr>
              <a:spLocks noChangeAspect="1" noChangeArrowheads="1"/>
            </p:cNvSpPr>
            <p:nvPr userDrawn="1"/>
          </p:nvSpPr>
          <p:spPr bwMode="auto">
            <a:xfrm>
              <a:off x="2753543" y="248914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687" name="Oval 549"/>
            <p:cNvSpPr>
              <a:spLocks noChangeAspect="1" noChangeArrowheads="1"/>
            </p:cNvSpPr>
            <p:nvPr userDrawn="1"/>
          </p:nvSpPr>
          <p:spPr bwMode="auto">
            <a:xfrm>
              <a:off x="2866627" y="248914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688" name="Oval 550"/>
            <p:cNvSpPr>
              <a:spLocks noChangeAspect="1" noChangeArrowheads="1"/>
            </p:cNvSpPr>
            <p:nvPr userDrawn="1"/>
          </p:nvSpPr>
          <p:spPr bwMode="auto">
            <a:xfrm>
              <a:off x="2978203" y="248914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689" name="Oval 551"/>
            <p:cNvSpPr>
              <a:spLocks noChangeAspect="1" noChangeArrowheads="1"/>
            </p:cNvSpPr>
            <p:nvPr userDrawn="1"/>
          </p:nvSpPr>
          <p:spPr bwMode="auto">
            <a:xfrm>
              <a:off x="4214586" y="248914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690" name="Oval 552"/>
            <p:cNvSpPr>
              <a:spLocks noChangeAspect="1" noChangeArrowheads="1"/>
            </p:cNvSpPr>
            <p:nvPr userDrawn="1"/>
          </p:nvSpPr>
          <p:spPr bwMode="auto">
            <a:xfrm>
              <a:off x="4327669" y="2489148"/>
              <a:ext cx="85944" cy="85944"/>
            </a:xfrm>
            <a:prstGeom prst="ellipse">
              <a:avLst/>
            </a:prstGeom>
            <a:grpFill/>
            <a:ln>
              <a:noFill/>
            </a:ln>
            <a:effec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691" name="Oval 553"/>
            <p:cNvSpPr>
              <a:spLocks noChangeAspect="1" noChangeArrowheads="1"/>
            </p:cNvSpPr>
            <p:nvPr userDrawn="1"/>
          </p:nvSpPr>
          <p:spPr bwMode="auto">
            <a:xfrm>
              <a:off x="4439246" y="248914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692" name="Oval 554"/>
            <p:cNvSpPr>
              <a:spLocks noChangeAspect="1" noChangeArrowheads="1"/>
            </p:cNvSpPr>
            <p:nvPr userDrawn="1"/>
          </p:nvSpPr>
          <p:spPr bwMode="auto">
            <a:xfrm>
              <a:off x="4552329" y="248914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693" name="Oval 555"/>
            <p:cNvSpPr>
              <a:spLocks noChangeAspect="1" noChangeArrowheads="1"/>
            </p:cNvSpPr>
            <p:nvPr userDrawn="1"/>
          </p:nvSpPr>
          <p:spPr bwMode="auto">
            <a:xfrm>
              <a:off x="4663905" y="248914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694" name="Oval 556"/>
            <p:cNvSpPr>
              <a:spLocks noChangeAspect="1" noChangeArrowheads="1"/>
            </p:cNvSpPr>
            <p:nvPr userDrawn="1"/>
          </p:nvSpPr>
          <p:spPr bwMode="auto">
            <a:xfrm>
              <a:off x="4776989" y="248914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695" name="Oval 557"/>
            <p:cNvSpPr>
              <a:spLocks noChangeAspect="1" noChangeArrowheads="1"/>
            </p:cNvSpPr>
            <p:nvPr userDrawn="1"/>
          </p:nvSpPr>
          <p:spPr bwMode="auto">
            <a:xfrm>
              <a:off x="4888565" y="248914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696" name="Oval 558"/>
            <p:cNvSpPr>
              <a:spLocks noChangeAspect="1" noChangeArrowheads="1"/>
            </p:cNvSpPr>
            <p:nvPr userDrawn="1"/>
          </p:nvSpPr>
          <p:spPr bwMode="auto">
            <a:xfrm>
              <a:off x="5001649" y="248914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697" name="Oval 559"/>
            <p:cNvSpPr>
              <a:spLocks noChangeAspect="1" noChangeArrowheads="1"/>
            </p:cNvSpPr>
            <p:nvPr userDrawn="1"/>
          </p:nvSpPr>
          <p:spPr bwMode="auto">
            <a:xfrm>
              <a:off x="5113225" y="248914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698" name="Oval 560"/>
            <p:cNvSpPr>
              <a:spLocks noChangeAspect="1" noChangeArrowheads="1"/>
            </p:cNvSpPr>
            <p:nvPr userDrawn="1"/>
          </p:nvSpPr>
          <p:spPr bwMode="auto">
            <a:xfrm>
              <a:off x="5226308" y="248914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699" name="Oval 561"/>
            <p:cNvSpPr>
              <a:spLocks noChangeAspect="1" noChangeArrowheads="1"/>
            </p:cNvSpPr>
            <p:nvPr userDrawn="1"/>
          </p:nvSpPr>
          <p:spPr bwMode="auto">
            <a:xfrm>
              <a:off x="5337884" y="248914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700" name="Oval 562"/>
            <p:cNvSpPr>
              <a:spLocks noChangeAspect="1" noChangeArrowheads="1"/>
            </p:cNvSpPr>
            <p:nvPr userDrawn="1"/>
          </p:nvSpPr>
          <p:spPr bwMode="auto">
            <a:xfrm>
              <a:off x="5450968" y="248914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701" name="Oval 563"/>
            <p:cNvSpPr>
              <a:spLocks noChangeAspect="1" noChangeArrowheads="1"/>
            </p:cNvSpPr>
            <p:nvPr userDrawn="1"/>
          </p:nvSpPr>
          <p:spPr bwMode="auto">
            <a:xfrm>
              <a:off x="5562544" y="248914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702" name="Oval 564"/>
            <p:cNvSpPr>
              <a:spLocks noChangeAspect="1" noChangeArrowheads="1"/>
            </p:cNvSpPr>
            <p:nvPr userDrawn="1"/>
          </p:nvSpPr>
          <p:spPr bwMode="auto">
            <a:xfrm>
              <a:off x="5675628" y="248914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703" name="Oval 565"/>
            <p:cNvSpPr>
              <a:spLocks noChangeAspect="1" noChangeArrowheads="1"/>
            </p:cNvSpPr>
            <p:nvPr userDrawn="1"/>
          </p:nvSpPr>
          <p:spPr bwMode="auto">
            <a:xfrm>
              <a:off x="5787204" y="248914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704" name="Oval 566"/>
            <p:cNvSpPr>
              <a:spLocks noChangeAspect="1" noChangeArrowheads="1"/>
            </p:cNvSpPr>
            <p:nvPr userDrawn="1"/>
          </p:nvSpPr>
          <p:spPr bwMode="auto">
            <a:xfrm>
              <a:off x="5900288" y="248914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705" name="Oval 567"/>
            <p:cNvSpPr>
              <a:spLocks noChangeAspect="1" noChangeArrowheads="1"/>
            </p:cNvSpPr>
            <p:nvPr userDrawn="1"/>
          </p:nvSpPr>
          <p:spPr bwMode="auto">
            <a:xfrm>
              <a:off x="6013372" y="248914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706" name="Oval 568"/>
            <p:cNvSpPr>
              <a:spLocks noChangeAspect="1" noChangeArrowheads="1"/>
            </p:cNvSpPr>
            <p:nvPr userDrawn="1"/>
          </p:nvSpPr>
          <p:spPr bwMode="auto">
            <a:xfrm>
              <a:off x="6124948" y="248914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707" name="Oval 569"/>
            <p:cNvSpPr>
              <a:spLocks noChangeAspect="1" noChangeArrowheads="1"/>
            </p:cNvSpPr>
            <p:nvPr userDrawn="1"/>
          </p:nvSpPr>
          <p:spPr bwMode="auto">
            <a:xfrm>
              <a:off x="6238031" y="248914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708" name="Oval 570"/>
            <p:cNvSpPr>
              <a:spLocks noChangeAspect="1" noChangeArrowheads="1"/>
            </p:cNvSpPr>
            <p:nvPr userDrawn="1"/>
          </p:nvSpPr>
          <p:spPr bwMode="auto">
            <a:xfrm>
              <a:off x="6349607" y="248914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709" name="Oval 571"/>
            <p:cNvSpPr>
              <a:spLocks noChangeAspect="1" noChangeArrowheads="1"/>
            </p:cNvSpPr>
            <p:nvPr userDrawn="1"/>
          </p:nvSpPr>
          <p:spPr bwMode="auto">
            <a:xfrm>
              <a:off x="6462690" y="248914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710" name="Oval 572"/>
            <p:cNvSpPr>
              <a:spLocks noChangeAspect="1" noChangeArrowheads="1"/>
            </p:cNvSpPr>
            <p:nvPr userDrawn="1"/>
          </p:nvSpPr>
          <p:spPr bwMode="auto">
            <a:xfrm>
              <a:off x="6574266" y="248914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711" name="Oval 573"/>
            <p:cNvSpPr>
              <a:spLocks noChangeAspect="1" noChangeArrowheads="1"/>
            </p:cNvSpPr>
            <p:nvPr userDrawn="1"/>
          </p:nvSpPr>
          <p:spPr bwMode="auto">
            <a:xfrm>
              <a:off x="6687351" y="248914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712" name="Oval 574"/>
            <p:cNvSpPr>
              <a:spLocks noChangeAspect="1" noChangeArrowheads="1"/>
            </p:cNvSpPr>
            <p:nvPr userDrawn="1"/>
          </p:nvSpPr>
          <p:spPr bwMode="auto">
            <a:xfrm>
              <a:off x="6798926" y="248914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713" name="Oval 575"/>
            <p:cNvSpPr>
              <a:spLocks noChangeAspect="1" noChangeArrowheads="1"/>
            </p:cNvSpPr>
            <p:nvPr userDrawn="1"/>
          </p:nvSpPr>
          <p:spPr bwMode="auto">
            <a:xfrm>
              <a:off x="6912011" y="248914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714" name="Oval 576"/>
            <p:cNvSpPr>
              <a:spLocks noChangeAspect="1" noChangeArrowheads="1"/>
            </p:cNvSpPr>
            <p:nvPr userDrawn="1"/>
          </p:nvSpPr>
          <p:spPr bwMode="auto">
            <a:xfrm>
              <a:off x="7023587" y="248914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715" name="Oval 577"/>
            <p:cNvSpPr>
              <a:spLocks noChangeAspect="1" noChangeArrowheads="1"/>
            </p:cNvSpPr>
            <p:nvPr userDrawn="1"/>
          </p:nvSpPr>
          <p:spPr bwMode="auto">
            <a:xfrm>
              <a:off x="7136670" y="248914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716" name="Oval 578"/>
            <p:cNvSpPr>
              <a:spLocks noChangeAspect="1" noChangeArrowheads="1"/>
            </p:cNvSpPr>
            <p:nvPr userDrawn="1"/>
          </p:nvSpPr>
          <p:spPr bwMode="auto">
            <a:xfrm>
              <a:off x="7248246" y="248914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717" name="Oval 579"/>
            <p:cNvSpPr>
              <a:spLocks noChangeAspect="1" noChangeArrowheads="1"/>
            </p:cNvSpPr>
            <p:nvPr userDrawn="1"/>
          </p:nvSpPr>
          <p:spPr bwMode="auto">
            <a:xfrm>
              <a:off x="7361330" y="248914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718" name="Oval 580"/>
            <p:cNvSpPr>
              <a:spLocks noChangeAspect="1" noChangeArrowheads="1"/>
            </p:cNvSpPr>
            <p:nvPr userDrawn="1"/>
          </p:nvSpPr>
          <p:spPr bwMode="auto">
            <a:xfrm>
              <a:off x="7472905" y="248914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719" name="Oval 581"/>
            <p:cNvSpPr>
              <a:spLocks noChangeAspect="1" noChangeArrowheads="1"/>
            </p:cNvSpPr>
            <p:nvPr userDrawn="1"/>
          </p:nvSpPr>
          <p:spPr bwMode="auto">
            <a:xfrm>
              <a:off x="7585989" y="248914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720" name="Oval 582"/>
            <p:cNvSpPr>
              <a:spLocks noChangeAspect="1" noChangeArrowheads="1"/>
            </p:cNvSpPr>
            <p:nvPr userDrawn="1"/>
          </p:nvSpPr>
          <p:spPr bwMode="auto">
            <a:xfrm>
              <a:off x="7697565" y="248914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721" name="Oval 583"/>
            <p:cNvSpPr>
              <a:spLocks noChangeAspect="1" noChangeArrowheads="1"/>
            </p:cNvSpPr>
            <p:nvPr userDrawn="1"/>
          </p:nvSpPr>
          <p:spPr bwMode="auto">
            <a:xfrm>
              <a:off x="8035308" y="248914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722" name="Oval 584"/>
            <p:cNvSpPr>
              <a:spLocks noChangeAspect="1" noChangeArrowheads="1"/>
            </p:cNvSpPr>
            <p:nvPr userDrawn="1"/>
          </p:nvSpPr>
          <p:spPr bwMode="auto">
            <a:xfrm>
              <a:off x="1405584" y="259318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723" name="Oval 585"/>
            <p:cNvSpPr>
              <a:spLocks noChangeAspect="1" noChangeArrowheads="1"/>
            </p:cNvSpPr>
            <p:nvPr userDrawn="1"/>
          </p:nvSpPr>
          <p:spPr bwMode="auto">
            <a:xfrm>
              <a:off x="1518670" y="259318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724" name="Oval 586"/>
            <p:cNvSpPr>
              <a:spLocks noChangeAspect="1" noChangeArrowheads="1"/>
            </p:cNvSpPr>
            <p:nvPr userDrawn="1"/>
          </p:nvSpPr>
          <p:spPr bwMode="auto">
            <a:xfrm>
              <a:off x="1630246" y="259318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725" name="Oval 587"/>
            <p:cNvSpPr>
              <a:spLocks noChangeAspect="1" noChangeArrowheads="1"/>
            </p:cNvSpPr>
            <p:nvPr userDrawn="1"/>
          </p:nvSpPr>
          <p:spPr bwMode="auto">
            <a:xfrm>
              <a:off x="1743329" y="259318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726" name="Oval 588"/>
            <p:cNvSpPr>
              <a:spLocks noChangeAspect="1" noChangeArrowheads="1"/>
            </p:cNvSpPr>
            <p:nvPr userDrawn="1"/>
          </p:nvSpPr>
          <p:spPr bwMode="auto">
            <a:xfrm>
              <a:off x="1854905" y="259318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727" name="Oval 589"/>
            <p:cNvSpPr>
              <a:spLocks noChangeAspect="1" noChangeArrowheads="1"/>
            </p:cNvSpPr>
            <p:nvPr userDrawn="1"/>
          </p:nvSpPr>
          <p:spPr bwMode="auto">
            <a:xfrm>
              <a:off x="1967988" y="259318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728" name="Oval 590"/>
            <p:cNvSpPr>
              <a:spLocks noChangeAspect="1" noChangeArrowheads="1"/>
            </p:cNvSpPr>
            <p:nvPr userDrawn="1"/>
          </p:nvSpPr>
          <p:spPr bwMode="auto">
            <a:xfrm>
              <a:off x="2079564" y="259318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729" name="Oval 591"/>
            <p:cNvSpPr>
              <a:spLocks noChangeAspect="1" noChangeArrowheads="1"/>
            </p:cNvSpPr>
            <p:nvPr userDrawn="1"/>
          </p:nvSpPr>
          <p:spPr bwMode="auto">
            <a:xfrm>
              <a:off x="2192649" y="259318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730" name="Oval 592"/>
            <p:cNvSpPr>
              <a:spLocks noChangeAspect="1" noChangeArrowheads="1"/>
            </p:cNvSpPr>
            <p:nvPr userDrawn="1"/>
          </p:nvSpPr>
          <p:spPr bwMode="auto">
            <a:xfrm>
              <a:off x="2304225" y="259318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731" name="Oval 593"/>
            <p:cNvSpPr>
              <a:spLocks noChangeAspect="1" noChangeArrowheads="1"/>
            </p:cNvSpPr>
            <p:nvPr userDrawn="1"/>
          </p:nvSpPr>
          <p:spPr bwMode="auto">
            <a:xfrm>
              <a:off x="2417309" y="259318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732" name="Oval 594"/>
            <p:cNvSpPr>
              <a:spLocks noChangeAspect="1" noChangeArrowheads="1"/>
            </p:cNvSpPr>
            <p:nvPr userDrawn="1"/>
          </p:nvSpPr>
          <p:spPr bwMode="auto">
            <a:xfrm>
              <a:off x="2528885" y="259318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733" name="Oval 595"/>
            <p:cNvSpPr>
              <a:spLocks noChangeAspect="1" noChangeArrowheads="1"/>
            </p:cNvSpPr>
            <p:nvPr userDrawn="1"/>
          </p:nvSpPr>
          <p:spPr bwMode="auto">
            <a:xfrm>
              <a:off x="2641967" y="259318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734" name="Oval 596"/>
            <p:cNvSpPr>
              <a:spLocks noChangeAspect="1" noChangeArrowheads="1"/>
            </p:cNvSpPr>
            <p:nvPr userDrawn="1"/>
          </p:nvSpPr>
          <p:spPr bwMode="auto">
            <a:xfrm>
              <a:off x="2753543" y="259318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735" name="Oval 597"/>
            <p:cNvSpPr>
              <a:spLocks noChangeAspect="1" noChangeArrowheads="1"/>
            </p:cNvSpPr>
            <p:nvPr userDrawn="1"/>
          </p:nvSpPr>
          <p:spPr bwMode="auto">
            <a:xfrm>
              <a:off x="2866627" y="259318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736" name="Oval 598"/>
            <p:cNvSpPr>
              <a:spLocks noChangeAspect="1" noChangeArrowheads="1"/>
            </p:cNvSpPr>
            <p:nvPr userDrawn="1"/>
          </p:nvSpPr>
          <p:spPr bwMode="auto">
            <a:xfrm>
              <a:off x="2978203" y="259318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737" name="Oval 599"/>
            <p:cNvSpPr>
              <a:spLocks noChangeAspect="1" noChangeArrowheads="1"/>
            </p:cNvSpPr>
            <p:nvPr userDrawn="1"/>
          </p:nvSpPr>
          <p:spPr bwMode="auto">
            <a:xfrm>
              <a:off x="4327669" y="259318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738" name="Oval 600"/>
            <p:cNvSpPr>
              <a:spLocks noChangeAspect="1" noChangeArrowheads="1"/>
            </p:cNvSpPr>
            <p:nvPr userDrawn="1"/>
          </p:nvSpPr>
          <p:spPr bwMode="auto">
            <a:xfrm>
              <a:off x="4439246" y="259318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739" name="Oval 601"/>
            <p:cNvSpPr>
              <a:spLocks noChangeAspect="1" noChangeArrowheads="1"/>
            </p:cNvSpPr>
            <p:nvPr userDrawn="1"/>
          </p:nvSpPr>
          <p:spPr bwMode="auto">
            <a:xfrm>
              <a:off x="4552329" y="259318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740" name="Oval 602"/>
            <p:cNvSpPr>
              <a:spLocks noChangeAspect="1" noChangeArrowheads="1"/>
            </p:cNvSpPr>
            <p:nvPr userDrawn="1"/>
          </p:nvSpPr>
          <p:spPr bwMode="auto">
            <a:xfrm>
              <a:off x="4663905" y="259318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741" name="Oval 603"/>
            <p:cNvSpPr>
              <a:spLocks noChangeAspect="1" noChangeArrowheads="1"/>
            </p:cNvSpPr>
            <p:nvPr userDrawn="1"/>
          </p:nvSpPr>
          <p:spPr bwMode="auto">
            <a:xfrm>
              <a:off x="4776989" y="2593187"/>
              <a:ext cx="85944" cy="85943"/>
            </a:xfrm>
            <a:prstGeom prst="ellipse">
              <a:avLst/>
            </a:prstGeom>
            <a:grpFill/>
            <a:ln>
              <a:noFill/>
            </a:ln>
            <a:effec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742" name="Oval 604"/>
            <p:cNvSpPr>
              <a:spLocks noChangeAspect="1" noChangeArrowheads="1"/>
            </p:cNvSpPr>
            <p:nvPr userDrawn="1"/>
          </p:nvSpPr>
          <p:spPr bwMode="auto">
            <a:xfrm>
              <a:off x="4888565" y="259318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743" name="Oval 605"/>
            <p:cNvSpPr>
              <a:spLocks noChangeAspect="1" noChangeArrowheads="1"/>
            </p:cNvSpPr>
            <p:nvPr userDrawn="1"/>
          </p:nvSpPr>
          <p:spPr bwMode="auto">
            <a:xfrm>
              <a:off x="5001649" y="259318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744" name="Oval 606"/>
            <p:cNvSpPr>
              <a:spLocks noChangeAspect="1" noChangeArrowheads="1"/>
            </p:cNvSpPr>
            <p:nvPr userDrawn="1"/>
          </p:nvSpPr>
          <p:spPr bwMode="auto">
            <a:xfrm>
              <a:off x="5113225" y="259318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745" name="Oval 607"/>
            <p:cNvSpPr>
              <a:spLocks noChangeAspect="1" noChangeArrowheads="1"/>
            </p:cNvSpPr>
            <p:nvPr userDrawn="1"/>
          </p:nvSpPr>
          <p:spPr bwMode="auto">
            <a:xfrm>
              <a:off x="5226308" y="259318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746" name="Oval 608"/>
            <p:cNvSpPr>
              <a:spLocks noChangeAspect="1" noChangeArrowheads="1"/>
            </p:cNvSpPr>
            <p:nvPr userDrawn="1"/>
          </p:nvSpPr>
          <p:spPr bwMode="auto">
            <a:xfrm>
              <a:off x="5337884" y="259318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747" name="Oval 609"/>
            <p:cNvSpPr>
              <a:spLocks noChangeAspect="1" noChangeArrowheads="1"/>
            </p:cNvSpPr>
            <p:nvPr userDrawn="1"/>
          </p:nvSpPr>
          <p:spPr bwMode="auto">
            <a:xfrm>
              <a:off x="5450968" y="259318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748" name="Oval 610"/>
            <p:cNvSpPr>
              <a:spLocks noChangeAspect="1" noChangeArrowheads="1"/>
            </p:cNvSpPr>
            <p:nvPr userDrawn="1"/>
          </p:nvSpPr>
          <p:spPr bwMode="auto">
            <a:xfrm>
              <a:off x="5562544" y="259318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749" name="Oval 611"/>
            <p:cNvSpPr>
              <a:spLocks noChangeAspect="1" noChangeArrowheads="1"/>
            </p:cNvSpPr>
            <p:nvPr userDrawn="1"/>
          </p:nvSpPr>
          <p:spPr bwMode="auto">
            <a:xfrm>
              <a:off x="5675628" y="259318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750" name="Oval 612"/>
            <p:cNvSpPr>
              <a:spLocks noChangeAspect="1" noChangeArrowheads="1"/>
            </p:cNvSpPr>
            <p:nvPr userDrawn="1"/>
          </p:nvSpPr>
          <p:spPr bwMode="auto">
            <a:xfrm>
              <a:off x="5787204" y="259318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751" name="Oval 613"/>
            <p:cNvSpPr>
              <a:spLocks noChangeAspect="1" noChangeArrowheads="1"/>
            </p:cNvSpPr>
            <p:nvPr userDrawn="1"/>
          </p:nvSpPr>
          <p:spPr bwMode="auto">
            <a:xfrm>
              <a:off x="5900288" y="259318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752" name="Oval 614"/>
            <p:cNvSpPr>
              <a:spLocks noChangeAspect="1" noChangeArrowheads="1"/>
            </p:cNvSpPr>
            <p:nvPr userDrawn="1"/>
          </p:nvSpPr>
          <p:spPr bwMode="auto">
            <a:xfrm>
              <a:off x="6013372" y="259318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753" name="Oval 615"/>
            <p:cNvSpPr>
              <a:spLocks noChangeAspect="1" noChangeArrowheads="1"/>
            </p:cNvSpPr>
            <p:nvPr userDrawn="1"/>
          </p:nvSpPr>
          <p:spPr bwMode="auto">
            <a:xfrm>
              <a:off x="6124948" y="259318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754" name="Oval 616"/>
            <p:cNvSpPr>
              <a:spLocks noChangeAspect="1" noChangeArrowheads="1"/>
            </p:cNvSpPr>
            <p:nvPr userDrawn="1"/>
          </p:nvSpPr>
          <p:spPr bwMode="auto">
            <a:xfrm>
              <a:off x="6238031" y="259318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755" name="Oval 617"/>
            <p:cNvSpPr>
              <a:spLocks noChangeAspect="1" noChangeArrowheads="1"/>
            </p:cNvSpPr>
            <p:nvPr userDrawn="1"/>
          </p:nvSpPr>
          <p:spPr bwMode="auto">
            <a:xfrm>
              <a:off x="6349607" y="259318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756" name="Oval 618"/>
            <p:cNvSpPr>
              <a:spLocks noChangeAspect="1" noChangeArrowheads="1"/>
            </p:cNvSpPr>
            <p:nvPr userDrawn="1"/>
          </p:nvSpPr>
          <p:spPr bwMode="auto">
            <a:xfrm>
              <a:off x="6462690" y="259318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757" name="Oval 619"/>
            <p:cNvSpPr>
              <a:spLocks noChangeAspect="1" noChangeArrowheads="1"/>
            </p:cNvSpPr>
            <p:nvPr userDrawn="1"/>
          </p:nvSpPr>
          <p:spPr bwMode="auto">
            <a:xfrm>
              <a:off x="6574266" y="259318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758" name="Oval 620"/>
            <p:cNvSpPr>
              <a:spLocks noChangeAspect="1" noChangeArrowheads="1"/>
            </p:cNvSpPr>
            <p:nvPr userDrawn="1"/>
          </p:nvSpPr>
          <p:spPr bwMode="auto">
            <a:xfrm>
              <a:off x="6687351" y="259318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759" name="Oval 621"/>
            <p:cNvSpPr>
              <a:spLocks noChangeAspect="1" noChangeArrowheads="1"/>
            </p:cNvSpPr>
            <p:nvPr userDrawn="1"/>
          </p:nvSpPr>
          <p:spPr bwMode="auto">
            <a:xfrm>
              <a:off x="6798926" y="259318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760" name="Oval 622"/>
            <p:cNvSpPr>
              <a:spLocks noChangeAspect="1" noChangeArrowheads="1"/>
            </p:cNvSpPr>
            <p:nvPr userDrawn="1"/>
          </p:nvSpPr>
          <p:spPr bwMode="auto">
            <a:xfrm>
              <a:off x="6912011" y="259318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761" name="Oval 623"/>
            <p:cNvSpPr>
              <a:spLocks noChangeAspect="1" noChangeArrowheads="1"/>
            </p:cNvSpPr>
            <p:nvPr userDrawn="1"/>
          </p:nvSpPr>
          <p:spPr bwMode="auto">
            <a:xfrm>
              <a:off x="7023587" y="259318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762" name="Oval 624"/>
            <p:cNvSpPr>
              <a:spLocks noChangeAspect="1" noChangeArrowheads="1"/>
            </p:cNvSpPr>
            <p:nvPr userDrawn="1"/>
          </p:nvSpPr>
          <p:spPr bwMode="auto">
            <a:xfrm>
              <a:off x="7136670" y="259318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763" name="Oval 625"/>
            <p:cNvSpPr>
              <a:spLocks noChangeAspect="1" noChangeArrowheads="1"/>
            </p:cNvSpPr>
            <p:nvPr userDrawn="1"/>
          </p:nvSpPr>
          <p:spPr bwMode="auto">
            <a:xfrm>
              <a:off x="7248246" y="259318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764" name="Oval 626"/>
            <p:cNvSpPr>
              <a:spLocks noChangeAspect="1" noChangeArrowheads="1"/>
            </p:cNvSpPr>
            <p:nvPr userDrawn="1"/>
          </p:nvSpPr>
          <p:spPr bwMode="auto">
            <a:xfrm>
              <a:off x="7361330" y="259318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765" name="Oval 627"/>
            <p:cNvSpPr>
              <a:spLocks noChangeAspect="1" noChangeArrowheads="1"/>
            </p:cNvSpPr>
            <p:nvPr userDrawn="1"/>
          </p:nvSpPr>
          <p:spPr bwMode="auto">
            <a:xfrm>
              <a:off x="7472905" y="259318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766" name="Oval 628"/>
            <p:cNvSpPr>
              <a:spLocks noChangeAspect="1" noChangeArrowheads="1"/>
            </p:cNvSpPr>
            <p:nvPr userDrawn="1"/>
          </p:nvSpPr>
          <p:spPr bwMode="auto">
            <a:xfrm>
              <a:off x="7585989" y="259318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767" name="Oval 629"/>
            <p:cNvSpPr>
              <a:spLocks noChangeAspect="1" noChangeArrowheads="1"/>
            </p:cNvSpPr>
            <p:nvPr userDrawn="1"/>
          </p:nvSpPr>
          <p:spPr bwMode="auto">
            <a:xfrm>
              <a:off x="7697565" y="259318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768" name="Oval 630"/>
            <p:cNvSpPr>
              <a:spLocks noChangeAspect="1" noChangeArrowheads="1"/>
            </p:cNvSpPr>
            <p:nvPr userDrawn="1"/>
          </p:nvSpPr>
          <p:spPr bwMode="auto">
            <a:xfrm>
              <a:off x="7810649" y="2593187"/>
              <a:ext cx="85944" cy="85943"/>
            </a:xfrm>
            <a:prstGeom prst="ellipse">
              <a:avLst/>
            </a:prstGeom>
            <a:grpFill/>
            <a:ln>
              <a:noFill/>
            </a:ln>
            <a:effec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769" name="Oval 631"/>
            <p:cNvSpPr>
              <a:spLocks noChangeAspect="1" noChangeArrowheads="1"/>
            </p:cNvSpPr>
            <p:nvPr userDrawn="1"/>
          </p:nvSpPr>
          <p:spPr bwMode="auto">
            <a:xfrm>
              <a:off x="1405584" y="2697223"/>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770" name="Oval 632"/>
            <p:cNvSpPr>
              <a:spLocks noChangeAspect="1" noChangeArrowheads="1"/>
            </p:cNvSpPr>
            <p:nvPr userDrawn="1"/>
          </p:nvSpPr>
          <p:spPr bwMode="auto">
            <a:xfrm>
              <a:off x="1518670" y="2697223"/>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771" name="Oval 633"/>
            <p:cNvSpPr>
              <a:spLocks noChangeAspect="1" noChangeArrowheads="1"/>
            </p:cNvSpPr>
            <p:nvPr userDrawn="1"/>
          </p:nvSpPr>
          <p:spPr bwMode="auto">
            <a:xfrm>
              <a:off x="1630246" y="2697223"/>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772" name="Oval 634"/>
            <p:cNvSpPr>
              <a:spLocks noChangeAspect="1" noChangeArrowheads="1"/>
            </p:cNvSpPr>
            <p:nvPr userDrawn="1"/>
          </p:nvSpPr>
          <p:spPr bwMode="auto">
            <a:xfrm>
              <a:off x="1743329" y="2697223"/>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773" name="Oval 635"/>
            <p:cNvSpPr>
              <a:spLocks noChangeAspect="1" noChangeArrowheads="1"/>
            </p:cNvSpPr>
            <p:nvPr userDrawn="1"/>
          </p:nvSpPr>
          <p:spPr bwMode="auto">
            <a:xfrm>
              <a:off x="1854905" y="2697223"/>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774" name="Oval 636"/>
            <p:cNvSpPr>
              <a:spLocks noChangeAspect="1" noChangeArrowheads="1"/>
            </p:cNvSpPr>
            <p:nvPr userDrawn="1"/>
          </p:nvSpPr>
          <p:spPr bwMode="auto">
            <a:xfrm>
              <a:off x="1967988" y="2697223"/>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775" name="Oval 637"/>
            <p:cNvSpPr>
              <a:spLocks noChangeAspect="1" noChangeArrowheads="1"/>
            </p:cNvSpPr>
            <p:nvPr userDrawn="1"/>
          </p:nvSpPr>
          <p:spPr bwMode="auto">
            <a:xfrm>
              <a:off x="2079564" y="2697223"/>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776" name="Oval 638"/>
            <p:cNvSpPr>
              <a:spLocks noChangeAspect="1" noChangeArrowheads="1"/>
            </p:cNvSpPr>
            <p:nvPr userDrawn="1"/>
          </p:nvSpPr>
          <p:spPr bwMode="auto">
            <a:xfrm>
              <a:off x="2192649" y="2697223"/>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777" name="Oval 639"/>
            <p:cNvSpPr>
              <a:spLocks noChangeAspect="1" noChangeArrowheads="1"/>
            </p:cNvSpPr>
            <p:nvPr userDrawn="1"/>
          </p:nvSpPr>
          <p:spPr bwMode="auto">
            <a:xfrm>
              <a:off x="2304225" y="2697223"/>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778" name="Oval 640"/>
            <p:cNvSpPr>
              <a:spLocks noChangeAspect="1" noChangeArrowheads="1"/>
            </p:cNvSpPr>
            <p:nvPr userDrawn="1"/>
          </p:nvSpPr>
          <p:spPr bwMode="auto">
            <a:xfrm>
              <a:off x="2417309" y="2697223"/>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779" name="Oval 641"/>
            <p:cNvSpPr>
              <a:spLocks noChangeAspect="1" noChangeArrowheads="1"/>
            </p:cNvSpPr>
            <p:nvPr userDrawn="1"/>
          </p:nvSpPr>
          <p:spPr bwMode="auto">
            <a:xfrm>
              <a:off x="2528885" y="2697223"/>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780" name="Oval 642"/>
            <p:cNvSpPr>
              <a:spLocks noChangeAspect="1" noChangeArrowheads="1"/>
            </p:cNvSpPr>
            <p:nvPr userDrawn="1"/>
          </p:nvSpPr>
          <p:spPr bwMode="auto">
            <a:xfrm>
              <a:off x="2641967" y="2697223"/>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781" name="Oval 643"/>
            <p:cNvSpPr>
              <a:spLocks noChangeAspect="1" noChangeArrowheads="1"/>
            </p:cNvSpPr>
            <p:nvPr userDrawn="1"/>
          </p:nvSpPr>
          <p:spPr bwMode="auto">
            <a:xfrm>
              <a:off x="2753543" y="2697223"/>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782" name="Oval 644"/>
            <p:cNvSpPr>
              <a:spLocks noChangeAspect="1" noChangeArrowheads="1"/>
            </p:cNvSpPr>
            <p:nvPr userDrawn="1"/>
          </p:nvSpPr>
          <p:spPr bwMode="auto">
            <a:xfrm>
              <a:off x="4327669" y="2697223"/>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783" name="Oval 645"/>
            <p:cNvSpPr>
              <a:spLocks noChangeAspect="1" noChangeArrowheads="1"/>
            </p:cNvSpPr>
            <p:nvPr userDrawn="1"/>
          </p:nvSpPr>
          <p:spPr bwMode="auto">
            <a:xfrm>
              <a:off x="4439246" y="2697223"/>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784" name="Oval 646"/>
            <p:cNvSpPr>
              <a:spLocks noChangeAspect="1" noChangeArrowheads="1"/>
            </p:cNvSpPr>
            <p:nvPr userDrawn="1"/>
          </p:nvSpPr>
          <p:spPr bwMode="auto">
            <a:xfrm>
              <a:off x="4552329" y="2697223"/>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785" name="Oval 647"/>
            <p:cNvSpPr>
              <a:spLocks noChangeAspect="1" noChangeArrowheads="1"/>
            </p:cNvSpPr>
            <p:nvPr userDrawn="1"/>
          </p:nvSpPr>
          <p:spPr bwMode="auto">
            <a:xfrm>
              <a:off x="4663905" y="2697223"/>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786" name="Oval 648"/>
            <p:cNvSpPr>
              <a:spLocks noChangeAspect="1" noChangeArrowheads="1"/>
            </p:cNvSpPr>
            <p:nvPr userDrawn="1"/>
          </p:nvSpPr>
          <p:spPr bwMode="auto">
            <a:xfrm>
              <a:off x="4776989" y="2697223"/>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787" name="Oval 649"/>
            <p:cNvSpPr>
              <a:spLocks noChangeAspect="1" noChangeArrowheads="1"/>
            </p:cNvSpPr>
            <p:nvPr userDrawn="1"/>
          </p:nvSpPr>
          <p:spPr bwMode="auto">
            <a:xfrm>
              <a:off x="4888565" y="2697223"/>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788" name="Oval 650"/>
            <p:cNvSpPr>
              <a:spLocks noChangeAspect="1" noChangeArrowheads="1"/>
            </p:cNvSpPr>
            <p:nvPr userDrawn="1"/>
          </p:nvSpPr>
          <p:spPr bwMode="auto">
            <a:xfrm>
              <a:off x="5001649" y="2697223"/>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789" name="Oval 651"/>
            <p:cNvSpPr>
              <a:spLocks noChangeAspect="1" noChangeArrowheads="1"/>
            </p:cNvSpPr>
            <p:nvPr userDrawn="1"/>
          </p:nvSpPr>
          <p:spPr bwMode="auto">
            <a:xfrm>
              <a:off x="5226308" y="2697223"/>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790" name="Oval 652"/>
            <p:cNvSpPr>
              <a:spLocks noChangeAspect="1" noChangeArrowheads="1"/>
            </p:cNvSpPr>
            <p:nvPr userDrawn="1"/>
          </p:nvSpPr>
          <p:spPr bwMode="auto">
            <a:xfrm>
              <a:off x="5337884" y="2697223"/>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791" name="Oval 653"/>
            <p:cNvSpPr>
              <a:spLocks noChangeAspect="1" noChangeArrowheads="1"/>
            </p:cNvSpPr>
            <p:nvPr userDrawn="1"/>
          </p:nvSpPr>
          <p:spPr bwMode="auto">
            <a:xfrm>
              <a:off x="5450968" y="2697223"/>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792" name="Oval 654"/>
            <p:cNvSpPr>
              <a:spLocks noChangeAspect="1" noChangeArrowheads="1"/>
            </p:cNvSpPr>
            <p:nvPr userDrawn="1"/>
          </p:nvSpPr>
          <p:spPr bwMode="auto">
            <a:xfrm>
              <a:off x="5562544" y="2697223"/>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793" name="Oval 655"/>
            <p:cNvSpPr>
              <a:spLocks noChangeAspect="1" noChangeArrowheads="1"/>
            </p:cNvSpPr>
            <p:nvPr userDrawn="1"/>
          </p:nvSpPr>
          <p:spPr bwMode="auto">
            <a:xfrm>
              <a:off x="5675628" y="2697223"/>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794" name="Oval 656"/>
            <p:cNvSpPr>
              <a:spLocks noChangeAspect="1" noChangeArrowheads="1"/>
            </p:cNvSpPr>
            <p:nvPr userDrawn="1"/>
          </p:nvSpPr>
          <p:spPr bwMode="auto">
            <a:xfrm>
              <a:off x="5900288" y="2697223"/>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795" name="Oval 657"/>
            <p:cNvSpPr>
              <a:spLocks noChangeAspect="1" noChangeArrowheads="1"/>
            </p:cNvSpPr>
            <p:nvPr userDrawn="1"/>
          </p:nvSpPr>
          <p:spPr bwMode="auto">
            <a:xfrm>
              <a:off x="6013372" y="2697223"/>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796" name="Oval 658"/>
            <p:cNvSpPr>
              <a:spLocks noChangeAspect="1" noChangeArrowheads="1"/>
            </p:cNvSpPr>
            <p:nvPr userDrawn="1"/>
          </p:nvSpPr>
          <p:spPr bwMode="auto">
            <a:xfrm>
              <a:off x="6124948" y="2697223"/>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797" name="Oval 659"/>
            <p:cNvSpPr>
              <a:spLocks noChangeAspect="1" noChangeArrowheads="1"/>
            </p:cNvSpPr>
            <p:nvPr userDrawn="1"/>
          </p:nvSpPr>
          <p:spPr bwMode="auto">
            <a:xfrm>
              <a:off x="6238031" y="2697223"/>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798" name="Oval 660"/>
            <p:cNvSpPr>
              <a:spLocks noChangeAspect="1" noChangeArrowheads="1"/>
            </p:cNvSpPr>
            <p:nvPr userDrawn="1"/>
          </p:nvSpPr>
          <p:spPr bwMode="auto">
            <a:xfrm>
              <a:off x="6349607" y="2697223"/>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799" name="Oval 661"/>
            <p:cNvSpPr>
              <a:spLocks noChangeAspect="1" noChangeArrowheads="1"/>
            </p:cNvSpPr>
            <p:nvPr userDrawn="1"/>
          </p:nvSpPr>
          <p:spPr bwMode="auto">
            <a:xfrm>
              <a:off x="6462690" y="2697223"/>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800" name="Oval 662"/>
            <p:cNvSpPr>
              <a:spLocks noChangeAspect="1" noChangeArrowheads="1"/>
            </p:cNvSpPr>
            <p:nvPr userDrawn="1"/>
          </p:nvSpPr>
          <p:spPr bwMode="auto">
            <a:xfrm>
              <a:off x="6574266" y="2697223"/>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801" name="Oval 663"/>
            <p:cNvSpPr>
              <a:spLocks noChangeAspect="1" noChangeArrowheads="1"/>
            </p:cNvSpPr>
            <p:nvPr userDrawn="1"/>
          </p:nvSpPr>
          <p:spPr bwMode="auto">
            <a:xfrm>
              <a:off x="6687351" y="2697223"/>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802" name="Oval 664"/>
            <p:cNvSpPr>
              <a:spLocks noChangeAspect="1" noChangeArrowheads="1"/>
            </p:cNvSpPr>
            <p:nvPr userDrawn="1"/>
          </p:nvSpPr>
          <p:spPr bwMode="auto">
            <a:xfrm>
              <a:off x="6798926" y="2697223"/>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803" name="Oval 665"/>
            <p:cNvSpPr>
              <a:spLocks noChangeAspect="1" noChangeArrowheads="1"/>
            </p:cNvSpPr>
            <p:nvPr userDrawn="1"/>
          </p:nvSpPr>
          <p:spPr bwMode="auto">
            <a:xfrm>
              <a:off x="6912011" y="2697223"/>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804" name="Oval 666"/>
            <p:cNvSpPr>
              <a:spLocks noChangeAspect="1" noChangeArrowheads="1"/>
            </p:cNvSpPr>
            <p:nvPr userDrawn="1"/>
          </p:nvSpPr>
          <p:spPr bwMode="auto">
            <a:xfrm>
              <a:off x="7023587" y="2697223"/>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805" name="Oval 667"/>
            <p:cNvSpPr>
              <a:spLocks noChangeAspect="1" noChangeArrowheads="1"/>
            </p:cNvSpPr>
            <p:nvPr userDrawn="1"/>
          </p:nvSpPr>
          <p:spPr bwMode="auto">
            <a:xfrm>
              <a:off x="7136670" y="2697223"/>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806" name="Oval 668"/>
            <p:cNvSpPr>
              <a:spLocks noChangeAspect="1" noChangeArrowheads="1"/>
            </p:cNvSpPr>
            <p:nvPr userDrawn="1"/>
          </p:nvSpPr>
          <p:spPr bwMode="auto">
            <a:xfrm>
              <a:off x="7248246" y="2697223"/>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807" name="Oval 669"/>
            <p:cNvSpPr>
              <a:spLocks noChangeAspect="1" noChangeArrowheads="1"/>
            </p:cNvSpPr>
            <p:nvPr userDrawn="1"/>
          </p:nvSpPr>
          <p:spPr bwMode="auto">
            <a:xfrm>
              <a:off x="7361330" y="2697223"/>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808" name="Oval 670"/>
            <p:cNvSpPr>
              <a:spLocks noChangeAspect="1" noChangeArrowheads="1"/>
            </p:cNvSpPr>
            <p:nvPr userDrawn="1"/>
          </p:nvSpPr>
          <p:spPr bwMode="auto">
            <a:xfrm>
              <a:off x="7472905" y="2697223"/>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809" name="Oval 671"/>
            <p:cNvSpPr>
              <a:spLocks noChangeAspect="1" noChangeArrowheads="1"/>
            </p:cNvSpPr>
            <p:nvPr userDrawn="1"/>
          </p:nvSpPr>
          <p:spPr bwMode="auto">
            <a:xfrm>
              <a:off x="1405584" y="279975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810" name="Oval 672"/>
            <p:cNvSpPr>
              <a:spLocks noChangeAspect="1" noChangeArrowheads="1"/>
            </p:cNvSpPr>
            <p:nvPr userDrawn="1"/>
          </p:nvSpPr>
          <p:spPr bwMode="auto">
            <a:xfrm>
              <a:off x="1518670" y="279975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811" name="Oval 673"/>
            <p:cNvSpPr>
              <a:spLocks noChangeAspect="1" noChangeArrowheads="1"/>
            </p:cNvSpPr>
            <p:nvPr userDrawn="1"/>
          </p:nvSpPr>
          <p:spPr bwMode="auto">
            <a:xfrm>
              <a:off x="1630246" y="279975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812" name="Oval 674"/>
            <p:cNvSpPr>
              <a:spLocks noChangeAspect="1" noChangeArrowheads="1"/>
            </p:cNvSpPr>
            <p:nvPr userDrawn="1"/>
          </p:nvSpPr>
          <p:spPr bwMode="auto">
            <a:xfrm>
              <a:off x="1743329" y="279975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813" name="Oval 675"/>
            <p:cNvSpPr>
              <a:spLocks noChangeAspect="1" noChangeArrowheads="1"/>
            </p:cNvSpPr>
            <p:nvPr userDrawn="1"/>
          </p:nvSpPr>
          <p:spPr bwMode="auto">
            <a:xfrm>
              <a:off x="1854905" y="279975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814" name="Oval 676"/>
            <p:cNvSpPr>
              <a:spLocks noChangeAspect="1" noChangeArrowheads="1"/>
            </p:cNvSpPr>
            <p:nvPr userDrawn="1"/>
          </p:nvSpPr>
          <p:spPr bwMode="auto">
            <a:xfrm>
              <a:off x="1967988" y="279975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815" name="Oval 677"/>
            <p:cNvSpPr>
              <a:spLocks noChangeAspect="1" noChangeArrowheads="1"/>
            </p:cNvSpPr>
            <p:nvPr userDrawn="1"/>
          </p:nvSpPr>
          <p:spPr bwMode="auto">
            <a:xfrm>
              <a:off x="2079564" y="279975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816" name="Oval 678"/>
            <p:cNvSpPr>
              <a:spLocks noChangeAspect="1" noChangeArrowheads="1"/>
            </p:cNvSpPr>
            <p:nvPr userDrawn="1"/>
          </p:nvSpPr>
          <p:spPr bwMode="auto">
            <a:xfrm>
              <a:off x="2192649" y="279975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817" name="Oval 679"/>
            <p:cNvSpPr>
              <a:spLocks noChangeAspect="1" noChangeArrowheads="1"/>
            </p:cNvSpPr>
            <p:nvPr userDrawn="1"/>
          </p:nvSpPr>
          <p:spPr bwMode="auto">
            <a:xfrm>
              <a:off x="2304225" y="279975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818" name="Oval 680"/>
            <p:cNvSpPr>
              <a:spLocks noChangeAspect="1" noChangeArrowheads="1"/>
            </p:cNvSpPr>
            <p:nvPr userDrawn="1"/>
          </p:nvSpPr>
          <p:spPr bwMode="auto">
            <a:xfrm>
              <a:off x="2417309" y="279975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819" name="Oval 681"/>
            <p:cNvSpPr>
              <a:spLocks noChangeAspect="1" noChangeArrowheads="1"/>
            </p:cNvSpPr>
            <p:nvPr userDrawn="1"/>
          </p:nvSpPr>
          <p:spPr bwMode="auto">
            <a:xfrm>
              <a:off x="2528885" y="279975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820" name="Oval 682"/>
            <p:cNvSpPr>
              <a:spLocks noChangeAspect="1" noChangeArrowheads="1"/>
            </p:cNvSpPr>
            <p:nvPr userDrawn="1"/>
          </p:nvSpPr>
          <p:spPr bwMode="auto">
            <a:xfrm>
              <a:off x="2641967" y="279975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821" name="Oval 683"/>
            <p:cNvSpPr>
              <a:spLocks noChangeAspect="1" noChangeArrowheads="1"/>
            </p:cNvSpPr>
            <p:nvPr userDrawn="1"/>
          </p:nvSpPr>
          <p:spPr bwMode="auto">
            <a:xfrm>
              <a:off x="4103010" y="279975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822" name="Oval 684"/>
            <p:cNvSpPr>
              <a:spLocks noChangeAspect="1" noChangeArrowheads="1"/>
            </p:cNvSpPr>
            <p:nvPr userDrawn="1"/>
          </p:nvSpPr>
          <p:spPr bwMode="auto">
            <a:xfrm>
              <a:off x="4214586" y="279975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823" name="Oval 685"/>
            <p:cNvSpPr>
              <a:spLocks noChangeAspect="1" noChangeArrowheads="1"/>
            </p:cNvSpPr>
            <p:nvPr userDrawn="1"/>
          </p:nvSpPr>
          <p:spPr bwMode="auto">
            <a:xfrm>
              <a:off x="4327669" y="279975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824" name="Oval 686"/>
            <p:cNvSpPr>
              <a:spLocks noChangeAspect="1" noChangeArrowheads="1"/>
            </p:cNvSpPr>
            <p:nvPr userDrawn="1"/>
          </p:nvSpPr>
          <p:spPr bwMode="auto">
            <a:xfrm>
              <a:off x="4663905" y="279975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825" name="Oval 687"/>
            <p:cNvSpPr>
              <a:spLocks noChangeAspect="1" noChangeArrowheads="1"/>
            </p:cNvSpPr>
            <p:nvPr userDrawn="1"/>
          </p:nvSpPr>
          <p:spPr bwMode="auto">
            <a:xfrm>
              <a:off x="4776989" y="279975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826" name="Oval 688"/>
            <p:cNvSpPr>
              <a:spLocks noChangeAspect="1" noChangeArrowheads="1"/>
            </p:cNvSpPr>
            <p:nvPr userDrawn="1"/>
          </p:nvSpPr>
          <p:spPr bwMode="auto">
            <a:xfrm>
              <a:off x="4888565" y="279975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827" name="Oval 689"/>
            <p:cNvSpPr>
              <a:spLocks noChangeAspect="1" noChangeArrowheads="1"/>
            </p:cNvSpPr>
            <p:nvPr userDrawn="1"/>
          </p:nvSpPr>
          <p:spPr bwMode="auto">
            <a:xfrm>
              <a:off x="5001649" y="279975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828" name="Oval 690"/>
            <p:cNvSpPr>
              <a:spLocks noChangeAspect="1" noChangeArrowheads="1"/>
            </p:cNvSpPr>
            <p:nvPr userDrawn="1"/>
          </p:nvSpPr>
          <p:spPr bwMode="auto">
            <a:xfrm>
              <a:off x="5113225" y="279975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829" name="Oval 691"/>
            <p:cNvSpPr>
              <a:spLocks noChangeAspect="1" noChangeArrowheads="1"/>
            </p:cNvSpPr>
            <p:nvPr userDrawn="1"/>
          </p:nvSpPr>
          <p:spPr bwMode="auto">
            <a:xfrm>
              <a:off x="5226308" y="279975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830" name="Oval 692"/>
            <p:cNvSpPr>
              <a:spLocks noChangeAspect="1" noChangeArrowheads="1"/>
            </p:cNvSpPr>
            <p:nvPr userDrawn="1"/>
          </p:nvSpPr>
          <p:spPr bwMode="auto">
            <a:xfrm>
              <a:off x="5337884" y="279975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831" name="Oval 693"/>
            <p:cNvSpPr>
              <a:spLocks noChangeAspect="1" noChangeArrowheads="1"/>
            </p:cNvSpPr>
            <p:nvPr userDrawn="1"/>
          </p:nvSpPr>
          <p:spPr bwMode="auto">
            <a:xfrm>
              <a:off x="5450968" y="279975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832" name="Oval 694"/>
            <p:cNvSpPr>
              <a:spLocks noChangeAspect="1" noChangeArrowheads="1"/>
            </p:cNvSpPr>
            <p:nvPr userDrawn="1"/>
          </p:nvSpPr>
          <p:spPr bwMode="auto">
            <a:xfrm>
              <a:off x="5675628" y="279975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833" name="Oval 695"/>
            <p:cNvSpPr>
              <a:spLocks noChangeAspect="1" noChangeArrowheads="1"/>
            </p:cNvSpPr>
            <p:nvPr userDrawn="1"/>
          </p:nvSpPr>
          <p:spPr bwMode="auto">
            <a:xfrm>
              <a:off x="5787204" y="279975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834" name="Oval 696"/>
            <p:cNvSpPr>
              <a:spLocks noChangeAspect="1" noChangeArrowheads="1"/>
            </p:cNvSpPr>
            <p:nvPr userDrawn="1"/>
          </p:nvSpPr>
          <p:spPr bwMode="auto">
            <a:xfrm>
              <a:off x="5900288" y="279975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835" name="Oval 697"/>
            <p:cNvSpPr>
              <a:spLocks noChangeAspect="1" noChangeArrowheads="1"/>
            </p:cNvSpPr>
            <p:nvPr userDrawn="1"/>
          </p:nvSpPr>
          <p:spPr bwMode="auto">
            <a:xfrm>
              <a:off x="6013372" y="279975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836" name="Oval 698"/>
            <p:cNvSpPr>
              <a:spLocks noChangeAspect="1" noChangeArrowheads="1"/>
            </p:cNvSpPr>
            <p:nvPr userDrawn="1"/>
          </p:nvSpPr>
          <p:spPr bwMode="auto">
            <a:xfrm>
              <a:off x="6124948" y="279975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837" name="Oval 699"/>
            <p:cNvSpPr>
              <a:spLocks noChangeAspect="1" noChangeArrowheads="1"/>
            </p:cNvSpPr>
            <p:nvPr userDrawn="1"/>
          </p:nvSpPr>
          <p:spPr bwMode="auto">
            <a:xfrm>
              <a:off x="6238031" y="279975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838" name="Oval 700"/>
            <p:cNvSpPr>
              <a:spLocks noChangeAspect="1" noChangeArrowheads="1"/>
            </p:cNvSpPr>
            <p:nvPr userDrawn="1"/>
          </p:nvSpPr>
          <p:spPr bwMode="auto">
            <a:xfrm>
              <a:off x="6349607" y="279975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839" name="Oval 701"/>
            <p:cNvSpPr>
              <a:spLocks noChangeAspect="1" noChangeArrowheads="1"/>
            </p:cNvSpPr>
            <p:nvPr userDrawn="1"/>
          </p:nvSpPr>
          <p:spPr bwMode="auto">
            <a:xfrm>
              <a:off x="6462690" y="279975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840" name="Oval 702"/>
            <p:cNvSpPr>
              <a:spLocks noChangeAspect="1" noChangeArrowheads="1"/>
            </p:cNvSpPr>
            <p:nvPr userDrawn="1"/>
          </p:nvSpPr>
          <p:spPr bwMode="auto">
            <a:xfrm>
              <a:off x="6574266" y="279975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841" name="Oval 703"/>
            <p:cNvSpPr>
              <a:spLocks noChangeAspect="1" noChangeArrowheads="1"/>
            </p:cNvSpPr>
            <p:nvPr userDrawn="1"/>
          </p:nvSpPr>
          <p:spPr bwMode="auto">
            <a:xfrm>
              <a:off x="6687351" y="279975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842" name="Oval 704"/>
            <p:cNvSpPr>
              <a:spLocks noChangeAspect="1" noChangeArrowheads="1"/>
            </p:cNvSpPr>
            <p:nvPr userDrawn="1"/>
          </p:nvSpPr>
          <p:spPr bwMode="auto">
            <a:xfrm>
              <a:off x="6798926" y="279975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843" name="Oval 705"/>
            <p:cNvSpPr>
              <a:spLocks noChangeAspect="1" noChangeArrowheads="1"/>
            </p:cNvSpPr>
            <p:nvPr userDrawn="1"/>
          </p:nvSpPr>
          <p:spPr bwMode="auto">
            <a:xfrm>
              <a:off x="6912011" y="279975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844" name="Oval 706"/>
            <p:cNvSpPr>
              <a:spLocks noChangeAspect="1" noChangeArrowheads="1"/>
            </p:cNvSpPr>
            <p:nvPr userDrawn="1"/>
          </p:nvSpPr>
          <p:spPr bwMode="auto">
            <a:xfrm>
              <a:off x="7023587" y="279975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845" name="Oval 707"/>
            <p:cNvSpPr>
              <a:spLocks noChangeAspect="1" noChangeArrowheads="1"/>
            </p:cNvSpPr>
            <p:nvPr userDrawn="1"/>
          </p:nvSpPr>
          <p:spPr bwMode="auto">
            <a:xfrm>
              <a:off x="7136670" y="279975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846" name="Oval 708"/>
            <p:cNvSpPr>
              <a:spLocks noChangeAspect="1" noChangeArrowheads="1"/>
            </p:cNvSpPr>
            <p:nvPr userDrawn="1"/>
          </p:nvSpPr>
          <p:spPr bwMode="auto">
            <a:xfrm>
              <a:off x="7248246" y="279975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847" name="Oval 709"/>
            <p:cNvSpPr>
              <a:spLocks noChangeAspect="1" noChangeArrowheads="1"/>
            </p:cNvSpPr>
            <p:nvPr userDrawn="1"/>
          </p:nvSpPr>
          <p:spPr bwMode="auto">
            <a:xfrm>
              <a:off x="7361330" y="279975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848" name="Oval 710"/>
            <p:cNvSpPr>
              <a:spLocks noChangeAspect="1" noChangeArrowheads="1"/>
            </p:cNvSpPr>
            <p:nvPr userDrawn="1"/>
          </p:nvSpPr>
          <p:spPr bwMode="auto">
            <a:xfrm>
              <a:off x="7585989" y="279975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849" name="Oval 711"/>
            <p:cNvSpPr>
              <a:spLocks noChangeAspect="1" noChangeArrowheads="1"/>
            </p:cNvSpPr>
            <p:nvPr userDrawn="1"/>
          </p:nvSpPr>
          <p:spPr bwMode="auto">
            <a:xfrm>
              <a:off x="1405584" y="290378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850" name="Oval 712"/>
            <p:cNvSpPr>
              <a:spLocks noChangeAspect="1" noChangeArrowheads="1"/>
            </p:cNvSpPr>
            <p:nvPr userDrawn="1"/>
          </p:nvSpPr>
          <p:spPr bwMode="auto">
            <a:xfrm>
              <a:off x="1518670" y="290378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851" name="Oval 713"/>
            <p:cNvSpPr>
              <a:spLocks noChangeAspect="1" noChangeArrowheads="1"/>
            </p:cNvSpPr>
            <p:nvPr userDrawn="1"/>
          </p:nvSpPr>
          <p:spPr bwMode="auto">
            <a:xfrm>
              <a:off x="1630246" y="290378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852" name="Oval 714"/>
            <p:cNvSpPr>
              <a:spLocks noChangeAspect="1" noChangeArrowheads="1"/>
            </p:cNvSpPr>
            <p:nvPr userDrawn="1"/>
          </p:nvSpPr>
          <p:spPr bwMode="auto">
            <a:xfrm>
              <a:off x="1743329" y="290378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853" name="Oval 715"/>
            <p:cNvSpPr>
              <a:spLocks noChangeAspect="1" noChangeArrowheads="1"/>
            </p:cNvSpPr>
            <p:nvPr userDrawn="1"/>
          </p:nvSpPr>
          <p:spPr bwMode="auto">
            <a:xfrm>
              <a:off x="1854905" y="290378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854" name="Oval 716"/>
            <p:cNvSpPr>
              <a:spLocks noChangeAspect="1" noChangeArrowheads="1"/>
            </p:cNvSpPr>
            <p:nvPr userDrawn="1"/>
          </p:nvSpPr>
          <p:spPr bwMode="auto">
            <a:xfrm>
              <a:off x="1967987" y="290378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855" name="Oval 717"/>
            <p:cNvSpPr>
              <a:spLocks noChangeAspect="1" noChangeArrowheads="1"/>
            </p:cNvSpPr>
            <p:nvPr userDrawn="1"/>
          </p:nvSpPr>
          <p:spPr bwMode="auto">
            <a:xfrm>
              <a:off x="2079563" y="290378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856" name="Oval 718"/>
            <p:cNvSpPr>
              <a:spLocks noChangeAspect="1" noChangeArrowheads="1"/>
            </p:cNvSpPr>
            <p:nvPr userDrawn="1"/>
          </p:nvSpPr>
          <p:spPr bwMode="auto">
            <a:xfrm>
              <a:off x="2192649" y="290378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857" name="Oval 719"/>
            <p:cNvSpPr>
              <a:spLocks noChangeAspect="1" noChangeArrowheads="1"/>
            </p:cNvSpPr>
            <p:nvPr userDrawn="1"/>
          </p:nvSpPr>
          <p:spPr bwMode="auto">
            <a:xfrm>
              <a:off x="2304225" y="290378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858" name="Oval 720"/>
            <p:cNvSpPr>
              <a:spLocks noChangeAspect="1" noChangeArrowheads="1"/>
            </p:cNvSpPr>
            <p:nvPr userDrawn="1"/>
          </p:nvSpPr>
          <p:spPr bwMode="auto">
            <a:xfrm>
              <a:off x="2417309" y="290378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859" name="Oval 721"/>
            <p:cNvSpPr>
              <a:spLocks noChangeAspect="1" noChangeArrowheads="1"/>
            </p:cNvSpPr>
            <p:nvPr userDrawn="1"/>
          </p:nvSpPr>
          <p:spPr bwMode="auto">
            <a:xfrm>
              <a:off x="2528885" y="290378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860" name="Oval 722"/>
            <p:cNvSpPr>
              <a:spLocks noChangeAspect="1" noChangeArrowheads="1"/>
            </p:cNvSpPr>
            <p:nvPr userDrawn="1"/>
          </p:nvSpPr>
          <p:spPr bwMode="auto">
            <a:xfrm>
              <a:off x="4103010" y="290378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861" name="Oval 723"/>
            <p:cNvSpPr>
              <a:spLocks noChangeAspect="1" noChangeArrowheads="1"/>
            </p:cNvSpPr>
            <p:nvPr userDrawn="1"/>
          </p:nvSpPr>
          <p:spPr bwMode="auto">
            <a:xfrm>
              <a:off x="4214586" y="290378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862" name="Oval 724"/>
            <p:cNvSpPr>
              <a:spLocks noChangeAspect="1" noChangeArrowheads="1"/>
            </p:cNvSpPr>
            <p:nvPr userDrawn="1"/>
          </p:nvSpPr>
          <p:spPr bwMode="auto">
            <a:xfrm>
              <a:off x="4663904" y="290378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863" name="Oval 725"/>
            <p:cNvSpPr>
              <a:spLocks noChangeAspect="1" noChangeArrowheads="1"/>
            </p:cNvSpPr>
            <p:nvPr userDrawn="1"/>
          </p:nvSpPr>
          <p:spPr bwMode="auto">
            <a:xfrm>
              <a:off x="4888565" y="290378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864" name="Oval 726"/>
            <p:cNvSpPr>
              <a:spLocks noChangeAspect="1" noChangeArrowheads="1"/>
            </p:cNvSpPr>
            <p:nvPr userDrawn="1"/>
          </p:nvSpPr>
          <p:spPr bwMode="auto">
            <a:xfrm>
              <a:off x="5001649" y="290378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865" name="Oval 727"/>
            <p:cNvSpPr>
              <a:spLocks noChangeAspect="1" noChangeArrowheads="1"/>
            </p:cNvSpPr>
            <p:nvPr userDrawn="1"/>
          </p:nvSpPr>
          <p:spPr bwMode="auto">
            <a:xfrm>
              <a:off x="5113225" y="2903789"/>
              <a:ext cx="85943" cy="85943"/>
            </a:xfrm>
            <a:prstGeom prst="ellipse">
              <a:avLst/>
            </a:prstGeom>
            <a:grpFill/>
            <a:ln>
              <a:noFill/>
            </a:ln>
            <a:effec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866" name="Oval 728"/>
            <p:cNvSpPr>
              <a:spLocks noChangeAspect="1" noChangeArrowheads="1"/>
            </p:cNvSpPr>
            <p:nvPr userDrawn="1"/>
          </p:nvSpPr>
          <p:spPr bwMode="auto">
            <a:xfrm>
              <a:off x="5226308" y="290378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867" name="Oval 729"/>
            <p:cNvSpPr>
              <a:spLocks noChangeAspect="1" noChangeArrowheads="1"/>
            </p:cNvSpPr>
            <p:nvPr userDrawn="1"/>
          </p:nvSpPr>
          <p:spPr bwMode="auto">
            <a:xfrm>
              <a:off x="5337884" y="290378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868" name="Oval 730"/>
            <p:cNvSpPr>
              <a:spLocks noChangeAspect="1" noChangeArrowheads="1"/>
            </p:cNvSpPr>
            <p:nvPr userDrawn="1"/>
          </p:nvSpPr>
          <p:spPr bwMode="auto">
            <a:xfrm>
              <a:off x="5450968" y="290378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869" name="Oval 731"/>
            <p:cNvSpPr>
              <a:spLocks noChangeAspect="1" noChangeArrowheads="1"/>
            </p:cNvSpPr>
            <p:nvPr userDrawn="1"/>
          </p:nvSpPr>
          <p:spPr bwMode="auto">
            <a:xfrm>
              <a:off x="5675627" y="290378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870" name="Oval 732"/>
            <p:cNvSpPr>
              <a:spLocks noChangeAspect="1" noChangeArrowheads="1"/>
            </p:cNvSpPr>
            <p:nvPr userDrawn="1"/>
          </p:nvSpPr>
          <p:spPr bwMode="auto">
            <a:xfrm>
              <a:off x="5787203" y="290378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871" name="Oval 733"/>
            <p:cNvSpPr>
              <a:spLocks noChangeAspect="1" noChangeArrowheads="1"/>
            </p:cNvSpPr>
            <p:nvPr userDrawn="1"/>
          </p:nvSpPr>
          <p:spPr bwMode="auto">
            <a:xfrm>
              <a:off x="5900288" y="290378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872" name="Oval 734"/>
            <p:cNvSpPr>
              <a:spLocks noChangeAspect="1" noChangeArrowheads="1"/>
            </p:cNvSpPr>
            <p:nvPr userDrawn="1"/>
          </p:nvSpPr>
          <p:spPr bwMode="auto">
            <a:xfrm>
              <a:off x="6013372" y="290378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873" name="Oval 735"/>
            <p:cNvSpPr>
              <a:spLocks noChangeAspect="1" noChangeArrowheads="1"/>
            </p:cNvSpPr>
            <p:nvPr userDrawn="1"/>
          </p:nvSpPr>
          <p:spPr bwMode="auto">
            <a:xfrm>
              <a:off x="6124948" y="290378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874" name="Oval 736"/>
            <p:cNvSpPr>
              <a:spLocks noChangeAspect="1" noChangeArrowheads="1"/>
            </p:cNvSpPr>
            <p:nvPr userDrawn="1"/>
          </p:nvSpPr>
          <p:spPr bwMode="auto">
            <a:xfrm>
              <a:off x="6238031" y="290378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875" name="Oval 737"/>
            <p:cNvSpPr>
              <a:spLocks noChangeAspect="1" noChangeArrowheads="1"/>
            </p:cNvSpPr>
            <p:nvPr userDrawn="1"/>
          </p:nvSpPr>
          <p:spPr bwMode="auto">
            <a:xfrm>
              <a:off x="6349607" y="290378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876" name="Oval 738"/>
            <p:cNvSpPr>
              <a:spLocks noChangeAspect="1" noChangeArrowheads="1"/>
            </p:cNvSpPr>
            <p:nvPr userDrawn="1"/>
          </p:nvSpPr>
          <p:spPr bwMode="auto">
            <a:xfrm>
              <a:off x="6462690" y="290378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877" name="Oval 739"/>
            <p:cNvSpPr>
              <a:spLocks noChangeAspect="1" noChangeArrowheads="1"/>
            </p:cNvSpPr>
            <p:nvPr userDrawn="1"/>
          </p:nvSpPr>
          <p:spPr bwMode="auto">
            <a:xfrm>
              <a:off x="6574266" y="290378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878" name="Oval 740"/>
            <p:cNvSpPr>
              <a:spLocks noChangeAspect="1" noChangeArrowheads="1"/>
            </p:cNvSpPr>
            <p:nvPr userDrawn="1"/>
          </p:nvSpPr>
          <p:spPr bwMode="auto">
            <a:xfrm>
              <a:off x="6687351" y="290378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879" name="Oval 741"/>
            <p:cNvSpPr>
              <a:spLocks noChangeAspect="1" noChangeArrowheads="1"/>
            </p:cNvSpPr>
            <p:nvPr userDrawn="1"/>
          </p:nvSpPr>
          <p:spPr bwMode="auto">
            <a:xfrm>
              <a:off x="6798926" y="290378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880" name="Oval 742"/>
            <p:cNvSpPr>
              <a:spLocks noChangeAspect="1" noChangeArrowheads="1"/>
            </p:cNvSpPr>
            <p:nvPr userDrawn="1"/>
          </p:nvSpPr>
          <p:spPr bwMode="auto">
            <a:xfrm>
              <a:off x="6912011" y="290378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881" name="Oval 743"/>
            <p:cNvSpPr>
              <a:spLocks noChangeAspect="1" noChangeArrowheads="1"/>
            </p:cNvSpPr>
            <p:nvPr userDrawn="1"/>
          </p:nvSpPr>
          <p:spPr bwMode="auto">
            <a:xfrm>
              <a:off x="7023587" y="290378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882" name="Oval 744"/>
            <p:cNvSpPr>
              <a:spLocks noChangeAspect="1" noChangeArrowheads="1"/>
            </p:cNvSpPr>
            <p:nvPr userDrawn="1"/>
          </p:nvSpPr>
          <p:spPr bwMode="auto">
            <a:xfrm>
              <a:off x="7136670" y="290378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883" name="Oval 745"/>
            <p:cNvSpPr>
              <a:spLocks noChangeAspect="1" noChangeArrowheads="1"/>
            </p:cNvSpPr>
            <p:nvPr userDrawn="1"/>
          </p:nvSpPr>
          <p:spPr bwMode="auto">
            <a:xfrm>
              <a:off x="7361330" y="290378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884" name="Oval 746"/>
            <p:cNvSpPr>
              <a:spLocks noChangeAspect="1" noChangeArrowheads="1"/>
            </p:cNvSpPr>
            <p:nvPr userDrawn="1"/>
          </p:nvSpPr>
          <p:spPr bwMode="auto">
            <a:xfrm>
              <a:off x="7585989" y="2903789"/>
              <a:ext cx="85943" cy="85943"/>
            </a:xfrm>
            <a:prstGeom prst="ellipse">
              <a:avLst/>
            </a:prstGeom>
            <a:grpFill/>
            <a:ln>
              <a:noFill/>
            </a:ln>
            <a:effec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885" name="Oval 747"/>
            <p:cNvSpPr>
              <a:spLocks noChangeAspect="1" noChangeArrowheads="1"/>
            </p:cNvSpPr>
            <p:nvPr userDrawn="1"/>
          </p:nvSpPr>
          <p:spPr bwMode="auto">
            <a:xfrm>
              <a:off x="1518670" y="30078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886" name="Oval 748"/>
            <p:cNvSpPr>
              <a:spLocks noChangeAspect="1" noChangeArrowheads="1"/>
            </p:cNvSpPr>
            <p:nvPr userDrawn="1"/>
          </p:nvSpPr>
          <p:spPr bwMode="auto">
            <a:xfrm>
              <a:off x="1630246" y="30078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887" name="Oval 749"/>
            <p:cNvSpPr>
              <a:spLocks noChangeAspect="1" noChangeArrowheads="1"/>
            </p:cNvSpPr>
            <p:nvPr userDrawn="1"/>
          </p:nvSpPr>
          <p:spPr bwMode="auto">
            <a:xfrm>
              <a:off x="1743329" y="30078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888" name="Oval 750"/>
            <p:cNvSpPr>
              <a:spLocks noChangeAspect="1" noChangeArrowheads="1"/>
            </p:cNvSpPr>
            <p:nvPr userDrawn="1"/>
          </p:nvSpPr>
          <p:spPr bwMode="auto">
            <a:xfrm>
              <a:off x="1854905" y="30078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889" name="Oval 751"/>
            <p:cNvSpPr>
              <a:spLocks noChangeAspect="1" noChangeArrowheads="1"/>
            </p:cNvSpPr>
            <p:nvPr userDrawn="1"/>
          </p:nvSpPr>
          <p:spPr bwMode="auto">
            <a:xfrm>
              <a:off x="1967987" y="30078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890" name="Oval 752"/>
            <p:cNvSpPr>
              <a:spLocks noChangeAspect="1" noChangeArrowheads="1"/>
            </p:cNvSpPr>
            <p:nvPr userDrawn="1"/>
          </p:nvSpPr>
          <p:spPr bwMode="auto">
            <a:xfrm>
              <a:off x="2079563" y="30078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891" name="Oval 753"/>
            <p:cNvSpPr>
              <a:spLocks noChangeAspect="1" noChangeArrowheads="1"/>
            </p:cNvSpPr>
            <p:nvPr userDrawn="1"/>
          </p:nvSpPr>
          <p:spPr bwMode="auto">
            <a:xfrm>
              <a:off x="2192648" y="30078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892" name="Oval 754"/>
            <p:cNvSpPr>
              <a:spLocks noChangeAspect="1" noChangeArrowheads="1"/>
            </p:cNvSpPr>
            <p:nvPr userDrawn="1"/>
          </p:nvSpPr>
          <p:spPr bwMode="auto">
            <a:xfrm>
              <a:off x="2304225" y="30078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893" name="Oval 755"/>
            <p:cNvSpPr>
              <a:spLocks noChangeAspect="1" noChangeArrowheads="1"/>
            </p:cNvSpPr>
            <p:nvPr userDrawn="1"/>
          </p:nvSpPr>
          <p:spPr bwMode="auto">
            <a:xfrm>
              <a:off x="2417309" y="30078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894" name="Oval 756"/>
            <p:cNvSpPr>
              <a:spLocks noChangeAspect="1" noChangeArrowheads="1"/>
            </p:cNvSpPr>
            <p:nvPr userDrawn="1"/>
          </p:nvSpPr>
          <p:spPr bwMode="auto">
            <a:xfrm>
              <a:off x="4214586" y="30078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895" name="Oval 757"/>
            <p:cNvSpPr>
              <a:spLocks noChangeAspect="1" noChangeArrowheads="1"/>
            </p:cNvSpPr>
            <p:nvPr userDrawn="1"/>
          </p:nvSpPr>
          <p:spPr bwMode="auto">
            <a:xfrm>
              <a:off x="4327669" y="30078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896" name="Oval 758"/>
            <p:cNvSpPr>
              <a:spLocks noChangeAspect="1" noChangeArrowheads="1"/>
            </p:cNvSpPr>
            <p:nvPr userDrawn="1"/>
          </p:nvSpPr>
          <p:spPr bwMode="auto">
            <a:xfrm>
              <a:off x="4439245" y="30078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897" name="Oval 759"/>
            <p:cNvSpPr>
              <a:spLocks noChangeAspect="1" noChangeArrowheads="1"/>
            </p:cNvSpPr>
            <p:nvPr userDrawn="1"/>
          </p:nvSpPr>
          <p:spPr bwMode="auto">
            <a:xfrm>
              <a:off x="4552328" y="30078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898" name="Oval 760"/>
            <p:cNvSpPr>
              <a:spLocks noChangeAspect="1" noChangeArrowheads="1"/>
            </p:cNvSpPr>
            <p:nvPr userDrawn="1"/>
          </p:nvSpPr>
          <p:spPr bwMode="auto">
            <a:xfrm>
              <a:off x="5226308" y="30078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899" name="Oval 761"/>
            <p:cNvSpPr>
              <a:spLocks noChangeAspect="1" noChangeArrowheads="1"/>
            </p:cNvSpPr>
            <p:nvPr userDrawn="1"/>
          </p:nvSpPr>
          <p:spPr bwMode="auto">
            <a:xfrm>
              <a:off x="5337884" y="30078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900" name="Oval 762"/>
            <p:cNvSpPr>
              <a:spLocks noChangeAspect="1" noChangeArrowheads="1"/>
            </p:cNvSpPr>
            <p:nvPr userDrawn="1"/>
          </p:nvSpPr>
          <p:spPr bwMode="auto">
            <a:xfrm>
              <a:off x="5450968" y="30078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901" name="Oval 763"/>
            <p:cNvSpPr>
              <a:spLocks noChangeAspect="1" noChangeArrowheads="1"/>
            </p:cNvSpPr>
            <p:nvPr userDrawn="1"/>
          </p:nvSpPr>
          <p:spPr bwMode="auto">
            <a:xfrm>
              <a:off x="5562544" y="30078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902" name="Oval 764"/>
            <p:cNvSpPr>
              <a:spLocks noChangeAspect="1" noChangeArrowheads="1"/>
            </p:cNvSpPr>
            <p:nvPr userDrawn="1"/>
          </p:nvSpPr>
          <p:spPr bwMode="auto">
            <a:xfrm>
              <a:off x="5675627" y="30078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903" name="Oval 765"/>
            <p:cNvSpPr>
              <a:spLocks noChangeAspect="1" noChangeArrowheads="1"/>
            </p:cNvSpPr>
            <p:nvPr userDrawn="1"/>
          </p:nvSpPr>
          <p:spPr bwMode="auto">
            <a:xfrm>
              <a:off x="5787203" y="30078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904" name="Oval 766"/>
            <p:cNvSpPr>
              <a:spLocks noChangeAspect="1" noChangeArrowheads="1"/>
            </p:cNvSpPr>
            <p:nvPr userDrawn="1"/>
          </p:nvSpPr>
          <p:spPr bwMode="auto">
            <a:xfrm>
              <a:off x="5900288" y="30078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905" name="Oval 767"/>
            <p:cNvSpPr>
              <a:spLocks noChangeAspect="1" noChangeArrowheads="1"/>
            </p:cNvSpPr>
            <p:nvPr userDrawn="1"/>
          </p:nvSpPr>
          <p:spPr bwMode="auto">
            <a:xfrm>
              <a:off x="6013372" y="30078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906" name="Oval 768"/>
            <p:cNvSpPr>
              <a:spLocks noChangeAspect="1" noChangeArrowheads="1"/>
            </p:cNvSpPr>
            <p:nvPr userDrawn="1"/>
          </p:nvSpPr>
          <p:spPr bwMode="auto">
            <a:xfrm>
              <a:off x="6124948" y="30078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907" name="Oval 769"/>
            <p:cNvSpPr>
              <a:spLocks noChangeAspect="1" noChangeArrowheads="1"/>
            </p:cNvSpPr>
            <p:nvPr userDrawn="1"/>
          </p:nvSpPr>
          <p:spPr bwMode="auto">
            <a:xfrm>
              <a:off x="6238031" y="30078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908" name="Oval 770"/>
            <p:cNvSpPr>
              <a:spLocks noChangeAspect="1" noChangeArrowheads="1"/>
            </p:cNvSpPr>
            <p:nvPr userDrawn="1"/>
          </p:nvSpPr>
          <p:spPr bwMode="auto">
            <a:xfrm>
              <a:off x="6349607" y="30078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909" name="Oval 771"/>
            <p:cNvSpPr>
              <a:spLocks noChangeAspect="1" noChangeArrowheads="1"/>
            </p:cNvSpPr>
            <p:nvPr userDrawn="1"/>
          </p:nvSpPr>
          <p:spPr bwMode="auto">
            <a:xfrm>
              <a:off x="6462690" y="30078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910" name="Oval 772"/>
            <p:cNvSpPr>
              <a:spLocks noChangeAspect="1" noChangeArrowheads="1"/>
            </p:cNvSpPr>
            <p:nvPr userDrawn="1"/>
          </p:nvSpPr>
          <p:spPr bwMode="auto">
            <a:xfrm>
              <a:off x="6574266" y="30078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911" name="Oval 773"/>
            <p:cNvSpPr>
              <a:spLocks noChangeAspect="1" noChangeArrowheads="1"/>
            </p:cNvSpPr>
            <p:nvPr userDrawn="1"/>
          </p:nvSpPr>
          <p:spPr bwMode="auto">
            <a:xfrm>
              <a:off x="6687351" y="30078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912" name="Oval 774"/>
            <p:cNvSpPr>
              <a:spLocks noChangeAspect="1" noChangeArrowheads="1"/>
            </p:cNvSpPr>
            <p:nvPr userDrawn="1"/>
          </p:nvSpPr>
          <p:spPr bwMode="auto">
            <a:xfrm>
              <a:off x="6798926" y="30078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913" name="Oval 775"/>
            <p:cNvSpPr>
              <a:spLocks noChangeAspect="1" noChangeArrowheads="1"/>
            </p:cNvSpPr>
            <p:nvPr userDrawn="1"/>
          </p:nvSpPr>
          <p:spPr bwMode="auto">
            <a:xfrm>
              <a:off x="6912011" y="30078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914" name="Oval 776"/>
            <p:cNvSpPr>
              <a:spLocks noChangeAspect="1" noChangeArrowheads="1"/>
            </p:cNvSpPr>
            <p:nvPr userDrawn="1"/>
          </p:nvSpPr>
          <p:spPr bwMode="auto">
            <a:xfrm>
              <a:off x="7023587" y="30078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915" name="Oval 777"/>
            <p:cNvSpPr>
              <a:spLocks noChangeAspect="1" noChangeArrowheads="1"/>
            </p:cNvSpPr>
            <p:nvPr userDrawn="1"/>
          </p:nvSpPr>
          <p:spPr bwMode="auto">
            <a:xfrm>
              <a:off x="7136670" y="30078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916" name="Oval 778"/>
            <p:cNvSpPr>
              <a:spLocks noChangeAspect="1" noChangeArrowheads="1"/>
            </p:cNvSpPr>
            <p:nvPr userDrawn="1"/>
          </p:nvSpPr>
          <p:spPr bwMode="auto">
            <a:xfrm>
              <a:off x="7472905" y="30078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917" name="Oval 779"/>
            <p:cNvSpPr>
              <a:spLocks noChangeAspect="1" noChangeArrowheads="1"/>
            </p:cNvSpPr>
            <p:nvPr userDrawn="1"/>
          </p:nvSpPr>
          <p:spPr bwMode="auto">
            <a:xfrm>
              <a:off x="7585989" y="30078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918" name="Oval 780"/>
            <p:cNvSpPr>
              <a:spLocks noChangeAspect="1" noChangeArrowheads="1"/>
            </p:cNvSpPr>
            <p:nvPr userDrawn="1"/>
          </p:nvSpPr>
          <p:spPr bwMode="auto">
            <a:xfrm>
              <a:off x="1630246" y="31118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919" name="Oval 781"/>
            <p:cNvSpPr>
              <a:spLocks noChangeAspect="1" noChangeArrowheads="1"/>
            </p:cNvSpPr>
            <p:nvPr userDrawn="1"/>
          </p:nvSpPr>
          <p:spPr bwMode="auto">
            <a:xfrm>
              <a:off x="1743329" y="31118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920" name="Oval 782"/>
            <p:cNvSpPr>
              <a:spLocks noChangeAspect="1" noChangeArrowheads="1"/>
            </p:cNvSpPr>
            <p:nvPr userDrawn="1"/>
          </p:nvSpPr>
          <p:spPr bwMode="auto">
            <a:xfrm>
              <a:off x="1854905" y="31118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921" name="Oval 783"/>
            <p:cNvSpPr>
              <a:spLocks noChangeAspect="1" noChangeArrowheads="1"/>
            </p:cNvSpPr>
            <p:nvPr userDrawn="1"/>
          </p:nvSpPr>
          <p:spPr bwMode="auto">
            <a:xfrm>
              <a:off x="1967987" y="31118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922" name="Oval 784"/>
            <p:cNvSpPr>
              <a:spLocks noChangeAspect="1" noChangeArrowheads="1"/>
            </p:cNvSpPr>
            <p:nvPr userDrawn="1"/>
          </p:nvSpPr>
          <p:spPr bwMode="auto">
            <a:xfrm>
              <a:off x="2079563" y="31118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923" name="Oval 785"/>
            <p:cNvSpPr>
              <a:spLocks noChangeAspect="1" noChangeArrowheads="1"/>
            </p:cNvSpPr>
            <p:nvPr userDrawn="1"/>
          </p:nvSpPr>
          <p:spPr bwMode="auto">
            <a:xfrm>
              <a:off x="2192648" y="31118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924" name="Oval 786"/>
            <p:cNvSpPr>
              <a:spLocks noChangeAspect="1" noChangeArrowheads="1"/>
            </p:cNvSpPr>
            <p:nvPr userDrawn="1"/>
          </p:nvSpPr>
          <p:spPr bwMode="auto">
            <a:xfrm>
              <a:off x="2304225" y="31118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925" name="Oval 787"/>
            <p:cNvSpPr>
              <a:spLocks noChangeAspect="1" noChangeArrowheads="1"/>
            </p:cNvSpPr>
            <p:nvPr userDrawn="1"/>
          </p:nvSpPr>
          <p:spPr bwMode="auto">
            <a:xfrm>
              <a:off x="2417309" y="31118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926" name="Oval 788"/>
            <p:cNvSpPr>
              <a:spLocks noChangeAspect="1" noChangeArrowheads="1"/>
            </p:cNvSpPr>
            <p:nvPr userDrawn="1"/>
          </p:nvSpPr>
          <p:spPr bwMode="auto">
            <a:xfrm>
              <a:off x="4103010" y="31118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927" name="Oval 789"/>
            <p:cNvSpPr>
              <a:spLocks noChangeAspect="1" noChangeArrowheads="1"/>
            </p:cNvSpPr>
            <p:nvPr userDrawn="1"/>
          </p:nvSpPr>
          <p:spPr bwMode="auto">
            <a:xfrm>
              <a:off x="4214586" y="31118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928" name="Oval 790"/>
            <p:cNvSpPr>
              <a:spLocks noChangeAspect="1" noChangeArrowheads="1"/>
            </p:cNvSpPr>
            <p:nvPr userDrawn="1"/>
          </p:nvSpPr>
          <p:spPr bwMode="auto">
            <a:xfrm>
              <a:off x="4327669" y="31118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929" name="Oval 791"/>
            <p:cNvSpPr>
              <a:spLocks noChangeAspect="1" noChangeArrowheads="1"/>
            </p:cNvSpPr>
            <p:nvPr userDrawn="1"/>
          </p:nvSpPr>
          <p:spPr bwMode="auto">
            <a:xfrm>
              <a:off x="4439245" y="31118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930" name="Oval 792"/>
            <p:cNvSpPr>
              <a:spLocks noChangeAspect="1" noChangeArrowheads="1"/>
            </p:cNvSpPr>
            <p:nvPr userDrawn="1"/>
          </p:nvSpPr>
          <p:spPr bwMode="auto">
            <a:xfrm>
              <a:off x="4552328" y="31118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931" name="Oval 793"/>
            <p:cNvSpPr>
              <a:spLocks noChangeAspect="1" noChangeArrowheads="1"/>
            </p:cNvSpPr>
            <p:nvPr userDrawn="1"/>
          </p:nvSpPr>
          <p:spPr bwMode="auto">
            <a:xfrm>
              <a:off x="4663904" y="31118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932" name="Oval 794"/>
            <p:cNvSpPr>
              <a:spLocks noChangeAspect="1" noChangeArrowheads="1"/>
            </p:cNvSpPr>
            <p:nvPr userDrawn="1"/>
          </p:nvSpPr>
          <p:spPr bwMode="auto">
            <a:xfrm>
              <a:off x="4776989" y="31118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933" name="Oval 795"/>
            <p:cNvSpPr>
              <a:spLocks noChangeAspect="1" noChangeArrowheads="1"/>
            </p:cNvSpPr>
            <p:nvPr userDrawn="1"/>
          </p:nvSpPr>
          <p:spPr bwMode="auto">
            <a:xfrm>
              <a:off x="4888565" y="31118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934" name="Oval 796"/>
            <p:cNvSpPr>
              <a:spLocks noChangeAspect="1" noChangeArrowheads="1"/>
            </p:cNvSpPr>
            <p:nvPr userDrawn="1"/>
          </p:nvSpPr>
          <p:spPr bwMode="auto">
            <a:xfrm>
              <a:off x="5001649" y="31118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935" name="Oval 797"/>
            <p:cNvSpPr>
              <a:spLocks noChangeAspect="1" noChangeArrowheads="1"/>
            </p:cNvSpPr>
            <p:nvPr userDrawn="1"/>
          </p:nvSpPr>
          <p:spPr bwMode="auto">
            <a:xfrm>
              <a:off x="5226308" y="31118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936" name="Oval 798"/>
            <p:cNvSpPr>
              <a:spLocks noChangeAspect="1" noChangeArrowheads="1"/>
            </p:cNvSpPr>
            <p:nvPr userDrawn="1"/>
          </p:nvSpPr>
          <p:spPr bwMode="auto">
            <a:xfrm>
              <a:off x="5337884" y="31118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937" name="Oval 799"/>
            <p:cNvSpPr>
              <a:spLocks noChangeAspect="1" noChangeArrowheads="1"/>
            </p:cNvSpPr>
            <p:nvPr userDrawn="1"/>
          </p:nvSpPr>
          <p:spPr bwMode="auto">
            <a:xfrm>
              <a:off x="5450968" y="31118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938" name="Oval 800"/>
            <p:cNvSpPr>
              <a:spLocks noChangeAspect="1" noChangeArrowheads="1"/>
            </p:cNvSpPr>
            <p:nvPr userDrawn="1"/>
          </p:nvSpPr>
          <p:spPr bwMode="auto">
            <a:xfrm>
              <a:off x="5562544" y="31118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939" name="Oval 801"/>
            <p:cNvSpPr>
              <a:spLocks noChangeAspect="1" noChangeArrowheads="1"/>
            </p:cNvSpPr>
            <p:nvPr userDrawn="1"/>
          </p:nvSpPr>
          <p:spPr bwMode="auto">
            <a:xfrm>
              <a:off x="5675627" y="31118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940" name="Oval 802"/>
            <p:cNvSpPr>
              <a:spLocks noChangeAspect="1" noChangeArrowheads="1"/>
            </p:cNvSpPr>
            <p:nvPr userDrawn="1"/>
          </p:nvSpPr>
          <p:spPr bwMode="auto">
            <a:xfrm>
              <a:off x="5787203" y="31118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941" name="Oval 803"/>
            <p:cNvSpPr>
              <a:spLocks noChangeAspect="1" noChangeArrowheads="1"/>
            </p:cNvSpPr>
            <p:nvPr userDrawn="1"/>
          </p:nvSpPr>
          <p:spPr bwMode="auto">
            <a:xfrm>
              <a:off x="5900288" y="31118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942" name="Oval 804"/>
            <p:cNvSpPr>
              <a:spLocks noChangeAspect="1" noChangeArrowheads="1"/>
            </p:cNvSpPr>
            <p:nvPr userDrawn="1"/>
          </p:nvSpPr>
          <p:spPr bwMode="auto">
            <a:xfrm>
              <a:off x="6013372" y="31118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943" name="Oval 805"/>
            <p:cNvSpPr>
              <a:spLocks noChangeAspect="1" noChangeArrowheads="1"/>
            </p:cNvSpPr>
            <p:nvPr userDrawn="1"/>
          </p:nvSpPr>
          <p:spPr bwMode="auto">
            <a:xfrm>
              <a:off x="6124948" y="31118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944" name="Oval 806"/>
            <p:cNvSpPr>
              <a:spLocks noChangeAspect="1" noChangeArrowheads="1"/>
            </p:cNvSpPr>
            <p:nvPr userDrawn="1"/>
          </p:nvSpPr>
          <p:spPr bwMode="auto">
            <a:xfrm>
              <a:off x="6238031" y="31118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945" name="Oval 807"/>
            <p:cNvSpPr>
              <a:spLocks noChangeAspect="1" noChangeArrowheads="1"/>
            </p:cNvSpPr>
            <p:nvPr userDrawn="1"/>
          </p:nvSpPr>
          <p:spPr bwMode="auto">
            <a:xfrm>
              <a:off x="6349607" y="31118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946" name="Oval 808"/>
            <p:cNvSpPr>
              <a:spLocks noChangeAspect="1" noChangeArrowheads="1"/>
            </p:cNvSpPr>
            <p:nvPr userDrawn="1"/>
          </p:nvSpPr>
          <p:spPr bwMode="auto">
            <a:xfrm>
              <a:off x="6462690" y="31118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947" name="Oval 809"/>
            <p:cNvSpPr>
              <a:spLocks noChangeAspect="1" noChangeArrowheads="1"/>
            </p:cNvSpPr>
            <p:nvPr userDrawn="1"/>
          </p:nvSpPr>
          <p:spPr bwMode="auto">
            <a:xfrm>
              <a:off x="6574266" y="31118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948" name="Oval 810"/>
            <p:cNvSpPr>
              <a:spLocks noChangeAspect="1" noChangeArrowheads="1"/>
            </p:cNvSpPr>
            <p:nvPr userDrawn="1"/>
          </p:nvSpPr>
          <p:spPr bwMode="auto">
            <a:xfrm>
              <a:off x="6687351" y="31118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949" name="Oval 811"/>
            <p:cNvSpPr>
              <a:spLocks noChangeAspect="1" noChangeArrowheads="1"/>
            </p:cNvSpPr>
            <p:nvPr userDrawn="1"/>
          </p:nvSpPr>
          <p:spPr bwMode="auto">
            <a:xfrm>
              <a:off x="6798926" y="31118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950" name="Oval 812"/>
            <p:cNvSpPr>
              <a:spLocks noChangeAspect="1" noChangeArrowheads="1"/>
            </p:cNvSpPr>
            <p:nvPr userDrawn="1"/>
          </p:nvSpPr>
          <p:spPr bwMode="auto">
            <a:xfrm>
              <a:off x="6912011" y="31118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951" name="Oval 813"/>
            <p:cNvSpPr>
              <a:spLocks noChangeAspect="1" noChangeArrowheads="1"/>
            </p:cNvSpPr>
            <p:nvPr userDrawn="1"/>
          </p:nvSpPr>
          <p:spPr bwMode="auto">
            <a:xfrm>
              <a:off x="7023587" y="31118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952" name="Oval 814"/>
            <p:cNvSpPr>
              <a:spLocks noChangeAspect="1" noChangeArrowheads="1"/>
            </p:cNvSpPr>
            <p:nvPr userDrawn="1"/>
          </p:nvSpPr>
          <p:spPr bwMode="auto">
            <a:xfrm>
              <a:off x="7136670" y="31118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953" name="Oval 815"/>
            <p:cNvSpPr>
              <a:spLocks noChangeAspect="1" noChangeArrowheads="1"/>
            </p:cNvSpPr>
            <p:nvPr userDrawn="1"/>
          </p:nvSpPr>
          <p:spPr bwMode="auto">
            <a:xfrm>
              <a:off x="1630246" y="32158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954" name="Oval 816"/>
            <p:cNvSpPr>
              <a:spLocks noChangeAspect="1" noChangeArrowheads="1"/>
            </p:cNvSpPr>
            <p:nvPr userDrawn="1"/>
          </p:nvSpPr>
          <p:spPr bwMode="auto">
            <a:xfrm>
              <a:off x="1743329" y="32158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955" name="Oval 817"/>
            <p:cNvSpPr>
              <a:spLocks noChangeAspect="1" noChangeArrowheads="1"/>
            </p:cNvSpPr>
            <p:nvPr userDrawn="1"/>
          </p:nvSpPr>
          <p:spPr bwMode="auto">
            <a:xfrm>
              <a:off x="1854905" y="32158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956" name="Oval 818"/>
            <p:cNvSpPr>
              <a:spLocks noChangeAspect="1" noChangeArrowheads="1"/>
            </p:cNvSpPr>
            <p:nvPr userDrawn="1"/>
          </p:nvSpPr>
          <p:spPr bwMode="auto">
            <a:xfrm>
              <a:off x="1967988" y="32158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957" name="Oval 819"/>
            <p:cNvSpPr>
              <a:spLocks noChangeAspect="1" noChangeArrowheads="1"/>
            </p:cNvSpPr>
            <p:nvPr userDrawn="1"/>
          </p:nvSpPr>
          <p:spPr bwMode="auto">
            <a:xfrm>
              <a:off x="2417309" y="32158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958" name="Oval 820"/>
            <p:cNvSpPr>
              <a:spLocks noChangeAspect="1" noChangeArrowheads="1"/>
            </p:cNvSpPr>
            <p:nvPr userDrawn="1"/>
          </p:nvSpPr>
          <p:spPr bwMode="auto">
            <a:xfrm>
              <a:off x="4103010" y="32158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959" name="Oval 821"/>
            <p:cNvSpPr>
              <a:spLocks noChangeAspect="1" noChangeArrowheads="1"/>
            </p:cNvSpPr>
            <p:nvPr userDrawn="1"/>
          </p:nvSpPr>
          <p:spPr bwMode="auto">
            <a:xfrm>
              <a:off x="4214586" y="32158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960" name="Oval 822"/>
            <p:cNvSpPr>
              <a:spLocks noChangeAspect="1" noChangeArrowheads="1"/>
            </p:cNvSpPr>
            <p:nvPr userDrawn="1"/>
          </p:nvSpPr>
          <p:spPr bwMode="auto">
            <a:xfrm>
              <a:off x="4327669" y="32158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961" name="Oval 823"/>
            <p:cNvSpPr>
              <a:spLocks noChangeAspect="1" noChangeArrowheads="1"/>
            </p:cNvSpPr>
            <p:nvPr userDrawn="1"/>
          </p:nvSpPr>
          <p:spPr bwMode="auto">
            <a:xfrm>
              <a:off x="4439245" y="32158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962" name="Oval 824"/>
            <p:cNvSpPr>
              <a:spLocks noChangeAspect="1" noChangeArrowheads="1"/>
            </p:cNvSpPr>
            <p:nvPr userDrawn="1"/>
          </p:nvSpPr>
          <p:spPr bwMode="auto">
            <a:xfrm>
              <a:off x="4552329" y="32158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963" name="Oval 825"/>
            <p:cNvSpPr>
              <a:spLocks noChangeAspect="1" noChangeArrowheads="1"/>
            </p:cNvSpPr>
            <p:nvPr userDrawn="1"/>
          </p:nvSpPr>
          <p:spPr bwMode="auto">
            <a:xfrm>
              <a:off x="4663905" y="32158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964" name="Oval 826"/>
            <p:cNvSpPr>
              <a:spLocks noChangeAspect="1" noChangeArrowheads="1"/>
            </p:cNvSpPr>
            <p:nvPr userDrawn="1"/>
          </p:nvSpPr>
          <p:spPr bwMode="auto">
            <a:xfrm>
              <a:off x="4776989" y="32158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965" name="Oval 827"/>
            <p:cNvSpPr>
              <a:spLocks noChangeAspect="1" noChangeArrowheads="1"/>
            </p:cNvSpPr>
            <p:nvPr userDrawn="1"/>
          </p:nvSpPr>
          <p:spPr bwMode="auto">
            <a:xfrm>
              <a:off x="4888565" y="32158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966" name="Oval 828"/>
            <p:cNvSpPr>
              <a:spLocks noChangeAspect="1" noChangeArrowheads="1"/>
            </p:cNvSpPr>
            <p:nvPr userDrawn="1"/>
          </p:nvSpPr>
          <p:spPr bwMode="auto">
            <a:xfrm>
              <a:off x="5001649" y="32158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967" name="Oval 829"/>
            <p:cNvSpPr>
              <a:spLocks noChangeAspect="1" noChangeArrowheads="1"/>
            </p:cNvSpPr>
            <p:nvPr userDrawn="1"/>
          </p:nvSpPr>
          <p:spPr bwMode="auto">
            <a:xfrm>
              <a:off x="5113225" y="32158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968" name="Oval 830"/>
            <p:cNvSpPr>
              <a:spLocks noChangeAspect="1" noChangeArrowheads="1"/>
            </p:cNvSpPr>
            <p:nvPr userDrawn="1"/>
          </p:nvSpPr>
          <p:spPr bwMode="auto">
            <a:xfrm>
              <a:off x="5226308" y="32158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969" name="Oval 831"/>
            <p:cNvSpPr>
              <a:spLocks noChangeAspect="1" noChangeArrowheads="1"/>
            </p:cNvSpPr>
            <p:nvPr userDrawn="1"/>
          </p:nvSpPr>
          <p:spPr bwMode="auto">
            <a:xfrm>
              <a:off x="5337884" y="32158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970" name="Oval 832"/>
            <p:cNvSpPr>
              <a:spLocks noChangeAspect="1" noChangeArrowheads="1"/>
            </p:cNvSpPr>
            <p:nvPr userDrawn="1"/>
          </p:nvSpPr>
          <p:spPr bwMode="auto">
            <a:xfrm>
              <a:off x="5450969" y="32158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971" name="Oval 833"/>
            <p:cNvSpPr>
              <a:spLocks noChangeAspect="1" noChangeArrowheads="1"/>
            </p:cNvSpPr>
            <p:nvPr userDrawn="1"/>
          </p:nvSpPr>
          <p:spPr bwMode="auto">
            <a:xfrm>
              <a:off x="5562544" y="32158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972" name="Oval 834"/>
            <p:cNvSpPr>
              <a:spLocks noChangeAspect="1" noChangeArrowheads="1"/>
            </p:cNvSpPr>
            <p:nvPr userDrawn="1"/>
          </p:nvSpPr>
          <p:spPr bwMode="auto">
            <a:xfrm>
              <a:off x="5675627" y="32158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973" name="Oval 835"/>
            <p:cNvSpPr>
              <a:spLocks noChangeAspect="1" noChangeArrowheads="1"/>
            </p:cNvSpPr>
            <p:nvPr userDrawn="1"/>
          </p:nvSpPr>
          <p:spPr bwMode="auto">
            <a:xfrm>
              <a:off x="5787203" y="32158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974" name="Oval 836"/>
            <p:cNvSpPr>
              <a:spLocks noChangeAspect="1" noChangeArrowheads="1"/>
            </p:cNvSpPr>
            <p:nvPr userDrawn="1"/>
          </p:nvSpPr>
          <p:spPr bwMode="auto">
            <a:xfrm>
              <a:off x="5900288" y="32158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975" name="Oval 837"/>
            <p:cNvSpPr>
              <a:spLocks noChangeAspect="1" noChangeArrowheads="1"/>
            </p:cNvSpPr>
            <p:nvPr userDrawn="1"/>
          </p:nvSpPr>
          <p:spPr bwMode="auto">
            <a:xfrm>
              <a:off x="6013372" y="32158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976" name="Oval 838"/>
            <p:cNvSpPr>
              <a:spLocks noChangeAspect="1" noChangeArrowheads="1"/>
            </p:cNvSpPr>
            <p:nvPr userDrawn="1"/>
          </p:nvSpPr>
          <p:spPr bwMode="auto">
            <a:xfrm>
              <a:off x="6124948" y="32158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977" name="Oval 839"/>
            <p:cNvSpPr>
              <a:spLocks noChangeAspect="1" noChangeArrowheads="1"/>
            </p:cNvSpPr>
            <p:nvPr userDrawn="1"/>
          </p:nvSpPr>
          <p:spPr bwMode="auto">
            <a:xfrm>
              <a:off x="6238032" y="32158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978" name="Oval 840"/>
            <p:cNvSpPr>
              <a:spLocks noChangeAspect="1" noChangeArrowheads="1"/>
            </p:cNvSpPr>
            <p:nvPr userDrawn="1"/>
          </p:nvSpPr>
          <p:spPr bwMode="auto">
            <a:xfrm>
              <a:off x="6349608" y="32158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979" name="Oval 841"/>
            <p:cNvSpPr>
              <a:spLocks noChangeAspect="1" noChangeArrowheads="1"/>
            </p:cNvSpPr>
            <p:nvPr userDrawn="1"/>
          </p:nvSpPr>
          <p:spPr bwMode="auto">
            <a:xfrm>
              <a:off x="6462690" y="32158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980" name="Oval 842"/>
            <p:cNvSpPr>
              <a:spLocks noChangeAspect="1" noChangeArrowheads="1"/>
            </p:cNvSpPr>
            <p:nvPr userDrawn="1"/>
          </p:nvSpPr>
          <p:spPr bwMode="auto">
            <a:xfrm>
              <a:off x="6574266" y="32158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981" name="Oval 843"/>
            <p:cNvSpPr>
              <a:spLocks noChangeAspect="1" noChangeArrowheads="1"/>
            </p:cNvSpPr>
            <p:nvPr userDrawn="1"/>
          </p:nvSpPr>
          <p:spPr bwMode="auto">
            <a:xfrm>
              <a:off x="6687351" y="32158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982" name="Oval 844"/>
            <p:cNvSpPr>
              <a:spLocks noChangeAspect="1" noChangeArrowheads="1"/>
            </p:cNvSpPr>
            <p:nvPr userDrawn="1"/>
          </p:nvSpPr>
          <p:spPr bwMode="auto">
            <a:xfrm>
              <a:off x="6798926" y="32158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983" name="Oval 845"/>
            <p:cNvSpPr>
              <a:spLocks noChangeAspect="1" noChangeArrowheads="1"/>
            </p:cNvSpPr>
            <p:nvPr userDrawn="1"/>
          </p:nvSpPr>
          <p:spPr bwMode="auto">
            <a:xfrm>
              <a:off x="6912010" y="32158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984" name="Oval 846"/>
            <p:cNvSpPr>
              <a:spLocks noChangeAspect="1" noChangeArrowheads="1"/>
            </p:cNvSpPr>
            <p:nvPr userDrawn="1"/>
          </p:nvSpPr>
          <p:spPr bwMode="auto">
            <a:xfrm>
              <a:off x="7023587" y="32158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985" name="Oval 847"/>
            <p:cNvSpPr>
              <a:spLocks noChangeAspect="1" noChangeArrowheads="1"/>
            </p:cNvSpPr>
            <p:nvPr userDrawn="1"/>
          </p:nvSpPr>
          <p:spPr bwMode="auto">
            <a:xfrm>
              <a:off x="7136671" y="32158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986" name="Oval 848"/>
            <p:cNvSpPr>
              <a:spLocks noChangeAspect="1" noChangeArrowheads="1"/>
            </p:cNvSpPr>
            <p:nvPr userDrawn="1"/>
          </p:nvSpPr>
          <p:spPr bwMode="auto">
            <a:xfrm>
              <a:off x="1743329" y="331842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987" name="Oval 849"/>
            <p:cNvSpPr>
              <a:spLocks noChangeAspect="1" noChangeArrowheads="1"/>
            </p:cNvSpPr>
            <p:nvPr userDrawn="1"/>
          </p:nvSpPr>
          <p:spPr bwMode="auto">
            <a:xfrm>
              <a:off x="1854905" y="331842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988" name="Oval 850"/>
            <p:cNvSpPr>
              <a:spLocks noChangeAspect="1" noChangeArrowheads="1"/>
            </p:cNvSpPr>
            <p:nvPr userDrawn="1"/>
          </p:nvSpPr>
          <p:spPr bwMode="auto">
            <a:xfrm>
              <a:off x="1967988" y="331842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989" name="Oval 851"/>
            <p:cNvSpPr>
              <a:spLocks noChangeAspect="1" noChangeArrowheads="1"/>
            </p:cNvSpPr>
            <p:nvPr userDrawn="1"/>
          </p:nvSpPr>
          <p:spPr bwMode="auto">
            <a:xfrm>
              <a:off x="3989925" y="331842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990" name="Oval 852"/>
            <p:cNvSpPr>
              <a:spLocks noChangeAspect="1" noChangeArrowheads="1"/>
            </p:cNvSpPr>
            <p:nvPr userDrawn="1"/>
          </p:nvSpPr>
          <p:spPr bwMode="auto">
            <a:xfrm>
              <a:off x="4103010" y="331842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991" name="Oval 853"/>
            <p:cNvSpPr>
              <a:spLocks noChangeAspect="1" noChangeArrowheads="1"/>
            </p:cNvSpPr>
            <p:nvPr userDrawn="1"/>
          </p:nvSpPr>
          <p:spPr bwMode="auto">
            <a:xfrm>
              <a:off x="4214586" y="331842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992" name="Oval 854"/>
            <p:cNvSpPr>
              <a:spLocks noChangeAspect="1" noChangeArrowheads="1"/>
            </p:cNvSpPr>
            <p:nvPr userDrawn="1"/>
          </p:nvSpPr>
          <p:spPr bwMode="auto">
            <a:xfrm>
              <a:off x="4327669" y="331842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993" name="Oval 855"/>
            <p:cNvSpPr>
              <a:spLocks noChangeAspect="1" noChangeArrowheads="1"/>
            </p:cNvSpPr>
            <p:nvPr userDrawn="1"/>
          </p:nvSpPr>
          <p:spPr bwMode="auto">
            <a:xfrm>
              <a:off x="4439245" y="331842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994" name="Oval 856"/>
            <p:cNvSpPr>
              <a:spLocks noChangeAspect="1" noChangeArrowheads="1"/>
            </p:cNvSpPr>
            <p:nvPr userDrawn="1"/>
          </p:nvSpPr>
          <p:spPr bwMode="auto">
            <a:xfrm>
              <a:off x="4552329" y="331842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995" name="Oval 857"/>
            <p:cNvSpPr>
              <a:spLocks noChangeAspect="1" noChangeArrowheads="1"/>
            </p:cNvSpPr>
            <p:nvPr userDrawn="1"/>
          </p:nvSpPr>
          <p:spPr bwMode="auto">
            <a:xfrm>
              <a:off x="4663905" y="331842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996" name="Oval 858"/>
            <p:cNvSpPr>
              <a:spLocks noChangeAspect="1" noChangeArrowheads="1"/>
            </p:cNvSpPr>
            <p:nvPr userDrawn="1"/>
          </p:nvSpPr>
          <p:spPr bwMode="auto">
            <a:xfrm>
              <a:off x="4776989" y="331842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997" name="Oval 859"/>
            <p:cNvSpPr>
              <a:spLocks noChangeAspect="1" noChangeArrowheads="1"/>
            </p:cNvSpPr>
            <p:nvPr userDrawn="1"/>
          </p:nvSpPr>
          <p:spPr bwMode="auto">
            <a:xfrm>
              <a:off x="4888565" y="331842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998" name="Oval 860"/>
            <p:cNvSpPr>
              <a:spLocks noChangeAspect="1" noChangeArrowheads="1"/>
            </p:cNvSpPr>
            <p:nvPr userDrawn="1"/>
          </p:nvSpPr>
          <p:spPr bwMode="auto">
            <a:xfrm>
              <a:off x="5001649" y="331842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999" name="Oval 861"/>
            <p:cNvSpPr>
              <a:spLocks noChangeAspect="1" noChangeArrowheads="1"/>
            </p:cNvSpPr>
            <p:nvPr userDrawn="1"/>
          </p:nvSpPr>
          <p:spPr bwMode="auto">
            <a:xfrm>
              <a:off x="5113225" y="331842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000" name="Oval 862"/>
            <p:cNvSpPr>
              <a:spLocks noChangeAspect="1" noChangeArrowheads="1"/>
            </p:cNvSpPr>
            <p:nvPr userDrawn="1"/>
          </p:nvSpPr>
          <p:spPr bwMode="auto">
            <a:xfrm>
              <a:off x="5226308" y="331842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001" name="Oval 863"/>
            <p:cNvSpPr>
              <a:spLocks noChangeAspect="1" noChangeArrowheads="1"/>
            </p:cNvSpPr>
            <p:nvPr userDrawn="1"/>
          </p:nvSpPr>
          <p:spPr bwMode="auto">
            <a:xfrm>
              <a:off x="5337884" y="331842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002" name="Oval 864"/>
            <p:cNvSpPr>
              <a:spLocks noChangeAspect="1" noChangeArrowheads="1"/>
            </p:cNvSpPr>
            <p:nvPr userDrawn="1"/>
          </p:nvSpPr>
          <p:spPr bwMode="auto">
            <a:xfrm>
              <a:off x="5450969" y="331842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003" name="Oval 865"/>
            <p:cNvSpPr>
              <a:spLocks noChangeAspect="1" noChangeArrowheads="1"/>
            </p:cNvSpPr>
            <p:nvPr userDrawn="1"/>
          </p:nvSpPr>
          <p:spPr bwMode="auto">
            <a:xfrm>
              <a:off x="5562544" y="331842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004" name="Oval 866"/>
            <p:cNvSpPr>
              <a:spLocks noChangeAspect="1" noChangeArrowheads="1"/>
            </p:cNvSpPr>
            <p:nvPr userDrawn="1"/>
          </p:nvSpPr>
          <p:spPr bwMode="auto">
            <a:xfrm>
              <a:off x="5675627" y="331842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005" name="Oval 867"/>
            <p:cNvSpPr>
              <a:spLocks noChangeAspect="1" noChangeArrowheads="1"/>
            </p:cNvSpPr>
            <p:nvPr userDrawn="1"/>
          </p:nvSpPr>
          <p:spPr bwMode="auto">
            <a:xfrm>
              <a:off x="5787203" y="331842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006" name="Oval 868"/>
            <p:cNvSpPr>
              <a:spLocks noChangeAspect="1" noChangeArrowheads="1"/>
            </p:cNvSpPr>
            <p:nvPr userDrawn="1"/>
          </p:nvSpPr>
          <p:spPr bwMode="auto">
            <a:xfrm>
              <a:off x="5900288" y="331842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007" name="Oval 869"/>
            <p:cNvSpPr>
              <a:spLocks noChangeAspect="1" noChangeArrowheads="1"/>
            </p:cNvSpPr>
            <p:nvPr userDrawn="1"/>
          </p:nvSpPr>
          <p:spPr bwMode="auto">
            <a:xfrm>
              <a:off x="6013372" y="331842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008" name="Oval 870"/>
            <p:cNvSpPr>
              <a:spLocks noChangeAspect="1" noChangeArrowheads="1"/>
            </p:cNvSpPr>
            <p:nvPr userDrawn="1"/>
          </p:nvSpPr>
          <p:spPr bwMode="auto">
            <a:xfrm>
              <a:off x="6124948" y="331842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009" name="Oval 871"/>
            <p:cNvSpPr>
              <a:spLocks noChangeAspect="1" noChangeArrowheads="1"/>
            </p:cNvSpPr>
            <p:nvPr userDrawn="1"/>
          </p:nvSpPr>
          <p:spPr bwMode="auto">
            <a:xfrm>
              <a:off x="6238032" y="331842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010" name="Oval 872"/>
            <p:cNvSpPr>
              <a:spLocks noChangeAspect="1" noChangeArrowheads="1"/>
            </p:cNvSpPr>
            <p:nvPr userDrawn="1"/>
          </p:nvSpPr>
          <p:spPr bwMode="auto">
            <a:xfrm>
              <a:off x="6349608" y="331842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011" name="Oval 873"/>
            <p:cNvSpPr>
              <a:spLocks noChangeAspect="1" noChangeArrowheads="1"/>
            </p:cNvSpPr>
            <p:nvPr userDrawn="1"/>
          </p:nvSpPr>
          <p:spPr bwMode="auto">
            <a:xfrm>
              <a:off x="6462690" y="331842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012" name="Oval 874"/>
            <p:cNvSpPr>
              <a:spLocks noChangeAspect="1" noChangeArrowheads="1"/>
            </p:cNvSpPr>
            <p:nvPr userDrawn="1"/>
          </p:nvSpPr>
          <p:spPr bwMode="auto">
            <a:xfrm>
              <a:off x="6574266" y="331842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013" name="Oval 875"/>
            <p:cNvSpPr>
              <a:spLocks noChangeAspect="1" noChangeArrowheads="1"/>
            </p:cNvSpPr>
            <p:nvPr userDrawn="1"/>
          </p:nvSpPr>
          <p:spPr bwMode="auto">
            <a:xfrm>
              <a:off x="6687351" y="331842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014" name="Oval 876"/>
            <p:cNvSpPr>
              <a:spLocks noChangeAspect="1" noChangeArrowheads="1"/>
            </p:cNvSpPr>
            <p:nvPr userDrawn="1"/>
          </p:nvSpPr>
          <p:spPr bwMode="auto">
            <a:xfrm>
              <a:off x="6798926" y="331842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015" name="Oval 877"/>
            <p:cNvSpPr>
              <a:spLocks noChangeAspect="1" noChangeArrowheads="1"/>
            </p:cNvSpPr>
            <p:nvPr userDrawn="1"/>
          </p:nvSpPr>
          <p:spPr bwMode="auto">
            <a:xfrm>
              <a:off x="6912010" y="331842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016" name="Oval 878"/>
            <p:cNvSpPr>
              <a:spLocks noChangeAspect="1" noChangeArrowheads="1"/>
            </p:cNvSpPr>
            <p:nvPr userDrawn="1"/>
          </p:nvSpPr>
          <p:spPr bwMode="auto">
            <a:xfrm>
              <a:off x="7023587" y="331842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017" name="Oval 879"/>
            <p:cNvSpPr>
              <a:spLocks noChangeAspect="1" noChangeArrowheads="1"/>
            </p:cNvSpPr>
            <p:nvPr userDrawn="1"/>
          </p:nvSpPr>
          <p:spPr bwMode="auto">
            <a:xfrm>
              <a:off x="7136671" y="331842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018" name="Oval 880"/>
            <p:cNvSpPr>
              <a:spLocks noChangeAspect="1" noChangeArrowheads="1"/>
            </p:cNvSpPr>
            <p:nvPr userDrawn="1"/>
          </p:nvSpPr>
          <p:spPr bwMode="auto">
            <a:xfrm>
              <a:off x="1854905" y="342246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019" name="Oval 881"/>
            <p:cNvSpPr>
              <a:spLocks noChangeAspect="1" noChangeArrowheads="1"/>
            </p:cNvSpPr>
            <p:nvPr userDrawn="1"/>
          </p:nvSpPr>
          <p:spPr bwMode="auto">
            <a:xfrm>
              <a:off x="1967988" y="342246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020" name="Oval 882"/>
            <p:cNvSpPr>
              <a:spLocks noChangeAspect="1" noChangeArrowheads="1"/>
            </p:cNvSpPr>
            <p:nvPr userDrawn="1"/>
          </p:nvSpPr>
          <p:spPr bwMode="auto">
            <a:xfrm>
              <a:off x="2192648" y="342246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021" name="Oval 883"/>
            <p:cNvSpPr>
              <a:spLocks noChangeAspect="1" noChangeArrowheads="1"/>
            </p:cNvSpPr>
            <p:nvPr userDrawn="1"/>
          </p:nvSpPr>
          <p:spPr bwMode="auto">
            <a:xfrm>
              <a:off x="2417309" y="342246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022" name="Oval 884"/>
            <p:cNvSpPr>
              <a:spLocks noChangeAspect="1" noChangeArrowheads="1"/>
            </p:cNvSpPr>
            <p:nvPr userDrawn="1"/>
          </p:nvSpPr>
          <p:spPr bwMode="auto">
            <a:xfrm>
              <a:off x="3989925" y="342246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023" name="Oval 885"/>
            <p:cNvSpPr>
              <a:spLocks noChangeAspect="1" noChangeArrowheads="1"/>
            </p:cNvSpPr>
            <p:nvPr userDrawn="1"/>
          </p:nvSpPr>
          <p:spPr bwMode="auto">
            <a:xfrm>
              <a:off x="4103010" y="342246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024" name="Oval 886"/>
            <p:cNvSpPr>
              <a:spLocks noChangeAspect="1" noChangeArrowheads="1"/>
            </p:cNvSpPr>
            <p:nvPr userDrawn="1"/>
          </p:nvSpPr>
          <p:spPr bwMode="auto">
            <a:xfrm>
              <a:off x="4214586" y="342246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025" name="Oval 887"/>
            <p:cNvSpPr>
              <a:spLocks noChangeAspect="1" noChangeArrowheads="1"/>
            </p:cNvSpPr>
            <p:nvPr userDrawn="1"/>
          </p:nvSpPr>
          <p:spPr bwMode="auto">
            <a:xfrm>
              <a:off x="4327669" y="342246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026" name="Oval 888"/>
            <p:cNvSpPr>
              <a:spLocks noChangeAspect="1" noChangeArrowheads="1"/>
            </p:cNvSpPr>
            <p:nvPr userDrawn="1"/>
          </p:nvSpPr>
          <p:spPr bwMode="auto">
            <a:xfrm>
              <a:off x="4439245" y="342246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027" name="Oval 889"/>
            <p:cNvSpPr>
              <a:spLocks noChangeAspect="1" noChangeArrowheads="1"/>
            </p:cNvSpPr>
            <p:nvPr userDrawn="1"/>
          </p:nvSpPr>
          <p:spPr bwMode="auto">
            <a:xfrm>
              <a:off x="4552329" y="342246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028" name="Oval 890"/>
            <p:cNvSpPr>
              <a:spLocks noChangeAspect="1" noChangeArrowheads="1"/>
            </p:cNvSpPr>
            <p:nvPr userDrawn="1"/>
          </p:nvSpPr>
          <p:spPr bwMode="auto">
            <a:xfrm>
              <a:off x="4663905" y="342246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029" name="Oval 891"/>
            <p:cNvSpPr>
              <a:spLocks noChangeAspect="1" noChangeArrowheads="1"/>
            </p:cNvSpPr>
            <p:nvPr userDrawn="1"/>
          </p:nvSpPr>
          <p:spPr bwMode="auto">
            <a:xfrm>
              <a:off x="4776989" y="342246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030" name="Oval 892"/>
            <p:cNvSpPr>
              <a:spLocks noChangeAspect="1" noChangeArrowheads="1"/>
            </p:cNvSpPr>
            <p:nvPr userDrawn="1"/>
          </p:nvSpPr>
          <p:spPr bwMode="auto">
            <a:xfrm>
              <a:off x="4888565" y="342246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031" name="Oval 893"/>
            <p:cNvSpPr>
              <a:spLocks noChangeAspect="1" noChangeArrowheads="1"/>
            </p:cNvSpPr>
            <p:nvPr userDrawn="1"/>
          </p:nvSpPr>
          <p:spPr bwMode="auto">
            <a:xfrm>
              <a:off x="5001649" y="342246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032" name="Oval 894"/>
            <p:cNvSpPr>
              <a:spLocks noChangeAspect="1" noChangeArrowheads="1"/>
            </p:cNvSpPr>
            <p:nvPr userDrawn="1"/>
          </p:nvSpPr>
          <p:spPr bwMode="auto">
            <a:xfrm>
              <a:off x="5113225" y="342246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033" name="Oval 895"/>
            <p:cNvSpPr>
              <a:spLocks noChangeAspect="1" noChangeArrowheads="1"/>
            </p:cNvSpPr>
            <p:nvPr userDrawn="1"/>
          </p:nvSpPr>
          <p:spPr bwMode="auto">
            <a:xfrm>
              <a:off x="5337884" y="342246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034" name="Oval 896"/>
            <p:cNvSpPr>
              <a:spLocks noChangeAspect="1" noChangeArrowheads="1"/>
            </p:cNvSpPr>
            <p:nvPr userDrawn="1"/>
          </p:nvSpPr>
          <p:spPr bwMode="auto">
            <a:xfrm>
              <a:off x="5450969" y="342246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035" name="Oval 897"/>
            <p:cNvSpPr>
              <a:spLocks noChangeAspect="1" noChangeArrowheads="1"/>
            </p:cNvSpPr>
            <p:nvPr userDrawn="1"/>
          </p:nvSpPr>
          <p:spPr bwMode="auto">
            <a:xfrm>
              <a:off x="5562544" y="342246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036" name="Oval 898"/>
            <p:cNvSpPr>
              <a:spLocks noChangeAspect="1" noChangeArrowheads="1"/>
            </p:cNvSpPr>
            <p:nvPr userDrawn="1"/>
          </p:nvSpPr>
          <p:spPr bwMode="auto">
            <a:xfrm>
              <a:off x="5675627" y="342246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037" name="Oval 899"/>
            <p:cNvSpPr>
              <a:spLocks noChangeAspect="1" noChangeArrowheads="1"/>
            </p:cNvSpPr>
            <p:nvPr userDrawn="1"/>
          </p:nvSpPr>
          <p:spPr bwMode="auto">
            <a:xfrm>
              <a:off x="6013372" y="342246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038" name="Oval 900"/>
            <p:cNvSpPr>
              <a:spLocks noChangeAspect="1" noChangeArrowheads="1"/>
            </p:cNvSpPr>
            <p:nvPr userDrawn="1"/>
          </p:nvSpPr>
          <p:spPr bwMode="auto">
            <a:xfrm>
              <a:off x="6124948" y="342246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039" name="Oval 901"/>
            <p:cNvSpPr>
              <a:spLocks noChangeAspect="1" noChangeArrowheads="1"/>
            </p:cNvSpPr>
            <p:nvPr userDrawn="1"/>
          </p:nvSpPr>
          <p:spPr bwMode="auto">
            <a:xfrm>
              <a:off x="6238032" y="342246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040" name="Oval 902"/>
            <p:cNvSpPr>
              <a:spLocks noChangeAspect="1" noChangeArrowheads="1"/>
            </p:cNvSpPr>
            <p:nvPr userDrawn="1"/>
          </p:nvSpPr>
          <p:spPr bwMode="auto">
            <a:xfrm>
              <a:off x="6349608" y="342246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041" name="Oval 903"/>
            <p:cNvSpPr>
              <a:spLocks noChangeAspect="1" noChangeArrowheads="1"/>
            </p:cNvSpPr>
            <p:nvPr userDrawn="1"/>
          </p:nvSpPr>
          <p:spPr bwMode="auto">
            <a:xfrm>
              <a:off x="6574266" y="342246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042" name="Oval 904"/>
            <p:cNvSpPr>
              <a:spLocks noChangeAspect="1" noChangeArrowheads="1"/>
            </p:cNvSpPr>
            <p:nvPr userDrawn="1"/>
          </p:nvSpPr>
          <p:spPr bwMode="auto">
            <a:xfrm>
              <a:off x="6687351" y="342246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043" name="Oval 905"/>
            <p:cNvSpPr>
              <a:spLocks noChangeAspect="1" noChangeArrowheads="1"/>
            </p:cNvSpPr>
            <p:nvPr userDrawn="1"/>
          </p:nvSpPr>
          <p:spPr bwMode="auto">
            <a:xfrm>
              <a:off x="6798926" y="342246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044" name="Oval 906"/>
            <p:cNvSpPr>
              <a:spLocks noChangeAspect="1" noChangeArrowheads="1"/>
            </p:cNvSpPr>
            <p:nvPr userDrawn="1"/>
          </p:nvSpPr>
          <p:spPr bwMode="auto">
            <a:xfrm>
              <a:off x="1854905" y="35265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045" name="Oval 907"/>
            <p:cNvSpPr>
              <a:spLocks noChangeAspect="1" noChangeArrowheads="1"/>
            </p:cNvSpPr>
            <p:nvPr userDrawn="1"/>
          </p:nvSpPr>
          <p:spPr bwMode="auto">
            <a:xfrm>
              <a:off x="1967988" y="35265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046" name="Oval 908"/>
            <p:cNvSpPr>
              <a:spLocks noChangeAspect="1" noChangeArrowheads="1"/>
            </p:cNvSpPr>
            <p:nvPr userDrawn="1"/>
          </p:nvSpPr>
          <p:spPr bwMode="auto">
            <a:xfrm>
              <a:off x="2079564" y="35265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047" name="Oval 909"/>
            <p:cNvSpPr>
              <a:spLocks noChangeAspect="1" noChangeArrowheads="1"/>
            </p:cNvSpPr>
            <p:nvPr userDrawn="1"/>
          </p:nvSpPr>
          <p:spPr bwMode="auto">
            <a:xfrm>
              <a:off x="2192649" y="35265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048" name="Oval 910"/>
            <p:cNvSpPr>
              <a:spLocks noChangeAspect="1" noChangeArrowheads="1"/>
            </p:cNvSpPr>
            <p:nvPr userDrawn="1"/>
          </p:nvSpPr>
          <p:spPr bwMode="auto">
            <a:xfrm>
              <a:off x="2641966" y="35265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049" name="Oval 911"/>
            <p:cNvSpPr>
              <a:spLocks noChangeAspect="1" noChangeArrowheads="1"/>
            </p:cNvSpPr>
            <p:nvPr userDrawn="1"/>
          </p:nvSpPr>
          <p:spPr bwMode="auto">
            <a:xfrm>
              <a:off x="3989926" y="35265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050" name="Oval 912"/>
            <p:cNvSpPr>
              <a:spLocks noChangeAspect="1" noChangeArrowheads="1"/>
            </p:cNvSpPr>
            <p:nvPr userDrawn="1"/>
          </p:nvSpPr>
          <p:spPr bwMode="auto">
            <a:xfrm>
              <a:off x="4103010" y="35265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051" name="Oval 913"/>
            <p:cNvSpPr>
              <a:spLocks noChangeAspect="1" noChangeArrowheads="1"/>
            </p:cNvSpPr>
            <p:nvPr userDrawn="1"/>
          </p:nvSpPr>
          <p:spPr bwMode="auto">
            <a:xfrm>
              <a:off x="4214587" y="35265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052" name="Oval 914"/>
            <p:cNvSpPr>
              <a:spLocks noChangeAspect="1" noChangeArrowheads="1"/>
            </p:cNvSpPr>
            <p:nvPr userDrawn="1"/>
          </p:nvSpPr>
          <p:spPr bwMode="auto">
            <a:xfrm>
              <a:off x="4327669" y="35265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053" name="Oval 915"/>
            <p:cNvSpPr>
              <a:spLocks noChangeAspect="1" noChangeArrowheads="1"/>
            </p:cNvSpPr>
            <p:nvPr userDrawn="1"/>
          </p:nvSpPr>
          <p:spPr bwMode="auto">
            <a:xfrm>
              <a:off x="4439245" y="35265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054" name="Oval 916"/>
            <p:cNvSpPr>
              <a:spLocks noChangeAspect="1" noChangeArrowheads="1"/>
            </p:cNvSpPr>
            <p:nvPr userDrawn="1"/>
          </p:nvSpPr>
          <p:spPr bwMode="auto">
            <a:xfrm>
              <a:off x="4552329" y="35265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055" name="Oval 917"/>
            <p:cNvSpPr>
              <a:spLocks noChangeAspect="1" noChangeArrowheads="1"/>
            </p:cNvSpPr>
            <p:nvPr userDrawn="1"/>
          </p:nvSpPr>
          <p:spPr bwMode="auto">
            <a:xfrm>
              <a:off x="4663905" y="35265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056" name="Oval 918"/>
            <p:cNvSpPr>
              <a:spLocks noChangeAspect="1" noChangeArrowheads="1"/>
            </p:cNvSpPr>
            <p:nvPr userDrawn="1"/>
          </p:nvSpPr>
          <p:spPr bwMode="auto">
            <a:xfrm>
              <a:off x="4776989" y="35265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057" name="Oval 919"/>
            <p:cNvSpPr>
              <a:spLocks noChangeAspect="1" noChangeArrowheads="1"/>
            </p:cNvSpPr>
            <p:nvPr userDrawn="1"/>
          </p:nvSpPr>
          <p:spPr bwMode="auto">
            <a:xfrm>
              <a:off x="4888565" y="35265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058" name="Oval 920"/>
            <p:cNvSpPr>
              <a:spLocks noChangeAspect="1" noChangeArrowheads="1"/>
            </p:cNvSpPr>
            <p:nvPr userDrawn="1"/>
          </p:nvSpPr>
          <p:spPr bwMode="auto">
            <a:xfrm>
              <a:off x="5001649" y="35265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059" name="Oval 921"/>
            <p:cNvSpPr>
              <a:spLocks noChangeAspect="1" noChangeArrowheads="1"/>
            </p:cNvSpPr>
            <p:nvPr userDrawn="1"/>
          </p:nvSpPr>
          <p:spPr bwMode="auto">
            <a:xfrm>
              <a:off x="5113225" y="35265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060" name="Oval 922"/>
            <p:cNvSpPr>
              <a:spLocks noChangeAspect="1" noChangeArrowheads="1"/>
            </p:cNvSpPr>
            <p:nvPr userDrawn="1"/>
          </p:nvSpPr>
          <p:spPr bwMode="auto">
            <a:xfrm>
              <a:off x="5337884" y="35265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061" name="Oval 923"/>
            <p:cNvSpPr>
              <a:spLocks noChangeAspect="1" noChangeArrowheads="1"/>
            </p:cNvSpPr>
            <p:nvPr userDrawn="1"/>
          </p:nvSpPr>
          <p:spPr bwMode="auto">
            <a:xfrm>
              <a:off x="5450969" y="35265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062" name="Oval 924"/>
            <p:cNvSpPr>
              <a:spLocks noChangeAspect="1" noChangeArrowheads="1"/>
            </p:cNvSpPr>
            <p:nvPr userDrawn="1"/>
          </p:nvSpPr>
          <p:spPr bwMode="auto">
            <a:xfrm>
              <a:off x="5562544" y="35265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063" name="Oval 925"/>
            <p:cNvSpPr>
              <a:spLocks noChangeAspect="1" noChangeArrowheads="1"/>
            </p:cNvSpPr>
            <p:nvPr userDrawn="1"/>
          </p:nvSpPr>
          <p:spPr bwMode="auto">
            <a:xfrm>
              <a:off x="6124948" y="35265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064" name="Oval 926"/>
            <p:cNvSpPr>
              <a:spLocks noChangeAspect="1" noChangeArrowheads="1"/>
            </p:cNvSpPr>
            <p:nvPr userDrawn="1"/>
          </p:nvSpPr>
          <p:spPr bwMode="auto">
            <a:xfrm>
              <a:off x="6238032" y="35265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065" name="Oval 927"/>
            <p:cNvSpPr>
              <a:spLocks noChangeAspect="1" noChangeArrowheads="1"/>
            </p:cNvSpPr>
            <p:nvPr userDrawn="1"/>
          </p:nvSpPr>
          <p:spPr bwMode="auto">
            <a:xfrm>
              <a:off x="6574266" y="35265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066" name="Oval 928"/>
            <p:cNvSpPr>
              <a:spLocks noChangeAspect="1" noChangeArrowheads="1"/>
            </p:cNvSpPr>
            <p:nvPr userDrawn="1"/>
          </p:nvSpPr>
          <p:spPr bwMode="auto">
            <a:xfrm>
              <a:off x="6687351" y="35265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067" name="Oval 929"/>
            <p:cNvSpPr>
              <a:spLocks noChangeAspect="1" noChangeArrowheads="1"/>
            </p:cNvSpPr>
            <p:nvPr userDrawn="1"/>
          </p:nvSpPr>
          <p:spPr bwMode="auto">
            <a:xfrm>
              <a:off x="6798926" y="35265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068" name="Oval 930"/>
            <p:cNvSpPr>
              <a:spLocks noChangeAspect="1" noChangeArrowheads="1"/>
            </p:cNvSpPr>
            <p:nvPr userDrawn="1"/>
          </p:nvSpPr>
          <p:spPr bwMode="auto">
            <a:xfrm>
              <a:off x="6912010" y="35265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069" name="Oval 931"/>
            <p:cNvSpPr>
              <a:spLocks noChangeAspect="1" noChangeArrowheads="1"/>
            </p:cNvSpPr>
            <p:nvPr userDrawn="1"/>
          </p:nvSpPr>
          <p:spPr bwMode="auto">
            <a:xfrm>
              <a:off x="7136671" y="35265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070" name="Oval 932"/>
            <p:cNvSpPr>
              <a:spLocks noChangeAspect="1" noChangeArrowheads="1"/>
            </p:cNvSpPr>
            <p:nvPr userDrawn="1"/>
          </p:nvSpPr>
          <p:spPr bwMode="auto">
            <a:xfrm>
              <a:off x="7248247" y="3526502"/>
              <a:ext cx="85943" cy="85944"/>
            </a:xfrm>
            <a:prstGeom prst="ellipse">
              <a:avLst/>
            </a:prstGeom>
            <a:grpFill/>
            <a:ln>
              <a:noFill/>
            </a:ln>
            <a:effec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071" name="Oval 933"/>
            <p:cNvSpPr>
              <a:spLocks noChangeAspect="1" noChangeArrowheads="1"/>
            </p:cNvSpPr>
            <p:nvPr userDrawn="1"/>
          </p:nvSpPr>
          <p:spPr bwMode="auto">
            <a:xfrm>
              <a:off x="2192649" y="36305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072" name="Oval 934"/>
            <p:cNvSpPr>
              <a:spLocks noChangeAspect="1" noChangeArrowheads="1"/>
            </p:cNvSpPr>
            <p:nvPr userDrawn="1"/>
          </p:nvSpPr>
          <p:spPr bwMode="auto">
            <a:xfrm>
              <a:off x="2304225" y="36305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073" name="Oval 935"/>
            <p:cNvSpPr>
              <a:spLocks noChangeAspect="1" noChangeArrowheads="1"/>
            </p:cNvSpPr>
            <p:nvPr userDrawn="1"/>
          </p:nvSpPr>
          <p:spPr bwMode="auto">
            <a:xfrm>
              <a:off x="3989926" y="36305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074" name="Oval 936"/>
            <p:cNvSpPr>
              <a:spLocks noChangeAspect="1" noChangeArrowheads="1"/>
            </p:cNvSpPr>
            <p:nvPr userDrawn="1"/>
          </p:nvSpPr>
          <p:spPr bwMode="auto">
            <a:xfrm>
              <a:off x="4103010" y="36305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075" name="Oval 937"/>
            <p:cNvSpPr>
              <a:spLocks noChangeAspect="1" noChangeArrowheads="1"/>
            </p:cNvSpPr>
            <p:nvPr userDrawn="1"/>
          </p:nvSpPr>
          <p:spPr bwMode="auto">
            <a:xfrm>
              <a:off x="4214586" y="36305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076" name="Oval 938"/>
            <p:cNvSpPr>
              <a:spLocks noChangeAspect="1" noChangeArrowheads="1"/>
            </p:cNvSpPr>
            <p:nvPr userDrawn="1"/>
          </p:nvSpPr>
          <p:spPr bwMode="auto">
            <a:xfrm>
              <a:off x="4327669" y="36305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077" name="Oval 939"/>
            <p:cNvSpPr>
              <a:spLocks noChangeAspect="1" noChangeArrowheads="1"/>
            </p:cNvSpPr>
            <p:nvPr userDrawn="1"/>
          </p:nvSpPr>
          <p:spPr bwMode="auto">
            <a:xfrm>
              <a:off x="4439245" y="36305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078" name="Oval 940"/>
            <p:cNvSpPr>
              <a:spLocks noChangeAspect="1" noChangeArrowheads="1"/>
            </p:cNvSpPr>
            <p:nvPr userDrawn="1"/>
          </p:nvSpPr>
          <p:spPr bwMode="auto">
            <a:xfrm>
              <a:off x="4552329" y="36305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079" name="Oval 941"/>
            <p:cNvSpPr>
              <a:spLocks noChangeAspect="1" noChangeArrowheads="1"/>
            </p:cNvSpPr>
            <p:nvPr userDrawn="1"/>
          </p:nvSpPr>
          <p:spPr bwMode="auto">
            <a:xfrm>
              <a:off x="4663905" y="36305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080" name="Oval 942"/>
            <p:cNvSpPr>
              <a:spLocks noChangeAspect="1" noChangeArrowheads="1"/>
            </p:cNvSpPr>
            <p:nvPr userDrawn="1"/>
          </p:nvSpPr>
          <p:spPr bwMode="auto">
            <a:xfrm>
              <a:off x="4776989" y="36305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081" name="Oval 943"/>
            <p:cNvSpPr>
              <a:spLocks noChangeAspect="1" noChangeArrowheads="1"/>
            </p:cNvSpPr>
            <p:nvPr userDrawn="1"/>
          </p:nvSpPr>
          <p:spPr bwMode="auto">
            <a:xfrm>
              <a:off x="4888565" y="36305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082" name="Oval 944"/>
            <p:cNvSpPr>
              <a:spLocks noChangeAspect="1" noChangeArrowheads="1"/>
            </p:cNvSpPr>
            <p:nvPr userDrawn="1"/>
          </p:nvSpPr>
          <p:spPr bwMode="auto">
            <a:xfrm>
              <a:off x="5001649" y="36305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083" name="Oval 945"/>
            <p:cNvSpPr>
              <a:spLocks noChangeAspect="1" noChangeArrowheads="1"/>
            </p:cNvSpPr>
            <p:nvPr userDrawn="1"/>
          </p:nvSpPr>
          <p:spPr bwMode="auto">
            <a:xfrm>
              <a:off x="5113225" y="36305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084" name="Oval 946"/>
            <p:cNvSpPr>
              <a:spLocks noChangeAspect="1" noChangeArrowheads="1"/>
            </p:cNvSpPr>
            <p:nvPr userDrawn="1"/>
          </p:nvSpPr>
          <p:spPr bwMode="auto">
            <a:xfrm>
              <a:off x="5226308" y="36305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085" name="Oval 947"/>
            <p:cNvSpPr>
              <a:spLocks noChangeAspect="1" noChangeArrowheads="1"/>
            </p:cNvSpPr>
            <p:nvPr userDrawn="1"/>
          </p:nvSpPr>
          <p:spPr bwMode="auto">
            <a:xfrm>
              <a:off x="6124948" y="36305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086" name="Oval 948"/>
            <p:cNvSpPr>
              <a:spLocks noChangeAspect="1" noChangeArrowheads="1"/>
            </p:cNvSpPr>
            <p:nvPr userDrawn="1"/>
          </p:nvSpPr>
          <p:spPr bwMode="auto">
            <a:xfrm>
              <a:off x="6238032" y="36305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087" name="Oval 949"/>
            <p:cNvSpPr>
              <a:spLocks noChangeAspect="1" noChangeArrowheads="1"/>
            </p:cNvSpPr>
            <p:nvPr userDrawn="1"/>
          </p:nvSpPr>
          <p:spPr bwMode="auto">
            <a:xfrm>
              <a:off x="6687351" y="36305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088" name="Oval 950"/>
            <p:cNvSpPr>
              <a:spLocks noChangeAspect="1" noChangeArrowheads="1"/>
            </p:cNvSpPr>
            <p:nvPr userDrawn="1"/>
          </p:nvSpPr>
          <p:spPr bwMode="auto">
            <a:xfrm>
              <a:off x="6798926" y="36305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089" name="Oval 951"/>
            <p:cNvSpPr>
              <a:spLocks noChangeAspect="1" noChangeArrowheads="1"/>
            </p:cNvSpPr>
            <p:nvPr userDrawn="1"/>
          </p:nvSpPr>
          <p:spPr bwMode="auto">
            <a:xfrm>
              <a:off x="7248247" y="36305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090" name="Oval 952"/>
            <p:cNvSpPr>
              <a:spLocks noChangeAspect="1" noChangeArrowheads="1"/>
            </p:cNvSpPr>
            <p:nvPr userDrawn="1"/>
          </p:nvSpPr>
          <p:spPr bwMode="auto">
            <a:xfrm>
              <a:off x="2304225" y="373457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091" name="Oval 953"/>
            <p:cNvSpPr>
              <a:spLocks noChangeAspect="1" noChangeArrowheads="1"/>
            </p:cNvSpPr>
            <p:nvPr userDrawn="1"/>
          </p:nvSpPr>
          <p:spPr bwMode="auto">
            <a:xfrm>
              <a:off x="2417309" y="373457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092" name="Oval 954"/>
            <p:cNvSpPr>
              <a:spLocks noChangeAspect="1" noChangeArrowheads="1"/>
            </p:cNvSpPr>
            <p:nvPr userDrawn="1"/>
          </p:nvSpPr>
          <p:spPr bwMode="auto">
            <a:xfrm>
              <a:off x="2528884" y="373457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093" name="Oval 955"/>
            <p:cNvSpPr>
              <a:spLocks noChangeAspect="1" noChangeArrowheads="1"/>
            </p:cNvSpPr>
            <p:nvPr userDrawn="1"/>
          </p:nvSpPr>
          <p:spPr bwMode="auto">
            <a:xfrm>
              <a:off x="2641967" y="373457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094" name="Oval 956"/>
            <p:cNvSpPr>
              <a:spLocks noChangeAspect="1" noChangeArrowheads="1"/>
            </p:cNvSpPr>
            <p:nvPr userDrawn="1"/>
          </p:nvSpPr>
          <p:spPr bwMode="auto">
            <a:xfrm>
              <a:off x="2753543" y="373457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095" name="Oval 957"/>
            <p:cNvSpPr>
              <a:spLocks noChangeAspect="1" noChangeArrowheads="1"/>
            </p:cNvSpPr>
            <p:nvPr userDrawn="1"/>
          </p:nvSpPr>
          <p:spPr bwMode="auto">
            <a:xfrm>
              <a:off x="3989925" y="373457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096" name="Oval 958"/>
            <p:cNvSpPr>
              <a:spLocks noChangeAspect="1" noChangeArrowheads="1"/>
            </p:cNvSpPr>
            <p:nvPr userDrawn="1"/>
          </p:nvSpPr>
          <p:spPr bwMode="auto">
            <a:xfrm>
              <a:off x="4103011" y="373457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097" name="Oval 959"/>
            <p:cNvSpPr>
              <a:spLocks noChangeAspect="1" noChangeArrowheads="1"/>
            </p:cNvSpPr>
            <p:nvPr userDrawn="1"/>
          </p:nvSpPr>
          <p:spPr bwMode="auto">
            <a:xfrm>
              <a:off x="4214587" y="373457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098" name="Oval 960"/>
            <p:cNvSpPr>
              <a:spLocks noChangeAspect="1" noChangeArrowheads="1"/>
            </p:cNvSpPr>
            <p:nvPr userDrawn="1"/>
          </p:nvSpPr>
          <p:spPr bwMode="auto">
            <a:xfrm>
              <a:off x="4327669" y="373457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099" name="Oval 961"/>
            <p:cNvSpPr>
              <a:spLocks noChangeAspect="1" noChangeArrowheads="1"/>
            </p:cNvSpPr>
            <p:nvPr userDrawn="1"/>
          </p:nvSpPr>
          <p:spPr bwMode="auto">
            <a:xfrm>
              <a:off x="4439245" y="373457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100" name="Oval 962"/>
            <p:cNvSpPr>
              <a:spLocks noChangeAspect="1" noChangeArrowheads="1"/>
            </p:cNvSpPr>
            <p:nvPr userDrawn="1"/>
          </p:nvSpPr>
          <p:spPr bwMode="auto">
            <a:xfrm>
              <a:off x="4552329" y="373457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101" name="Oval 963"/>
            <p:cNvSpPr>
              <a:spLocks noChangeAspect="1" noChangeArrowheads="1"/>
            </p:cNvSpPr>
            <p:nvPr userDrawn="1"/>
          </p:nvSpPr>
          <p:spPr bwMode="auto">
            <a:xfrm>
              <a:off x="4663905" y="373457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102" name="Oval 964"/>
            <p:cNvSpPr>
              <a:spLocks noChangeAspect="1" noChangeArrowheads="1"/>
            </p:cNvSpPr>
            <p:nvPr userDrawn="1"/>
          </p:nvSpPr>
          <p:spPr bwMode="auto">
            <a:xfrm>
              <a:off x="4776989" y="373457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103" name="Oval 965"/>
            <p:cNvSpPr>
              <a:spLocks noChangeAspect="1" noChangeArrowheads="1"/>
            </p:cNvSpPr>
            <p:nvPr userDrawn="1"/>
          </p:nvSpPr>
          <p:spPr bwMode="auto">
            <a:xfrm>
              <a:off x="4888565" y="373457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104" name="Oval 966"/>
            <p:cNvSpPr>
              <a:spLocks noChangeAspect="1" noChangeArrowheads="1"/>
            </p:cNvSpPr>
            <p:nvPr userDrawn="1"/>
          </p:nvSpPr>
          <p:spPr bwMode="auto">
            <a:xfrm>
              <a:off x="5001649" y="373457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105" name="Oval 967"/>
            <p:cNvSpPr>
              <a:spLocks noChangeAspect="1" noChangeArrowheads="1"/>
            </p:cNvSpPr>
            <p:nvPr userDrawn="1"/>
          </p:nvSpPr>
          <p:spPr bwMode="auto">
            <a:xfrm>
              <a:off x="5113226" y="373457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106" name="Oval 968"/>
            <p:cNvSpPr>
              <a:spLocks noChangeAspect="1" noChangeArrowheads="1"/>
            </p:cNvSpPr>
            <p:nvPr userDrawn="1"/>
          </p:nvSpPr>
          <p:spPr bwMode="auto">
            <a:xfrm>
              <a:off x="5226308" y="373457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107" name="Oval 969"/>
            <p:cNvSpPr>
              <a:spLocks noChangeAspect="1" noChangeArrowheads="1"/>
            </p:cNvSpPr>
            <p:nvPr userDrawn="1"/>
          </p:nvSpPr>
          <p:spPr bwMode="auto">
            <a:xfrm>
              <a:off x="5337884" y="373457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108" name="Oval 970"/>
            <p:cNvSpPr>
              <a:spLocks noChangeAspect="1" noChangeArrowheads="1"/>
            </p:cNvSpPr>
            <p:nvPr userDrawn="1"/>
          </p:nvSpPr>
          <p:spPr bwMode="auto">
            <a:xfrm>
              <a:off x="5450969" y="373457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109" name="Oval 971"/>
            <p:cNvSpPr>
              <a:spLocks noChangeAspect="1" noChangeArrowheads="1"/>
            </p:cNvSpPr>
            <p:nvPr userDrawn="1"/>
          </p:nvSpPr>
          <p:spPr bwMode="auto">
            <a:xfrm>
              <a:off x="5562544" y="373457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110" name="Oval 972"/>
            <p:cNvSpPr>
              <a:spLocks noChangeAspect="1" noChangeArrowheads="1"/>
            </p:cNvSpPr>
            <p:nvPr userDrawn="1"/>
          </p:nvSpPr>
          <p:spPr bwMode="auto">
            <a:xfrm>
              <a:off x="6124948" y="373457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111" name="Oval 973"/>
            <p:cNvSpPr>
              <a:spLocks noChangeAspect="1" noChangeArrowheads="1"/>
            </p:cNvSpPr>
            <p:nvPr userDrawn="1"/>
          </p:nvSpPr>
          <p:spPr bwMode="auto">
            <a:xfrm>
              <a:off x="6687351" y="373457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112" name="Oval 974"/>
            <p:cNvSpPr>
              <a:spLocks noChangeAspect="1" noChangeArrowheads="1"/>
            </p:cNvSpPr>
            <p:nvPr userDrawn="1"/>
          </p:nvSpPr>
          <p:spPr bwMode="auto">
            <a:xfrm>
              <a:off x="6798926" y="373457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113" name="Oval 975"/>
            <p:cNvSpPr>
              <a:spLocks noChangeAspect="1" noChangeArrowheads="1"/>
            </p:cNvSpPr>
            <p:nvPr userDrawn="1"/>
          </p:nvSpPr>
          <p:spPr bwMode="auto">
            <a:xfrm>
              <a:off x="7248247" y="373457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114" name="Oval 976"/>
            <p:cNvSpPr>
              <a:spLocks noChangeAspect="1" noChangeArrowheads="1"/>
            </p:cNvSpPr>
            <p:nvPr userDrawn="1"/>
          </p:nvSpPr>
          <p:spPr bwMode="auto">
            <a:xfrm>
              <a:off x="2528884" y="383710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115" name="Oval 977"/>
            <p:cNvSpPr>
              <a:spLocks noChangeAspect="1" noChangeArrowheads="1"/>
            </p:cNvSpPr>
            <p:nvPr userDrawn="1"/>
          </p:nvSpPr>
          <p:spPr bwMode="auto">
            <a:xfrm>
              <a:off x="2641967" y="383710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116" name="Oval 978"/>
            <p:cNvSpPr>
              <a:spLocks noChangeAspect="1" noChangeArrowheads="1"/>
            </p:cNvSpPr>
            <p:nvPr userDrawn="1"/>
          </p:nvSpPr>
          <p:spPr bwMode="auto">
            <a:xfrm>
              <a:off x="2753543" y="383710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117" name="Oval 979"/>
            <p:cNvSpPr>
              <a:spLocks noChangeAspect="1" noChangeArrowheads="1"/>
            </p:cNvSpPr>
            <p:nvPr userDrawn="1"/>
          </p:nvSpPr>
          <p:spPr bwMode="auto">
            <a:xfrm>
              <a:off x="2866627" y="383710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118" name="Oval 980"/>
            <p:cNvSpPr>
              <a:spLocks noChangeAspect="1" noChangeArrowheads="1"/>
            </p:cNvSpPr>
            <p:nvPr userDrawn="1"/>
          </p:nvSpPr>
          <p:spPr bwMode="auto">
            <a:xfrm>
              <a:off x="4103011" y="383710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119" name="Oval 981"/>
            <p:cNvSpPr>
              <a:spLocks noChangeAspect="1" noChangeArrowheads="1"/>
            </p:cNvSpPr>
            <p:nvPr userDrawn="1"/>
          </p:nvSpPr>
          <p:spPr bwMode="auto">
            <a:xfrm>
              <a:off x="4214587" y="383710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120" name="Oval 982"/>
            <p:cNvSpPr>
              <a:spLocks noChangeAspect="1" noChangeArrowheads="1"/>
            </p:cNvSpPr>
            <p:nvPr userDrawn="1"/>
          </p:nvSpPr>
          <p:spPr bwMode="auto">
            <a:xfrm>
              <a:off x="4327669" y="383710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121" name="Oval 983"/>
            <p:cNvSpPr>
              <a:spLocks noChangeAspect="1" noChangeArrowheads="1"/>
            </p:cNvSpPr>
            <p:nvPr userDrawn="1"/>
          </p:nvSpPr>
          <p:spPr bwMode="auto">
            <a:xfrm>
              <a:off x="4439245" y="383710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122" name="Oval 984"/>
            <p:cNvSpPr>
              <a:spLocks noChangeAspect="1" noChangeArrowheads="1"/>
            </p:cNvSpPr>
            <p:nvPr userDrawn="1"/>
          </p:nvSpPr>
          <p:spPr bwMode="auto">
            <a:xfrm>
              <a:off x="4552329" y="383710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123" name="Oval 985"/>
            <p:cNvSpPr>
              <a:spLocks noChangeAspect="1" noChangeArrowheads="1"/>
            </p:cNvSpPr>
            <p:nvPr userDrawn="1"/>
          </p:nvSpPr>
          <p:spPr bwMode="auto">
            <a:xfrm>
              <a:off x="4663905" y="383710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124" name="Oval 986"/>
            <p:cNvSpPr>
              <a:spLocks noChangeAspect="1" noChangeArrowheads="1"/>
            </p:cNvSpPr>
            <p:nvPr userDrawn="1"/>
          </p:nvSpPr>
          <p:spPr bwMode="auto">
            <a:xfrm>
              <a:off x="4776989" y="383710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125" name="Oval 987"/>
            <p:cNvSpPr>
              <a:spLocks noChangeAspect="1" noChangeArrowheads="1"/>
            </p:cNvSpPr>
            <p:nvPr userDrawn="1"/>
          </p:nvSpPr>
          <p:spPr bwMode="auto">
            <a:xfrm>
              <a:off x="4888565" y="383710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126" name="Oval 988"/>
            <p:cNvSpPr>
              <a:spLocks noChangeAspect="1" noChangeArrowheads="1"/>
            </p:cNvSpPr>
            <p:nvPr userDrawn="1"/>
          </p:nvSpPr>
          <p:spPr bwMode="auto">
            <a:xfrm>
              <a:off x="5001649" y="383710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127" name="Oval 989"/>
            <p:cNvSpPr>
              <a:spLocks noChangeAspect="1" noChangeArrowheads="1"/>
            </p:cNvSpPr>
            <p:nvPr userDrawn="1"/>
          </p:nvSpPr>
          <p:spPr bwMode="auto">
            <a:xfrm>
              <a:off x="5113226" y="383710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128" name="Oval 990"/>
            <p:cNvSpPr>
              <a:spLocks noChangeAspect="1" noChangeArrowheads="1"/>
            </p:cNvSpPr>
            <p:nvPr userDrawn="1"/>
          </p:nvSpPr>
          <p:spPr bwMode="auto">
            <a:xfrm>
              <a:off x="5226308" y="383710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129" name="Oval 991"/>
            <p:cNvSpPr>
              <a:spLocks noChangeAspect="1" noChangeArrowheads="1"/>
            </p:cNvSpPr>
            <p:nvPr userDrawn="1"/>
          </p:nvSpPr>
          <p:spPr bwMode="auto">
            <a:xfrm>
              <a:off x="5337884" y="383710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130" name="Oval 992"/>
            <p:cNvSpPr>
              <a:spLocks noChangeAspect="1" noChangeArrowheads="1"/>
            </p:cNvSpPr>
            <p:nvPr userDrawn="1"/>
          </p:nvSpPr>
          <p:spPr bwMode="auto">
            <a:xfrm>
              <a:off x="5450969" y="383710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131" name="Oval 993"/>
            <p:cNvSpPr>
              <a:spLocks noChangeAspect="1" noChangeArrowheads="1"/>
            </p:cNvSpPr>
            <p:nvPr userDrawn="1"/>
          </p:nvSpPr>
          <p:spPr bwMode="auto">
            <a:xfrm>
              <a:off x="6238032" y="383710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132" name="Oval 994"/>
            <p:cNvSpPr>
              <a:spLocks noChangeAspect="1" noChangeArrowheads="1"/>
            </p:cNvSpPr>
            <p:nvPr userDrawn="1"/>
          </p:nvSpPr>
          <p:spPr bwMode="auto">
            <a:xfrm>
              <a:off x="6687351" y="383710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133" name="Oval 995"/>
            <p:cNvSpPr>
              <a:spLocks noChangeAspect="1" noChangeArrowheads="1"/>
            </p:cNvSpPr>
            <p:nvPr userDrawn="1"/>
          </p:nvSpPr>
          <p:spPr bwMode="auto">
            <a:xfrm>
              <a:off x="7248247" y="383710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134" name="Oval 996"/>
            <p:cNvSpPr>
              <a:spLocks noChangeAspect="1" noChangeArrowheads="1"/>
            </p:cNvSpPr>
            <p:nvPr userDrawn="1"/>
          </p:nvSpPr>
          <p:spPr bwMode="auto">
            <a:xfrm>
              <a:off x="2528884" y="394114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135" name="Oval 997"/>
            <p:cNvSpPr>
              <a:spLocks noChangeAspect="1" noChangeArrowheads="1"/>
            </p:cNvSpPr>
            <p:nvPr userDrawn="1"/>
          </p:nvSpPr>
          <p:spPr bwMode="auto">
            <a:xfrm>
              <a:off x="2641967" y="394114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136" name="Oval 998"/>
            <p:cNvSpPr>
              <a:spLocks noChangeAspect="1" noChangeArrowheads="1"/>
            </p:cNvSpPr>
            <p:nvPr userDrawn="1"/>
          </p:nvSpPr>
          <p:spPr bwMode="auto">
            <a:xfrm>
              <a:off x="2753543" y="394114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137" name="Oval 999"/>
            <p:cNvSpPr>
              <a:spLocks noChangeAspect="1" noChangeArrowheads="1"/>
            </p:cNvSpPr>
            <p:nvPr userDrawn="1"/>
          </p:nvSpPr>
          <p:spPr bwMode="auto">
            <a:xfrm>
              <a:off x="2866627" y="394114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138" name="Oval 1000"/>
            <p:cNvSpPr>
              <a:spLocks noChangeAspect="1" noChangeArrowheads="1"/>
            </p:cNvSpPr>
            <p:nvPr userDrawn="1"/>
          </p:nvSpPr>
          <p:spPr bwMode="auto">
            <a:xfrm>
              <a:off x="2978203" y="394114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139" name="Oval 1001"/>
            <p:cNvSpPr>
              <a:spLocks noChangeAspect="1" noChangeArrowheads="1"/>
            </p:cNvSpPr>
            <p:nvPr userDrawn="1"/>
          </p:nvSpPr>
          <p:spPr bwMode="auto">
            <a:xfrm>
              <a:off x="3091288" y="394114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140" name="Oval 1002"/>
            <p:cNvSpPr>
              <a:spLocks noChangeAspect="1" noChangeArrowheads="1"/>
            </p:cNvSpPr>
            <p:nvPr userDrawn="1"/>
          </p:nvSpPr>
          <p:spPr bwMode="auto">
            <a:xfrm>
              <a:off x="4552329" y="394114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141" name="Oval 1003"/>
            <p:cNvSpPr>
              <a:spLocks noChangeAspect="1" noChangeArrowheads="1"/>
            </p:cNvSpPr>
            <p:nvPr userDrawn="1"/>
          </p:nvSpPr>
          <p:spPr bwMode="auto">
            <a:xfrm>
              <a:off x="4663905" y="394114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142" name="Oval 1004"/>
            <p:cNvSpPr>
              <a:spLocks noChangeAspect="1" noChangeArrowheads="1"/>
            </p:cNvSpPr>
            <p:nvPr userDrawn="1"/>
          </p:nvSpPr>
          <p:spPr bwMode="auto">
            <a:xfrm>
              <a:off x="4776989" y="394114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143" name="Oval 1005"/>
            <p:cNvSpPr>
              <a:spLocks noChangeAspect="1" noChangeArrowheads="1"/>
            </p:cNvSpPr>
            <p:nvPr userDrawn="1"/>
          </p:nvSpPr>
          <p:spPr bwMode="auto">
            <a:xfrm>
              <a:off x="4888565" y="394114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144" name="Oval 1006"/>
            <p:cNvSpPr>
              <a:spLocks noChangeAspect="1" noChangeArrowheads="1"/>
            </p:cNvSpPr>
            <p:nvPr userDrawn="1"/>
          </p:nvSpPr>
          <p:spPr bwMode="auto">
            <a:xfrm>
              <a:off x="5001649" y="394114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145" name="Oval 1007"/>
            <p:cNvSpPr>
              <a:spLocks noChangeAspect="1" noChangeArrowheads="1"/>
            </p:cNvSpPr>
            <p:nvPr userDrawn="1"/>
          </p:nvSpPr>
          <p:spPr bwMode="auto">
            <a:xfrm>
              <a:off x="5113226" y="394114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146" name="Oval 1008"/>
            <p:cNvSpPr>
              <a:spLocks noChangeAspect="1" noChangeArrowheads="1"/>
            </p:cNvSpPr>
            <p:nvPr userDrawn="1"/>
          </p:nvSpPr>
          <p:spPr bwMode="auto">
            <a:xfrm>
              <a:off x="5226308" y="394114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147" name="Oval 1009"/>
            <p:cNvSpPr>
              <a:spLocks noChangeAspect="1" noChangeArrowheads="1"/>
            </p:cNvSpPr>
            <p:nvPr userDrawn="1"/>
          </p:nvSpPr>
          <p:spPr bwMode="auto">
            <a:xfrm>
              <a:off x="5337884" y="394114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148" name="Oval 1010"/>
            <p:cNvSpPr>
              <a:spLocks noChangeAspect="1" noChangeArrowheads="1"/>
            </p:cNvSpPr>
            <p:nvPr userDrawn="1"/>
          </p:nvSpPr>
          <p:spPr bwMode="auto">
            <a:xfrm>
              <a:off x="5450969" y="394114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149" name="Oval 1011"/>
            <p:cNvSpPr>
              <a:spLocks noChangeAspect="1" noChangeArrowheads="1"/>
            </p:cNvSpPr>
            <p:nvPr/>
          </p:nvSpPr>
          <p:spPr bwMode="auto">
            <a:xfrm>
              <a:off x="6687351" y="394114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150" name="Oval 1012"/>
            <p:cNvSpPr>
              <a:spLocks noChangeAspect="1" noChangeArrowheads="1"/>
            </p:cNvSpPr>
            <p:nvPr userDrawn="1"/>
          </p:nvSpPr>
          <p:spPr bwMode="auto">
            <a:xfrm>
              <a:off x="7023586" y="3941142"/>
              <a:ext cx="85944" cy="85943"/>
            </a:xfrm>
            <a:prstGeom prst="ellipse">
              <a:avLst/>
            </a:prstGeom>
            <a:grpFill/>
            <a:ln>
              <a:noFill/>
            </a:ln>
            <a:effec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151" name="Oval 1013"/>
            <p:cNvSpPr>
              <a:spLocks noChangeAspect="1" noChangeArrowheads="1"/>
            </p:cNvSpPr>
            <p:nvPr userDrawn="1"/>
          </p:nvSpPr>
          <p:spPr bwMode="auto">
            <a:xfrm>
              <a:off x="2417309" y="404517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152" name="Oval 1014"/>
            <p:cNvSpPr>
              <a:spLocks noChangeAspect="1" noChangeArrowheads="1"/>
            </p:cNvSpPr>
            <p:nvPr userDrawn="1"/>
          </p:nvSpPr>
          <p:spPr bwMode="auto">
            <a:xfrm>
              <a:off x="2528884" y="404517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153" name="Oval 1015"/>
            <p:cNvSpPr>
              <a:spLocks noChangeAspect="1" noChangeArrowheads="1"/>
            </p:cNvSpPr>
            <p:nvPr userDrawn="1"/>
          </p:nvSpPr>
          <p:spPr bwMode="auto">
            <a:xfrm>
              <a:off x="2641967" y="404517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154" name="Oval 1016"/>
            <p:cNvSpPr>
              <a:spLocks noChangeAspect="1" noChangeArrowheads="1"/>
            </p:cNvSpPr>
            <p:nvPr userDrawn="1"/>
          </p:nvSpPr>
          <p:spPr bwMode="auto">
            <a:xfrm>
              <a:off x="2753543" y="404517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155" name="Oval 1017"/>
            <p:cNvSpPr>
              <a:spLocks noChangeAspect="1" noChangeArrowheads="1"/>
            </p:cNvSpPr>
            <p:nvPr userDrawn="1"/>
          </p:nvSpPr>
          <p:spPr bwMode="auto">
            <a:xfrm>
              <a:off x="2866627" y="404517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156" name="Oval 1018"/>
            <p:cNvSpPr>
              <a:spLocks noChangeAspect="1" noChangeArrowheads="1"/>
            </p:cNvSpPr>
            <p:nvPr userDrawn="1"/>
          </p:nvSpPr>
          <p:spPr bwMode="auto">
            <a:xfrm>
              <a:off x="2978203" y="404517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157" name="Oval 1019"/>
            <p:cNvSpPr>
              <a:spLocks noChangeAspect="1" noChangeArrowheads="1"/>
            </p:cNvSpPr>
            <p:nvPr userDrawn="1"/>
          </p:nvSpPr>
          <p:spPr bwMode="auto">
            <a:xfrm>
              <a:off x="3091288" y="404517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158" name="Oval 1020"/>
            <p:cNvSpPr>
              <a:spLocks noChangeAspect="1" noChangeArrowheads="1"/>
            </p:cNvSpPr>
            <p:nvPr userDrawn="1"/>
          </p:nvSpPr>
          <p:spPr bwMode="auto">
            <a:xfrm>
              <a:off x="3204371" y="404517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159" name="Oval 1021"/>
            <p:cNvSpPr>
              <a:spLocks noChangeAspect="1" noChangeArrowheads="1"/>
            </p:cNvSpPr>
            <p:nvPr userDrawn="1"/>
          </p:nvSpPr>
          <p:spPr bwMode="auto">
            <a:xfrm>
              <a:off x="4552329" y="404517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160" name="Oval 1022"/>
            <p:cNvSpPr>
              <a:spLocks noChangeAspect="1" noChangeArrowheads="1"/>
            </p:cNvSpPr>
            <p:nvPr userDrawn="1"/>
          </p:nvSpPr>
          <p:spPr bwMode="auto">
            <a:xfrm>
              <a:off x="4663905" y="404517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161" name="Oval 1023"/>
            <p:cNvSpPr>
              <a:spLocks noChangeAspect="1" noChangeArrowheads="1"/>
            </p:cNvSpPr>
            <p:nvPr userDrawn="1"/>
          </p:nvSpPr>
          <p:spPr bwMode="auto">
            <a:xfrm>
              <a:off x="4776989" y="404517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162" name="Oval 1024"/>
            <p:cNvSpPr>
              <a:spLocks noChangeAspect="1" noChangeArrowheads="1"/>
            </p:cNvSpPr>
            <p:nvPr userDrawn="1"/>
          </p:nvSpPr>
          <p:spPr bwMode="auto">
            <a:xfrm>
              <a:off x="4888565" y="404517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163" name="Oval 1025"/>
            <p:cNvSpPr>
              <a:spLocks noChangeAspect="1" noChangeArrowheads="1"/>
            </p:cNvSpPr>
            <p:nvPr userDrawn="1"/>
          </p:nvSpPr>
          <p:spPr bwMode="auto">
            <a:xfrm>
              <a:off x="5001649" y="404517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164" name="Oval 1026"/>
            <p:cNvSpPr>
              <a:spLocks noChangeAspect="1" noChangeArrowheads="1"/>
            </p:cNvSpPr>
            <p:nvPr userDrawn="1"/>
          </p:nvSpPr>
          <p:spPr bwMode="auto">
            <a:xfrm>
              <a:off x="5113226" y="404517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165" name="Oval 1027"/>
            <p:cNvSpPr>
              <a:spLocks noChangeAspect="1" noChangeArrowheads="1"/>
            </p:cNvSpPr>
            <p:nvPr userDrawn="1"/>
          </p:nvSpPr>
          <p:spPr bwMode="auto">
            <a:xfrm>
              <a:off x="5226308" y="404517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166" name="Oval 1028"/>
            <p:cNvSpPr>
              <a:spLocks noChangeAspect="1" noChangeArrowheads="1"/>
            </p:cNvSpPr>
            <p:nvPr userDrawn="1"/>
          </p:nvSpPr>
          <p:spPr bwMode="auto">
            <a:xfrm>
              <a:off x="5337884" y="404517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167" name="Oval 1029"/>
            <p:cNvSpPr>
              <a:spLocks noChangeAspect="1" noChangeArrowheads="1"/>
            </p:cNvSpPr>
            <p:nvPr userDrawn="1"/>
          </p:nvSpPr>
          <p:spPr bwMode="auto">
            <a:xfrm>
              <a:off x="6687351" y="404517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168" name="Oval 1030"/>
            <p:cNvSpPr>
              <a:spLocks noChangeAspect="1" noChangeArrowheads="1"/>
            </p:cNvSpPr>
            <p:nvPr userDrawn="1"/>
          </p:nvSpPr>
          <p:spPr bwMode="auto">
            <a:xfrm>
              <a:off x="6912010" y="404517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169" name="Oval 1031"/>
            <p:cNvSpPr>
              <a:spLocks noChangeAspect="1" noChangeArrowheads="1"/>
            </p:cNvSpPr>
            <p:nvPr userDrawn="1"/>
          </p:nvSpPr>
          <p:spPr bwMode="auto">
            <a:xfrm>
              <a:off x="7023586" y="404517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170" name="Oval 1032"/>
            <p:cNvSpPr>
              <a:spLocks noChangeAspect="1" noChangeArrowheads="1"/>
            </p:cNvSpPr>
            <p:nvPr userDrawn="1"/>
          </p:nvSpPr>
          <p:spPr bwMode="auto">
            <a:xfrm>
              <a:off x="7136671" y="404517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171" name="Oval 1033"/>
            <p:cNvSpPr>
              <a:spLocks noChangeAspect="1" noChangeArrowheads="1"/>
            </p:cNvSpPr>
            <p:nvPr userDrawn="1"/>
          </p:nvSpPr>
          <p:spPr bwMode="auto">
            <a:xfrm>
              <a:off x="2417309" y="414921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172" name="Oval 1034"/>
            <p:cNvSpPr>
              <a:spLocks noChangeAspect="1" noChangeArrowheads="1"/>
            </p:cNvSpPr>
            <p:nvPr userDrawn="1"/>
          </p:nvSpPr>
          <p:spPr bwMode="auto">
            <a:xfrm>
              <a:off x="2528884" y="414921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173" name="Oval 1035"/>
            <p:cNvSpPr>
              <a:spLocks noChangeAspect="1" noChangeArrowheads="1"/>
            </p:cNvSpPr>
            <p:nvPr userDrawn="1"/>
          </p:nvSpPr>
          <p:spPr bwMode="auto">
            <a:xfrm>
              <a:off x="2641967" y="414921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174" name="Oval 1036"/>
            <p:cNvSpPr>
              <a:spLocks noChangeAspect="1" noChangeArrowheads="1"/>
            </p:cNvSpPr>
            <p:nvPr userDrawn="1"/>
          </p:nvSpPr>
          <p:spPr bwMode="auto">
            <a:xfrm>
              <a:off x="2753543" y="414921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175" name="Oval 1037"/>
            <p:cNvSpPr>
              <a:spLocks noChangeAspect="1" noChangeArrowheads="1"/>
            </p:cNvSpPr>
            <p:nvPr userDrawn="1"/>
          </p:nvSpPr>
          <p:spPr bwMode="auto">
            <a:xfrm>
              <a:off x="2866627" y="414921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176" name="Oval 1038"/>
            <p:cNvSpPr>
              <a:spLocks noChangeAspect="1" noChangeArrowheads="1"/>
            </p:cNvSpPr>
            <p:nvPr userDrawn="1"/>
          </p:nvSpPr>
          <p:spPr bwMode="auto">
            <a:xfrm>
              <a:off x="2978203" y="414921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177" name="Oval 1039"/>
            <p:cNvSpPr>
              <a:spLocks noChangeAspect="1" noChangeArrowheads="1"/>
            </p:cNvSpPr>
            <p:nvPr userDrawn="1"/>
          </p:nvSpPr>
          <p:spPr bwMode="auto">
            <a:xfrm>
              <a:off x="3091288" y="414921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178" name="Oval 1040"/>
            <p:cNvSpPr>
              <a:spLocks noChangeAspect="1" noChangeArrowheads="1"/>
            </p:cNvSpPr>
            <p:nvPr userDrawn="1"/>
          </p:nvSpPr>
          <p:spPr bwMode="auto">
            <a:xfrm>
              <a:off x="3204371" y="414921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179" name="Oval 1041"/>
            <p:cNvSpPr>
              <a:spLocks noChangeAspect="1" noChangeArrowheads="1"/>
            </p:cNvSpPr>
            <p:nvPr userDrawn="1"/>
          </p:nvSpPr>
          <p:spPr bwMode="auto">
            <a:xfrm>
              <a:off x="3315947" y="414921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180" name="Oval 1042"/>
            <p:cNvSpPr>
              <a:spLocks noChangeAspect="1" noChangeArrowheads="1"/>
            </p:cNvSpPr>
            <p:nvPr/>
          </p:nvSpPr>
          <p:spPr bwMode="auto">
            <a:xfrm>
              <a:off x="3429031" y="414921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181" name="Oval 1043"/>
            <p:cNvSpPr>
              <a:spLocks noChangeAspect="1" noChangeArrowheads="1"/>
            </p:cNvSpPr>
            <p:nvPr userDrawn="1"/>
          </p:nvSpPr>
          <p:spPr bwMode="auto">
            <a:xfrm>
              <a:off x="4663905" y="414921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182" name="Oval 1044"/>
            <p:cNvSpPr>
              <a:spLocks noChangeAspect="1" noChangeArrowheads="1"/>
            </p:cNvSpPr>
            <p:nvPr userDrawn="1"/>
          </p:nvSpPr>
          <p:spPr bwMode="auto">
            <a:xfrm>
              <a:off x="4776989" y="414921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183" name="Oval 1045"/>
            <p:cNvSpPr>
              <a:spLocks noChangeAspect="1" noChangeArrowheads="1"/>
            </p:cNvSpPr>
            <p:nvPr userDrawn="1"/>
          </p:nvSpPr>
          <p:spPr bwMode="auto">
            <a:xfrm>
              <a:off x="4888565" y="414921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184" name="Oval 1046"/>
            <p:cNvSpPr>
              <a:spLocks noChangeAspect="1" noChangeArrowheads="1"/>
            </p:cNvSpPr>
            <p:nvPr userDrawn="1"/>
          </p:nvSpPr>
          <p:spPr bwMode="auto">
            <a:xfrm>
              <a:off x="5001649" y="414921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185" name="Oval 1047"/>
            <p:cNvSpPr>
              <a:spLocks noChangeAspect="1" noChangeArrowheads="1"/>
            </p:cNvSpPr>
            <p:nvPr userDrawn="1"/>
          </p:nvSpPr>
          <p:spPr bwMode="auto">
            <a:xfrm>
              <a:off x="5113226" y="414921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186" name="Oval 1048"/>
            <p:cNvSpPr>
              <a:spLocks noChangeAspect="1" noChangeArrowheads="1"/>
            </p:cNvSpPr>
            <p:nvPr userDrawn="1"/>
          </p:nvSpPr>
          <p:spPr bwMode="auto">
            <a:xfrm>
              <a:off x="5226308" y="414921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187" name="Oval 1049"/>
            <p:cNvSpPr>
              <a:spLocks noChangeAspect="1" noChangeArrowheads="1"/>
            </p:cNvSpPr>
            <p:nvPr userDrawn="1"/>
          </p:nvSpPr>
          <p:spPr bwMode="auto">
            <a:xfrm>
              <a:off x="6798926" y="414921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188" name="Oval 1050"/>
            <p:cNvSpPr>
              <a:spLocks noChangeAspect="1" noChangeArrowheads="1"/>
            </p:cNvSpPr>
            <p:nvPr userDrawn="1"/>
          </p:nvSpPr>
          <p:spPr bwMode="auto">
            <a:xfrm>
              <a:off x="7136671" y="414921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189" name="Oval 1051"/>
            <p:cNvSpPr>
              <a:spLocks noChangeAspect="1" noChangeArrowheads="1"/>
            </p:cNvSpPr>
            <p:nvPr userDrawn="1"/>
          </p:nvSpPr>
          <p:spPr bwMode="auto">
            <a:xfrm>
              <a:off x="7472905" y="414921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190" name="Oval 1052"/>
            <p:cNvSpPr>
              <a:spLocks noChangeAspect="1" noChangeArrowheads="1"/>
            </p:cNvSpPr>
            <p:nvPr userDrawn="1"/>
          </p:nvSpPr>
          <p:spPr bwMode="auto">
            <a:xfrm>
              <a:off x="7585989" y="414921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191" name="Oval 1053"/>
            <p:cNvSpPr>
              <a:spLocks noChangeAspect="1" noChangeArrowheads="1"/>
            </p:cNvSpPr>
            <p:nvPr userDrawn="1"/>
          </p:nvSpPr>
          <p:spPr bwMode="auto">
            <a:xfrm>
              <a:off x="7697565" y="414921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192" name="Oval 1054"/>
            <p:cNvSpPr>
              <a:spLocks noChangeAspect="1" noChangeArrowheads="1"/>
            </p:cNvSpPr>
            <p:nvPr userDrawn="1"/>
          </p:nvSpPr>
          <p:spPr bwMode="auto">
            <a:xfrm>
              <a:off x="2528884" y="42532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193" name="Oval 1055"/>
            <p:cNvSpPr>
              <a:spLocks noChangeAspect="1" noChangeArrowheads="1"/>
            </p:cNvSpPr>
            <p:nvPr userDrawn="1"/>
          </p:nvSpPr>
          <p:spPr bwMode="auto">
            <a:xfrm>
              <a:off x="2641967" y="42532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194" name="Oval 1056"/>
            <p:cNvSpPr>
              <a:spLocks noChangeAspect="1" noChangeArrowheads="1"/>
            </p:cNvSpPr>
            <p:nvPr userDrawn="1"/>
          </p:nvSpPr>
          <p:spPr bwMode="auto">
            <a:xfrm>
              <a:off x="2753543" y="42532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195" name="Oval 1057"/>
            <p:cNvSpPr>
              <a:spLocks noChangeAspect="1" noChangeArrowheads="1"/>
            </p:cNvSpPr>
            <p:nvPr userDrawn="1"/>
          </p:nvSpPr>
          <p:spPr bwMode="auto">
            <a:xfrm>
              <a:off x="2866627" y="42532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196" name="Oval 1058"/>
            <p:cNvSpPr>
              <a:spLocks noChangeAspect="1" noChangeArrowheads="1"/>
            </p:cNvSpPr>
            <p:nvPr userDrawn="1"/>
          </p:nvSpPr>
          <p:spPr bwMode="auto">
            <a:xfrm>
              <a:off x="2978203" y="42532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197" name="Oval 1059"/>
            <p:cNvSpPr>
              <a:spLocks noChangeAspect="1" noChangeArrowheads="1"/>
            </p:cNvSpPr>
            <p:nvPr userDrawn="1"/>
          </p:nvSpPr>
          <p:spPr bwMode="auto">
            <a:xfrm>
              <a:off x="3091288" y="42532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198" name="Oval 1060"/>
            <p:cNvSpPr>
              <a:spLocks noChangeAspect="1" noChangeArrowheads="1"/>
            </p:cNvSpPr>
            <p:nvPr userDrawn="1"/>
          </p:nvSpPr>
          <p:spPr bwMode="auto">
            <a:xfrm>
              <a:off x="3204371" y="42532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199" name="Oval 1061"/>
            <p:cNvSpPr>
              <a:spLocks noChangeAspect="1" noChangeArrowheads="1"/>
            </p:cNvSpPr>
            <p:nvPr userDrawn="1"/>
          </p:nvSpPr>
          <p:spPr bwMode="auto">
            <a:xfrm>
              <a:off x="3315947" y="42532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200" name="Oval 1062"/>
            <p:cNvSpPr>
              <a:spLocks noChangeAspect="1" noChangeArrowheads="1"/>
            </p:cNvSpPr>
            <p:nvPr userDrawn="1"/>
          </p:nvSpPr>
          <p:spPr bwMode="auto">
            <a:xfrm>
              <a:off x="3429031" y="42532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201" name="Oval 1063"/>
            <p:cNvSpPr>
              <a:spLocks noChangeAspect="1" noChangeArrowheads="1"/>
            </p:cNvSpPr>
            <p:nvPr userDrawn="1"/>
          </p:nvSpPr>
          <p:spPr bwMode="auto">
            <a:xfrm>
              <a:off x="4663905" y="42532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202" name="Oval 1064"/>
            <p:cNvSpPr>
              <a:spLocks noChangeAspect="1" noChangeArrowheads="1"/>
            </p:cNvSpPr>
            <p:nvPr userDrawn="1"/>
          </p:nvSpPr>
          <p:spPr bwMode="auto">
            <a:xfrm>
              <a:off x="4776989" y="42532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203" name="Oval 1065"/>
            <p:cNvSpPr>
              <a:spLocks noChangeAspect="1" noChangeArrowheads="1"/>
            </p:cNvSpPr>
            <p:nvPr userDrawn="1"/>
          </p:nvSpPr>
          <p:spPr bwMode="auto">
            <a:xfrm>
              <a:off x="4888565" y="42532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204" name="Oval 1066"/>
            <p:cNvSpPr>
              <a:spLocks noChangeAspect="1" noChangeArrowheads="1"/>
            </p:cNvSpPr>
            <p:nvPr userDrawn="1"/>
          </p:nvSpPr>
          <p:spPr bwMode="auto">
            <a:xfrm>
              <a:off x="5001649" y="42532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205" name="Oval 1067"/>
            <p:cNvSpPr>
              <a:spLocks noChangeAspect="1" noChangeArrowheads="1"/>
            </p:cNvSpPr>
            <p:nvPr userDrawn="1"/>
          </p:nvSpPr>
          <p:spPr bwMode="auto">
            <a:xfrm>
              <a:off x="5113226" y="42532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206" name="Oval 1068"/>
            <p:cNvSpPr>
              <a:spLocks noChangeAspect="1" noChangeArrowheads="1"/>
            </p:cNvSpPr>
            <p:nvPr userDrawn="1"/>
          </p:nvSpPr>
          <p:spPr bwMode="auto">
            <a:xfrm>
              <a:off x="5226308" y="42532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207" name="Oval 1069"/>
            <p:cNvSpPr>
              <a:spLocks noChangeAspect="1" noChangeArrowheads="1"/>
            </p:cNvSpPr>
            <p:nvPr userDrawn="1"/>
          </p:nvSpPr>
          <p:spPr bwMode="auto">
            <a:xfrm>
              <a:off x="6912010" y="42532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208" name="Oval 1070"/>
            <p:cNvSpPr>
              <a:spLocks noChangeAspect="1" noChangeArrowheads="1"/>
            </p:cNvSpPr>
            <p:nvPr userDrawn="1"/>
          </p:nvSpPr>
          <p:spPr bwMode="auto">
            <a:xfrm>
              <a:off x="7023586" y="42532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209" name="Oval 1071"/>
            <p:cNvSpPr>
              <a:spLocks noChangeAspect="1" noChangeArrowheads="1"/>
            </p:cNvSpPr>
            <p:nvPr userDrawn="1"/>
          </p:nvSpPr>
          <p:spPr bwMode="auto">
            <a:xfrm>
              <a:off x="7697565" y="4253251"/>
              <a:ext cx="85943" cy="85944"/>
            </a:xfrm>
            <a:prstGeom prst="ellipse">
              <a:avLst/>
            </a:prstGeom>
            <a:grpFill/>
            <a:ln>
              <a:noFill/>
            </a:ln>
            <a:effec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210" name="Oval 1072"/>
            <p:cNvSpPr>
              <a:spLocks noChangeAspect="1" noChangeArrowheads="1"/>
            </p:cNvSpPr>
            <p:nvPr userDrawn="1"/>
          </p:nvSpPr>
          <p:spPr bwMode="auto">
            <a:xfrm>
              <a:off x="2528884" y="435729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211" name="Oval 1073"/>
            <p:cNvSpPr>
              <a:spLocks noChangeAspect="1" noChangeArrowheads="1"/>
            </p:cNvSpPr>
            <p:nvPr userDrawn="1"/>
          </p:nvSpPr>
          <p:spPr bwMode="auto">
            <a:xfrm>
              <a:off x="2641967" y="435729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212" name="Oval 1074"/>
            <p:cNvSpPr>
              <a:spLocks noChangeAspect="1" noChangeArrowheads="1"/>
            </p:cNvSpPr>
            <p:nvPr userDrawn="1"/>
          </p:nvSpPr>
          <p:spPr bwMode="auto">
            <a:xfrm>
              <a:off x="2753543" y="435729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213" name="Oval 1075"/>
            <p:cNvSpPr>
              <a:spLocks noChangeAspect="1" noChangeArrowheads="1"/>
            </p:cNvSpPr>
            <p:nvPr userDrawn="1"/>
          </p:nvSpPr>
          <p:spPr bwMode="auto">
            <a:xfrm>
              <a:off x="2866628" y="435729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214" name="Oval 1076"/>
            <p:cNvSpPr>
              <a:spLocks noChangeAspect="1" noChangeArrowheads="1"/>
            </p:cNvSpPr>
            <p:nvPr userDrawn="1"/>
          </p:nvSpPr>
          <p:spPr bwMode="auto">
            <a:xfrm>
              <a:off x="2978204" y="435729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215" name="Oval 1077"/>
            <p:cNvSpPr>
              <a:spLocks noChangeAspect="1" noChangeArrowheads="1"/>
            </p:cNvSpPr>
            <p:nvPr userDrawn="1"/>
          </p:nvSpPr>
          <p:spPr bwMode="auto">
            <a:xfrm>
              <a:off x="3091288" y="435729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216" name="Oval 1078"/>
            <p:cNvSpPr>
              <a:spLocks noChangeAspect="1" noChangeArrowheads="1"/>
            </p:cNvSpPr>
            <p:nvPr userDrawn="1"/>
          </p:nvSpPr>
          <p:spPr bwMode="auto">
            <a:xfrm>
              <a:off x="3204371" y="435729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217" name="Oval 1079"/>
            <p:cNvSpPr>
              <a:spLocks noChangeAspect="1" noChangeArrowheads="1"/>
            </p:cNvSpPr>
            <p:nvPr userDrawn="1"/>
          </p:nvSpPr>
          <p:spPr bwMode="auto">
            <a:xfrm>
              <a:off x="3315947" y="435729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218" name="Oval 1080"/>
            <p:cNvSpPr>
              <a:spLocks noChangeAspect="1" noChangeArrowheads="1"/>
            </p:cNvSpPr>
            <p:nvPr userDrawn="1"/>
          </p:nvSpPr>
          <p:spPr bwMode="auto">
            <a:xfrm>
              <a:off x="3429031" y="435729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219" name="Oval 1081"/>
            <p:cNvSpPr>
              <a:spLocks noChangeAspect="1" noChangeArrowheads="1"/>
            </p:cNvSpPr>
            <p:nvPr userDrawn="1"/>
          </p:nvSpPr>
          <p:spPr bwMode="auto">
            <a:xfrm>
              <a:off x="4663905" y="435729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220" name="Oval 1082"/>
            <p:cNvSpPr>
              <a:spLocks noChangeAspect="1" noChangeArrowheads="1"/>
            </p:cNvSpPr>
            <p:nvPr userDrawn="1"/>
          </p:nvSpPr>
          <p:spPr bwMode="auto">
            <a:xfrm>
              <a:off x="4776989" y="435729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221" name="Oval 1083"/>
            <p:cNvSpPr>
              <a:spLocks noChangeAspect="1" noChangeArrowheads="1"/>
            </p:cNvSpPr>
            <p:nvPr userDrawn="1"/>
          </p:nvSpPr>
          <p:spPr bwMode="auto">
            <a:xfrm>
              <a:off x="4888565" y="435729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222" name="Oval 1084"/>
            <p:cNvSpPr>
              <a:spLocks noChangeAspect="1" noChangeArrowheads="1"/>
            </p:cNvSpPr>
            <p:nvPr userDrawn="1"/>
          </p:nvSpPr>
          <p:spPr bwMode="auto">
            <a:xfrm>
              <a:off x="5001649" y="435729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223" name="Oval 1085"/>
            <p:cNvSpPr>
              <a:spLocks noChangeAspect="1" noChangeArrowheads="1"/>
            </p:cNvSpPr>
            <p:nvPr userDrawn="1"/>
          </p:nvSpPr>
          <p:spPr bwMode="auto">
            <a:xfrm>
              <a:off x="5113225" y="435729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224" name="Oval 1086"/>
            <p:cNvSpPr>
              <a:spLocks noChangeAspect="1" noChangeArrowheads="1"/>
            </p:cNvSpPr>
            <p:nvPr userDrawn="1"/>
          </p:nvSpPr>
          <p:spPr bwMode="auto">
            <a:xfrm>
              <a:off x="5226308" y="435729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225" name="Oval 1087"/>
            <p:cNvSpPr>
              <a:spLocks noChangeAspect="1" noChangeArrowheads="1"/>
            </p:cNvSpPr>
            <p:nvPr userDrawn="1"/>
          </p:nvSpPr>
          <p:spPr bwMode="auto">
            <a:xfrm>
              <a:off x="7472905" y="435729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226" name="Oval 1088"/>
            <p:cNvSpPr>
              <a:spLocks noChangeAspect="1" noChangeArrowheads="1"/>
            </p:cNvSpPr>
            <p:nvPr userDrawn="1"/>
          </p:nvSpPr>
          <p:spPr bwMode="auto">
            <a:xfrm>
              <a:off x="2641967" y="445981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227" name="Oval 1089"/>
            <p:cNvSpPr>
              <a:spLocks noChangeAspect="1" noChangeArrowheads="1"/>
            </p:cNvSpPr>
            <p:nvPr userDrawn="1"/>
          </p:nvSpPr>
          <p:spPr bwMode="auto">
            <a:xfrm>
              <a:off x="2753543" y="445981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228" name="Oval 1090"/>
            <p:cNvSpPr>
              <a:spLocks noChangeAspect="1" noChangeArrowheads="1"/>
            </p:cNvSpPr>
            <p:nvPr userDrawn="1"/>
          </p:nvSpPr>
          <p:spPr bwMode="auto">
            <a:xfrm>
              <a:off x="2866628" y="445981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229" name="Oval 1091"/>
            <p:cNvSpPr>
              <a:spLocks noChangeAspect="1" noChangeArrowheads="1"/>
            </p:cNvSpPr>
            <p:nvPr userDrawn="1"/>
          </p:nvSpPr>
          <p:spPr bwMode="auto">
            <a:xfrm>
              <a:off x="2978204" y="445981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230" name="Oval 1092"/>
            <p:cNvSpPr>
              <a:spLocks noChangeAspect="1" noChangeArrowheads="1"/>
            </p:cNvSpPr>
            <p:nvPr userDrawn="1"/>
          </p:nvSpPr>
          <p:spPr bwMode="auto">
            <a:xfrm>
              <a:off x="3091288" y="445981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231" name="Oval 1093"/>
            <p:cNvSpPr>
              <a:spLocks noChangeAspect="1" noChangeArrowheads="1"/>
            </p:cNvSpPr>
            <p:nvPr userDrawn="1"/>
          </p:nvSpPr>
          <p:spPr bwMode="auto">
            <a:xfrm>
              <a:off x="3204371" y="445981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232" name="Oval 1094"/>
            <p:cNvSpPr>
              <a:spLocks noChangeAspect="1" noChangeArrowheads="1"/>
            </p:cNvSpPr>
            <p:nvPr userDrawn="1"/>
          </p:nvSpPr>
          <p:spPr bwMode="auto">
            <a:xfrm>
              <a:off x="3315947" y="445981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233" name="Oval 1095"/>
            <p:cNvSpPr>
              <a:spLocks noChangeAspect="1" noChangeArrowheads="1"/>
            </p:cNvSpPr>
            <p:nvPr userDrawn="1"/>
          </p:nvSpPr>
          <p:spPr bwMode="auto">
            <a:xfrm>
              <a:off x="4663905" y="445981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234" name="Oval 1096"/>
            <p:cNvSpPr>
              <a:spLocks noChangeAspect="1" noChangeArrowheads="1"/>
            </p:cNvSpPr>
            <p:nvPr userDrawn="1"/>
          </p:nvSpPr>
          <p:spPr bwMode="auto">
            <a:xfrm>
              <a:off x="4776989" y="445981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235" name="Oval 1097"/>
            <p:cNvSpPr>
              <a:spLocks noChangeAspect="1" noChangeArrowheads="1"/>
            </p:cNvSpPr>
            <p:nvPr userDrawn="1"/>
          </p:nvSpPr>
          <p:spPr bwMode="auto">
            <a:xfrm>
              <a:off x="4888565" y="445981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236" name="Oval 1098"/>
            <p:cNvSpPr>
              <a:spLocks noChangeAspect="1" noChangeArrowheads="1"/>
            </p:cNvSpPr>
            <p:nvPr userDrawn="1"/>
          </p:nvSpPr>
          <p:spPr bwMode="auto">
            <a:xfrm>
              <a:off x="5001649" y="445981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237" name="Oval 1099"/>
            <p:cNvSpPr>
              <a:spLocks noChangeAspect="1" noChangeArrowheads="1"/>
            </p:cNvSpPr>
            <p:nvPr userDrawn="1"/>
          </p:nvSpPr>
          <p:spPr bwMode="auto">
            <a:xfrm>
              <a:off x="5113225" y="445981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238" name="Oval 1100"/>
            <p:cNvSpPr>
              <a:spLocks noChangeAspect="1" noChangeArrowheads="1"/>
            </p:cNvSpPr>
            <p:nvPr userDrawn="1"/>
          </p:nvSpPr>
          <p:spPr bwMode="auto">
            <a:xfrm>
              <a:off x="5226308" y="445981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239" name="Oval 1101"/>
            <p:cNvSpPr>
              <a:spLocks noChangeAspect="1" noChangeArrowheads="1"/>
            </p:cNvSpPr>
            <p:nvPr userDrawn="1"/>
          </p:nvSpPr>
          <p:spPr bwMode="auto">
            <a:xfrm>
              <a:off x="5450969" y="445981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240" name="Oval 1102"/>
            <p:cNvSpPr>
              <a:spLocks noChangeAspect="1" noChangeArrowheads="1"/>
            </p:cNvSpPr>
            <p:nvPr userDrawn="1"/>
          </p:nvSpPr>
          <p:spPr bwMode="auto">
            <a:xfrm>
              <a:off x="7361330" y="445981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241" name="Oval 1103"/>
            <p:cNvSpPr>
              <a:spLocks noChangeAspect="1" noChangeArrowheads="1"/>
            </p:cNvSpPr>
            <p:nvPr userDrawn="1"/>
          </p:nvSpPr>
          <p:spPr bwMode="auto">
            <a:xfrm>
              <a:off x="7472905" y="445981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242" name="Oval 1104"/>
            <p:cNvSpPr>
              <a:spLocks noChangeAspect="1" noChangeArrowheads="1"/>
            </p:cNvSpPr>
            <p:nvPr userDrawn="1"/>
          </p:nvSpPr>
          <p:spPr bwMode="auto">
            <a:xfrm>
              <a:off x="7697565" y="445981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243" name="Oval 1105"/>
            <p:cNvSpPr>
              <a:spLocks noChangeAspect="1" noChangeArrowheads="1"/>
            </p:cNvSpPr>
            <p:nvPr userDrawn="1"/>
          </p:nvSpPr>
          <p:spPr bwMode="auto">
            <a:xfrm>
              <a:off x="2753543" y="456385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244" name="Oval 1106"/>
            <p:cNvSpPr>
              <a:spLocks noChangeAspect="1" noChangeArrowheads="1"/>
            </p:cNvSpPr>
            <p:nvPr userDrawn="1"/>
          </p:nvSpPr>
          <p:spPr bwMode="auto">
            <a:xfrm>
              <a:off x="2866628" y="456385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245" name="Oval 1107"/>
            <p:cNvSpPr>
              <a:spLocks noChangeAspect="1" noChangeArrowheads="1"/>
            </p:cNvSpPr>
            <p:nvPr userDrawn="1"/>
          </p:nvSpPr>
          <p:spPr bwMode="auto">
            <a:xfrm>
              <a:off x="2978204" y="456385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246" name="Oval 1108"/>
            <p:cNvSpPr>
              <a:spLocks noChangeAspect="1" noChangeArrowheads="1"/>
            </p:cNvSpPr>
            <p:nvPr userDrawn="1"/>
          </p:nvSpPr>
          <p:spPr bwMode="auto">
            <a:xfrm>
              <a:off x="3091288" y="456385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247" name="Oval 1109"/>
            <p:cNvSpPr>
              <a:spLocks noChangeAspect="1" noChangeArrowheads="1"/>
            </p:cNvSpPr>
            <p:nvPr userDrawn="1"/>
          </p:nvSpPr>
          <p:spPr bwMode="auto">
            <a:xfrm>
              <a:off x="3204371" y="456385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248" name="Oval 1110"/>
            <p:cNvSpPr>
              <a:spLocks noChangeAspect="1" noChangeArrowheads="1"/>
            </p:cNvSpPr>
            <p:nvPr userDrawn="1"/>
          </p:nvSpPr>
          <p:spPr bwMode="auto">
            <a:xfrm>
              <a:off x="3315947" y="456385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249" name="Oval 1111"/>
            <p:cNvSpPr>
              <a:spLocks noChangeAspect="1" noChangeArrowheads="1"/>
            </p:cNvSpPr>
            <p:nvPr userDrawn="1"/>
          </p:nvSpPr>
          <p:spPr bwMode="auto">
            <a:xfrm>
              <a:off x="4663905" y="456385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250" name="Oval 1112"/>
            <p:cNvSpPr>
              <a:spLocks noChangeAspect="1" noChangeArrowheads="1"/>
            </p:cNvSpPr>
            <p:nvPr userDrawn="1"/>
          </p:nvSpPr>
          <p:spPr bwMode="auto">
            <a:xfrm>
              <a:off x="4776989" y="456385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251" name="Oval 1113"/>
            <p:cNvSpPr>
              <a:spLocks noChangeAspect="1" noChangeArrowheads="1"/>
            </p:cNvSpPr>
            <p:nvPr userDrawn="1"/>
          </p:nvSpPr>
          <p:spPr bwMode="auto">
            <a:xfrm>
              <a:off x="4888565" y="456385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252" name="Oval 1114"/>
            <p:cNvSpPr>
              <a:spLocks noChangeAspect="1" noChangeArrowheads="1"/>
            </p:cNvSpPr>
            <p:nvPr userDrawn="1"/>
          </p:nvSpPr>
          <p:spPr bwMode="auto">
            <a:xfrm>
              <a:off x="5001649" y="456385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253" name="Oval 1115"/>
            <p:cNvSpPr>
              <a:spLocks noChangeAspect="1" noChangeArrowheads="1"/>
            </p:cNvSpPr>
            <p:nvPr userDrawn="1"/>
          </p:nvSpPr>
          <p:spPr bwMode="auto">
            <a:xfrm>
              <a:off x="5113225" y="456385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254" name="Oval 1116"/>
            <p:cNvSpPr>
              <a:spLocks noChangeAspect="1" noChangeArrowheads="1"/>
            </p:cNvSpPr>
            <p:nvPr userDrawn="1"/>
          </p:nvSpPr>
          <p:spPr bwMode="auto">
            <a:xfrm>
              <a:off x="5226308" y="456385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255" name="Oval 1117"/>
            <p:cNvSpPr>
              <a:spLocks noChangeAspect="1" noChangeArrowheads="1"/>
            </p:cNvSpPr>
            <p:nvPr userDrawn="1"/>
          </p:nvSpPr>
          <p:spPr bwMode="auto">
            <a:xfrm>
              <a:off x="5450969" y="456385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256" name="Oval 1118"/>
            <p:cNvSpPr>
              <a:spLocks noChangeAspect="1" noChangeArrowheads="1"/>
            </p:cNvSpPr>
            <p:nvPr userDrawn="1"/>
          </p:nvSpPr>
          <p:spPr bwMode="auto">
            <a:xfrm>
              <a:off x="7248247" y="456385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257" name="Oval 1119"/>
            <p:cNvSpPr>
              <a:spLocks noChangeAspect="1" noChangeArrowheads="1"/>
            </p:cNvSpPr>
            <p:nvPr userDrawn="1"/>
          </p:nvSpPr>
          <p:spPr bwMode="auto">
            <a:xfrm>
              <a:off x="7361330" y="456385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258" name="Oval 1120"/>
            <p:cNvSpPr>
              <a:spLocks noChangeAspect="1" noChangeArrowheads="1"/>
            </p:cNvSpPr>
            <p:nvPr userDrawn="1"/>
          </p:nvSpPr>
          <p:spPr bwMode="auto">
            <a:xfrm>
              <a:off x="7472905" y="456385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259" name="Oval 1121"/>
            <p:cNvSpPr>
              <a:spLocks noChangeAspect="1" noChangeArrowheads="1"/>
            </p:cNvSpPr>
            <p:nvPr userDrawn="1"/>
          </p:nvSpPr>
          <p:spPr bwMode="auto">
            <a:xfrm>
              <a:off x="7585989" y="456385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260" name="Oval 1122"/>
            <p:cNvSpPr>
              <a:spLocks noChangeAspect="1" noChangeArrowheads="1"/>
            </p:cNvSpPr>
            <p:nvPr userDrawn="1"/>
          </p:nvSpPr>
          <p:spPr bwMode="auto">
            <a:xfrm>
              <a:off x="7697565" y="456385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261" name="Oval 1123"/>
            <p:cNvSpPr>
              <a:spLocks noChangeAspect="1" noChangeArrowheads="1"/>
            </p:cNvSpPr>
            <p:nvPr userDrawn="1"/>
          </p:nvSpPr>
          <p:spPr bwMode="auto">
            <a:xfrm>
              <a:off x="2753543" y="466789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262" name="Oval 1124"/>
            <p:cNvSpPr>
              <a:spLocks noChangeAspect="1" noChangeArrowheads="1"/>
            </p:cNvSpPr>
            <p:nvPr userDrawn="1"/>
          </p:nvSpPr>
          <p:spPr bwMode="auto">
            <a:xfrm>
              <a:off x="2866628" y="466789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263" name="Oval 1125"/>
            <p:cNvSpPr>
              <a:spLocks noChangeAspect="1" noChangeArrowheads="1"/>
            </p:cNvSpPr>
            <p:nvPr userDrawn="1"/>
          </p:nvSpPr>
          <p:spPr bwMode="auto">
            <a:xfrm>
              <a:off x="2978204" y="466789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264" name="Oval 1126"/>
            <p:cNvSpPr>
              <a:spLocks noChangeAspect="1" noChangeArrowheads="1"/>
            </p:cNvSpPr>
            <p:nvPr userDrawn="1"/>
          </p:nvSpPr>
          <p:spPr bwMode="auto">
            <a:xfrm>
              <a:off x="3091288" y="466789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265" name="Oval 1127"/>
            <p:cNvSpPr>
              <a:spLocks noChangeAspect="1" noChangeArrowheads="1"/>
            </p:cNvSpPr>
            <p:nvPr userDrawn="1"/>
          </p:nvSpPr>
          <p:spPr bwMode="auto">
            <a:xfrm>
              <a:off x="3204371" y="466789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266" name="Oval 1128"/>
            <p:cNvSpPr>
              <a:spLocks noChangeAspect="1" noChangeArrowheads="1"/>
            </p:cNvSpPr>
            <p:nvPr userDrawn="1"/>
          </p:nvSpPr>
          <p:spPr bwMode="auto">
            <a:xfrm>
              <a:off x="3315947" y="466789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267" name="Oval 1129"/>
            <p:cNvSpPr>
              <a:spLocks noChangeAspect="1" noChangeArrowheads="1"/>
            </p:cNvSpPr>
            <p:nvPr userDrawn="1"/>
          </p:nvSpPr>
          <p:spPr bwMode="auto">
            <a:xfrm>
              <a:off x="4663905" y="466789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268" name="Oval 1130"/>
            <p:cNvSpPr>
              <a:spLocks noChangeAspect="1" noChangeArrowheads="1"/>
            </p:cNvSpPr>
            <p:nvPr userDrawn="1"/>
          </p:nvSpPr>
          <p:spPr bwMode="auto">
            <a:xfrm>
              <a:off x="4776989" y="466789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269" name="Oval 1131"/>
            <p:cNvSpPr>
              <a:spLocks noChangeAspect="1" noChangeArrowheads="1"/>
            </p:cNvSpPr>
            <p:nvPr userDrawn="1"/>
          </p:nvSpPr>
          <p:spPr bwMode="auto">
            <a:xfrm>
              <a:off x="4888565" y="466789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270" name="Oval 1132"/>
            <p:cNvSpPr>
              <a:spLocks noChangeAspect="1" noChangeArrowheads="1"/>
            </p:cNvSpPr>
            <p:nvPr userDrawn="1"/>
          </p:nvSpPr>
          <p:spPr bwMode="auto">
            <a:xfrm>
              <a:off x="5001649" y="466789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271" name="Oval 1133"/>
            <p:cNvSpPr>
              <a:spLocks noChangeAspect="1" noChangeArrowheads="1"/>
            </p:cNvSpPr>
            <p:nvPr userDrawn="1"/>
          </p:nvSpPr>
          <p:spPr bwMode="auto">
            <a:xfrm>
              <a:off x="5113225" y="466789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272" name="Oval 1134"/>
            <p:cNvSpPr>
              <a:spLocks noChangeAspect="1" noChangeArrowheads="1"/>
            </p:cNvSpPr>
            <p:nvPr userDrawn="1"/>
          </p:nvSpPr>
          <p:spPr bwMode="auto">
            <a:xfrm>
              <a:off x="5450969" y="466789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273" name="Oval 1135"/>
            <p:cNvSpPr>
              <a:spLocks noChangeAspect="1" noChangeArrowheads="1"/>
            </p:cNvSpPr>
            <p:nvPr userDrawn="1"/>
          </p:nvSpPr>
          <p:spPr bwMode="auto">
            <a:xfrm>
              <a:off x="7136671" y="466789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274" name="Oval 1136"/>
            <p:cNvSpPr>
              <a:spLocks noChangeAspect="1" noChangeArrowheads="1"/>
            </p:cNvSpPr>
            <p:nvPr userDrawn="1"/>
          </p:nvSpPr>
          <p:spPr bwMode="auto">
            <a:xfrm>
              <a:off x="7248247" y="466789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275" name="Oval 1137"/>
            <p:cNvSpPr>
              <a:spLocks noChangeAspect="1" noChangeArrowheads="1"/>
            </p:cNvSpPr>
            <p:nvPr userDrawn="1"/>
          </p:nvSpPr>
          <p:spPr bwMode="auto">
            <a:xfrm>
              <a:off x="7361330" y="466789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276" name="Oval 1138"/>
            <p:cNvSpPr>
              <a:spLocks noChangeAspect="1" noChangeArrowheads="1"/>
            </p:cNvSpPr>
            <p:nvPr userDrawn="1"/>
          </p:nvSpPr>
          <p:spPr bwMode="auto">
            <a:xfrm>
              <a:off x="7472905" y="466789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277" name="Oval 1139"/>
            <p:cNvSpPr>
              <a:spLocks noChangeAspect="1" noChangeArrowheads="1"/>
            </p:cNvSpPr>
            <p:nvPr userDrawn="1"/>
          </p:nvSpPr>
          <p:spPr bwMode="auto">
            <a:xfrm>
              <a:off x="7585989" y="466789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278" name="Oval 1140"/>
            <p:cNvSpPr>
              <a:spLocks noChangeAspect="1" noChangeArrowheads="1"/>
            </p:cNvSpPr>
            <p:nvPr userDrawn="1"/>
          </p:nvSpPr>
          <p:spPr bwMode="auto">
            <a:xfrm>
              <a:off x="7697565" y="466789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279" name="Oval 1141"/>
            <p:cNvSpPr>
              <a:spLocks noChangeAspect="1" noChangeArrowheads="1"/>
            </p:cNvSpPr>
            <p:nvPr userDrawn="1"/>
          </p:nvSpPr>
          <p:spPr bwMode="auto">
            <a:xfrm>
              <a:off x="7810649" y="466789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280" name="Oval 1142"/>
            <p:cNvSpPr>
              <a:spLocks noChangeAspect="1" noChangeArrowheads="1"/>
            </p:cNvSpPr>
            <p:nvPr userDrawn="1"/>
          </p:nvSpPr>
          <p:spPr bwMode="auto">
            <a:xfrm>
              <a:off x="2641967" y="47719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281" name="Oval 1143"/>
            <p:cNvSpPr>
              <a:spLocks noChangeAspect="1" noChangeArrowheads="1"/>
            </p:cNvSpPr>
            <p:nvPr userDrawn="1"/>
          </p:nvSpPr>
          <p:spPr bwMode="auto">
            <a:xfrm>
              <a:off x="2753543" y="47719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282" name="Oval 1144"/>
            <p:cNvSpPr>
              <a:spLocks noChangeAspect="1" noChangeArrowheads="1"/>
            </p:cNvSpPr>
            <p:nvPr userDrawn="1"/>
          </p:nvSpPr>
          <p:spPr bwMode="auto">
            <a:xfrm>
              <a:off x="2866628" y="47719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283" name="Oval 1145"/>
            <p:cNvSpPr>
              <a:spLocks noChangeAspect="1" noChangeArrowheads="1"/>
            </p:cNvSpPr>
            <p:nvPr userDrawn="1"/>
          </p:nvSpPr>
          <p:spPr bwMode="auto">
            <a:xfrm>
              <a:off x="2978204" y="47719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284" name="Oval 1146"/>
            <p:cNvSpPr>
              <a:spLocks noChangeAspect="1" noChangeArrowheads="1"/>
            </p:cNvSpPr>
            <p:nvPr userDrawn="1"/>
          </p:nvSpPr>
          <p:spPr bwMode="auto">
            <a:xfrm>
              <a:off x="3091288" y="47719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285" name="Oval 1147"/>
            <p:cNvSpPr>
              <a:spLocks noChangeAspect="1" noChangeArrowheads="1"/>
            </p:cNvSpPr>
            <p:nvPr userDrawn="1"/>
          </p:nvSpPr>
          <p:spPr bwMode="auto">
            <a:xfrm>
              <a:off x="3204371" y="47719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286" name="Oval 1148"/>
            <p:cNvSpPr>
              <a:spLocks noChangeAspect="1" noChangeArrowheads="1"/>
            </p:cNvSpPr>
            <p:nvPr userDrawn="1"/>
          </p:nvSpPr>
          <p:spPr bwMode="auto">
            <a:xfrm>
              <a:off x="4663905" y="47719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287" name="Oval 1149"/>
            <p:cNvSpPr>
              <a:spLocks noChangeAspect="1" noChangeArrowheads="1"/>
            </p:cNvSpPr>
            <p:nvPr userDrawn="1"/>
          </p:nvSpPr>
          <p:spPr bwMode="auto">
            <a:xfrm>
              <a:off x="4776989" y="47719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288" name="Oval 1150"/>
            <p:cNvSpPr>
              <a:spLocks noChangeAspect="1" noChangeArrowheads="1"/>
            </p:cNvSpPr>
            <p:nvPr userDrawn="1"/>
          </p:nvSpPr>
          <p:spPr bwMode="auto">
            <a:xfrm>
              <a:off x="4888565" y="47719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289" name="Oval 1151"/>
            <p:cNvSpPr>
              <a:spLocks noChangeAspect="1" noChangeArrowheads="1"/>
            </p:cNvSpPr>
            <p:nvPr userDrawn="1"/>
          </p:nvSpPr>
          <p:spPr bwMode="auto">
            <a:xfrm>
              <a:off x="5001649" y="47719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290" name="Oval 1152"/>
            <p:cNvSpPr>
              <a:spLocks noChangeAspect="1" noChangeArrowheads="1"/>
            </p:cNvSpPr>
            <p:nvPr userDrawn="1"/>
          </p:nvSpPr>
          <p:spPr bwMode="auto">
            <a:xfrm>
              <a:off x="5113225" y="47719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291" name="Oval 1153"/>
            <p:cNvSpPr>
              <a:spLocks noChangeAspect="1" noChangeArrowheads="1"/>
            </p:cNvSpPr>
            <p:nvPr userDrawn="1"/>
          </p:nvSpPr>
          <p:spPr bwMode="auto">
            <a:xfrm>
              <a:off x="5450969" y="47719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292" name="Oval 1154"/>
            <p:cNvSpPr>
              <a:spLocks noChangeAspect="1" noChangeArrowheads="1"/>
            </p:cNvSpPr>
            <p:nvPr userDrawn="1"/>
          </p:nvSpPr>
          <p:spPr bwMode="auto">
            <a:xfrm>
              <a:off x="7023586" y="47719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293" name="Oval 1155"/>
            <p:cNvSpPr>
              <a:spLocks noChangeAspect="1" noChangeArrowheads="1"/>
            </p:cNvSpPr>
            <p:nvPr userDrawn="1"/>
          </p:nvSpPr>
          <p:spPr bwMode="auto">
            <a:xfrm>
              <a:off x="7136671" y="47719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294" name="Oval 1156"/>
            <p:cNvSpPr>
              <a:spLocks noChangeAspect="1" noChangeArrowheads="1"/>
            </p:cNvSpPr>
            <p:nvPr userDrawn="1"/>
          </p:nvSpPr>
          <p:spPr bwMode="auto">
            <a:xfrm>
              <a:off x="7248247" y="47719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295" name="Oval 1157"/>
            <p:cNvSpPr>
              <a:spLocks noChangeAspect="1" noChangeArrowheads="1"/>
            </p:cNvSpPr>
            <p:nvPr userDrawn="1"/>
          </p:nvSpPr>
          <p:spPr bwMode="auto">
            <a:xfrm>
              <a:off x="7361330" y="47719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296" name="Oval 1158"/>
            <p:cNvSpPr>
              <a:spLocks noChangeAspect="1" noChangeArrowheads="1"/>
            </p:cNvSpPr>
            <p:nvPr userDrawn="1"/>
          </p:nvSpPr>
          <p:spPr bwMode="auto">
            <a:xfrm>
              <a:off x="7472905" y="47719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297" name="Oval 1159"/>
            <p:cNvSpPr>
              <a:spLocks noChangeAspect="1" noChangeArrowheads="1"/>
            </p:cNvSpPr>
            <p:nvPr userDrawn="1"/>
          </p:nvSpPr>
          <p:spPr bwMode="auto">
            <a:xfrm>
              <a:off x="7585989" y="47719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298" name="Oval 1160"/>
            <p:cNvSpPr>
              <a:spLocks noChangeAspect="1" noChangeArrowheads="1"/>
            </p:cNvSpPr>
            <p:nvPr userDrawn="1"/>
          </p:nvSpPr>
          <p:spPr bwMode="auto">
            <a:xfrm>
              <a:off x="7697565" y="47719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299" name="Oval 1161"/>
            <p:cNvSpPr>
              <a:spLocks noChangeAspect="1" noChangeArrowheads="1"/>
            </p:cNvSpPr>
            <p:nvPr userDrawn="1"/>
          </p:nvSpPr>
          <p:spPr bwMode="auto">
            <a:xfrm>
              <a:off x="7810649" y="47719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300" name="Oval 1162"/>
            <p:cNvSpPr>
              <a:spLocks noChangeAspect="1" noChangeArrowheads="1"/>
            </p:cNvSpPr>
            <p:nvPr userDrawn="1"/>
          </p:nvSpPr>
          <p:spPr bwMode="auto">
            <a:xfrm>
              <a:off x="7922225" y="47719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301" name="Oval 1163"/>
            <p:cNvSpPr>
              <a:spLocks noChangeAspect="1" noChangeArrowheads="1"/>
            </p:cNvSpPr>
            <p:nvPr userDrawn="1"/>
          </p:nvSpPr>
          <p:spPr bwMode="auto">
            <a:xfrm>
              <a:off x="2641967" y="487596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302" name="Oval 1164"/>
            <p:cNvSpPr>
              <a:spLocks noChangeAspect="1" noChangeArrowheads="1"/>
            </p:cNvSpPr>
            <p:nvPr userDrawn="1"/>
          </p:nvSpPr>
          <p:spPr bwMode="auto">
            <a:xfrm>
              <a:off x="2753543" y="487596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303" name="Oval 1165"/>
            <p:cNvSpPr>
              <a:spLocks noChangeAspect="1" noChangeArrowheads="1"/>
            </p:cNvSpPr>
            <p:nvPr userDrawn="1"/>
          </p:nvSpPr>
          <p:spPr bwMode="auto">
            <a:xfrm>
              <a:off x="2866628" y="487596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304" name="Oval 1166"/>
            <p:cNvSpPr>
              <a:spLocks noChangeAspect="1" noChangeArrowheads="1"/>
            </p:cNvSpPr>
            <p:nvPr userDrawn="1"/>
          </p:nvSpPr>
          <p:spPr bwMode="auto">
            <a:xfrm>
              <a:off x="2978204" y="487596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305" name="Oval 1167"/>
            <p:cNvSpPr>
              <a:spLocks noChangeAspect="1" noChangeArrowheads="1"/>
            </p:cNvSpPr>
            <p:nvPr userDrawn="1"/>
          </p:nvSpPr>
          <p:spPr bwMode="auto">
            <a:xfrm>
              <a:off x="3091288" y="487596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306" name="Oval 1168"/>
            <p:cNvSpPr>
              <a:spLocks noChangeAspect="1" noChangeArrowheads="1"/>
            </p:cNvSpPr>
            <p:nvPr userDrawn="1"/>
          </p:nvSpPr>
          <p:spPr bwMode="auto">
            <a:xfrm>
              <a:off x="4663905" y="487596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307" name="Oval 1169"/>
            <p:cNvSpPr>
              <a:spLocks noChangeAspect="1" noChangeArrowheads="1"/>
            </p:cNvSpPr>
            <p:nvPr userDrawn="1"/>
          </p:nvSpPr>
          <p:spPr bwMode="auto">
            <a:xfrm>
              <a:off x="4776989" y="487596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308" name="Oval 1170"/>
            <p:cNvSpPr>
              <a:spLocks noChangeAspect="1" noChangeArrowheads="1"/>
            </p:cNvSpPr>
            <p:nvPr userDrawn="1"/>
          </p:nvSpPr>
          <p:spPr bwMode="auto">
            <a:xfrm>
              <a:off x="4888565" y="487596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309" name="Oval 1171"/>
            <p:cNvSpPr>
              <a:spLocks noChangeAspect="1" noChangeArrowheads="1"/>
            </p:cNvSpPr>
            <p:nvPr userDrawn="1"/>
          </p:nvSpPr>
          <p:spPr bwMode="auto">
            <a:xfrm>
              <a:off x="5001649" y="487596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310" name="Oval 1172"/>
            <p:cNvSpPr>
              <a:spLocks noChangeAspect="1" noChangeArrowheads="1"/>
            </p:cNvSpPr>
            <p:nvPr userDrawn="1"/>
          </p:nvSpPr>
          <p:spPr bwMode="auto">
            <a:xfrm>
              <a:off x="7023586" y="487596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311" name="Oval 1173"/>
            <p:cNvSpPr>
              <a:spLocks noChangeAspect="1" noChangeArrowheads="1"/>
            </p:cNvSpPr>
            <p:nvPr userDrawn="1"/>
          </p:nvSpPr>
          <p:spPr bwMode="auto">
            <a:xfrm>
              <a:off x="7136671" y="487596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312" name="Oval 1174"/>
            <p:cNvSpPr>
              <a:spLocks noChangeAspect="1" noChangeArrowheads="1"/>
            </p:cNvSpPr>
            <p:nvPr userDrawn="1"/>
          </p:nvSpPr>
          <p:spPr bwMode="auto">
            <a:xfrm>
              <a:off x="7248247" y="487596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313" name="Oval 1175"/>
            <p:cNvSpPr>
              <a:spLocks noChangeAspect="1" noChangeArrowheads="1"/>
            </p:cNvSpPr>
            <p:nvPr userDrawn="1"/>
          </p:nvSpPr>
          <p:spPr bwMode="auto">
            <a:xfrm>
              <a:off x="7361330" y="487596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314" name="Oval 1176"/>
            <p:cNvSpPr>
              <a:spLocks noChangeAspect="1" noChangeArrowheads="1"/>
            </p:cNvSpPr>
            <p:nvPr userDrawn="1"/>
          </p:nvSpPr>
          <p:spPr bwMode="auto">
            <a:xfrm>
              <a:off x="7472905" y="487596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315" name="Oval 1177"/>
            <p:cNvSpPr>
              <a:spLocks noChangeAspect="1" noChangeArrowheads="1"/>
            </p:cNvSpPr>
            <p:nvPr userDrawn="1"/>
          </p:nvSpPr>
          <p:spPr bwMode="auto">
            <a:xfrm>
              <a:off x="7585989" y="487596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316" name="Oval 1178"/>
            <p:cNvSpPr>
              <a:spLocks noChangeAspect="1" noChangeArrowheads="1"/>
            </p:cNvSpPr>
            <p:nvPr userDrawn="1"/>
          </p:nvSpPr>
          <p:spPr bwMode="auto">
            <a:xfrm>
              <a:off x="7697565" y="487596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317" name="Oval 1179"/>
            <p:cNvSpPr>
              <a:spLocks noChangeAspect="1" noChangeArrowheads="1"/>
            </p:cNvSpPr>
            <p:nvPr userDrawn="1"/>
          </p:nvSpPr>
          <p:spPr bwMode="auto">
            <a:xfrm>
              <a:off x="7810649" y="487596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318" name="Oval 1180"/>
            <p:cNvSpPr>
              <a:spLocks noChangeAspect="1" noChangeArrowheads="1"/>
            </p:cNvSpPr>
            <p:nvPr userDrawn="1"/>
          </p:nvSpPr>
          <p:spPr bwMode="auto">
            <a:xfrm>
              <a:off x="7922225" y="4875965"/>
              <a:ext cx="85944" cy="85943"/>
            </a:xfrm>
            <a:prstGeom prst="ellipse">
              <a:avLst/>
            </a:prstGeom>
            <a:grpFill/>
            <a:ln>
              <a:noFill/>
            </a:ln>
            <a:effec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319" name="Oval 1181"/>
            <p:cNvSpPr>
              <a:spLocks noChangeAspect="1" noChangeArrowheads="1"/>
            </p:cNvSpPr>
            <p:nvPr userDrawn="1"/>
          </p:nvSpPr>
          <p:spPr bwMode="auto">
            <a:xfrm>
              <a:off x="2641967" y="49784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320" name="Oval 1182"/>
            <p:cNvSpPr>
              <a:spLocks noChangeAspect="1" noChangeArrowheads="1"/>
            </p:cNvSpPr>
            <p:nvPr userDrawn="1"/>
          </p:nvSpPr>
          <p:spPr bwMode="auto">
            <a:xfrm>
              <a:off x="2753543" y="49784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321" name="Oval 1183"/>
            <p:cNvSpPr>
              <a:spLocks noChangeAspect="1" noChangeArrowheads="1"/>
            </p:cNvSpPr>
            <p:nvPr userDrawn="1"/>
          </p:nvSpPr>
          <p:spPr bwMode="auto">
            <a:xfrm>
              <a:off x="2866628" y="49784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322" name="Oval 1184"/>
            <p:cNvSpPr>
              <a:spLocks noChangeAspect="1" noChangeArrowheads="1"/>
            </p:cNvSpPr>
            <p:nvPr userDrawn="1"/>
          </p:nvSpPr>
          <p:spPr bwMode="auto">
            <a:xfrm>
              <a:off x="2978204" y="49784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323" name="Oval 1185"/>
            <p:cNvSpPr>
              <a:spLocks noChangeAspect="1" noChangeArrowheads="1"/>
            </p:cNvSpPr>
            <p:nvPr userDrawn="1"/>
          </p:nvSpPr>
          <p:spPr bwMode="auto">
            <a:xfrm>
              <a:off x="3091288" y="49784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324" name="Oval 1186"/>
            <p:cNvSpPr>
              <a:spLocks noChangeAspect="1" noChangeArrowheads="1"/>
            </p:cNvSpPr>
            <p:nvPr userDrawn="1"/>
          </p:nvSpPr>
          <p:spPr bwMode="auto">
            <a:xfrm>
              <a:off x="4776989" y="49784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325" name="Oval 1187"/>
            <p:cNvSpPr>
              <a:spLocks noChangeAspect="1" noChangeArrowheads="1"/>
            </p:cNvSpPr>
            <p:nvPr userDrawn="1"/>
          </p:nvSpPr>
          <p:spPr bwMode="auto">
            <a:xfrm>
              <a:off x="4888565" y="49784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326" name="Oval 1188"/>
            <p:cNvSpPr>
              <a:spLocks noChangeAspect="1" noChangeArrowheads="1"/>
            </p:cNvSpPr>
            <p:nvPr userDrawn="1"/>
          </p:nvSpPr>
          <p:spPr bwMode="auto">
            <a:xfrm>
              <a:off x="5001649" y="49784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327" name="Oval 1189"/>
            <p:cNvSpPr>
              <a:spLocks noChangeAspect="1" noChangeArrowheads="1"/>
            </p:cNvSpPr>
            <p:nvPr userDrawn="1"/>
          </p:nvSpPr>
          <p:spPr bwMode="auto">
            <a:xfrm>
              <a:off x="7023586" y="49784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328" name="Oval 1190"/>
            <p:cNvSpPr>
              <a:spLocks noChangeAspect="1" noChangeArrowheads="1"/>
            </p:cNvSpPr>
            <p:nvPr userDrawn="1"/>
          </p:nvSpPr>
          <p:spPr bwMode="auto">
            <a:xfrm>
              <a:off x="7136671" y="49784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329" name="Oval 1191"/>
            <p:cNvSpPr>
              <a:spLocks noChangeAspect="1" noChangeArrowheads="1"/>
            </p:cNvSpPr>
            <p:nvPr userDrawn="1"/>
          </p:nvSpPr>
          <p:spPr bwMode="auto">
            <a:xfrm>
              <a:off x="7472905" y="49784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330" name="Oval 1192"/>
            <p:cNvSpPr>
              <a:spLocks noChangeAspect="1" noChangeArrowheads="1"/>
            </p:cNvSpPr>
            <p:nvPr userDrawn="1"/>
          </p:nvSpPr>
          <p:spPr bwMode="auto">
            <a:xfrm>
              <a:off x="7585989" y="49784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331" name="Oval 1193"/>
            <p:cNvSpPr>
              <a:spLocks noChangeAspect="1" noChangeArrowheads="1"/>
            </p:cNvSpPr>
            <p:nvPr userDrawn="1"/>
          </p:nvSpPr>
          <p:spPr bwMode="auto">
            <a:xfrm>
              <a:off x="7697565" y="49784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332" name="Oval 1194"/>
            <p:cNvSpPr>
              <a:spLocks noChangeAspect="1" noChangeArrowheads="1"/>
            </p:cNvSpPr>
            <p:nvPr userDrawn="1"/>
          </p:nvSpPr>
          <p:spPr bwMode="auto">
            <a:xfrm>
              <a:off x="7810649" y="49784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333" name="Oval 1195"/>
            <p:cNvSpPr>
              <a:spLocks noChangeAspect="1" noChangeArrowheads="1"/>
            </p:cNvSpPr>
            <p:nvPr userDrawn="1"/>
          </p:nvSpPr>
          <p:spPr bwMode="auto">
            <a:xfrm>
              <a:off x="2641967" y="508253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334" name="Oval 1196"/>
            <p:cNvSpPr>
              <a:spLocks noChangeAspect="1" noChangeArrowheads="1"/>
            </p:cNvSpPr>
            <p:nvPr userDrawn="1"/>
          </p:nvSpPr>
          <p:spPr bwMode="auto">
            <a:xfrm>
              <a:off x="2753543" y="508253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335" name="Oval 1197"/>
            <p:cNvSpPr>
              <a:spLocks noChangeAspect="1" noChangeArrowheads="1"/>
            </p:cNvSpPr>
            <p:nvPr userDrawn="1"/>
          </p:nvSpPr>
          <p:spPr bwMode="auto">
            <a:xfrm>
              <a:off x="2866628" y="508253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336" name="Oval 1198"/>
            <p:cNvSpPr>
              <a:spLocks noChangeAspect="1" noChangeArrowheads="1"/>
            </p:cNvSpPr>
            <p:nvPr userDrawn="1"/>
          </p:nvSpPr>
          <p:spPr bwMode="auto">
            <a:xfrm>
              <a:off x="2978204" y="508253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337" name="Oval 1199"/>
            <p:cNvSpPr>
              <a:spLocks noChangeAspect="1" noChangeArrowheads="1"/>
            </p:cNvSpPr>
            <p:nvPr userDrawn="1"/>
          </p:nvSpPr>
          <p:spPr bwMode="auto">
            <a:xfrm>
              <a:off x="4776989" y="508253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338" name="Oval 1200"/>
            <p:cNvSpPr>
              <a:spLocks noChangeAspect="1" noChangeArrowheads="1"/>
            </p:cNvSpPr>
            <p:nvPr userDrawn="1"/>
          </p:nvSpPr>
          <p:spPr bwMode="auto">
            <a:xfrm>
              <a:off x="7585989" y="508253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339" name="Oval 1201"/>
            <p:cNvSpPr>
              <a:spLocks noChangeAspect="1" noChangeArrowheads="1"/>
            </p:cNvSpPr>
            <p:nvPr userDrawn="1"/>
          </p:nvSpPr>
          <p:spPr bwMode="auto">
            <a:xfrm>
              <a:off x="7697565" y="508253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340" name="Oval 1202"/>
            <p:cNvSpPr>
              <a:spLocks noChangeAspect="1" noChangeArrowheads="1"/>
            </p:cNvSpPr>
            <p:nvPr userDrawn="1"/>
          </p:nvSpPr>
          <p:spPr bwMode="auto">
            <a:xfrm>
              <a:off x="7810649" y="508253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341" name="Oval 1203"/>
            <p:cNvSpPr>
              <a:spLocks noChangeAspect="1" noChangeArrowheads="1"/>
            </p:cNvSpPr>
            <p:nvPr userDrawn="1"/>
          </p:nvSpPr>
          <p:spPr bwMode="auto">
            <a:xfrm>
              <a:off x="8484629" y="508253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342" name="Oval 1204"/>
            <p:cNvSpPr>
              <a:spLocks noChangeAspect="1" noChangeArrowheads="1"/>
            </p:cNvSpPr>
            <p:nvPr userDrawn="1"/>
          </p:nvSpPr>
          <p:spPr bwMode="auto">
            <a:xfrm>
              <a:off x="2641967" y="51865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343" name="Oval 1205"/>
            <p:cNvSpPr>
              <a:spLocks noChangeAspect="1" noChangeArrowheads="1"/>
            </p:cNvSpPr>
            <p:nvPr userDrawn="1"/>
          </p:nvSpPr>
          <p:spPr bwMode="auto">
            <a:xfrm>
              <a:off x="2753543" y="51865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344" name="Oval 1206"/>
            <p:cNvSpPr>
              <a:spLocks noChangeAspect="1" noChangeArrowheads="1"/>
            </p:cNvSpPr>
            <p:nvPr userDrawn="1"/>
          </p:nvSpPr>
          <p:spPr bwMode="auto">
            <a:xfrm>
              <a:off x="2866628" y="51865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345" name="Oval 1207"/>
            <p:cNvSpPr>
              <a:spLocks noChangeAspect="1" noChangeArrowheads="1"/>
            </p:cNvSpPr>
            <p:nvPr userDrawn="1"/>
          </p:nvSpPr>
          <p:spPr bwMode="auto">
            <a:xfrm>
              <a:off x="7697565" y="51865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346" name="Oval 1208"/>
            <p:cNvSpPr>
              <a:spLocks noChangeAspect="1" noChangeArrowheads="1"/>
            </p:cNvSpPr>
            <p:nvPr userDrawn="1"/>
          </p:nvSpPr>
          <p:spPr bwMode="auto">
            <a:xfrm>
              <a:off x="7810649" y="51865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347" name="Oval 1209"/>
            <p:cNvSpPr>
              <a:spLocks noChangeAspect="1" noChangeArrowheads="1"/>
            </p:cNvSpPr>
            <p:nvPr userDrawn="1"/>
          </p:nvSpPr>
          <p:spPr bwMode="auto">
            <a:xfrm>
              <a:off x="8484629" y="51865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348" name="Oval 1210"/>
            <p:cNvSpPr>
              <a:spLocks noChangeAspect="1" noChangeArrowheads="1"/>
            </p:cNvSpPr>
            <p:nvPr userDrawn="1"/>
          </p:nvSpPr>
          <p:spPr bwMode="auto">
            <a:xfrm>
              <a:off x="2641967" y="529060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349" name="Oval 1211"/>
            <p:cNvSpPr>
              <a:spLocks noChangeAspect="1" noChangeArrowheads="1"/>
            </p:cNvSpPr>
            <p:nvPr userDrawn="1"/>
          </p:nvSpPr>
          <p:spPr bwMode="auto">
            <a:xfrm>
              <a:off x="2753543" y="529060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350" name="Oval 1212"/>
            <p:cNvSpPr>
              <a:spLocks noChangeAspect="1" noChangeArrowheads="1"/>
            </p:cNvSpPr>
            <p:nvPr userDrawn="1"/>
          </p:nvSpPr>
          <p:spPr bwMode="auto">
            <a:xfrm>
              <a:off x="7810649" y="529060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351" name="Oval 1213"/>
            <p:cNvSpPr>
              <a:spLocks noChangeAspect="1" noChangeArrowheads="1"/>
            </p:cNvSpPr>
            <p:nvPr userDrawn="1"/>
          </p:nvSpPr>
          <p:spPr bwMode="auto">
            <a:xfrm>
              <a:off x="8371544" y="529060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352" name="Oval 1214"/>
            <p:cNvSpPr>
              <a:spLocks noChangeAspect="1" noChangeArrowheads="1"/>
            </p:cNvSpPr>
            <p:nvPr userDrawn="1"/>
          </p:nvSpPr>
          <p:spPr bwMode="auto">
            <a:xfrm>
              <a:off x="2641967" y="539464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353" name="Oval 1215"/>
            <p:cNvSpPr>
              <a:spLocks noChangeAspect="1" noChangeArrowheads="1"/>
            </p:cNvSpPr>
            <p:nvPr userDrawn="1"/>
          </p:nvSpPr>
          <p:spPr bwMode="auto">
            <a:xfrm>
              <a:off x="2753543" y="539464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354" name="Oval 1216"/>
            <p:cNvSpPr>
              <a:spLocks noChangeAspect="1" noChangeArrowheads="1"/>
            </p:cNvSpPr>
            <p:nvPr userDrawn="1"/>
          </p:nvSpPr>
          <p:spPr bwMode="auto">
            <a:xfrm>
              <a:off x="8259968" y="539464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355" name="Oval 1217"/>
            <p:cNvSpPr>
              <a:spLocks noChangeAspect="1" noChangeArrowheads="1"/>
            </p:cNvSpPr>
            <p:nvPr userDrawn="1"/>
          </p:nvSpPr>
          <p:spPr bwMode="auto">
            <a:xfrm>
              <a:off x="2641967" y="54971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356" name="Oval 1218"/>
            <p:cNvSpPr>
              <a:spLocks noChangeAspect="1" noChangeArrowheads="1"/>
            </p:cNvSpPr>
            <p:nvPr userDrawn="1"/>
          </p:nvSpPr>
          <p:spPr bwMode="auto">
            <a:xfrm>
              <a:off x="2753543" y="54971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357" name="Oval 1219"/>
            <p:cNvSpPr>
              <a:spLocks noChangeAspect="1" noChangeArrowheads="1"/>
            </p:cNvSpPr>
            <p:nvPr userDrawn="1"/>
          </p:nvSpPr>
          <p:spPr bwMode="auto">
            <a:xfrm>
              <a:off x="2641967" y="560120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358" name="Oval 1220"/>
            <p:cNvSpPr>
              <a:spLocks noChangeAspect="1" noChangeArrowheads="1"/>
            </p:cNvSpPr>
            <p:nvPr userDrawn="1"/>
          </p:nvSpPr>
          <p:spPr bwMode="auto">
            <a:xfrm>
              <a:off x="2641967" y="570524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359" name="Oval 1221"/>
            <p:cNvSpPr>
              <a:spLocks noChangeAspect="1" noChangeArrowheads="1"/>
            </p:cNvSpPr>
            <p:nvPr userDrawn="1"/>
          </p:nvSpPr>
          <p:spPr bwMode="auto">
            <a:xfrm>
              <a:off x="2753541" y="570524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360" name="Oval 1222"/>
            <p:cNvSpPr>
              <a:spLocks noChangeAspect="1" noChangeArrowheads="1"/>
            </p:cNvSpPr>
            <p:nvPr userDrawn="1"/>
          </p:nvSpPr>
          <p:spPr bwMode="auto">
            <a:xfrm>
              <a:off x="4103001" y="269722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361" name="Oval 1223"/>
            <p:cNvSpPr>
              <a:spLocks noChangeAspect="1" noChangeArrowheads="1"/>
            </p:cNvSpPr>
            <p:nvPr userDrawn="1"/>
          </p:nvSpPr>
          <p:spPr bwMode="auto">
            <a:xfrm>
              <a:off x="4214589"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nvGrpSpPr>
          <p:cNvPr id="1362" name="Group 1361"/>
          <p:cNvGrpSpPr/>
          <p:nvPr/>
        </p:nvGrpSpPr>
        <p:grpSpPr>
          <a:xfrm>
            <a:off x="1540120" y="2447226"/>
            <a:ext cx="6365839" cy="3350746"/>
            <a:chOff x="1135144" y="2430953"/>
            <a:chExt cx="6548828" cy="3384254"/>
          </a:xfrm>
        </p:grpSpPr>
        <p:sp>
          <p:nvSpPr>
            <p:cNvPr id="1363" name="Oval 1362"/>
            <p:cNvSpPr>
              <a:spLocks noChangeAspect="1"/>
            </p:cNvSpPr>
            <p:nvPr/>
          </p:nvSpPr>
          <p:spPr bwMode="auto">
            <a:xfrm>
              <a:off x="6313024" y="4624198"/>
              <a:ext cx="91440" cy="91440"/>
            </a:xfrm>
            <a:prstGeom prst="ellipse">
              <a:avLst/>
            </a:prstGeom>
            <a:solidFill>
              <a:srgbClr val="BA141A"/>
            </a:solidFill>
            <a:ln w="317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0" normalizeH="0" baseline="0" noProof="0" dirty="0">
                <a:ln>
                  <a:noFill/>
                </a:ln>
                <a:solidFill>
                  <a:srgbClr val="BA141A"/>
                </a:solidFill>
                <a:effectLst/>
                <a:uLnTx/>
                <a:uFillTx/>
                <a:latin typeface="Segoe UI"/>
                <a:ea typeface="+mn-ea"/>
                <a:cs typeface="+mn-cs"/>
              </a:endParaRPr>
            </a:p>
          </p:txBody>
        </p:sp>
        <p:sp>
          <p:nvSpPr>
            <p:cNvPr id="1364" name="Oval 1363"/>
            <p:cNvSpPr>
              <a:spLocks noChangeAspect="1"/>
            </p:cNvSpPr>
            <p:nvPr/>
          </p:nvSpPr>
          <p:spPr bwMode="auto">
            <a:xfrm>
              <a:off x="6410378" y="4720408"/>
              <a:ext cx="91440" cy="91440"/>
            </a:xfrm>
            <a:prstGeom prst="ellipse">
              <a:avLst/>
            </a:prstGeom>
            <a:solidFill>
              <a:srgbClr val="BA141A"/>
            </a:solidFill>
            <a:ln w="317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0" normalizeH="0" baseline="0" noProof="0" dirty="0">
                <a:ln>
                  <a:noFill/>
                </a:ln>
                <a:solidFill>
                  <a:srgbClr val="BA141A"/>
                </a:solidFill>
                <a:effectLst/>
                <a:uLnTx/>
                <a:uFillTx/>
                <a:latin typeface="Segoe UI"/>
                <a:ea typeface="+mn-ea"/>
                <a:cs typeface="+mn-cs"/>
              </a:endParaRPr>
            </a:p>
          </p:txBody>
        </p:sp>
        <p:grpSp>
          <p:nvGrpSpPr>
            <p:cNvPr id="1365" name="Group 1364"/>
            <p:cNvGrpSpPr/>
            <p:nvPr/>
          </p:nvGrpSpPr>
          <p:grpSpPr>
            <a:xfrm>
              <a:off x="1135144" y="2430953"/>
              <a:ext cx="6548828" cy="3384254"/>
              <a:chOff x="1135143" y="2430953"/>
              <a:chExt cx="6548827" cy="3384230"/>
            </a:xfrm>
          </p:grpSpPr>
          <p:sp>
            <p:nvSpPr>
              <p:cNvPr id="1366" name="Oval 1365"/>
              <p:cNvSpPr>
                <a:spLocks noChangeAspect="1"/>
              </p:cNvSpPr>
              <p:nvPr/>
            </p:nvSpPr>
            <p:spPr bwMode="auto">
              <a:xfrm>
                <a:off x="1251330" y="3666406"/>
                <a:ext cx="91440" cy="91440"/>
              </a:xfrm>
              <a:prstGeom prst="ellipse">
                <a:avLst/>
              </a:prstGeom>
              <a:solidFill>
                <a:srgbClr val="BA141A"/>
              </a:solidFill>
              <a:ln w="317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0" normalizeH="0" baseline="0" noProof="0" dirty="0">
                  <a:ln>
                    <a:noFill/>
                  </a:ln>
                  <a:solidFill>
                    <a:srgbClr val="BA141A"/>
                  </a:solidFill>
                  <a:effectLst/>
                  <a:uLnTx/>
                  <a:uFillTx/>
                  <a:latin typeface="Segoe UI"/>
                  <a:ea typeface="+mn-ea"/>
                  <a:cs typeface="+mn-cs"/>
                </a:endParaRPr>
              </a:p>
            </p:txBody>
          </p:sp>
          <p:sp>
            <p:nvSpPr>
              <p:cNvPr id="1367" name="Oval 1366"/>
              <p:cNvSpPr>
                <a:spLocks noChangeAspect="1"/>
              </p:cNvSpPr>
              <p:nvPr/>
            </p:nvSpPr>
            <p:spPr bwMode="auto">
              <a:xfrm>
                <a:off x="1135143" y="3501275"/>
                <a:ext cx="91440" cy="91440"/>
              </a:xfrm>
              <a:prstGeom prst="ellipse">
                <a:avLst/>
              </a:prstGeom>
              <a:solidFill>
                <a:srgbClr val="BA141A"/>
              </a:solidFill>
              <a:ln w="317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0" normalizeH="0" baseline="0" noProof="0" dirty="0">
                  <a:ln>
                    <a:noFill/>
                  </a:ln>
                  <a:solidFill>
                    <a:srgbClr val="BA141A"/>
                  </a:solidFill>
                  <a:effectLst/>
                  <a:uLnTx/>
                  <a:uFillTx/>
                  <a:latin typeface="Segoe UI"/>
                  <a:ea typeface="+mn-ea"/>
                  <a:cs typeface="+mn-cs"/>
                </a:endParaRPr>
              </a:p>
            </p:txBody>
          </p:sp>
          <p:sp>
            <p:nvSpPr>
              <p:cNvPr id="1368" name="Oval 1367"/>
              <p:cNvSpPr>
                <a:spLocks noChangeAspect="1"/>
              </p:cNvSpPr>
              <p:nvPr/>
            </p:nvSpPr>
            <p:spPr bwMode="auto">
              <a:xfrm>
                <a:off x="1241178" y="3138052"/>
                <a:ext cx="91440" cy="91440"/>
              </a:xfrm>
              <a:prstGeom prst="ellipse">
                <a:avLst/>
              </a:prstGeom>
              <a:solidFill>
                <a:srgbClr val="BA141A"/>
              </a:solidFill>
              <a:ln w="317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0" normalizeH="0" baseline="0" noProof="0" dirty="0">
                  <a:ln>
                    <a:noFill/>
                  </a:ln>
                  <a:solidFill>
                    <a:srgbClr val="BA141A"/>
                  </a:solidFill>
                  <a:effectLst/>
                  <a:uLnTx/>
                  <a:uFillTx/>
                  <a:latin typeface="Segoe UI"/>
                  <a:ea typeface="+mn-ea"/>
                  <a:cs typeface="+mn-cs"/>
                </a:endParaRPr>
              </a:p>
            </p:txBody>
          </p:sp>
          <p:sp>
            <p:nvSpPr>
              <p:cNvPr id="1369" name="Oval 1368"/>
              <p:cNvSpPr>
                <a:spLocks noChangeAspect="1"/>
              </p:cNvSpPr>
              <p:nvPr/>
            </p:nvSpPr>
            <p:spPr bwMode="auto">
              <a:xfrm>
                <a:off x="1671588" y="3636786"/>
                <a:ext cx="91440" cy="91440"/>
              </a:xfrm>
              <a:prstGeom prst="ellipse">
                <a:avLst/>
              </a:prstGeom>
              <a:solidFill>
                <a:srgbClr val="BA141A"/>
              </a:solidFill>
              <a:ln w="317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0" normalizeH="0" baseline="0" noProof="0" dirty="0">
                  <a:ln>
                    <a:noFill/>
                  </a:ln>
                  <a:solidFill>
                    <a:srgbClr val="BA141A"/>
                  </a:solidFill>
                  <a:effectLst/>
                  <a:uLnTx/>
                  <a:uFillTx/>
                  <a:latin typeface="Segoe UI"/>
                  <a:ea typeface="+mn-ea"/>
                  <a:cs typeface="+mn-cs"/>
                </a:endParaRPr>
              </a:p>
            </p:txBody>
          </p:sp>
          <p:sp>
            <p:nvSpPr>
              <p:cNvPr id="1370" name="Oval 1369"/>
              <p:cNvSpPr>
                <a:spLocks noChangeAspect="1"/>
              </p:cNvSpPr>
              <p:nvPr/>
            </p:nvSpPr>
            <p:spPr bwMode="auto">
              <a:xfrm>
                <a:off x="1991155" y="3636786"/>
                <a:ext cx="91440" cy="91440"/>
              </a:xfrm>
              <a:prstGeom prst="ellipse">
                <a:avLst/>
              </a:prstGeom>
              <a:solidFill>
                <a:srgbClr val="BA141A"/>
              </a:solidFill>
              <a:ln w="317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0" normalizeH="0" baseline="0" noProof="0" dirty="0">
                  <a:ln>
                    <a:noFill/>
                  </a:ln>
                  <a:solidFill>
                    <a:srgbClr val="BA141A"/>
                  </a:solidFill>
                  <a:effectLst/>
                  <a:uLnTx/>
                  <a:uFillTx/>
                  <a:latin typeface="Segoe UI"/>
                  <a:ea typeface="+mn-ea"/>
                  <a:cs typeface="+mn-cs"/>
                </a:endParaRPr>
              </a:p>
            </p:txBody>
          </p:sp>
          <p:sp>
            <p:nvSpPr>
              <p:cNvPr id="1371" name="Oval 1370"/>
              <p:cNvSpPr>
                <a:spLocks noChangeAspect="1"/>
              </p:cNvSpPr>
              <p:nvPr/>
            </p:nvSpPr>
            <p:spPr bwMode="auto">
              <a:xfrm>
                <a:off x="2223848" y="3829738"/>
                <a:ext cx="91440" cy="91440"/>
              </a:xfrm>
              <a:prstGeom prst="ellipse">
                <a:avLst/>
              </a:prstGeom>
              <a:solidFill>
                <a:srgbClr val="BA141A"/>
              </a:solidFill>
              <a:ln w="317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0" normalizeH="0" baseline="0" noProof="0" dirty="0">
                  <a:ln>
                    <a:noFill/>
                  </a:ln>
                  <a:solidFill>
                    <a:srgbClr val="BA141A"/>
                  </a:solidFill>
                  <a:effectLst/>
                  <a:uLnTx/>
                  <a:uFillTx/>
                  <a:latin typeface="Segoe UI"/>
                  <a:ea typeface="+mn-ea"/>
                  <a:cs typeface="+mn-cs"/>
                </a:endParaRPr>
              </a:p>
            </p:txBody>
          </p:sp>
          <p:sp>
            <p:nvSpPr>
              <p:cNvPr id="1372" name="Oval 1371"/>
              <p:cNvSpPr>
                <a:spLocks noChangeAspect="1"/>
              </p:cNvSpPr>
              <p:nvPr/>
            </p:nvSpPr>
            <p:spPr bwMode="auto">
              <a:xfrm>
                <a:off x="1991155" y="3029835"/>
                <a:ext cx="91440" cy="91440"/>
              </a:xfrm>
              <a:prstGeom prst="ellipse">
                <a:avLst/>
              </a:prstGeom>
              <a:solidFill>
                <a:srgbClr val="BA141A"/>
              </a:solidFill>
              <a:ln w="317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0" normalizeH="0" baseline="0" noProof="0" dirty="0">
                  <a:ln>
                    <a:noFill/>
                  </a:ln>
                  <a:solidFill>
                    <a:srgbClr val="BA141A"/>
                  </a:solidFill>
                  <a:effectLst/>
                  <a:uLnTx/>
                  <a:uFillTx/>
                  <a:latin typeface="Segoe UI"/>
                  <a:ea typeface="+mn-ea"/>
                  <a:cs typeface="+mn-cs"/>
                </a:endParaRPr>
              </a:p>
            </p:txBody>
          </p:sp>
          <p:sp>
            <p:nvSpPr>
              <p:cNvPr id="1373" name="Oval 1372"/>
              <p:cNvSpPr>
                <a:spLocks noChangeAspect="1"/>
              </p:cNvSpPr>
              <p:nvPr/>
            </p:nvSpPr>
            <p:spPr bwMode="auto">
              <a:xfrm>
                <a:off x="2539611" y="3230962"/>
                <a:ext cx="91440" cy="91440"/>
              </a:xfrm>
              <a:prstGeom prst="ellipse">
                <a:avLst/>
              </a:prstGeom>
              <a:solidFill>
                <a:srgbClr val="BA141A"/>
              </a:solidFill>
              <a:ln w="317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0" normalizeH="0" baseline="0" noProof="0" dirty="0">
                  <a:ln>
                    <a:noFill/>
                  </a:ln>
                  <a:solidFill>
                    <a:srgbClr val="BA141A"/>
                  </a:solidFill>
                  <a:effectLst/>
                  <a:uLnTx/>
                  <a:uFillTx/>
                  <a:latin typeface="Segoe UI"/>
                  <a:ea typeface="+mn-ea"/>
                  <a:cs typeface="+mn-cs"/>
                </a:endParaRPr>
              </a:p>
            </p:txBody>
          </p:sp>
          <p:sp>
            <p:nvSpPr>
              <p:cNvPr id="1374" name="Oval 1373"/>
              <p:cNvSpPr>
                <a:spLocks noChangeAspect="1"/>
              </p:cNvSpPr>
              <p:nvPr/>
            </p:nvSpPr>
            <p:spPr bwMode="auto">
              <a:xfrm>
                <a:off x="2635935" y="3031260"/>
                <a:ext cx="91440" cy="91440"/>
              </a:xfrm>
              <a:prstGeom prst="ellipse">
                <a:avLst/>
              </a:prstGeom>
              <a:solidFill>
                <a:srgbClr val="BA141A"/>
              </a:solidFill>
              <a:ln w="317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0" normalizeH="0" baseline="0" noProof="0" dirty="0">
                  <a:ln>
                    <a:noFill/>
                  </a:ln>
                  <a:solidFill>
                    <a:srgbClr val="BA141A"/>
                  </a:solidFill>
                  <a:effectLst/>
                  <a:uLnTx/>
                  <a:uFillTx/>
                  <a:latin typeface="Segoe UI"/>
                  <a:ea typeface="+mn-ea"/>
                  <a:cs typeface="+mn-cs"/>
                </a:endParaRPr>
              </a:p>
            </p:txBody>
          </p:sp>
          <p:sp>
            <p:nvSpPr>
              <p:cNvPr id="1375" name="Oval 1374"/>
              <p:cNvSpPr>
                <a:spLocks noChangeAspect="1"/>
              </p:cNvSpPr>
              <p:nvPr/>
            </p:nvSpPr>
            <p:spPr bwMode="auto">
              <a:xfrm>
                <a:off x="7262807" y="5723743"/>
                <a:ext cx="91440" cy="91440"/>
              </a:xfrm>
              <a:prstGeom prst="ellipse">
                <a:avLst/>
              </a:prstGeom>
              <a:solidFill>
                <a:srgbClr val="BA141A"/>
              </a:solidFill>
              <a:ln w="317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0" normalizeH="0" baseline="0" noProof="0" dirty="0">
                  <a:ln>
                    <a:noFill/>
                  </a:ln>
                  <a:solidFill>
                    <a:srgbClr val="BA141A"/>
                  </a:solidFill>
                  <a:effectLst/>
                  <a:uLnTx/>
                  <a:uFillTx/>
                  <a:latin typeface="Segoe UI"/>
                  <a:ea typeface="+mn-ea"/>
                  <a:cs typeface="+mn-cs"/>
                </a:endParaRPr>
              </a:p>
            </p:txBody>
          </p:sp>
          <p:sp>
            <p:nvSpPr>
              <p:cNvPr id="1376" name="Oval 1375"/>
              <p:cNvSpPr>
                <a:spLocks noChangeAspect="1"/>
              </p:cNvSpPr>
              <p:nvPr/>
            </p:nvSpPr>
            <p:spPr bwMode="auto">
              <a:xfrm>
                <a:off x="7389513" y="5515135"/>
                <a:ext cx="91440" cy="91440"/>
              </a:xfrm>
              <a:prstGeom prst="ellipse">
                <a:avLst/>
              </a:prstGeom>
              <a:solidFill>
                <a:srgbClr val="BA141A"/>
              </a:solidFill>
              <a:ln w="317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0" normalizeH="0" baseline="0" noProof="0" dirty="0">
                  <a:ln>
                    <a:noFill/>
                  </a:ln>
                  <a:solidFill>
                    <a:srgbClr val="BA141A"/>
                  </a:solidFill>
                  <a:effectLst/>
                  <a:uLnTx/>
                  <a:uFillTx/>
                  <a:latin typeface="Segoe UI"/>
                  <a:ea typeface="+mn-ea"/>
                  <a:cs typeface="+mn-cs"/>
                </a:endParaRPr>
              </a:p>
            </p:txBody>
          </p:sp>
          <p:sp>
            <p:nvSpPr>
              <p:cNvPr id="1377" name="Oval 1376"/>
              <p:cNvSpPr>
                <a:spLocks noChangeAspect="1"/>
              </p:cNvSpPr>
              <p:nvPr/>
            </p:nvSpPr>
            <p:spPr bwMode="auto">
              <a:xfrm>
                <a:off x="3938255" y="3426840"/>
                <a:ext cx="91440" cy="91440"/>
              </a:xfrm>
              <a:prstGeom prst="ellipse">
                <a:avLst/>
              </a:prstGeom>
              <a:solidFill>
                <a:srgbClr val="BA141A"/>
              </a:solidFill>
              <a:ln w="317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0" normalizeH="0" baseline="0" noProof="0" dirty="0">
                  <a:ln>
                    <a:noFill/>
                  </a:ln>
                  <a:solidFill>
                    <a:srgbClr val="BA141A"/>
                  </a:solidFill>
                  <a:effectLst/>
                  <a:uLnTx/>
                  <a:uFillTx/>
                  <a:latin typeface="Segoe UI"/>
                  <a:ea typeface="+mn-ea"/>
                  <a:cs typeface="+mn-cs"/>
                </a:endParaRPr>
              </a:p>
            </p:txBody>
          </p:sp>
          <p:sp>
            <p:nvSpPr>
              <p:cNvPr id="1378" name="Oval 1377"/>
              <p:cNvSpPr>
                <a:spLocks noChangeAspect="1"/>
              </p:cNvSpPr>
              <p:nvPr/>
            </p:nvSpPr>
            <p:spPr bwMode="auto">
              <a:xfrm>
                <a:off x="6521199" y="4818127"/>
                <a:ext cx="91440" cy="91440"/>
              </a:xfrm>
              <a:prstGeom prst="ellipse">
                <a:avLst/>
              </a:prstGeom>
              <a:solidFill>
                <a:srgbClr val="BA141A"/>
              </a:solidFill>
              <a:ln w="317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0" normalizeH="0" baseline="0" noProof="0" dirty="0">
                  <a:ln>
                    <a:noFill/>
                  </a:ln>
                  <a:solidFill>
                    <a:srgbClr val="BA141A"/>
                  </a:solidFill>
                  <a:effectLst/>
                  <a:uLnTx/>
                  <a:uFillTx/>
                  <a:latin typeface="Segoe UI"/>
                  <a:ea typeface="+mn-ea"/>
                  <a:cs typeface="+mn-cs"/>
                </a:endParaRPr>
              </a:p>
            </p:txBody>
          </p:sp>
          <p:sp>
            <p:nvSpPr>
              <p:cNvPr id="1379" name="Oval 1378"/>
              <p:cNvSpPr>
                <a:spLocks noChangeAspect="1"/>
              </p:cNvSpPr>
              <p:nvPr/>
            </p:nvSpPr>
            <p:spPr bwMode="auto">
              <a:xfrm>
                <a:off x="6955622" y="3528307"/>
                <a:ext cx="91440" cy="91440"/>
              </a:xfrm>
              <a:prstGeom prst="ellipse">
                <a:avLst/>
              </a:prstGeom>
              <a:solidFill>
                <a:srgbClr val="BA141A"/>
              </a:solidFill>
              <a:ln w="317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0" normalizeH="0" baseline="0" noProof="0" dirty="0">
                  <a:ln>
                    <a:noFill/>
                  </a:ln>
                  <a:solidFill>
                    <a:srgbClr val="BA141A"/>
                  </a:solidFill>
                  <a:effectLst/>
                  <a:uLnTx/>
                  <a:uFillTx/>
                  <a:latin typeface="Segoe UI"/>
                  <a:ea typeface="+mn-ea"/>
                  <a:cs typeface="+mn-cs"/>
                </a:endParaRPr>
              </a:p>
            </p:txBody>
          </p:sp>
          <p:sp>
            <p:nvSpPr>
              <p:cNvPr id="1380" name="Oval 1379"/>
              <p:cNvSpPr>
                <a:spLocks noChangeAspect="1"/>
              </p:cNvSpPr>
              <p:nvPr/>
            </p:nvSpPr>
            <p:spPr bwMode="auto">
              <a:xfrm>
                <a:off x="7165101" y="3633823"/>
                <a:ext cx="91440" cy="91440"/>
              </a:xfrm>
              <a:prstGeom prst="ellipse">
                <a:avLst/>
              </a:prstGeom>
              <a:solidFill>
                <a:srgbClr val="BA141A"/>
              </a:solidFill>
              <a:ln w="317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0" normalizeH="0" baseline="0" noProof="0" dirty="0">
                  <a:ln>
                    <a:noFill/>
                  </a:ln>
                  <a:solidFill>
                    <a:srgbClr val="BA141A"/>
                  </a:solidFill>
                  <a:effectLst/>
                  <a:uLnTx/>
                  <a:uFillTx/>
                  <a:latin typeface="Segoe UI"/>
                  <a:ea typeface="+mn-ea"/>
                  <a:cs typeface="+mn-cs"/>
                </a:endParaRPr>
              </a:p>
            </p:txBody>
          </p:sp>
          <p:sp>
            <p:nvSpPr>
              <p:cNvPr id="1381" name="Oval 1380"/>
              <p:cNvSpPr>
                <a:spLocks noChangeAspect="1"/>
              </p:cNvSpPr>
              <p:nvPr/>
            </p:nvSpPr>
            <p:spPr bwMode="auto">
              <a:xfrm>
                <a:off x="7377493" y="3233384"/>
                <a:ext cx="91440" cy="91440"/>
              </a:xfrm>
              <a:prstGeom prst="ellipse">
                <a:avLst/>
              </a:prstGeom>
              <a:solidFill>
                <a:srgbClr val="BA141A"/>
              </a:solidFill>
              <a:ln w="317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0" normalizeH="0" baseline="0" noProof="0" dirty="0">
                  <a:ln>
                    <a:noFill/>
                  </a:ln>
                  <a:solidFill>
                    <a:srgbClr val="BA141A"/>
                  </a:solidFill>
                  <a:effectLst/>
                  <a:uLnTx/>
                  <a:uFillTx/>
                  <a:latin typeface="Segoe UI"/>
                  <a:ea typeface="+mn-ea"/>
                  <a:cs typeface="+mn-cs"/>
                </a:endParaRPr>
              </a:p>
            </p:txBody>
          </p:sp>
          <p:sp>
            <p:nvSpPr>
              <p:cNvPr id="1382" name="Oval 1381"/>
              <p:cNvSpPr>
                <a:spLocks noChangeAspect="1"/>
              </p:cNvSpPr>
              <p:nvPr/>
            </p:nvSpPr>
            <p:spPr bwMode="auto">
              <a:xfrm>
                <a:off x="7592530" y="3136684"/>
                <a:ext cx="91440" cy="91440"/>
              </a:xfrm>
              <a:prstGeom prst="ellipse">
                <a:avLst/>
              </a:prstGeom>
              <a:solidFill>
                <a:srgbClr val="BA141A"/>
              </a:solidFill>
              <a:ln w="317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0" normalizeH="0" baseline="0" noProof="0" dirty="0">
                  <a:ln>
                    <a:noFill/>
                  </a:ln>
                  <a:solidFill>
                    <a:srgbClr val="BA141A"/>
                  </a:solidFill>
                  <a:effectLst/>
                  <a:uLnTx/>
                  <a:uFillTx/>
                  <a:latin typeface="Segoe UI"/>
                  <a:ea typeface="+mn-ea"/>
                  <a:cs typeface="+mn-cs"/>
                </a:endParaRPr>
              </a:p>
            </p:txBody>
          </p:sp>
          <p:sp>
            <p:nvSpPr>
              <p:cNvPr id="1383" name="Oval 1382"/>
              <p:cNvSpPr>
                <a:spLocks noChangeAspect="1"/>
              </p:cNvSpPr>
              <p:nvPr/>
            </p:nvSpPr>
            <p:spPr bwMode="auto">
              <a:xfrm>
                <a:off x="4042668" y="3125807"/>
                <a:ext cx="91440" cy="91440"/>
              </a:xfrm>
              <a:prstGeom prst="ellipse">
                <a:avLst/>
              </a:prstGeom>
              <a:solidFill>
                <a:srgbClr val="BA141A"/>
              </a:solidFill>
              <a:ln w="317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0" normalizeH="0" baseline="0" noProof="0" dirty="0">
                  <a:ln>
                    <a:noFill/>
                  </a:ln>
                  <a:solidFill>
                    <a:srgbClr val="BA141A"/>
                  </a:solidFill>
                  <a:effectLst/>
                  <a:uLnTx/>
                  <a:uFillTx/>
                  <a:latin typeface="Segoe UI"/>
                  <a:ea typeface="+mn-ea"/>
                  <a:cs typeface="+mn-cs"/>
                </a:endParaRPr>
              </a:p>
            </p:txBody>
          </p:sp>
          <p:sp>
            <p:nvSpPr>
              <p:cNvPr id="1384" name="Oval 1383"/>
              <p:cNvSpPr>
                <a:spLocks noChangeAspect="1"/>
              </p:cNvSpPr>
              <p:nvPr/>
            </p:nvSpPr>
            <p:spPr bwMode="auto">
              <a:xfrm>
                <a:off x="3936093" y="3037443"/>
                <a:ext cx="91440" cy="91440"/>
              </a:xfrm>
              <a:prstGeom prst="ellipse">
                <a:avLst/>
              </a:prstGeom>
              <a:solidFill>
                <a:srgbClr val="BA141A"/>
              </a:solidFill>
              <a:ln w="317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0" normalizeH="0" baseline="0" noProof="0" dirty="0">
                  <a:ln>
                    <a:noFill/>
                  </a:ln>
                  <a:solidFill>
                    <a:srgbClr val="BA141A"/>
                  </a:solidFill>
                  <a:effectLst/>
                  <a:uLnTx/>
                  <a:uFillTx/>
                  <a:latin typeface="Segoe UI"/>
                  <a:ea typeface="+mn-ea"/>
                  <a:cs typeface="+mn-cs"/>
                </a:endParaRPr>
              </a:p>
            </p:txBody>
          </p:sp>
          <p:sp>
            <p:nvSpPr>
              <p:cNvPr id="1385" name="Oval 1384"/>
              <p:cNvSpPr>
                <a:spLocks noChangeAspect="1"/>
              </p:cNvSpPr>
              <p:nvPr/>
            </p:nvSpPr>
            <p:spPr bwMode="auto">
              <a:xfrm>
                <a:off x="4153507" y="3037443"/>
                <a:ext cx="91440" cy="91440"/>
              </a:xfrm>
              <a:prstGeom prst="ellipse">
                <a:avLst/>
              </a:prstGeom>
              <a:solidFill>
                <a:srgbClr val="BA141A"/>
              </a:solidFill>
              <a:ln w="317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0" normalizeH="0" baseline="0" noProof="0" dirty="0">
                  <a:ln>
                    <a:noFill/>
                  </a:ln>
                  <a:solidFill>
                    <a:srgbClr val="BA141A"/>
                  </a:solidFill>
                  <a:effectLst/>
                  <a:uLnTx/>
                  <a:uFillTx/>
                  <a:latin typeface="Segoe UI"/>
                  <a:ea typeface="+mn-ea"/>
                  <a:cs typeface="+mn-cs"/>
                </a:endParaRPr>
              </a:p>
            </p:txBody>
          </p:sp>
          <p:sp>
            <p:nvSpPr>
              <p:cNvPr id="1386" name="Oval 1385"/>
              <p:cNvSpPr>
                <a:spLocks noChangeAspect="1"/>
              </p:cNvSpPr>
              <p:nvPr/>
            </p:nvSpPr>
            <p:spPr bwMode="auto">
              <a:xfrm>
                <a:off x="4261350" y="2930309"/>
                <a:ext cx="91440" cy="91440"/>
              </a:xfrm>
              <a:prstGeom prst="ellipse">
                <a:avLst/>
              </a:prstGeom>
              <a:solidFill>
                <a:srgbClr val="BA141A"/>
              </a:solidFill>
              <a:ln w="317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0" normalizeH="0" baseline="0" noProof="0" dirty="0">
                  <a:ln>
                    <a:noFill/>
                  </a:ln>
                  <a:solidFill>
                    <a:srgbClr val="BA141A"/>
                  </a:solidFill>
                  <a:effectLst/>
                  <a:uLnTx/>
                  <a:uFillTx/>
                  <a:latin typeface="Segoe UI"/>
                  <a:ea typeface="+mn-ea"/>
                  <a:cs typeface="+mn-cs"/>
                </a:endParaRPr>
              </a:p>
            </p:txBody>
          </p:sp>
          <p:sp>
            <p:nvSpPr>
              <p:cNvPr id="1387" name="Oval 1386"/>
              <p:cNvSpPr>
                <a:spLocks noChangeAspect="1"/>
              </p:cNvSpPr>
              <p:nvPr/>
            </p:nvSpPr>
            <p:spPr bwMode="auto">
              <a:xfrm>
                <a:off x="4248874" y="3230964"/>
                <a:ext cx="91440" cy="91440"/>
              </a:xfrm>
              <a:prstGeom prst="ellipse">
                <a:avLst/>
              </a:prstGeom>
              <a:solidFill>
                <a:srgbClr val="BA141A"/>
              </a:solidFill>
              <a:ln w="317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0" normalizeH="0" baseline="0" noProof="0" dirty="0">
                  <a:ln>
                    <a:noFill/>
                  </a:ln>
                  <a:solidFill>
                    <a:srgbClr val="BA141A"/>
                  </a:solidFill>
                  <a:effectLst/>
                  <a:uLnTx/>
                  <a:uFillTx/>
                  <a:latin typeface="Segoe UI"/>
                  <a:ea typeface="+mn-ea"/>
                  <a:cs typeface="+mn-cs"/>
                </a:endParaRPr>
              </a:p>
            </p:txBody>
          </p:sp>
          <p:sp>
            <p:nvSpPr>
              <p:cNvPr id="1388" name="Oval 1387"/>
              <p:cNvSpPr>
                <a:spLocks noChangeAspect="1"/>
              </p:cNvSpPr>
              <p:nvPr/>
            </p:nvSpPr>
            <p:spPr bwMode="auto">
              <a:xfrm>
                <a:off x="4363183" y="3133529"/>
                <a:ext cx="91440" cy="91440"/>
              </a:xfrm>
              <a:prstGeom prst="ellipse">
                <a:avLst/>
              </a:prstGeom>
              <a:solidFill>
                <a:srgbClr val="BA141A"/>
              </a:solidFill>
              <a:ln w="317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0" normalizeH="0" baseline="0" noProof="0" dirty="0">
                  <a:ln>
                    <a:noFill/>
                  </a:ln>
                  <a:solidFill>
                    <a:srgbClr val="BA141A"/>
                  </a:solidFill>
                  <a:effectLst/>
                  <a:uLnTx/>
                  <a:uFillTx/>
                  <a:latin typeface="Segoe UI"/>
                  <a:ea typeface="+mn-ea"/>
                  <a:cs typeface="+mn-cs"/>
                </a:endParaRPr>
              </a:p>
            </p:txBody>
          </p:sp>
          <p:sp>
            <p:nvSpPr>
              <p:cNvPr id="1389" name="Oval 1388"/>
              <p:cNvSpPr>
                <a:spLocks noChangeAspect="1"/>
              </p:cNvSpPr>
              <p:nvPr/>
            </p:nvSpPr>
            <p:spPr bwMode="auto">
              <a:xfrm>
                <a:off x="4480043" y="3029838"/>
                <a:ext cx="91440" cy="91440"/>
              </a:xfrm>
              <a:prstGeom prst="ellipse">
                <a:avLst/>
              </a:prstGeom>
              <a:solidFill>
                <a:srgbClr val="BA141A"/>
              </a:solidFill>
              <a:ln w="317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0" normalizeH="0" baseline="0" noProof="0" dirty="0">
                  <a:ln>
                    <a:noFill/>
                  </a:ln>
                  <a:solidFill>
                    <a:srgbClr val="BA141A"/>
                  </a:solidFill>
                  <a:effectLst/>
                  <a:uLnTx/>
                  <a:uFillTx/>
                  <a:latin typeface="Segoe UI"/>
                  <a:ea typeface="+mn-ea"/>
                  <a:cs typeface="+mn-cs"/>
                </a:endParaRPr>
              </a:p>
            </p:txBody>
          </p:sp>
          <p:sp>
            <p:nvSpPr>
              <p:cNvPr id="1390" name="Oval 1389"/>
              <p:cNvSpPr>
                <a:spLocks noChangeAspect="1"/>
              </p:cNvSpPr>
              <p:nvPr/>
            </p:nvSpPr>
            <p:spPr bwMode="auto">
              <a:xfrm>
                <a:off x="4363185" y="2639271"/>
                <a:ext cx="91440" cy="91440"/>
              </a:xfrm>
              <a:prstGeom prst="ellipse">
                <a:avLst/>
              </a:prstGeom>
              <a:solidFill>
                <a:srgbClr val="BA141A"/>
              </a:solidFill>
              <a:ln w="317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0" normalizeH="0" baseline="0" noProof="0" dirty="0">
                  <a:ln>
                    <a:noFill/>
                  </a:ln>
                  <a:solidFill>
                    <a:srgbClr val="BA141A"/>
                  </a:solidFill>
                  <a:effectLst/>
                  <a:uLnTx/>
                  <a:uFillTx/>
                  <a:latin typeface="Segoe UI"/>
                  <a:ea typeface="+mn-ea"/>
                  <a:cs typeface="+mn-cs"/>
                </a:endParaRPr>
              </a:p>
            </p:txBody>
          </p:sp>
          <p:sp>
            <p:nvSpPr>
              <p:cNvPr id="1391" name="Oval 1390"/>
              <p:cNvSpPr>
                <a:spLocks noChangeAspect="1"/>
              </p:cNvSpPr>
              <p:nvPr/>
            </p:nvSpPr>
            <p:spPr bwMode="auto">
              <a:xfrm>
                <a:off x="4472509" y="2539482"/>
                <a:ext cx="91440" cy="91440"/>
              </a:xfrm>
              <a:prstGeom prst="ellipse">
                <a:avLst/>
              </a:prstGeom>
              <a:solidFill>
                <a:srgbClr val="BA141A"/>
              </a:solidFill>
              <a:ln w="317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0" normalizeH="0" baseline="0" noProof="0" dirty="0">
                  <a:ln>
                    <a:noFill/>
                  </a:ln>
                  <a:solidFill>
                    <a:srgbClr val="BA141A"/>
                  </a:solidFill>
                  <a:effectLst/>
                  <a:uLnTx/>
                  <a:uFillTx/>
                  <a:latin typeface="Segoe UI"/>
                  <a:ea typeface="+mn-ea"/>
                  <a:cs typeface="+mn-cs"/>
                </a:endParaRPr>
              </a:p>
            </p:txBody>
          </p:sp>
          <p:sp>
            <p:nvSpPr>
              <p:cNvPr id="1392" name="Oval 1391"/>
              <p:cNvSpPr>
                <a:spLocks noChangeAspect="1"/>
              </p:cNvSpPr>
              <p:nvPr/>
            </p:nvSpPr>
            <p:spPr bwMode="auto">
              <a:xfrm>
                <a:off x="4472511" y="2430953"/>
                <a:ext cx="91440" cy="91440"/>
              </a:xfrm>
              <a:prstGeom prst="ellipse">
                <a:avLst/>
              </a:prstGeom>
              <a:solidFill>
                <a:srgbClr val="BA141A"/>
              </a:solidFill>
              <a:ln w="317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0" normalizeH="0" baseline="0" noProof="0" dirty="0">
                  <a:ln>
                    <a:noFill/>
                  </a:ln>
                  <a:solidFill>
                    <a:srgbClr val="BA141A"/>
                  </a:solidFill>
                  <a:effectLst/>
                  <a:uLnTx/>
                  <a:uFillTx/>
                  <a:latin typeface="Segoe UI"/>
                  <a:ea typeface="+mn-ea"/>
                  <a:cs typeface="+mn-cs"/>
                </a:endParaRPr>
              </a:p>
            </p:txBody>
          </p:sp>
        </p:grpSp>
      </p:grpSp>
      <p:sp>
        <p:nvSpPr>
          <p:cNvPr id="1393" name="Rectangle 1392"/>
          <p:cNvSpPr/>
          <p:nvPr/>
        </p:nvSpPr>
        <p:spPr bwMode="auto">
          <a:xfrm>
            <a:off x="9201150" y="-1"/>
            <a:ext cx="3235324" cy="6994525"/>
          </a:xfrm>
          <a:prstGeom prst="rect">
            <a:avLst/>
          </a:prstGeom>
          <a:solidFill>
            <a:schemeClr val="accent3"/>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394" name="Text Placeholder 5"/>
          <p:cNvSpPr txBox="1">
            <a:spLocks/>
          </p:cNvSpPr>
          <p:nvPr/>
        </p:nvSpPr>
        <p:spPr>
          <a:xfrm>
            <a:off x="9201150" y="1851190"/>
            <a:ext cx="3235324" cy="4206545"/>
          </a:xfrm>
          <a:prstGeom prst="rect">
            <a:avLst/>
          </a:prstGeom>
          <a:noFill/>
          <a:ln w="3175">
            <a:noFill/>
          </a:ln>
        </p:spPr>
        <p:txBody>
          <a:bodyPr lIns="73152" tIns="73152" rIns="73152" bIns="73152"/>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solidFill>
                  <a:schemeClr val="bg1"/>
                </a:soli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solidFill>
                  <a:schemeClr val="bg1"/>
                </a:soli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solidFill>
                  <a:schemeClr val="bg1"/>
                </a:soli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chemeClr val="bg1"/>
                </a:soli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chemeClr val="bg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ts val="600"/>
              </a:spcBef>
              <a:buSzPct val="100000"/>
              <a:buNone/>
            </a:pPr>
            <a:r>
              <a:rPr lang="en-US" sz="1800" dirty="0">
                <a:gradFill>
                  <a:gsLst>
                    <a:gs pos="20732">
                      <a:schemeClr val="bg1"/>
                    </a:gs>
                    <a:gs pos="94000">
                      <a:schemeClr val="bg1"/>
                    </a:gs>
                  </a:gsLst>
                  <a:lin ang="5400000" scaled="0"/>
                </a:gradFill>
                <a:latin typeface="+mn-lt"/>
              </a:rPr>
              <a:t>Azure CDN peers with </a:t>
            </a:r>
            <a:br>
              <a:rPr lang="en-US" sz="1800" dirty="0">
                <a:gradFill>
                  <a:gsLst>
                    <a:gs pos="20732">
                      <a:schemeClr val="bg1"/>
                    </a:gs>
                    <a:gs pos="94000">
                      <a:schemeClr val="bg1"/>
                    </a:gs>
                  </a:gsLst>
                  <a:lin ang="5400000" scaled="0"/>
                </a:gradFill>
                <a:latin typeface="+mn-lt"/>
              </a:rPr>
            </a:br>
            <a:r>
              <a:rPr lang="en-US" sz="1800" dirty="0">
                <a:gradFill>
                  <a:gsLst>
                    <a:gs pos="20732">
                      <a:schemeClr val="bg1"/>
                    </a:gs>
                    <a:gs pos="94000">
                      <a:schemeClr val="bg1"/>
                    </a:gs>
                  </a:gsLst>
                  <a:lin ang="5400000" scaled="0"/>
                </a:gradFill>
                <a:latin typeface="+mn-lt"/>
              </a:rPr>
              <a:t>2,000+ Internet Service Providers (ISPs) to deliver </a:t>
            </a:r>
            <a:br>
              <a:rPr lang="en-US" sz="1800" dirty="0">
                <a:gradFill>
                  <a:gsLst>
                    <a:gs pos="20732">
                      <a:schemeClr val="bg1"/>
                    </a:gs>
                    <a:gs pos="94000">
                      <a:schemeClr val="bg1"/>
                    </a:gs>
                  </a:gsLst>
                  <a:lin ang="5400000" scaled="0"/>
                </a:gradFill>
                <a:latin typeface="+mn-lt"/>
              </a:rPr>
            </a:br>
            <a:r>
              <a:rPr lang="en-US" sz="1800" dirty="0">
                <a:gradFill>
                  <a:gsLst>
                    <a:gs pos="20732">
                      <a:schemeClr val="bg1"/>
                    </a:gs>
                    <a:gs pos="94000">
                      <a:schemeClr val="bg1"/>
                    </a:gs>
                  </a:gsLst>
                  <a:lin ang="5400000" scaled="0"/>
                </a:gradFill>
                <a:latin typeface="+mn-lt"/>
              </a:rPr>
              <a:t>rich content globally</a:t>
            </a:r>
          </a:p>
          <a:p>
            <a:pPr marL="0" indent="0" algn="ctr">
              <a:spcBef>
                <a:spcPts val="600"/>
              </a:spcBef>
              <a:buSzPct val="100000"/>
              <a:buNone/>
            </a:pPr>
            <a:endParaRPr lang="en-US" sz="1400" dirty="0">
              <a:gradFill>
                <a:gsLst>
                  <a:gs pos="20732">
                    <a:schemeClr val="bg1"/>
                  </a:gs>
                  <a:gs pos="94000">
                    <a:schemeClr val="bg1"/>
                  </a:gs>
                </a:gsLst>
                <a:lin ang="5400000" scaled="0"/>
              </a:gradFill>
              <a:latin typeface="+mn-lt"/>
            </a:endParaRPr>
          </a:p>
          <a:p>
            <a:pPr marL="0" indent="0" algn="ctr">
              <a:spcBef>
                <a:spcPts val="600"/>
              </a:spcBef>
              <a:buSzPct val="100000"/>
              <a:buNone/>
            </a:pPr>
            <a:r>
              <a:rPr lang="en-US" sz="1800" dirty="0">
                <a:gradFill>
                  <a:gsLst>
                    <a:gs pos="20732">
                      <a:schemeClr val="bg1"/>
                    </a:gs>
                    <a:gs pos="94000">
                      <a:schemeClr val="bg1"/>
                    </a:gs>
                  </a:gsLst>
                  <a:lin ang="5400000" scaled="0"/>
                </a:gradFill>
                <a:latin typeface="+mn-lt"/>
              </a:rPr>
              <a:t>42,000+ networks </a:t>
            </a:r>
            <a:br>
              <a:rPr lang="en-US" sz="1800" dirty="0">
                <a:gradFill>
                  <a:gsLst>
                    <a:gs pos="20732">
                      <a:schemeClr val="bg1"/>
                    </a:gs>
                    <a:gs pos="94000">
                      <a:schemeClr val="bg1"/>
                    </a:gs>
                  </a:gsLst>
                  <a:lin ang="5400000" scaled="0"/>
                </a:gradFill>
                <a:latin typeface="+mn-lt"/>
              </a:rPr>
            </a:br>
            <a:r>
              <a:rPr lang="en-US" sz="1800" dirty="0">
                <a:gradFill>
                  <a:gsLst>
                    <a:gs pos="20732">
                      <a:schemeClr val="bg1"/>
                    </a:gs>
                    <a:gs pos="94000">
                      <a:schemeClr val="bg1"/>
                    </a:gs>
                  </a:gsLst>
                  <a:lin ang="5400000" scaled="0"/>
                </a:gradFill>
                <a:latin typeface="+mn-lt"/>
              </a:rPr>
              <a:t>as of 2012</a:t>
            </a:r>
          </a:p>
          <a:p>
            <a:pPr marL="0" indent="0" algn="ctr">
              <a:spcBef>
                <a:spcPts val="600"/>
              </a:spcBef>
              <a:buSzPct val="100000"/>
              <a:buNone/>
            </a:pPr>
            <a:endParaRPr lang="en-US" sz="1400" dirty="0">
              <a:gradFill>
                <a:gsLst>
                  <a:gs pos="20732">
                    <a:schemeClr val="bg1"/>
                  </a:gs>
                  <a:gs pos="94000">
                    <a:schemeClr val="bg1"/>
                  </a:gs>
                </a:gsLst>
                <a:lin ang="5400000" scaled="0"/>
              </a:gradFill>
              <a:latin typeface="+mn-lt"/>
            </a:endParaRPr>
          </a:p>
          <a:p>
            <a:pPr marL="0" indent="0" algn="ctr">
              <a:spcBef>
                <a:spcPts val="600"/>
              </a:spcBef>
              <a:buSzPct val="100000"/>
              <a:buNone/>
            </a:pPr>
            <a:r>
              <a:rPr lang="en-US" sz="1800" dirty="0">
                <a:gradFill>
                  <a:gsLst>
                    <a:gs pos="20732">
                      <a:schemeClr val="bg1"/>
                    </a:gs>
                    <a:gs pos="94000">
                      <a:schemeClr val="bg1"/>
                    </a:gs>
                  </a:gsLst>
                  <a:lin ang="5400000" scaled="0"/>
                </a:gradFill>
                <a:latin typeface="+mn-lt"/>
              </a:rPr>
              <a:t>Over 45 points-of-presence </a:t>
            </a:r>
            <a:br>
              <a:rPr lang="en-US" sz="1800" dirty="0">
                <a:gradFill>
                  <a:gsLst>
                    <a:gs pos="20732">
                      <a:schemeClr val="bg1"/>
                    </a:gs>
                    <a:gs pos="94000">
                      <a:schemeClr val="bg1"/>
                    </a:gs>
                  </a:gsLst>
                  <a:lin ang="5400000" scaled="0"/>
                </a:gradFill>
                <a:latin typeface="+mn-lt"/>
              </a:rPr>
            </a:br>
            <a:r>
              <a:rPr lang="en-US" sz="1800" dirty="0">
                <a:gradFill>
                  <a:gsLst>
                    <a:gs pos="20732">
                      <a:schemeClr val="bg1"/>
                    </a:gs>
                    <a:gs pos="94000">
                      <a:schemeClr val="bg1"/>
                    </a:gs>
                  </a:gsLst>
                  <a:lin ang="5400000" scaled="0"/>
                </a:gradFill>
                <a:latin typeface="+mn-lt"/>
              </a:rPr>
              <a:t>(POPS) aka Edge locations</a:t>
            </a:r>
          </a:p>
        </p:txBody>
      </p:sp>
      <p:sp>
        <p:nvSpPr>
          <p:cNvPr id="1395" name="Freeform 5"/>
          <p:cNvSpPr>
            <a:spLocks/>
          </p:cNvSpPr>
          <p:nvPr/>
        </p:nvSpPr>
        <p:spPr bwMode="auto">
          <a:xfrm>
            <a:off x="10097733" y="504524"/>
            <a:ext cx="1442158" cy="815418"/>
          </a:xfrm>
          <a:custGeom>
            <a:avLst/>
            <a:gdLst>
              <a:gd name="T0" fmla="*/ 634 w 735"/>
              <a:gd name="T1" fmla="*/ 216 h 500"/>
              <a:gd name="T2" fmla="*/ 640 w 735"/>
              <a:gd name="T3" fmla="*/ 172 h 500"/>
              <a:gd name="T4" fmla="*/ 566 w 735"/>
              <a:gd name="T5" fmla="*/ 29 h 500"/>
              <a:gd name="T6" fmla="*/ 496 w 735"/>
              <a:gd name="T7" fmla="*/ 147 h 500"/>
              <a:gd name="T8" fmla="*/ 501 w 735"/>
              <a:gd name="T9" fmla="*/ 156 h 500"/>
              <a:gd name="T10" fmla="*/ 591 w 735"/>
              <a:gd name="T11" fmla="*/ 155 h 500"/>
              <a:gd name="T12" fmla="*/ 594 w 735"/>
              <a:gd name="T13" fmla="*/ 162 h 500"/>
              <a:gd name="T14" fmla="*/ 361 w 735"/>
              <a:gd name="T15" fmla="*/ 427 h 500"/>
              <a:gd name="T16" fmla="*/ 358 w 735"/>
              <a:gd name="T17" fmla="*/ 426 h 500"/>
              <a:gd name="T18" fmla="*/ 432 w 735"/>
              <a:gd name="T19" fmla="*/ 246 h 500"/>
              <a:gd name="T20" fmla="*/ 426 w 735"/>
              <a:gd name="T21" fmla="*/ 238 h 500"/>
              <a:gd name="T22" fmla="*/ 354 w 735"/>
              <a:gd name="T23" fmla="*/ 238 h 500"/>
              <a:gd name="T24" fmla="*/ 348 w 735"/>
              <a:gd name="T25" fmla="*/ 229 h 500"/>
              <a:gd name="T26" fmla="*/ 434 w 735"/>
              <a:gd name="T27" fmla="*/ 0 h 500"/>
              <a:gd name="T28" fmla="*/ 307 w 735"/>
              <a:gd name="T29" fmla="*/ 104 h 500"/>
              <a:gd name="T30" fmla="*/ 213 w 735"/>
              <a:gd name="T31" fmla="*/ 61 h 500"/>
              <a:gd name="T32" fmla="*/ 91 w 735"/>
              <a:gd name="T33" fmla="*/ 184 h 500"/>
              <a:gd name="T34" fmla="*/ 95 w 735"/>
              <a:gd name="T35" fmla="*/ 218 h 500"/>
              <a:gd name="T36" fmla="*/ 0 w 735"/>
              <a:gd name="T37" fmla="*/ 355 h 500"/>
              <a:gd name="T38" fmla="*/ 145 w 735"/>
              <a:gd name="T39" fmla="*/ 500 h 500"/>
              <a:gd name="T40" fmla="*/ 591 w 735"/>
              <a:gd name="T41" fmla="*/ 500 h 500"/>
              <a:gd name="T42" fmla="*/ 735 w 735"/>
              <a:gd name="T43" fmla="*/ 355 h 500"/>
              <a:gd name="T44" fmla="*/ 634 w 735"/>
              <a:gd name="T45" fmla="*/ 216 h 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35" h="500">
                <a:moveTo>
                  <a:pt x="634" y="216"/>
                </a:moveTo>
                <a:cubicBezTo>
                  <a:pt x="638" y="202"/>
                  <a:pt x="640" y="187"/>
                  <a:pt x="640" y="172"/>
                </a:cubicBezTo>
                <a:cubicBezTo>
                  <a:pt x="640" y="113"/>
                  <a:pt x="611" y="61"/>
                  <a:pt x="566" y="29"/>
                </a:cubicBezTo>
                <a:lnTo>
                  <a:pt x="496" y="147"/>
                </a:lnTo>
                <a:cubicBezTo>
                  <a:pt x="493" y="152"/>
                  <a:pt x="495" y="156"/>
                  <a:pt x="501" y="156"/>
                </a:cubicBezTo>
                <a:lnTo>
                  <a:pt x="591" y="155"/>
                </a:lnTo>
                <a:cubicBezTo>
                  <a:pt x="596" y="155"/>
                  <a:pt x="597" y="158"/>
                  <a:pt x="594" y="162"/>
                </a:cubicBezTo>
                <a:lnTo>
                  <a:pt x="361" y="427"/>
                </a:lnTo>
                <a:cubicBezTo>
                  <a:pt x="358" y="431"/>
                  <a:pt x="356" y="430"/>
                  <a:pt x="358" y="426"/>
                </a:cubicBezTo>
                <a:lnTo>
                  <a:pt x="432" y="246"/>
                </a:lnTo>
                <a:cubicBezTo>
                  <a:pt x="433" y="242"/>
                  <a:pt x="431" y="238"/>
                  <a:pt x="426" y="238"/>
                </a:cubicBezTo>
                <a:lnTo>
                  <a:pt x="354" y="238"/>
                </a:lnTo>
                <a:cubicBezTo>
                  <a:pt x="349" y="238"/>
                  <a:pt x="347" y="234"/>
                  <a:pt x="348" y="229"/>
                </a:cubicBezTo>
                <a:lnTo>
                  <a:pt x="434" y="0"/>
                </a:lnTo>
                <a:cubicBezTo>
                  <a:pt x="376" y="11"/>
                  <a:pt x="329" y="51"/>
                  <a:pt x="307" y="104"/>
                </a:cubicBezTo>
                <a:cubicBezTo>
                  <a:pt x="284" y="78"/>
                  <a:pt x="251" y="61"/>
                  <a:pt x="213" y="61"/>
                </a:cubicBezTo>
                <a:cubicBezTo>
                  <a:pt x="145" y="61"/>
                  <a:pt x="91" y="116"/>
                  <a:pt x="91" y="184"/>
                </a:cubicBezTo>
                <a:cubicBezTo>
                  <a:pt x="91" y="196"/>
                  <a:pt x="92" y="207"/>
                  <a:pt x="95" y="218"/>
                </a:cubicBezTo>
                <a:cubicBezTo>
                  <a:pt x="40" y="238"/>
                  <a:pt x="0" y="292"/>
                  <a:pt x="0" y="355"/>
                </a:cubicBezTo>
                <a:cubicBezTo>
                  <a:pt x="0" y="435"/>
                  <a:pt x="65" y="500"/>
                  <a:pt x="145" y="500"/>
                </a:cubicBezTo>
                <a:lnTo>
                  <a:pt x="591" y="500"/>
                </a:lnTo>
                <a:cubicBezTo>
                  <a:pt x="671" y="500"/>
                  <a:pt x="735" y="435"/>
                  <a:pt x="735" y="355"/>
                </a:cubicBezTo>
                <a:cubicBezTo>
                  <a:pt x="735" y="290"/>
                  <a:pt x="693" y="235"/>
                  <a:pt x="634" y="216"/>
                </a:cubicBez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397" name="Oval 1396"/>
          <p:cNvSpPr>
            <a:spLocks noChangeAspect="1"/>
          </p:cNvSpPr>
          <p:nvPr/>
        </p:nvSpPr>
        <p:spPr bwMode="auto">
          <a:xfrm>
            <a:off x="5310197" y="4626280"/>
            <a:ext cx="82296" cy="76148"/>
          </a:xfrm>
          <a:prstGeom prst="ellipse">
            <a:avLst/>
          </a:prstGeom>
          <a:solidFill>
            <a:schemeClr val="bg1">
              <a:lumMod val="85000"/>
            </a:schemeClr>
          </a:solidFill>
          <a:ln w="317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0" normalizeH="0" baseline="0" noProof="0" dirty="0">
              <a:ln>
                <a:noFill/>
              </a:ln>
              <a:solidFill>
                <a:srgbClr val="BA141A"/>
              </a:solidFill>
              <a:effectLst/>
              <a:uLnTx/>
              <a:uFillTx/>
              <a:latin typeface="Segoe UI"/>
              <a:ea typeface="+mn-ea"/>
              <a:cs typeface="+mn-cs"/>
            </a:endParaRPr>
          </a:p>
        </p:txBody>
      </p:sp>
      <p:sp>
        <p:nvSpPr>
          <p:cNvPr id="1398" name="Oval 1397"/>
          <p:cNvSpPr>
            <a:spLocks noChangeAspect="1"/>
          </p:cNvSpPr>
          <p:nvPr/>
        </p:nvSpPr>
        <p:spPr bwMode="auto">
          <a:xfrm>
            <a:off x="3526308" y="4702428"/>
            <a:ext cx="88885" cy="90535"/>
          </a:xfrm>
          <a:prstGeom prst="ellipse">
            <a:avLst/>
          </a:prstGeom>
          <a:solidFill>
            <a:srgbClr val="BA141A"/>
          </a:solidFill>
          <a:ln w="317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0" normalizeH="0" baseline="0" noProof="0" dirty="0">
              <a:ln>
                <a:noFill/>
              </a:ln>
              <a:solidFill>
                <a:srgbClr val="BA141A"/>
              </a:solidFill>
              <a:effectLst/>
              <a:uLnTx/>
              <a:uFillTx/>
              <a:latin typeface="Segoe UI"/>
              <a:ea typeface="+mn-ea"/>
              <a:cs typeface="+mn-cs"/>
            </a:endParaRPr>
          </a:p>
        </p:txBody>
      </p:sp>
      <p:sp>
        <p:nvSpPr>
          <p:cNvPr id="1399" name="Oval 1398"/>
          <p:cNvSpPr>
            <a:spLocks noChangeAspect="1"/>
          </p:cNvSpPr>
          <p:nvPr/>
        </p:nvSpPr>
        <p:spPr bwMode="auto">
          <a:xfrm>
            <a:off x="3437423" y="5144195"/>
            <a:ext cx="88885" cy="90535"/>
          </a:xfrm>
          <a:prstGeom prst="ellipse">
            <a:avLst/>
          </a:prstGeom>
          <a:solidFill>
            <a:srgbClr val="BA141A"/>
          </a:solidFill>
          <a:ln w="317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0" normalizeH="0" baseline="0" noProof="0" dirty="0">
              <a:ln>
                <a:noFill/>
              </a:ln>
              <a:solidFill>
                <a:srgbClr val="BA141A"/>
              </a:solidFill>
              <a:effectLst/>
              <a:uLnTx/>
              <a:uFillTx/>
              <a:latin typeface="Segoe UI"/>
              <a:ea typeface="+mn-ea"/>
              <a:cs typeface="+mn-cs"/>
            </a:endParaRPr>
          </a:p>
        </p:txBody>
      </p:sp>
    </p:spTree>
    <p:extLst>
      <p:ext uri="{BB962C8B-B14F-4D97-AF65-F5344CB8AC3E}">
        <p14:creationId xmlns:p14="http://schemas.microsoft.com/office/powerpoint/2010/main" val="77700791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 presetClass="entr" presetSubtype="16" fill="hold" nodeType="withEffect">
                                  <p:stCondLst>
                                    <p:cond delay="0"/>
                                  </p:stCondLst>
                                  <p:childTnLst>
                                    <p:set>
                                      <p:cBhvr>
                                        <p:cTn id="6" dur="1" fill="hold">
                                          <p:stCondLst>
                                            <p:cond delay="0"/>
                                          </p:stCondLst>
                                        </p:cTn>
                                        <p:tgtEl>
                                          <p:spTgt spid="1362"/>
                                        </p:tgtEl>
                                        <p:attrNameLst>
                                          <p:attrName>style.visibility</p:attrName>
                                        </p:attrNameLst>
                                      </p:cBhvr>
                                      <p:to>
                                        <p:strVal val="visible"/>
                                      </p:to>
                                    </p:set>
                                    <p:animEffect transition="in" filter="circle(in)">
                                      <p:cBhvr>
                                        <p:cTn id="7" dur="1500"/>
                                        <p:tgtEl>
                                          <p:spTgt spid="1362"/>
                                        </p:tgtEl>
                                      </p:cBhvr>
                                    </p:animEffect>
                                  </p:childTnLst>
                                </p:cTn>
                              </p:par>
                              <p:par>
                                <p:cTn id="8" presetID="10" presetClass="entr" presetSubtype="0" fill="hold" grpId="0" nodeType="withEffect">
                                  <p:stCondLst>
                                    <p:cond delay="500"/>
                                  </p:stCondLst>
                                  <p:childTnLst>
                                    <p:set>
                                      <p:cBhvr>
                                        <p:cTn id="9" dur="1" fill="hold">
                                          <p:stCondLst>
                                            <p:cond delay="0"/>
                                          </p:stCondLst>
                                        </p:cTn>
                                        <p:tgtEl>
                                          <p:spTgt spid="3"/>
                                        </p:tgtEl>
                                        <p:attrNameLst>
                                          <p:attrName>style.visibility</p:attrName>
                                        </p:attrNameLst>
                                      </p:cBhvr>
                                      <p:to>
                                        <p:strVal val="visible"/>
                                      </p:to>
                                    </p:set>
                                    <p:animEffect transition="in" filter="fade">
                                      <p:cBhvr>
                                        <p:cTn id="10" dur="500"/>
                                        <p:tgtEl>
                                          <p:spTgt spid="3"/>
                                        </p:tgtEl>
                                      </p:cBhvr>
                                    </p:animEffect>
                                  </p:childTnLst>
                                </p:cTn>
                              </p:par>
                              <p:par>
                                <p:cTn id="11" presetID="10" presetClass="entr" presetSubtype="0" fill="hold" grpId="0" nodeType="withEffect">
                                  <p:stCondLst>
                                    <p:cond delay="1250"/>
                                  </p:stCondLst>
                                  <p:childTnLst>
                                    <p:set>
                                      <p:cBhvr>
                                        <p:cTn id="12" dur="1" fill="hold">
                                          <p:stCondLst>
                                            <p:cond delay="0"/>
                                          </p:stCondLst>
                                        </p:cTn>
                                        <p:tgtEl>
                                          <p:spTgt spid="1394"/>
                                        </p:tgtEl>
                                        <p:attrNameLst>
                                          <p:attrName>style.visibility</p:attrName>
                                        </p:attrNameLst>
                                      </p:cBhvr>
                                      <p:to>
                                        <p:strVal val="visible"/>
                                      </p:to>
                                    </p:set>
                                    <p:animEffect transition="in" filter="fade">
                                      <p:cBhvr>
                                        <p:cTn id="13" dur="500"/>
                                        <p:tgtEl>
                                          <p:spTgt spid="139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1394" grpId="0"/>
    </p:bld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400" dirty="0"/>
              <a:t>Azure CDN Static content caching on Edge servers</a:t>
            </a:r>
          </a:p>
        </p:txBody>
      </p:sp>
      <p:pic>
        <p:nvPicPr>
          <p:cNvPr id="4" name="Picture 3"/>
          <p:cNvPicPr>
            <a:picLocks noChangeAspect="1"/>
          </p:cNvPicPr>
          <p:nvPr/>
        </p:nvPicPr>
        <p:blipFill>
          <a:blip r:embed="rId3"/>
          <a:stretch>
            <a:fillRect/>
          </a:stretch>
        </p:blipFill>
        <p:spPr>
          <a:xfrm>
            <a:off x="296637" y="2094585"/>
            <a:ext cx="1365367" cy="1431803"/>
          </a:xfrm>
          <a:prstGeom prst="rect">
            <a:avLst/>
          </a:prstGeom>
        </p:spPr>
      </p:pic>
      <p:pic>
        <p:nvPicPr>
          <p:cNvPr id="5" name="Picture 4"/>
          <p:cNvPicPr>
            <a:picLocks noChangeAspect="1"/>
          </p:cNvPicPr>
          <p:nvPr/>
        </p:nvPicPr>
        <p:blipFill>
          <a:blip r:embed="rId4"/>
          <a:stretch>
            <a:fillRect/>
          </a:stretch>
        </p:blipFill>
        <p:spPr>
          <a:xfrm>
            <a:off x="10923458" y="1916679"/>
            <a:ext cx="1040046" cy="907244"/>
          </a:xfrm>
          <a:prstGeom prst="rect">
            <a:avLst/>
          </a:prstGeom>
        </p:spPr>
      </p:pic>
      <p:cxnSp>
        <p:nvCxnSpPr>
          <p:cNvPr id="6" name="Straight Arrow Connector 5"/>
          <p:cNvCxnSpPr/>
          <p:nvPr/>
        </p:nvCxnSpPr>
        <p:spPr>
          <a:xfrm>
            <a:off x="2351943" y="2217116"/>
            <a:ext cx="6641086" cy="0"/>
          </a:xfrm>
          <a:prstGeom prst="straightConnector1">
            <a:avLst/>
          </a:prstGeom>
          <a:noFill/>
          <a:ln w="63500" cap="flat" cmpd="sng" algn="ctr">
            <a:solidFill>
              <a:srgbClr val="BAD80A"/>
            </a:solidFill>
            <a:prstDash val="solid"/>
            <a:tailEnd type="triangle"/>
          </a:ln>
          <a:effectLst/>
        </p:spPr>
      </p:cxnSp>
      <p:cxnSp>
        <p:nvCxnSpPr>
          <p:cNvPr id="7" name="Straight Arrow Connector 6"/>
          <p:cNvCxnSpPr/>
          <p:nvPr/>
        </p:nvCxnSpPr>
        <p:spPr>
          <a:xfrm>
            <a:off x="2286360" y="2491433"/>
            <a:ext cx="6625569" cy="0"/>
          </a:xfrm>
          <a:prstGeom prst="straightConnector1">
            <a:avLst/>
          </a:prstGeom>
          <a:noFill/>
          <a:ln w="63500" cap="flat" cmpd="sng" algn="ctr">
            <a:solidFill>
              <a:srgbClr val="BAD80A"/>
            </a:solidFill>
            <a:prstDash val="solid"/>
            <a:headEnd type="triangle"/>
            <a:tailEnd type="none"/>
          </a:ln>
          <a:effectLst/>
        </p:spPr>
      </p:cxnSp>
      <p:sp>
        <p:nvSpPr>
          <p:cNvPr id="8" name="TextBox 7"/>
          <p:cNvSpPr txBox="1"/>
          <p:nvPr/>
        </p:nvSpPr>
        <p:spPr>
          <a:xfrm>
            <a:off x="10698748" y="2894887"/>
            <a:ext cx="2137332" cy="400110"/>
          </a:xfrm>
          <a:prstGeom prst="rect">
            <a:avLst/>
          </a:prstGeom>
          <a:noFill/>
        </p:spPr>
        <p:txBody>
          <a:bodyPr wrap="square" rtlCol="0">
            <a:spAutoFit/>
          </a:bodyPr>
          <a:lstStyle/>
          <a:p>
            <a:r>
              <a:rPr lang="en-US" sz="2000" dirty="0">
                <a:solidFill>
                  <a:srgbClr val="505050"/>
                </a:solidFill>
                <a:latin typeface="Segoe UI Light" panose="020B0502040204020203" pitchFamily="34" charset="0"/>
                <a:cs typeface="Segoe UI Light" panose="020B0502040204020203" pitchFamily="34" charset="0"/>
              </a:rPr>
              <a:t>Requested File</a:t>
            </a:r>
          </a:p>
        </p:txBody>
      </p:sp>
      <p:sp>
        <p:nvSpPr>
          <p:cNvPr id="9" name="TextBox 8"/>
          <p:cNvSpPr txBox="1"/>
          <p:nvPr/>
        </p:nvSpPr>
        <p:spPr>
          <a:xfrm>
            <a:off x="34702" y="3598849"/>
            <a:ext cx="2560292" cy="400110"/>
          </a:xfrm>
          <a:prstGeom prst="rect">
            <a:avLst/>
          </a:prstGeom>
          <a:noFill/>
        </p:spPr>
        <p:txBody>
          <a:bodyPr wrap="square" rtlCol="0">
            <a:spAutoFit/>
          </a:bodyPr>
          <a:lstStyle/>
          <a:p>
            <a:r>
              <a:rPr lang="en-US" sz="2000" dirty="0">
                <a:solidFill>
                  <a:srgbClr val="505050"/>
                </a:solidFill>
                <a:latin typeface="Segoe UI Light" panose="020B0502040204020203" pitchFamily="34" charset="0"/>
                <a:cs typeface="Segoe UI Light" panose="020B0502040204020203" pitchFamily="34" charset="0"/>
              </a:rPr>
              <a:t>User (London, UK)</a:t>
            </a:r>
          </a:p>
        </p:txBody>
      </p:sp>
      <p:pic>
        <p:nvPicPr>
          <p:cNvPr id="10" name="Picture 9"/>
          <p:cNvPicPr>
            <a:picLocks noChangeAspect="1"/>
          </p:cNvPicPr>
          <p:nvPr/>
        </p:nvPicPr>
        <p:blipFill>
          <a:blip r:embed="rId5"/>
          <a:stretch>
            <a:fillRect/>
          </a:stretch>
        </p:blipFill>
        <p:spPr>
          <a:xfrm>
            <a:off x="9144153" y="1871239"/>
            <a:ext cx="1230936" cy="1038305"/>
          </a:xfrm>
          <a:prstGeom prst="rect">
            <a:avLst/>
          </a:prstGeom>
        </p:spPr>
      </p:pic>
      <p:sp>
        <p:nvSpPr>
          <p:cNvPr id="11" name="TextBox 10"/>
          <p:cNvSpPr txBox="1"/>
          <p:nvPr/>
        </p:nvSpPr>
        <p:spPr>
          <a:xfrm>
            <a:off x="9020451" y="2915706"/>
            <a:ext cx="1794845" cy="707886"/>
          </a:xfrm>
          <a:prstGeom prst="rect">
            <a:avLst/>
          </a:prstGeom>
          <a:noFill/>
        </p:spPr>
        <p:txBody>
          <a:bodyPr wrap="square" rtlCol="0">
            <a:spAutoFit/>
          </a:bodyPr>
          <a:lstStyle/>
          <a:p>
            <a:r>
              <a:rPr lang="en-US" sz="2000" dirty="0">
                <a:solidFill>
                  <a:srgbClr val="505050"/>
                </a:solidFill>
                <a:latin typeface="Segoe UI Light" panose="020B0502040204020203" pitchFamily="34" charset="0"/>
                <a:cs typeface="Segoe UI Light" panose="020B0502040204020203" pitchFamily="34" charset="0"/>
              </a:rPr>
              <a:t>Blob Storage</a:t>
            </a:r>
          </a:p>
          <a:p>
            <a:r>
              <a:rPr lang="en-US" sz="2000" dirty="0">
                <a:solidFill>
                  <a:srgbClr val="505050"/>
                </a:solidFill>
                <a:latin typeface="Segoe UI Light" panose="020B0502040204020203" pitchFamily="34" charset="0"/>
                <a:cs typeface="Segoe UI Light" panose="020B0502040204020203" pitchFamily="34" charset="0"/>
              </a:rPr>
              <a:t>  (West US)</a:t>
            </a:r>
          </a:p>
        </p:txBody>
      </p:sp>
      <p:cxnSp>
        <p:nvCxnSpPr>
          <p:cNvPr id="12" name="Straight Arrow Connector 11"/>
          <p:cNvCxnSpPr/>
          <p:nvPr/>
        </p:nvCxnSpPr>
        <p:spPr>
          <a:xfrm>
            <a:off x="10287273" y="2424037"/>
            <a:ext cx="502914" cy="0"/>
          </a:xfrm>
          <a:prstGeom prst="straightConnector1">
            <a:avLst/>
          </a:prstGeom>
          <a:noFill/>
          <a:ln w="63500" cap="flat" cmpd="sng" algn="ctr">
            <a:solidFill>
              <a:srgbClr val="BAD80A"/>
            </a:solidFill>
            <a:prstDash val="solid"/>
            <a:headEnd type="triangle"/>
            <a:tailEnd type="none"/>
          </a:ln>
          <a:effectLst/>
        </p:spPr>
      </p:cxnSp>
      <p:pic>
        <p:nvPicPr>
          <p:cNvPr id="13" name="Picture 12"/>
          <p:cNvPicPr>
            <a:picLocks noChangeAspect="1"/>
          </p:cNvPicPr>
          <p:nvPr/>
        </p:nvPicPr>
        <p:blipFill>
          <a:blip r:embed="rId6"/>
          <a:stretch>
            <a:fillRect/>
          </a:stretch>
        </p:blipFill>
        <p:spPr>
          <a:xfrm>
            <a:off x="6657174" y="3062588"/>
            <a:ext cx="1344745" cy="946301"/>
          </a:xfrm>
          <a:prstGeom prst="rect">
            <a:avLst/>
          </a:prstGeom>
        </p:spPr>
      </p:pic>
      <p:sp>
        <p:nvSpPr>
          <p:cNvPr id="14" name="TextBox 13"/>
          <p:cNvSpPr txBox="1"/>
          <p:nvPr/>
        </p:nvSpPr>
        <p:spPr>
          <a:xfrm>
            <a:off x="6747636" y="4023915"/>
            <a:ext cx="2175403" cy="1015663"/>
          </a:xfrm>
          <a:prstGeom prst="rect">
            <a:avLst/>
          </a:prstGeom>
          <a:noFill/>
        </p:spPr>
        <p:txBody>
          <a:bodyPr wrap="square" rtlCol="0">
            <a:spAutoFit/>
          </a:bodyPr>
          <a:lstStyle/>
          <a:p>
            <a:r>
              <a:rPr lang="en-US" sz="2000" dirty="0">
                <a:solidFill>
                  <a:srgbClr val="505050"/>
                </a:solidFill>
                <a:latin typeface="Segoe UI Light" panose="020B0502040204020203" pitchFamily="34" charset="0"/>
                <a:cs typeface="Segoe UI Light" panose="020B0502040204020203" pitchFamily="34" charset="0"/>
              </a:rPr>
              <a:t>CDN Endpoint</a:t>
            </a:r>
          </a:p>
          <a:p>
            <a:r>
              <a:rPr lang="en-US" sz="2000" dirty="0">
                <a:solidFill>
                  <a:srgbClr val="505050"/>
                </a:solidFill>
                <a:latin typeface="Segoe UI Light" panose="020B0502040204020203" pitchFamily="34" charset="0"/>
                <a:cs typeface="Segoe UI Light" panose="020B0502040204020203" pitchFamily="34" charset="0"/>
              </a:rPr>
              <a:t>    (London Europe)</a:t>
            </a:r>
          </a:p>
        </p:txBody>
      </p:sp>
      <p:cxnSp>
        <p:nvCxnSpPr>
          <p:cNvPr id="15" name="Straight Arrow Connector 14"/>
          <p:cNvCxnSpPr/>
          <p:nvPr/>
        </p:nvCxnSpPr>
        <p:spPr>
          <a:xfrm>
            <a:off x="2374881" y="3497262"/>
            <a:ext cx="4300551" cy="0"/>
          </a:xfrm>
          <a:prstGeom prst="straightConnector1">
            <a:avLst/>
          </a:prstGeom>
          <a:noFill/>
          <a:ln w="63500" cap="flat" cmpd="sng" algn="ctr">
            <a:solidFill>
              <a:srgbClr val="BAD80A"/>
            </a:solidFill>
            <a:prstDash val="solid"/>
            <a:tailEnd type="triangle"/>
          </a:ln>
          <a:effectLst/>
        </p:spPr>
      </p:cxnSp>
      <p:cxnSp>
        <p:nvCxnSpPr>
          <p:cNvPr id="16" name="Straight Arrow Connector 15"/>
          <p:cNvCxnSpPr>
            <a:stCxn id="13" idx="3"/>
          </p:cNvCxnSpPr>
          <p:nvPr/>
        </p:nvCxnSpPr>
        <p:spPr>
          <a:xfrm flipV="1">
            <a:off x="8001919" y="2758123"/>
            <a:ext cx="960373" cy="777616"/>
          </a:xfrm>
          <a:prstGeom prst="straightConnector1">
            <a:avLst/>
          </a:prstGeom>
          <a:noFill/>
          <a:ln w="63500" cap="flat" cmpd="sng" algn="ctr">
            <a:solidFill>
              <a:srgbClr val="BAD80A"/>
            </a:solidFill>
            <a:prstDash val="solid"/>
            <a:headEnd type="triangle"/>
            <a:tailEnd type="none"/>
          </a:ln>
          <a:effectLst/>
        </p:spPr>
      </p:cxnSp>
      <p:cxnSp>
        <p:nvCxnSpPr>
          <p:cNvPr id="17" name="Straight Arrow Connector 16"/>
          <p:cNvCxnSpPr/>
          <p:nvPr/>
        </p:nvCxnSpPr>
        <p:spPr>
          <a:xfrm>
            <a:off x="2350199" y="3777709"/>
            <a:ext cx="4233794" cy="0"/>
          </a:xfrm>
          <a:prstGeom prst="straightConnector1">
            <a:avLst/>
          </a:prstGeom>
          <a:noFill/>
          <a:ln w="63500" cap="flat" cmpd="sng" algn="ctr">
            <a:solidFill>
              <a:srgbClr val="BAD80A"/>
            </a:solidFill>
            <a:prstDash val="solid"/>
            <a:headEnd type="triangle"/>
            <a:tailEnd type="none"/>
          </a:ln>
          <a:effectLst/>
        </p:spPr>
      </p:cxnSp>
      <p:sp>
        <p:nvSpPr>
          <p:cNvPr id="18" name="TextBox 17"/>
          <p:cNvSpPr txBox="1"/>
          <p:nvPr/>
        </p:nvSpPr>
        <p:spPr>
          <a:xfrm>
            <a:off x="2236882" y="5531440"/>
            <a:ext cx="8110785" cy="584775"/>
          </a:xfrm>
          <a:prstGeom prst="rect">
            <a:avLst/>
          </a:prstGeom>
          <a:noFill/>
        </p:spPr>
        <p:txBody>
          <a:bodyPr wrap="square" rtlCol="0">
            <a:spAutoFit/>
          </a:bodyPr>
          <a:lstStyle/>
          <a:p>
            <a:r>
              <a:rPr lang="en-US" sz="3200" b="1" dirty="0">
                <a:solidFill>
                  <a:srgbClr val="00BCF2"/>
                </a:solidFill>
                <a:latin typeface="Segoe UI Light" panose="020B0502040204020203" pitchFamily="34" charset="0"/>
                <a:cs typeface="Segoe UI Light" panose="020B0502040204020203" pitchFamily="34" charset="0"/>
              </a:rPr>
              <a:t>Reduced Latency</a:t>
            </a:r>
          </a:p>
        </p:txBody>
      </p:sp>
      <p:grpSp>
        <p:nvGrpSpPr>
          <p:cNvPr id="19" name="Group 18"/>
          <p:cNvGrpSpPr/>
          <p:nvPr/>
        </p:nvGrpSpPr>
        <p:grpSpPr>
          <a:xfrm>
            <a:off x="2350199" y="1789049"/>
            <a:ext cx="6561730" cy="274318"/>
            <a:chOff x="2350199" y="1455125"/>
            <a:chExt cx="6561730" cy="274318"/>
          </a:xfrm>
        </p:grpSpPr>
        <p:cxnSp>
          <p:nvCxnSpPr>
            <p:cNvPr id="20" name="Straight Connector 19"/>
            <p:cNvCxnSpPr/>
            <p:nvPr/>
          </p:nvCxnSpPr>
          <p:spPr>
            <a:xfrm>
              <a:off x="2350199" y="1577043"/>
              <a:ext cx="6561730" cy="0"/>
            </a:xfrm>
            <a:prstGeom prst="line">
              <a:avLst/>
            </a:prstGeom>
            <a:noFill/>
            <a:ln w="38100" cap="sq" cmpd="sng" algn="ctr">
              <a:solidFill>
                <a:srgbClr val="505050"/>
              </a:solidFill>
              <a:prstDash val="solid"/>
              <a:bevel/>
              <a:headEnd type="none"/>
              <a:tailEnd type="none"/>
            </a:ln>
            <a:effectLst/>
          </p:spPr>
        </p:cxnSp>
        <p:cxnSp>
          <p:nvCxnSpPr>
            <p:cNvPr id="21" name="Straight Connector 20"/>
            <p:cNvCxnSpPr/>
            <p:nvPr/>
          </p:nvCxnSpPr>
          <p:spPr>
            <a:xfrm>
              <a:off x="2351943" y="1455125"/>
              <a:ext cx="0" cy="274317"/>
            </a:xfrm>
            <a:prstGeom prst="line">
              <a:avLst/>
            </a:prstGeom>
            <a:noFill/>
            <a:ln w="38100" cap="flat" cmpd="sng" algn="ctr">
              <a:solidFill>
                <a:srgbClr val="505050"/>
              </a:solidFill>
              <a:prstDash val="solid"/>
            </a:ln>
            <a:effectLst/>
          </p:spPr>
        </p:cxnSp>
        <p:cxnSp>
          <p:nvCxnSpPr>
            <p:cNvPr id="22" name="Straight Connector 21"/>
            <p:cNvCxnSpPr/>
            <p:nvPr/>
          </p:nvCxnSpPr>
          <p:spPr>
            <a:xfrm>
              <a:off x="8911929" y="1455126"/>
              <a:ext cx="0" cy="274317"/>
            </a:xfrm>
            <a:prstGeom prst="line">
              <a:avLst/>
            </a:prstGeom>
            <a:noFill/>
            <a:ln w="38100" cap="flat" cmpd="sng" algn="ctr">
              <a:solidFill>
                <a:srgbClr val="505050"/>
              </a:solidFill>
              <a:prstDash val="solid"/>
            </a:ln>
            <a:effectLst/>
          </p:spPr>
        </p:cxnSp>
      </p:grpSp>
      <p:sp>
        <p:nvSpPr>
          <p:cNvPr id="23" name="TextBox 22"/>
          <p:cNvSpPr txBox="1"/>
          <p:nvPr/>
        </p:nvSpPr>
        <p:spPr>
          <a:xfrm>
            <a:off x="2391621" y="1444223"/>
            <a:ext cx="6531418" cy="369332"/>
          </a:xfrm>
          <a:prstGeom prst="rect">
            <a:avLst/>
          </a:prstGeom>
          <a:noFill/>
        </p:spPr>
        <p:txBody>
          <a:bodyPr wrap="square" rtlCol="0">
            <a:spAutoFit/>
          </a:bodyPr>
          <a:lstStyle/>
          <a:p>
            <a:r>
              <a:rPr lang="en-US" sz="1800" dirty="0">
                <a:solidFill>
                  <a:srgbClr val="505050"/>
                </a:solidFill>
                <a:cs typeface="Segoe UI" panose="020B0502040204020203" pitchFamily="34" charset="0"/>
              </a:rPr>
              <a:t>Traverse from London to West US - More Hops</a:t>
            </a:r>
          </a:p>
        </p:txBody>
      </p:sp>
      <p:grpSp>
        <p:nvGrpSpPr>
          <p:cNvPr id="24" name="Group 23"/>
          <p:cNvGrpSpPr/>
          <p:nvPr/>
        </p:nvGrpSpPr>
        <p:grpSpPr>
          <a:xfrm>
            <a:off x="2391621" y="4367370"/>
            <a:ext cx="4192372" cy="318599"/>
            <a:chOff x="2377799" y="4049424"/>
            <a:chExt cx="4558128" cy="318599"/>
          </a:xfrm>
        </p:grpSpPr>
        <p:cxnSp>
          <p:nvCxnSpPr>
            <p:cNvPr id="25" name="Straight Connector 24"/>
            <p:cNvCxnSpPr/>
            <p:nvPr/>
          </p:nvCxnSpPr>
          <p:spPr>
            <a:xfrm>
              <a:off x="2377799" y="4191022"/>
              <a:ext cx="4558128" cy="0"/>
            </a:xfrm>
            <a:prstGeom prst="line">
              <a:avLst/>
            </a:prstGeom>
            <a:noFill/>
            <a:ln w="38100" cap="sq" cmpd="sng" algn="ctr">
              <a:solidFill>
                <a:srgbClr val="505050"/>
              </a:solidFill>
              <a:prstDash val="solid"/>
              <a:bevel/>
              <a:headEnd type="none"/>
              <a:tailEnd type="none"/>
            </a:ln>
            <a:effectLst/>
          </p:spPr>
        </p:cxnSp>
        <p:cxnSp>
          <p:nvCxnSpPr>
            <p:cNvPr id="26" name="Straight Connector 25"/>
            <p:cNvCxnSpPr/>
            <p:nvPr/>
          </p:nvCxnSpPr>
          <p:spPr>
            <a:xfrm>
              <a:off x="2377799" y="4049424"/>
              <a:ext cx="0" cy="318598"/>
            </a:xfrm>
            <a:prstGeom prst="line">
              <a:avLst/>
            </a:prstGeom>
            <a:noFill/>
            <a:ln w="38100" cap="flat" cmpd="sng" algn="ctr">
              <a:solidFill>
                <a:srgbClr val="505050"/>
              </a:solidFill>
              <a:prstDash val="solid"/>
            </a:ln>
            <a:effectLst/>
          </p:spPr>
        </p:cxnSp>
        <p:cxnSp>
          <p:nvCxnSpPr>
            <p:cNvPr id="27" name="Straight Connector 26"/>
            <p:cNvCxnSpPr/>
            <p:nvPr/>
          </p:nvCxnSpPr>
          <p:spPr>
            <a:xfrm>
              <a:off x="6935927" y="4049425"/>
              <a:ext cx="0" cy="318598"/>
            </a:xfrm>
            <a:prstGeom prst="line">
              <a:avLst/>
            </a:prstGeom>
            <a:noFill/>
            <a:ln w="38100" cap="flat" cmpd="sng" algn="ctr">
              <a:solidFill>
                <a:srgbClr val="505050"/>
              </a:solidFill>
              <a:prstDash val="solid"/>
            </a:ln>
            <a:effectLst/>
          </p:spPr>
        </p:cxnSp>
      </p:grpSp>
      <p:sp>
        <p:nvSpPr>
          <p:cNvPr id="28" name="TextBox 27"/>
          <p:cNvSpPr txBox="1"/>
          <p:nvPr/>
        </p:nvSpPr>
        <p:spPr>
          <a:xfrm>
            <a:off x="2258751" y="3997498"/>
            <a:ext cx="6531418" cy="338554"/>
          </a:xfrm>
          <a:prstGeom prst="rect">
            <a:avLst/>
          </a:prstGeom>
          <a:noFill/>
        </p:spPr>
        <p:txBody>
          <a:bodyPr wrap="square" rtlCol="0">
            <a:spAutoFit/>
          </a:bodyPr>
          <a:lstStyle/>
          <a:p>
            <a:r>
              <a:rPr lang="en-US" sz="1600" dirty="0">
                <a:solidFill>
                  <a:srgbClr val="505050"/>
                </a:solidFill>
                <a:cs typeface="Segoe UI" panose="020B0502040204020203" pitchFamily="34" charset="0"/>
              </a:rPr>
              <a:t>Resolved to closest edge endpoint (Less Hops)</a:t>
            </a:r>
          </a:p>
        </p:txBody>
      </p:sp>
      <p:sp>
        <p:nvSpPr>
          <p:cNvPr id="29" name="TextBox 28"/>
          <p:cNvSpPr txBox="1"/>
          <p:nvPr/>
        </p:nvSpPr>
        <p:spPr>
          <a:xfrm>
            <a:off x="2531635" y="2177681"/>
            <a:ext cx="6531418" cy="338554"/>
          </a:xfrm>
          <a:prstGeom prst="rect">
            <a:avLst/>
          </a:prstGeom>
          <a:noFill/>
        </p:spPr>
        <p:txBody>
          <a:bodyPr wrap="square" rtlCol="0">
            <a:spAutoFit/>
          </a:bodyPr>
          <a:lstStyle/>
          <a:p>
            <a:r>
              <a:rPr lang="en-US" sz="1600" dirty="0">
                <a:solidFill>
                  <a:srgbClr val="505050"/>
                </a:solidFill>
                <a:cs typeface="Segoe UI" panose="020B0502040204020203" pitchFamily="34" charset="0"/>
              </a:rPr>
              <a:t>http://mystorage.blob.core.windows.net/imgs/splash.png</a:t>
            </a:r>
          </a:p>
        </p:txBody>
      </p:sp>
      <p:sp>
        <p:nvSpPr>
          <p:cNvPr id="30" name="TextBox 29"/>
          <p:cNvSpPr txBox="1"/>
          <p:nvPr/>
        </p:nvSpPr>
        <p:spPr>
          <a:xfrm>
            <a:off x="2271694" y="3468925"/>
            <a:ext cx="4521019" cy="338554"/>
          </a:xfrm>
          <a:prstGeom prst="rect">
            <a:avLst/>
          </a:prstGeom>
          <a:noFill/>
        </p:spPr>
        <p:txBody>
          <a:bodyPr wrap="square" rtlCol="0">
            <a:spAutoFit/>
          </a:bodyPr>
          <a:lstStyle/>
          <a:p>
            <a:r>
              <a:rPr lang="en-US" sz="1600" dirty="0">
                <a:solidFill>
                  <a:srgbClr val="505050"/>
                </a:solidFill>
                <a:cs typeface="Segoe UI" panose="020B0502040204020203" pitchFamily="34" charset="0"/>
              </a:rPr>
              <a:t>http://az590680.vo.msecnd.net/imgs/splash.png</a:t>
            </a:r>
          </a:p>
        </p:txBody>
      </p:sp>
    </p:spTree>
    <p:extLst>
      <p:ext uri="{BB962C8B-B14F-4D97-AF65-F5344CB8AC3E}">
        <p14:creationId xmlns:p14="http://schemas.microsoft.com/office/powerpoint/2010/main" val="80703833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9"/>
                                        </p:tgtEl>
                                        <p:attrNameLst>
                                          <p:attrName>style.visibility</p:attrName>
                                        </p:attrNameLst>
                                      </p:cBhvr>
                                      <p:to>
                                        <p:strVal val="visible"/>
                                      </p:to>
                                    </p:set>
                                    <p:animEffect transition="in" filter="fade">
                                      <p:cBhvr>
                                        <p:cTn id="10" dur="500"/>
                                        <p:tgtEl>
                                          <p:spTgt spid="9"/>
                                        </p:tgtEl>
                                      </p:cBhvr>
                                    </p:animEffect>
                                  </p:childTnLst>
                                </p:cTn>
                              </p:par>
                              <p:par>
                                <p:cTn id="11" presetID="10" presetClass="entr" presetSubtype="0" fill="hold" nodeType="withEffect">
                                  <p:stCondLst>
                                    <p:cond delay="0"/>
                                  </p:stCondLst>
                                  <p:childTnLst>
                                    <p:set>
                                      <p:cBhvr>
                                        <p:cTn id="12" dur="1" fill="hold">
                                          <p:stCondLst>
                                            <p:cond delay="0"/>
                                          </p:stCondLst>
                                        </p:cTn>
                                        <p:tgtEl>
                                          <p:spTgt spid="10"/>
                                        </p:tgtEl>
                                        <p:attrNameLst>
                                          <p:attrName>style.visibility</p:attrName>
                                        </p:attrNameLst>
                                      </p:cBhvr>
                                      <p:to>
                                        <p:strVal val="visible"/>
                                      </p:to>
                                    </p:set>
                                    <p:animEffect transition="in" filter="fade">
                                      <p:cBhvr>
                                        <p:cTn id="13" dur="500"/>
                                        <p:tgtEl>
                                          <p:spTgt spid="10"/>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11"/>
                                        </p:tgtEl>
                                        <p:attrNameLst>
                                          <p:attrName>style.visibility</p:attrName>
                                        </p:attrNameLst>
                                      </p:cBhvr>
                                      <p:to>
                                        <p:strVal val="visible"/>
                                      </p:to>
                                    </p:set>
                                    <p:animEffect transition="in" filter="fade">
                                      <p:cBhvr>
                                        <p:cTn id="16" dur="500"/>
                                        <p:tgtEl>
                                          <p:spTgt spid="11"/>
                                        </p:tgtEl>
                                      </p:cBhvr>
                                    </p:animEffect>
                                  </p:childTnLst>
                                </p:cTn>
                              </p:par>
                              <p:par>
                                <p:cTn id="17" presetID="10" presetClass="entr" presetSubtype="0" fill="hold" nodeType="withEffect">
                                  <p:stCondLst>
                                    <p:cond delay="0"/>
                                  </p:stCondLst>
                                  <p:childTnLst>
                                    <p:set>
                                      <p:cBhvr>
                                        <p:cTn id="18" dur="1" fill="hold">
                                          <p:stCondLst>
                                            <p:cond delay="0"/>
                                          </p:stCondLst>
                                        </p:cTn>
                                        <p:tgtEl>
                                          <p:spTgt spid="12"/>
                                        </p:tgtEl>
                                        <p:attrNameLst>
                                          <p:attrName>style.visibility</p:attrName>
                                        </p:attrNameLst>
                                      </p:cBhvr>
                                      <p:to>
                                        <p:strVal val="visible"/>
                                      </p:to>
                                    </p:set>
                                    <p:animEffect transition="in" filter="fade">
                                      <p:cBhvr>
                                        <p:cTn id="19" dur="500"/>
                                        <p:tgtEl>
                                          <p:spTgt spid="12"/>
                                        </p:tgtEl>
                                      </p:cBhvr>
                                    </p:animEffect>
                                  </p:childTnLst>
                                </p:cTn>
                              </p:par>
                              <p:par>
                                <p:cTn id="20" presetID="10" presetClass="entr" presetSubtype="0" fill="hold" nodeType="withEffect">
                                  <p:stCondLst>
                                    <p:cond delay="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500"/>
                                        <p:tgtEl>
                                          <p:spTgt spid="5"/>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8"/>
                                        </p:tgtEl>
                                        <p:attrNameLst>
                                          <p:attrName>style.visibility</p:attrName>
                                        </p:attrNameLst>
                                      </p:cBhvr>
                                      <p:to>
                                        <p:strVal val="visible"/>
                                      </p:to>
                                    </p:set>
                                    <p:animEffect transition="in" filter="fade">
                                      <p:cBhvr>
                                        <p:cTn id="25" dur="500"/>
                                        <p:tgtEl>
                                          <p:spTgt spid="8"/>
                                        </p:tgtEl>
                                      </p:cBhvr>
                                    </p:animEffect>
                                  </p:childTnLst>
                                </p:cTn>
                              </p:par>
                              <p:par>
                                <p:cTn id="26" presetID="10" presetClass="entr" presetSubtype="0" fill="hold" nodeType="withEffect">
                                  <p:stCondLst>
                                    <p:cond delay="0"/>
                                  </p:stCondLst>
                                  <p:childTnLst>
                                    <p:set>
                                      <p:cBhvr>
                                        <p:cTn id="27" dur="1" fill="hold">
                                          <p:stCondLst>
                                            <p:cond delay="0"/>
                                          </p:stCondLst>
                                        </p:cTn>
                                        <p:tgtEl>
                                          <p:spTgt spid="6"/>
                                        </p:tgtEl>
                                        <p:attrNameLst>
                                          <p:attrName>style.visibility</p:attrName>
                                        </p:attrNameLst>
                                      </p:cBhvr>
                                      <p:to>
                                        <p:strVal val="visible"/>
                                      </p:to>
                                    </p:set>
                                    <p:animEffect transition="in" filter="fade">
                                      <p:cBhvr>
                                        <p:cTn id="28" dur="500"/>
                                        <p:tgtEl>
                                          <p:spTgt spid="6"/>
                                        </p:tgtEl>
                                      </p:cBhvr>
                                    </p:animEffect>
                                  </p:childTnLst>
                                </p:cTn>
                              </p:par>
                              <p:par>
                                <p:cTn id="29" presetID="10" presetClass="entr" presetSubtype="0" fill="hold" nodeType="withEffect">
                                  <p:stCondLst>
                                    <p:cond delay="0"/>
                                  </p:stCondLst>
                                  <p:childTnLst>
                                    <p:set>
                                      <p:cBhvr>
                                        <p:cTn id="30" dur="1" fill="hold">
                                          <p:stCondLst>
                                            <p:cond delay="0"/>
                                          </p:stCondLst>
                                        </p:cTn>
                                        <p:tgtEl>
                                          <p:spTgt spid="7"/>
                                        </p:tgtEl>
                                        <p:attrNameLst>
                                          <p:attrName>style.visibility</p:attrName>
                                        </p:attrNameLst>
                                      </p:cBhvr>
                                      <p:to>
                                        <p:strVal val="visible"/>
                                      </p:to>
                                    </p:set>
                                    <p:animEffect transition="in" filter="fade">
                                      <p:cBhvr>
                                        <p:cTn id="31" dur="500"/>
                                        <p:tgtEl>
                                          <p:spTgt spid="7"/>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29"/>
                                        </p:tgtEl>
                                        <p:attrNameLst>
                                          <p:attrName>style.visibility</p:attrName>
                                        </p:attrNameLst>
                                      </p:cBhvr>
                                      <p:to>
                                        <p:strVal val="visible"/>
                                      </p:to>
                                    </p:set>
                                    <p:animEffect transition="in" filter="fade">
                                      <p:cBhvr>
                                        <p:cTn id="34" dur="500"/>
                                        <p:tgtEl>
                                          <p:spTgt spid="29"/>
                                        </p:tgtEl>
                                      </p:cBhvr>
                                    </p:animEffect>
                                  </p:childTnLst>
                                </p:cTn>
                              </p:par>
                            </p:childTnLst>
                          </p:cTn>
                        </p:par>
                      </p:childTnLst>
                    </p:cTn>
                  </p:par>
                  <p:par>
                    <p:cTn id="35" fill="hold">
                      <p:stCondLst>
                        <p:cond delay="indefinite"/>
                      </p:stCondLst>
                      <p:childTnLst>
                        <p:par>
                          <p:cTn id="36" fill="hold">
                            <p:stCondLst>
                              <p:cond delay="0"/>
                            </p:stCondLst>
                            <p:childTnLst>
                              <p:par>
                                <p:cTn id="37" presetID="10" presetClass="entr" presetSubtype="0" fill="hold" nodeType="clickEffect">
                                  <p:stCondLst>
                                    <p:cond delay="0"/>
                                  </p:stCondLst>
                                  <p:childTnLst>
                                    <p:set>
                                      <p:cBhvr>
                                        <p:cTn id="38" dur="1" fill="hold">
                                          <p:stCondLst>
                                            <p:cond delay="0"/>
                                          </p:stCondLst>
                                        </p:cTn>
                                        <p:tgtEl>
                                          <p:spTgt spid="15"/>
                                        </p:tgtEl>
                                        <p:attrNameLst>
                                          <p:attrName>style.visibility</p:attrName>
                                        </p:attrNameLst>
                                      </p:cBhvr>
                                      <p:to>
                                        <p:strVal val="visible"/>
                                      </p:to>
                                    </p:set>
                                    <p:animEffect transition="in" filter="fade">
                                      <p:cBhvr>
                                        <p:cTn id="39" dur="500"/>
                                        <p:tgtEl>
                                          <p:spTgt spid="15"/>
                                        </p:tgtEl>
                                      </p:cBhvr>
                                    </p:animEffect>
                                  </p:childTnLst>
                                </p:cTn>
                              </p:par>
                              <p:par>
                                <p:cTn id="40" presetID="10" presetClass="entr" presetSubtype="0" fill="hold" nodeType="withEffect">
                                  <p:stCondLst>
                                    <p:cond delay="0"/>
                                  </p:stCondLst>
                                  <p:childTnLst>
                                    <p:set>
                                      <p:cBhvr>
                                        <p:cTn id="41" dur="1" fill="hold">
                                          <p:stCondLst>
                                            <p:cond delay="0"/>
                                          </p:stCondLst>
                                        </p:cTn>
                                        <p:tgtEl>
                                          <p:spTgt spid="17"/>
                                        </p:tgtEl>
                                        <p:attrNameLst>
                                          <p:attrName>style.visibility</p:attrName>
                                        </p:attrNameLst>
                                      </p:cBhvr>
                                      <p:to>
                                        <p:strVal val="visible"/>
                                      </p:to>
                                    </p:set>
                                    <p:animEffect transition="in" filter="fade">
                                      <p:cBhvr>
                                        <p:cTn id="42" dur="500"/>
                                        <p:tgtEl>
                                          <p:spTgt spid="17"/>
                                        </p:tgtEl>
                                      </p:cBhvr>
                                    </p:animEffect>
                                  </p:childTnLst>
                                </p:cTn>
                              </p:par>
                              <p:par>
                                <p:cTn id="43" presetID="10" presetClass="entr" presetSubtype="0" fill="hold" nodeType="withEffect">
                                  <p:stCondLst>
                                    <p:cond delay="0"/>
                                  </p:stCondLst>
                                  <p:childTnLst>
                                    <p:set>
                                      <p:cBhvr>
                                        <p:cTn id="44" dur="1" fill="hold">
                                          <p:stCondLst>
                                            <p:cond delay="0"/>
                                          </p:stCondLst>
                                        </p:cTn>
                                        <p:tgtEl>
                                          <p:spTgt spid="13"/>
                                        </p:tgtEl>
                                        <p:attrNameLst>
                                          <p:attrName>style.visibility</p:attrName>
                                        </p:attrNameLst>
                                      </p:cBhvr>
                                      <p:to>
                                        <p:strVal val="visible"/>
                                      </p:to>
                                    </p:set>
                                    <p:animEffect transition="in" filter="fade">
                                      <p:cBhvr>
                                        <p:cTn id="45" dur="500"/>
                                        <p:tgtEl>
                                          <p:spTgt spid="13"/>
                                        </p:tgtEl>
                                      </p:cBhvr>
                                    </p:animEffect>
                                  </p:childTnLst>
                                </p:cTn>
                              </p:par>
                              <p:par>
                                <p:cTn id="46" presetID="10" presetClass="entr" presetSubtype="0" fill="hold" grpId="0" nodeType="withEffect">
                                  <p:stCondLst>
                                    <p:cond delay="0"/>
                                  </p:stCondLst>
                                  <p:childTnLst>
                                    <p:set>
                                      <p:cBhvr>
                                        <p:cTn id="47" dur="1" fill="hold">
                                          <p:stCondLst>
                                            <p:cond delay="0"/>
                                          </p:stCondLst>
                                        </p:cTn>
                                        <p:tgtEl>
                                          <p:spTgt spid="14"/>
                                        </p:tgtEl>
                                        <p:attrNameLst>
                                          <p:attrName>style.visibility</p:attrName>
                                        </p:attrNameLst>
                                      </p:cBhvr>
                                      <p:to>
                                        <p:strVal val="visible"/>
                                      </p:to>
                                    </p:set>
                                    <p:animEffect transition="in" filter="fade">
                                      <p:cBhvr>
                                        <p:cTn id="48" dur="500"/>
                                        <p:tgtEl>
                                          <p:spTgt spid="14"/>
                                        </p:tgtEl>
                                      </p:cBhvr>
                                    </p:animEffect>
                                  </p:childTnLst>
                                </p:cTn>
                              </p:par>
                              <p:par>
                                <p:cTn id="49" presetID="10" presetClass="entr" presetSubtype="0" fill="hold" nodeType="withEffect">
                                  <p:stCondLst>
                                    <p:cond delay="0"/>
                                  </p:stCondLst>
                                  <p:childTnLst>
                                    <p:set>
                                      <p:cBhvr>
                                        <p:cTn id="50" dur="1" fill="hold">
                                          <p:stCondLst>
                                            <p:cond delay="0"/>
                                          </p:stCondLst>
                                        </p:cTn>
                                        <p:tgtEl>
                                          <p:spTgt spid="16"/>
                                        </p:tgtEl>
                                        <p:attrNameLst>
                                          <p:attrName>style.visibility</p:attrName>
                                        </p:attrNameLst>
                                      </p:cBhvr>
                                      <p:to>
                                        <p:strVal val="visible"/>
                                      </p:to>
                                    </p:set>
                                    <p:animEffect transition="in" filter="fade">
                                      <p:cBhvr>
                                        <p:cTn id="51" dur="500"/>
                                        <p:tgtEl>
                                          <p:spTgt spid="16"/>
                                        </p:tgtEl>
                                      </p:cBhvr>
                                    </p:animEffect>
                                  </p:childTnLst>
                                </p:cTn>
                              </p:par>
                              <p:par>
                                <p:cTn id="52" presetID="10" presetClass="entr" presetSubtype="0" fill="hold" grpId="0" nodeType="withEffect">
                                  <p:stCondLst>
                                    <p:cond delay="0"/>
                                  </p:stCondLst>
                                  <p:childTnLst>
                                    <p:set>
                                      <p:cBhvr>
                                        <p:cTn id="53" dur="1" fill="hold">
                                          <p:stCondLst>
                                            <p:cond delay="0"/>
                                          </p:stCondLst>
                                        </p:cTn>
                                        <p:tgtEl>
                                          <p:spTgt spid="30"/>
                                        </p:tgtEl>
                                        <p:attrNameLst>
                                          <p:attrName>style.visibility</p:attrName>
                                        </p:attrNameLst>
                                      </p:cBhvr>
                                      <p:to>
                                        <p:strVal val="visible"/>
                                      </p:to>
                                    </p:set>
                                    <p:animEffect transition="in" filter="fade">
                                      <p:cBhvr>
                                        <p:cTn id="54" dur="500"/>
                                        <p:tgtEl>
                                          <p:spTgt spid="30"/>
                                        </p:tgtEl>
                                      </p:cBhvr>
                                    </p:animEffect>
                                  </p:childTnLst>
                                </p:cTn>
                              </p:par>
                            </p:childTnLst>
                          </p:cTn>
                        </p:par>
                      </p:childTnLst>
                    </p:cTn>
                  </p:par>
                  <p:par>
                    <p:cTn id="55" fill="hold">
                      <p:stCondLst>
                        <p:cond delay="indefinite"/>
                      </p:stCondLst>
                      <p:childTnLst>
                        <p:par>
                          <p:cTn id="56" fill="hold">
                            <p:stCondLst>
                              <p:cond delay="0"/>
                            </p:stCondLst>
                            <p:childTnLst>
                              <p:par>
                                <p:cTn id="57" presetID="10" presetClass="entr" presetSubtype="0" fill="hold" grpId="0" nodeType="clickEffect">
                                  <p:stCondLst>
                                    <p:cond delay="0"/>
                                  </p:stCondLst>
                                  <p:childTnLst>
                                    <p:set>
                                      <p:cBhvr>
                                        <p:cTn id="58" dur="1" fill="hold">
                                          <p:stCondLst>
                                            <p:cond delay="0"/>
                                          </p:stCondLst>
                                        </p:cTn>
                                        <p:tgtEl>
                                          <p:spTgt spid="23"/>
                                        </p:tgtEl>
                                        <p:attrNameLst>
                                          <p:attrName>style.visibility</p:attrName>
                                        </p:attrNameLst>
                                      </p:cBhvr>
                                      <p:to>
                                        <p:strVal val="visible"/>
                                      </p:to>
                                    </p:set>
                                    <p:animEffect transition="in" filter="fade">
                                      <p:cBhvr>
                                        <p:cTn id="59" dur="500"/>
                                        <p:tgtEl>
                                          <p:spTgt spid="23"/>
                                        </p:tgtEl>
                                      </p:cBhvr>
                                    </p:animEffect>
                                  </p:childTnLst>
                                </p:cTn>
                              </p:par>
                              <p:par>
                                <p:cTn id="60" presetID="10" presetClass="entr" presetSubtype="0" fill="hold" nodeType="withEffect">
                                  <p:stCondLst>
                                    <p:cond delay="0"/>
                                  </p:stCondLst>
                                  <p:childTnLst>
                                    <p:set>
                                      <p:cBhvr>
                                        <p:cTn id="61" dur="1" fill="hold">
                                          <p:stCondLst>
                                            <p:cond delay="0"/>
                                          </p:stCondLst>
                                        </p:cTn>
                                        <p:tgtEl>
                                          <p:spTgt spid="19"/>
                                        </p:tgtEl>
                                        <p:attrNameLst>
                                          <p:attrName>style.visibility</p:attrName>
                                        </p:attrNameLst>
                                      </p:cBhvr>
                                      <p:to>
                                        <p:strVal val="visible"/>
                                      </p:to>
                                    </p:set>
                                    <p:animEffect transition="in" filter="fade">
                                      <p:cBhvr>
                                        <p:cTn id="62" dur="500"/>
                                        <p:tgtEl>
                                          <p:spTgt spid="19"/>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28"/>
                                        </p:tgtEl>
                                        <p:attrNameLst>
                                          <p:attrName>style.visibility</p:attrName>
                                        </p:attrNameLst>
                                      </p:cBhvr>
                                      <p:to>
                                        <p:strVal val="visible"/>
                                      </p:to>
                                    </p:set>
                                    <p:animEffect transition="in" filter="fade">
                                      <p:cBhvr>
                                        <p:cTn id="65" dur="500"/>
                                        <p:tgtEl>
                                          <p:spTgt spid="28"/>
                                        </p:tgtEl>
                                      </p:cBhvr>
                                    </p:animEffect>
                                  </p:childTnLst>
                                </p:cTn>
                              </p:par>
                              <p:par>
                                <p:cTn id="66" presetID="10" presetClass="entr" presetSubtype="0" fill="hold" nodeType="withEffect">
                                  <p:stCondLst>
                                    <p:cond delay="0"/>
                                  </p:stCondLst>
                                  <p:childTnLst>
                                    <p:set>
                                      <p:cBhvr>
                                        <p:cTn id="67" dur="1" fill="hold">
                                          <p:stCondLst>
                                            <p:cond delay="0"/>
                                          </p:stCondLst>
                                        </p:cTn>
                                        <p:tgtEl>
                                          <p:spTgt spid="24"/>
                                        </p:tgtEl>
                                        <p:attrNameLst>
                                          <p:attrName>style.visibility</p:attrName>
                                        </p:attrNameLst>
                                      </p:cBhvr>
                                      <p:to>
                                        <p:strVal val="visible"/>
                                      </p:to>
                                    </p:set>
                                    <p:animEffect transition="in" filter="fade">
                                      <p:cBhvr>
                                        <p:cTn id="68" dur="500"/>
                                        <p:tgtEl>
                                          <p:spTgt spid="24"/>
                                        </p:tgtEl>
                                      </p:cBhvr>
                                    </p:animEffect>
                                  </p:childTnLst>
                                </p:cTn>
                              </p:par>
                            </p:childTnLst>
                          </p:cTn>
                        </p:par>
                      </p:childTnLst>
                    </p:cTn>
                  </p:par>
                  <p:par>
                    <p:cTn id="69" fill="hold">
                      <p:stCondLst>
                        <p:cond delay="indefinite"/>
                      </p:stCondLst>
                      <p:childTnLst>
                        <p:par>
                          <p:cTn id="70" fill="hold">
                            <p:stCondLst>
                              <p:cond delay="0"/>
                            </p:stCondLst>
                            <p:childTnLst>
                              <p:par>
                                <p:cTn id="71" presetID="10" presetClass="entr" presetSubtype="0" fill="hold" grpId="0" nodeType="clickEffect">
                                  <p:stCondLst>
                                    <p:cond delay="0"/>
                                  </p:stCondLst>
                                  <p:childTnLst>
                                    <p:set>
                                      <p:cBhvr>
                                        <p:cTn id="72" dur="1" fill="hold">
                                          <p:stCondLst>
                                            <p:cond delay="0"/>
                                          </p:stCondLst>
                                        </p:cTn>
                                        <p:tgtEl>
                                          <p:spTgt spid="18"/>
                                        </p:tgtEl>
                                        <p:attrNameLst>
                                          <p:attrName>style.visibility</p:attrName>
                                        </p:attrNameLst>
                                      </p:cBhvr>
                                      <p:to>
                                        <p:strVal val="visible"/>
                                      </p:to>
                                    </p:set>
                                    <p:animEffect transition="in" filter="fade">
                                      <p:cBhvr>
                                        <p:cTn id="73" dur="5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9" grpId="0"/>
      <p:bldP spid="11" grpId="0"/>
      <p:bldP spid="14" grpId="0"/>
      <p:bldP spid="18" grpId="0"/>
      <p:bldP spid="23" grpId="0"/>
      <p:bldP spid="28" grpId="0"/>
      <p:bldP spid="29" grpId="0"/>
      <p:bldP spid="30" grpId="0"/>
    </p:bld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4638" y="2125662"/>
            <a:ext cx="11887200" cy="1181862"/>
          </a:xfrm>
        </p:spPr>
        <p:txBody>
          <a:bodyPr/>
          <a:lstStyle/>
          <a:p>
            <a:r>
              <a:rPr lang="en-US" dirty="0"/>
              <a:t>Case Study</a:t>
            </a:r>
          </a:p>
        </p:txBody>
      </p:sp>
    </p:spTree>
    <p:extLst>
      <p:ext uri="{BB962C8B-B14F-4D97-AF65-F5344CB8AC3E}">
        <p14:creationId xmlns:p14="http://schemas.microsoft.com/office/powerpoint/2010/main" val="41003487"/>
      </p:ext>
    </p:extLst>
  </p:cSld>
  <p:clrMapOvr>
    <a:masterClrMapping/>
  </p:clrMapOvr>
  <p:transition>
    <p:fade/>
  </p:transition>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Placeholder 4"/>
          <p:cNvPicPr>
            <a:picLocks noGrp="1" noChangeAspect="1"/>
          </p:cNvPicPr>
          <p:nvPr>
            <p:ph type="pic" sz="quarter" idx="20"/>
          </p:nvPr>
        </p:nvPicPr>
        <p:blipFill rotWithShape="1">
          <a:blip r:embed="rId3" cstate="print">
            <a:extLst>
              <a:ext uri="{28A0092B-C50C-407E-A947-70E740481C1C}">
                <a14:useLocalDpi xmlns:a14="http://schemas.microsoft.com/office/drawing/2010/main" val="0"/>
              </a:ext>
            </a:extLst>
          </a:blip>
          <a:srcRect/>
          <a:stretch/>
        </p:blipFill>
        <p:spPr/>
      </p:pic>
      <p:sp>
        <p:nvSpPr>
          <p:cNvPr id="13" name="Title 12"/>
          <p:cNvSpPr>
            <a:spLocks noGrp="1"/>
          </p:cNvSpPr>
          <p:nvPr>
            <p:ph type="ctrTitle"/>
          </p:nvPr>
        </p:nvSpPr>
        <p:spPr/>
        <p:txBody>
          <a:bodyPr/>
          <a:lstStyle/>
          <a:p>
            <a:r>
              <a:rPr lang="en-US" dirty="0"/>
              <a:t>Next Games born in the cloud to kill zombies</a:t>
            </a:r>
          </a:p>
        </p:txBody>
      </p:sp>
      <p:sp>
        <p:nvSpPr>
          <p:cNvPr id="14" name="Text Placeholder 13"/>
          <p:cNvSpPr>
            <a:spLocks noGrp="1"/>
          </p:cNvSpPr>
          <p:nvPr>
            <p:ph type="body" sz="quarter" idx="11"/>
          </p:nvPr>
        </p:nvSpPr>
        <p:spPr/>
        <p:txBody>
          <a:bodyPr/>
          <a:lstStyle/>
          <a:p>
            <a:r>
              <a:rPr lang="en-US" dirty="0"/>
              <a:t>Next Games, maker of the popular mobile strategy game </a:t>
            </a:r>
            <a:r>
              <a:rPr lang="en-US" i="1" dirty="0"/>
              <a:t>The Walking Dead: No Man’s Land</a:t>
            </a:r>
            <a:r>
              <a:rPr lang="en-US" dirty="0"/>
              <a:t>, was already a Microsoft Azure customer, and happy with what it was getting from Azure Cloud Services. But the game developer wanted to lower costs, increase its server flexibility, and position the company for future growth. The answer for all three needs turned out to be adding even more Azure services—in this case, Azure Cosmos DB and Azure Service Fabric. As a result, Next Games was able to optimize its storage usage and database solution, and will soon be getting more out of its virtual servers while saving money.</a:t>
            </a:r>
          </a:p>
          <a:p>
            <a:endParaRPr lang="en-US" dirty="0"/>
          </a:p>
        </p:txBody>
      </p:sp>
      <p:sp>
        <p:nvSpPr>
          <p:cNvPr id="72" name="Text Placeholder 71"/>
          <p:cNvSpPr>
            <a:spLocks noGrp="1"/>
          </p:cNvSpPr>
          <p:nvPr>
            <p:ph type="body" sz="quarter" idx="29"/>
          </p:nvPr>
        </p:nvSpPr>
        <p:spPr/>
        <p:txBody>
          <a:bodyPr/>
          <a:lstStyle/>
          <a:p>
            <a:r>
              <a:rPr lang="en-US" sz="918" dirty="0"/>
              <a:t>Azure platform</a:t>
            </a:r>
          </a:p>
        </p:txBody>
      </p:sp>
      <p:sp>
        <p:nvSpPr>
          <p:cNvPr id="66" name="Text Placeholder 65"/>
          <p:cNvSpPr>
            <a:spLocks noGrp="1"/>
          </p:cNvSpPr>
          <p:nvPr>
            <p:ph type="body" sz="quarter" idx="31"/>
          </p:nvPr>
        </p:nvSpPr>
        <p:spPr/>
        <p:txBody>
          <a:bodyPr/>
          <a:lstStyle/>
          <a:p>
            <a:r>
              <a:rPr lang="en-US" sz="918" dirty="0"/>
              <a:t>Finland</a:t>
            </a:r>
          </a:p>
        </p:txBody>
      </p:sp>
      <p:sp>
        <p:nvSpPr>
          <p:cNvPr id="67" name="Text Placeholder 66"/>
          <p:cNvSpPr>
            <a:spLocks noGrp="1"/>
          </p:cNvSpPr>
          <p:nvPr>
            <p:ph type="body" sz="quarter" idx="32"/>
          </p:nvPr>
        </p:nvSpPr>
        <p:spPr/>
        <p:txBody>
          <a:bodyPr/>
          <a:lstStyle/>
          <a:p>
            <a:r>
              <a:rPr lang="en-US" sz="918" dirty="0"/>
              <a:t>Retail and Consumer Goods</a:t>
            </a:r>
          </a:p>
        </p:txBody>
      </p:sp>
      <p:sp>
        <p:nvSpPr>
          <p:cNvPr id="68" name="Text Placeholder 67"/>
          <p:cNvSpPr>
            <a:spLocks noGrp="1"/>
          </p:cNvSpPr>
          <p:nvPr>
            <p:ph type="body" sz="quarter" idx="33"/>
          </p:nvPr>
        </p:nvSpPr>
        <p:spPr/>
        <p:txBody>
          <a:bodyPr/>
          <a:lstStyle/>
          <a:p>
            <a:r>
              <a:rPr lang="en-US" sz="918" dirty="0"/>
              <a:t>80 employees</a:t>
            </a:r>
          </a:p>
        </p:txBody>
      </p:sp>
      <p:sp>
        <p:nvSpPr>
          <p:cNvPr id="69" name="Text Placeholder 68"/>
          <p:cNvSpPr>
            <a:spLocks noGrp="1"/>
          </p:cNvSpPr>
          <p:nvPr>
            <p:ph type="body" sz="quarter" idx="34"/>
          </p:nvPr>
        </p:nvSpPr>
        <p:spPr>
          <a:xfrm>
            <a:off x="2558926" y="6320242"/>
            <a:ext cx="1448672" cy="606375"/>
          </a:xfrm>
        </p:spPr>
        <p:txBody>
          <a:bodyPr numCol="1"/>
          <a:lstStyle/>
          <a:p>
            <a:r>
              <a:rPr lang="en-US" sz="918" dirty="0"/>
              <a:t>Microsoft Azure</a:t>
            </a:r>
          </a:p>
          <a:p>
            <a:pPr marL="174862" indent="-174862">
              <a:buFont typeface="Arial" panose="020B0604020202020204" pitchFamily="34" charset="0"/>
              <a:buChar char="•"/>
            </a:pPr>
            <a:r>
              <a:rPr lang="en-US" sz="918" dirty="0"/>
              <a:t>Azure Cosmos DB </a:t>
            </a:r>
          </a:p>
          <a:p>
            <a:pPr marL="174862" indent="-174862">
              <a:buFont typeface="Arial" panose="020B0604020202020204" pitchFamily="34" charset="0"/>
              <a:buChar char="•"/>
            </a:pPr>
            <a:r>
              <a:rPr lang="en-US" sz="918" dirty="0"/>
              <a:t>Azure Event Hubs</a:t>
            </a:r>
          </a:p>
          <a:p>
            <a:pPr marL="174862" indent="-174862">
              <a:buFont typeface="Arial" panose="020B0604020202020204" pitchFamily="34" charset="0"/>
              <a:buChar char="•"/>
            </a:pPr>
            <a:r>
              <a:rPr lang="en-US" sz="918" dirty="0"/>
              <a:t>Azure Media Services</a:t>
            </a:r>
          </a:p>
          <a:p>
            <a:r>
              <a:rPr lang="en-US" sz="918" dirty="0"/>
              <a:t>See Notes for Full List</a:t>
            </a:r>
          </a:p>
        </p:txBody>
      </p:sp>
      <p:pic>
        <p:nvPicPr>
          <p:cNvPr id="47" name="Picture 46"/>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65919" y="187887"/>
            <a:ext cx="1580245" cy="708277"/>
          </a:xfrm>
          <a:prstGeom prst="rect">
            <a:avLst/>
          </a:prstGeom>
        </p:spPr>
      </p:pic>
      <p:pic>
        <p:nvPicPr>
          <p:cNvPr id="3" name="Picture 2">
            <a:hlinkClick r:id="rId5"/>
          </p:cNvPr>
          <p:cNvPicPr>
            <a:picLocks noChangeAspect="1"/>
          </p:cNvPicPr>
          <p:nvPr/>
        </p:nvPicPr>
        <p:blipFill>
          <a:blip r:embed="rId6"/>
          <a:stretch>
            <a:fillRect/>
          </a:stretch>
        </p:blipFill>
        <p:spPr>
          <a:xfrm>
            <a:off x="11068205" y="6184133"/>
            <a:ext cx="346744" cy="382307"/>
          </a:xfrm>
          <a:prstGeom prst="rect">
            <a:avLst/>
          </a:prstGeom>
        </p:spPr>
      </p:pic>
      <p:pic>
        <p:nvPicPr>
          <p:cNvPr id="4" name="Picture 3"/>
          <p:cNvPicPr>
            <a:picLocks noChangeAspect="1"/>
          </p:cNvPicPr>
          <p:nvPr/>
        </p:nvPicPr>
        <p:blipFill>
          <a:blip r:embed="rId7"/>
          <a:stretch>
            <a:fillRect/>
          </a:stretch>
        </p:blipFill>
        <p:spPr>
          <a:xfrm>
            <a:off x="258217" y="6212581"/>
            <a:ext cx="2052329" cy="397869"/>
          </a:xfrm>
          <a:prstGeom prst="rect">
            <a:avLst/>
          </a:prstGeom>
        </p:spPr>
      </p:pic>
    </p:spTree>
    <p:extLst>
      <p:ext uri="{BB962C8B-B14F-4D97-AF65-F5344CB8AC3E}">
        <p14:creationId xmlns:p14="http://schemas.microsoft.com/office/powerpoint/2010/main" val="1894036482"/>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12"/>
          <p:cNvSpPr>
            <a:spLocks noGrp="1"/>
          </p:cNvSpPr>
          <p:nvPr>
            <p:ph type="ctrTitle"/>
          </p:nvPr>
        </p:nvSpPr>
        <p:spPr/>
        <p:txBody>
          <a:bodyPr/>
          <a:lstStyle/>
          <a:p>
            <a:r>
              <a:rPr lang="en-US" dirty="0"/>
              <a:t>Online retailer uses cloud database to deliver world-class shopping experiences</a:t>
            </a:r>
          </a:p>
        </p:txBody>
      </p:sp>
      <p:sp>
        <p:nvSpPr>
          <p:cNvPr id="14" name="Text Placeholder 13"/>
          <p:cNvSpPr>
            <a:spLocks noGrp="1"/>
          </p:cNvSpPr>
          <p:nvPr>
            <p:ph type="body" sz="quarter" idx="11"/>
          </p:nvPr>
        </p:nvSpPr>
        <p:spPr>
          <a:xfrm>
            <a:off x="4428393" y="3472661"/>
            <a:ext cx="7341929" cy="2106407"/>
          </a:xfrm>
        </p:spPr>
        <p:txBody>
          <a:bodyPr/>
          <a:lstStyle/>
          <a:p>
            <a:r>
              <a:rPr lang="en-US" sz="1632" dirty="0"/>
              <a:t>London-based ASOS is an online fashion retailer on a mission to be the world’s number-one fashion destination for twentysomethings. To support its digital offering, ASOS uses Microsoft Azure Cosmos DB, a scalable, managed database that makes possible such innovations as real-time product recommendations and instant order updates for 15.4 million customers. </a:t>
            </a:r>
          </a:p>
        </p:txBody>
      </p:sp>
      <p:sp>
        <p:nvSpPr>
          <p:cNvPr id="69" name="Text Placeholder 68"/>
          <p:cNvSpPr>
            <a:spLocks noGrp="1"/>
          </p:cNvSpPr>
          <p:nvPr>
            <p:ph type="body" sz="quarter" idx="29"/>
          </p:nvPr>
        </p:nvSpPr>
        <p:spPr>
          <a:xfrm>
            <a:off x="9340112" y="6258809"/>
            <a:ext cx="1008323" cy="473190"/>
          </a:xfrm>
        </p:spPr>
        <p:txBody>
          <a:bodyPr/>
          <a:lstStyle/>
          <a:p>
            <a:r>
              <a:rPr lang="en-US" dirty="0"/>
              <a:t>Cloud database</a:t>
            </a:r>
          </a:p>
        </p:txBody>
      </p:sp>
      <p:sp>
        <p:nvSpPr>
          <p:cNvPr id="9" name="Text Placeholder 8"/>
          <p:cNvSpPr>
            <a:spLocks noGrp="1"/>
          </p:cNvSpPr>
          <p:nvPr>
            <p:ph type="body" sz="quarter" idx="31"/>
          </p:nvPr>
        </p:nvSpPr>
        <p:spPr>
          <a:xfrm>
            <a:off x="7935784" y="6258810"/>
            <a:ext cx="953090" cy="473190"/>
          </a:xfrm>
        </p:spPr>
        <p:txBody>
          <a:bodyPr/>
          <a:lstStyle/>
          <a:p>
            <a:r>
              <a:rPr lang="en-US" dirty="0"/>
              <a:t>United Kingdom</a:t>
            </a:r>
          </a:p>
        </p:txBody>
      </p:sp>
      <p:sp>
        <p:nvSpPr>
          <p:cNvPr id="10" name="Text Placeholder 9"/>
          <p:cNvSpPr>
            <a:spLocks noGrp="1"/>
          </p:cNvSpPr>
          <p:nvPr>
            <p:ph type="body" sz="quarter" idx="32"/>
          </p:nvPr>
        </p:nvSpPr>
        <p:spPr>
          <a:xfrm>
            <a:off x="6473910" y="6255324"/>
            <a:ext cx="1135650" cy="473190"/>
          </a:xfrm>
        </p:spPr>
        <p:txBody>
          <a:bodyPr/>
          <a:lstStyle/>
          <a:p>
            <a:r>
              <a:rPr lang="en-US" dirty="0"/>
              <a:t>Retail and consumer goods</a:t>
            </a:r>
          </a:p>
        </p:txBody>
      </p:sp>
      <p:sp>
        <p:nvSpPr>
          <p:cNvPr id="11" name="Text Placeholder 10"/>
          <p:cNvSpPr>
            <a:spLocks noGrp="1"/>
          </p:cNvSpPr>
          <p:nvPr>
            <p:ph type="body" sz="quarter" idx="33"/>
          </p:nvPr>
        </p:nvSpPr>
        <p:spPr>
          <a:xfrm>
            <a:off x="4781481" y="6258810"/>
            <a:ext cx="1008323" cy="473190"/>
          </a:xfrm>
        </p:spPr>
        <p:txBody>
          <a:bodyPr/>
          <a:lstStyle/>
          <a:p>
            <a:r>
              <a:rPr lang="en-US" dirty="0"/>
              <a:t>3,600 employees</a:t>
            </a:r>
          </a:p>
        </p:txBody>
      </p:sp>
      <p:sp>
        <p:nvSpPr>
          <p:cNvPr id="12" name="Text Placeholder 11"/>
          <p:cNvSpPr>
            <a:spLocks noGrp="1"/>
          </p:cNvSpPr>
          <p:nvPr>
            <p:ph type="body" sz="quarter" idx="34"/>
          </p:nvPr>
        </p:nvSpPr>
        <p:spPr>
          <a:xfrm>
            <a:off x="2558851" y="6258810"/>
            <a:ext cx="2082301" cy="594044"/>
          </a:xfrm>
        </p:spPr>
        <p:txBody>
          <a:bodyPr/>
          <a:lstStyle/>
          <a:p>
            <a:pPr lvl="0"/>
            <a:r>
              <a:rPr lang="en-US" dirty="0"/>
              <a:t>Microsoft Azure Cosmos DB</a:t>
            </a:r>
          </a:p>
          <a:p>
            <a:r>
              <a:rPr lang="en-US" dirty="0"/>
              <a:t>Microsoft Azure Data Lake</a:t>
            </a:r>
          </a:p>
          <a:p>
            <a:r>
              <a:rPr lang="en-US" dirty="0"/>
              <a:t>Microsoft Azure HDInsight</a:t>
            </a:r>
          </a:p>
          <a:p>
            <a:pPr lvl="0"/>
            <a:r>
              <a:rPr lang="en-US" dirty="0"/>
              <a:t>Microsoft Azure SQL Database</a:t>
            </a:r>
          </a:p>
        </p:txBody>
      </p:sp>
      <p:pic>
        <p:nvPicPr>
          <p:cNvPr id="47" name="Picture 4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65920" y="187887"/>
            <a:ext cx="1580244" cy="708277"/>
          </a:xfrm>
          <a:prstGeom prst="rect">
            <a:avLst/>
          </a:prstGeom>
        </p:spPr>
      </p:pic>
      <p:pic>
        <p:nvPicPr>
          <p:cNvPr id="18" name="Picture 17">
            <a:hlinkClick r:id="rId4"/>
          </p:cNvPr>
          <p:cNvPicPr>
            <a:picLocks noChangeAspect="1"/>
          </p:cNvPicPr>
          <p:nvPr/>
        </p:nvPicPr>
        <p:blipFill>
          <a:blip r:embed="rId5"/>
          <a:stretch>
            <a:fillRect/>
          </a:stretch>
        </p:blipFill>
        <p:spPr>
          <a:xfrm>
            <a:off x="11423577" y="6134629"/>
            <a:ext cx="346744" cy="382307"/>
          </a:xfrm>
          <a:prstGeom prst="rect">
            <a:avLst/>
          </a:prstGeom>
        </p:spPr>
      </p:pic>
      <p:pic>
        <p:nvPicPr>
          <p:cNvPr id="5" name="Picture Placeholder 4">
            <a:extLst>
              <a:ext uri="{FF2B5EF4-FFF2-40B4-BE49-F238E27FC236}">
                <a16:creationId xmlns:a16="http://schemas.microsoft.com/office/drawing/2014/main" id="{E195D281-7470-4151-807B-ADC3B0015FC3}"/>
              </a:ext>
            </a:extLst>
          </p:cNvPr>
          <p:cNvPicPr>
            <a:picLocks noGrp="1" noChangeAspect="1"/>
          </p:cNvPicPr>
          <p:nvPr>
            <p:ph type="pic" sz="quarter" idx="36"/>
          </p:nvPr>
        </p:nvPicPr>
        <p:blipFill>
          <a:blip r:embed="rId6" cstate="print">
            <a:extLst>
              <a:ext uri="{28A0092B-C50C-407E-A947-70E740481C1C}">
                <a14:useLocalDpi xmlns:a14="http://schemas.microsoft.com/office/drawing/2010/main" val="0"/>
              </a:ext>
            </a:extLst>
          </a:blip>
          <a:srcRect t="23026" b="23026"/>
          <a:stretch>
            <a:fillRect/>
          </a:stretch>
        </p:blipFill>
        <p:spPr/>
      </p:pic>
      <p:pic>
        <p:nvPicPr>
          <p:cNvPr id="17" name="Picture Placeholder 16" descr="A picture containing indoor, building, floor, table&#10;&#10;Description generated with very high confidence">
            <a:extLst>
              <a:ext uri="{FF2B5EF4-FFF2-40B4-BE49-F238E27FC236}">
                <a16:creationId xmlns:a16="http://schemas.microsoft.com/office/drawing/2014/main" id="{C251F29A-5ED5-438A-B122-31D5C12481DD}"/>
              </a:ext>
            </a:extLst>
          </p:cNvPr>
          <p:cNvPicPr>
            <a:picLocks noGrp="1" noChangeAspect="1"/>
          </p:cNvPicPr>
          <p:nvPr>
            <p:ph type="pic" sz="quarter" idx="20"/>
          </p:nvPr>
        </p:nvPicPr>
        <p:blipFill>
          <a:blip r:embed="rId7">
            <a:extLst>
              <a:ext uri="{28A0092B-C50C-407E-A947-70E740481C1C}">
                <a14:useLocalDpi xmlns:a14="http://schemas.microsoft.com/office/drawing/2010/main" val="0"/>
              </a:ext>
            </a:extLst>
          </a:blip>
          <a:srcRect t="22124" b="22124"/>
          <a:stretch>
            <a:fillRect/>
          </a:stretch>
        </p:blipFill>
        <p:spPr/>
      </p:pic>
    </p:spTree>
    <p:extLst>
      <p:ext uri="{BB962C8B-B14F-4D97-AF65-F5344CB8AC3E}">
        <p14:creationId xmlns:p14="http://schemas.microsoft.com/office/powerpoint/2010/main" val="3829470302"/>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Placeholder 3"/>
          <p:cNvPicPr>
            <a:picLocks noGrp="1" noChangeAspect="1"/>
          </p:cNvPicPr>
          <p:nvPr>
            <p:ph type="pic" sz="quarter" idx="20"/>
          </p:nvPr>
        </p:nvPicPr>
        <p:blipFill rotWithShape="1">
          <a:blip r:embed="rId3" cstate="screen">
            <a:extLst>
              <a:ext uri="{28A0092B-C50C-407E-A947-70E740481C1C}">
                <a14:useLocalDpi xmlns:a14="http://schemas.microsoft.com/office/drawing/2010/main"/>
              </a:ext>
            </a:extLst>
          </a:blip>
          <a:srcRect/>
          <a:stretch/>
        </p:blipFill>
        <p:spPr/>
      </p:pic>
      <p:sp>
        <p:nvSpPr>
          <p:cNvPr id="13" name="Title 12"/>
          <p:cNvSpPr>
            <a:spLocks noGrp="1"/>
          </p:cNvSpPr>
          <p:nvPr>
            <p:ph type="ctrTitle"/>
          </p:nvPr>
        </p:nvSpPr>
        <p:spPr/>
        <p:txBody>
          <a:bodyPr/>
          <a:lstStyle/>
          <a:p>
            <a:r>
              <a:rPr lang="en-US" dirty="0"/>
              <a:t>Connecting with 500 million passionate fans worldwide</a:t>
            </a:r>
          </a:p>
        </p:txBody>
      </p:sp>
      <p:sp>
        <p:nvSpPr>
          <p:cNvPr id="14" name="Text Placeholder 13"/>
          <p:cNvSpPr>
            <a:spLocks noGrp="1"/>
          </p:cNvSpPr>
          <p:nvPr>
            <p:ph type="body" sz="quarter" idx="11"/>
          </p:nvPr>
        </p:nvSpPr>
        <p:spPr/>
        <p:txBody>
          <a:bodyPr/>
          <a:lstStyle/>
          <a:p>
            <a:r>
              <a:rPr lang="en-US" dirty="0"/>
              <a:t>With more than 500 million fans worldwide, the Real Madrid Football Club is among the world’s top sports franchises. But with just a small fraction of those fans in Spain, it needed a way to connect with them—wherever they are in the world—and support their club passion. To accomplish that goal, Real Madrid engaged a Microsoft Services team for help in envisioning, developing, and deploying a global digital sports platform that was built using a wide range of Microsoft cloud services. It takes advantage of the global footprint of Microsoft cloud services to consistently deliver the very best fan experience anywhere in the world. Real Madrid can now engage one-on-one with fans, implement targeted promotional campaigns, and use data to track and analyze fan behaviors, among many other capabilities. Today, club officials report a significant digital revenue growth and could not be more positive about the club’s digital future. </a:t>
            </a:r>
          </a:p>
        </p:txBody>
      </p:sp>
      <p:pic>
        <p:nvPicPr>
          <p:cNvPr id="6" name="Picture Placeholder 5"/>
          <p:cNvPicPr>
            <a:picLocks noGrp="1" noChangeAspect="1"/>
          </p:cNvPicPr>
          <p:nvPr>
            <p:ph type="pic" sz="quarter" idx="36"/>
          </p:nvPr>
        </p:nvPicPr>
        <p:blipFill rotWithShape="1">
          <a:blip r:embed="rId4">
            <a:extLst>
              <a:ext uri="{BEBA8EAE-BF5A-486C-A8C5-ECC9F3942E4B}">
                <a14:imgProps xmlns:a14="http://schemas.microsoft.com/office/drawing/2010/main">
                  <a14:imgLayer r:embed="rId5">
                    <a14:imgEffect>
                      <a14:backgroundRemoval t="0" b="100000" l="0" r="100000"/>
                    </a14:imgEffect>
                  </a14:imgLayer>
                </a14:imgProps>
              </a:ext>
              <a:ext uri="{28A0092B-C50C-407E-A947-70E740481C1C}">
                <a14:useLocalDpi xmlns:a14="http://schemas.microsoft.com/office/drawing/2010/main" val="0"/>
              </a:ext>
            </a:extLst>
          </a:blip>
          <a:srcRect l="-26753" t="89" r="-26753" b="89"/>
          <a:stretch/>
        </p:blipFill>
        <p:spPr>
          <a:xfrm>
            <a:off x="-239461" y="5641260"/>
            <a:ext cx="2998041" cy="1211594"/>
          </a:xfrm>
        </p:spPr>
      </p:pic>
      <p:sp>
        <p:nvSpPr>
          <p:cNvPr id="72" name="Text Placeholder 71"/>
          <p:cNvSpPr>
            <a:spLocks noGrp="1"/>
          </p:cNvSpPr>
          <p:nvPr>
            <p:ph type="body" sz="quarter" idx="29"/>
          </p:nvPr>
        </p:nvSpPr>
        <p:spPr>
          <a:xfrm>
            <a:off x="8718950" y="6225686"/>
            <a:ext cx="1008323" cy="473190"/>
          </a:xfrm>
        </p:spPr>
        <p:txBody>
          <a:bodyPr/>
          <a:lstStyle/>
          <a:p>
            <a:r>
              <a:rPr lang="en-US" dirty="0"/>
              <a:t>Digital Transformation</a:t>
            </a:r>
          </a:p>
        </p:txBody>
      </p:sp>
      <p:sp>
        <p:nvSpPr>
          <p:cNvPr id="66" name="Text Placeholder 65"/>
          <p:cNvSpPr>
            <a:spLocks noGrp="1"/>
          </p:cNvSpPr>
          <p:nvPr>
            <p:ph type="body" sz="quarter" idx="31"/>
          </p:nvPr>
        </p:nvSpPr>
        <p:spPr>
          <a:xfrm>
            <a:off x="7620788" y="6225686"/>
            <a:ext cx="821459" cy="473190"/>
          </a:xfrm>
        </p:spPr>
        <p:txBody>
          <a:bodyPr/>
          <a:lstStyle/>
          <a:p>
            <a:r>
              <a:rPr lang="en-US" dirty="0"/>
              <a:t>Spain</a:t>
            </a:r>
          </a:p>
        </p:txBody>
      </p:sp>
      <p:sp>
        <p:nvSpPr>
          <p:cNvPr id="67" name="Text Placeholder 66"/>
          <p:cNvSpPr>
            <a:spLocks noGrp="1"/>
          </p:cNvSpPr>
          <p:nvPr>
            <p:ph type="body" sz="quarter" idx="32"/>
          </p:nvPr>
        </p:nvSpPr>
        <p:spPr>
          <a:xfrm>
            <a:off x="6463244" y="6222200"/>
            <a:ext cx="1008323" cy="473190"/>
          </a:xfrm>
        </p:spPr>
        <p:txBody>
          <a:bodyPr/>
          <a:lstStyle/>
          <a:p>
            <a:r>
              <a:rPr lang="en-US" dirty="0"/>
              <a:t>Hospitality &amp; Travel </a:t>
            </a:r>
          </a:p>
        </p:txBody>
      </p:sp>
      <p:sp>
        <p:nvSpPr>
          <p:cNvPr id="68" name="Text Placeholder 67"/>
          <p:cNvSpPr>
            <a:spLocks noGrp="1"/>
          </p:cNvSpPr>
          <p:nvPr>
            <p:ph type="body" sz="quarter" idx="33"/>
          </p:nvPr>
        </p:nvSpPr>
        <p:spPr>
          <a:xfrm>
            <a:off x="4742631" y="6225686"/>
            <a:ext cx="1008323" cy="473190"/>
          </a:xfrm>
        </p:spPr>
        <p:txBody>
          <a:bodyPr/>
          <a:lstStyle/>
          <a:p>
            <a:r>
              <a:rPr lang="en-US" dirty="0"/>
              <a:t>Medium (50-999)</a:t>
            </a:r>
          </a:p>
        </p:txBody>
      </p:sp>
      <p:pic>
        <p:nvPicPr>
          <p:cNvPr id="47" name="Picture 46"/>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365919" y="187887"/>
            <a:ext cx="1580245" cy="708277"/>
          </a:xfrm>
          <a:prstGeom prst="rect">
            <a:avLst/>
          </a:prstGeom>
        </p:spPr>
      </p:pic>
      <p:pic>
        <p:nvPicPr>
          <p:cNvPr id="3" name="Picture 2">
            <a:hlinkClick r:id="rId7"/>
          </p:cNvPr>
          <p:cNvPicPr>
            <a:picLocks noChangeAspect="1"/>
          </p:cNvPicPr>
          <p:nvPr/>
        </p:nvPicPr>
        <p:blipFill>
          <a:blip r:embed="rId8"/>
          <a:stretch>
            <a:fillRect/>
          </a:stretch>
        </p:blipFill>
        <p:spPr>
          <a:xfrm>
            <a:off x="10950497" y="6001865"/>
            <a:ext cx="346744" cy="382307"/>
          </a:xfrm>
          <a:prstGeom prst="rect">
            <a:avLst/>
          </a:prstGeom>
        </p:spPr>
      </p:pic>
      <p:sp>
        <p:nvSpPr>
          <p:cNvPr id="15" name="Text Placeholder 70"/>
          <p:cNvSpPr>
            <a:spLocks noGrp="1"/>
          </p:cNvSpPr>
          <p:nvPr>
            <p:ph type="body" sz="quarter" idx="34"/>
          </p:nvPr>
        </p:nvSpPr>
        <p:spPr>
          <a:xfrm>
            <a:off x="2561878" y="6217016"/>
            <a:ext cx="1624275" cy="777508"/>
          </a:xfrm>
        </p:spPr>
        <p:txBody>
          <a:bodyPr/>
          <a:lstStyle/>
          <a:p>
            <a:r>
              <a:rPr lang="en-US" sz="918" dirty="0"/>
              <a:t>Microsoft Azure App Service</a:t>
            </a:r>
          </a:p>
          <a:p>
            <a:r>
              <a:rPr lang="en-US" sz="918" dirty="0"/>
              <a:t>Azure Cosmos DB</a:t>
            </a:r>
          </a:p>
          <a:p>
            <a:r>
              <a:rPr lang="en-US" sz="918" dirty="0"/>
              <a:t>Azure Media Service</a:t>
            </a:r>
          </a:p>
          <a:p>
            <a:r>
              <a:rPr lang="en-US" sz="918" dirty="0"/>
              <a:t>Visual Studio Team Services</a:t>
            </a:r>
          </a:p>
          <a:p>
            <a:endParaRPr lang="en-US" sz="816" dirty="0"/>
          </a:p>
        </p:txBody>
      </p:sp>
    </p:spTree>
    <p:extLst>
      <p:ext uri="{BB962C8B-B14F-4D97-AF65-F5344CB8AC3E}">
        <p14:creationId xmlns:p14="http://schemas.microsoft.com/office/powerpoint/2010/main" val="244891455"/>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Video References</a:t>
            </a:r>
          </a:p>
        </p:txBody>
      </p:sp>
      <p:sp>
        <p:nvSpPr>
          <p:cNvPr id="3" name="Text Placeholder 2"/>
          <p:cNvSpPr>
            <a:spLocks noGrp="1"/>
          </p:cNvSpPr>
          <p:nvPr>
            <p:ph type="body" sz="quarter" idx="10"/>
          </p:nvPr>
        </p:nvSpPr>
        <p:spPr>
          <a:xfrm>
            <a:off x="274638" y="1212850"/>
            <a:ext cx="11887200" cy="3237809"/>
          </a:xfrm>
        </p:spPr>
        <p:txBody>
          <a:bodyPr/>
          <a:lstStyle/>
          <a:p>
            <a:pPr marL="571500" indent="-571500">
              <a:buFont typeface="Arial" panose="020B0604020202020204" pitchFamily="34" charset="0"/>
              <a:buChar char="•"/>
            </a:pPr>
            <a:r>
              <a:rPr lang="en-US" sz="3200" b="1" dirty="0">
                <a:hlinkClick r:id="rId3"/>
              </a:rPr>
              <a:t>Building Microservices Applications on Azure Service Fabric</a:t>
            </a:r>
            <a:endParaRPr lang="en-US" sz="3200" b="1" dirty="0"/>
          </a:p>
          <a:p>
            <a:pPr marL="571500" indent="-571500">
              <a:buFont typeface="Arial" panose="020B0604020202020204" pitchFamily="34" charset="0"/>
              <a:buChar char="•"/>
            </a:pPr>
            <a:r>
              <a:rPr lang="en-US" sz="3200" b="1" dirty="0">
                <a:hlinkClick r:id="rId4"/>
              </a:rPr>
              <a:t>Scalability and Deployment</a:t>
            </a:r>
            <a:endParaRPr lang="en-US" sz="3200" b="1" dirty="0"/>
          </a:p>
          <a:p>
            <a:pPr marL="571500" indent="-571500">
              <a:buFont typeface="Arial" panose="020B0604020202020204" pitchFamily="34" charset="0"/>
              <a:buChar char="•"/>
            </a:pPr>
            <a:r>
              <a:rPr lang="en-US" sz="3200" b="1" dirty="0">
                <a:hlinkClick r:id="rId5"/>
              </a:rPr>
              <a:t>Design for Scalability</a:t>
            </a:r>
            <a:endParaRPr lang="en-US" sz="3200" b="1" dirty="0"/>
          </a:p>
          <a:p>
            <a:pPr marL="571500" indent="-571500">
              <a:buFont typeface="Arial" panose="020B0604020202020204" pitchFamily="34" charset="0"/>
              <a:buChar char="•"/>
            </a:pPr>
            <a:r>
              <a:rPr lang="en-US" sz="3200" b="1" dirty="0">
                <a:hlinkClick r:id="rId6"/>
              </a:rPr>
              <a:t>Surviving Success: Architecting Web Sites and Services for Rapid Growth</a:t>
            </a:r>
            <a:endParaRPr lang="en-US" sz="3200" b="1" dirty="0"/>
          </a:p>
          <a:p>
            <a:pPr marL="571500" indent="-571500">
              <a:buFont typeface="Arial" panose="020B0604020202020204" pitchFamily="34" charset="0"/>
              <a:buChar char="•"/>
            </a:pPr>
            <a:r>
              <a:rPr lang="en-US" sz="3200" b="1" dirty="0">
                <a:hlinkClick r:id="rId7"/>
              </a:rPr>
              <a:t>Building Big: Lessons Learned from Azure Customers</a:t>
            </a:r>
            <a:endParaRPr lang="en-US" sz="3200" dirty="0"/>
          </a:p>
        </p:txBody>
      </p:sp>
    </p:spTree>
    <p:extLst>
      <p:ext uri="{BB962C8B-B14F-4D97-AF65-F5344CB8AC3E}">
        <p14:creationId xmlns:p14="http://schemas.microsoft.com/office/powerpoint/2010/main" val="2848730455"/>
      </p:ext>
    </p:extLst>
  </p:cSld>
  <p:clrMapOvr>
    <a:masterClrMapping/>
  </p:clrMapOvr>
  <p:transition>
    <p:fade/>
  </p:transition>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caling Guidance References </a:t>
            </a:r>
          </a:p>
        </p:txBody>
      </p:sp>
      <p:sp>
        <p:nvSpPr>
          <p:cNvPr id="3" name="Text Placeholder 2"/>
          <p:cNvSpPr>
            <a:spLocks noGrp="1"/>
          </p:cNvSpPr>
          <p:nvPr>
            <p:ph type="body" sz="quarter" idx="10"/>
          </p:nvPr>
        </p:nvSpPr>
        <p:spPr>
          <a:xfrm>
            <a:off x="274638" y="1212850"/>
            <a:ext cx="11887200" cy="4801314"/>
          </a:xfrm>
        </p:spPr>
        <p:txBody>
          <a:bodyPr/>
          <a:lstStyle/>
          <a:p>
            <a:r>
              <a:rPr lang="en-US" b="1" dirty="0">
                <a:hlinkClick r:id="rId3"/>
              </a:rPr>
              <a:t>Scalability checklist</a:t>
            </a:r>
            <a:endParaRPr lang="en-US" b="1" dirty="0"/>
          </a:p>
          <a:p>
            <a:endParaRPr lang="en-US" b="1" dirty="0"/>
          </a:p>
          <a:p>
            <a:r>
              <a:rPr lang="en-US" b="1" dirty="0" err="1">
                <a:hlinkClick r:id="rId4"/>
              </a:rPr>
              <a:t>Autoscaling</a:t>
            </a:r>
            <a:r>
              <a:rPr lang="en-US" b="1" dirty="0">
                <a:hlinkClick r:id="rId4"/>
              </a:rPr>
              <a:t> guidance</a:t>
            </a:r>
            <a:endParaRPr lang="en-US" b="1" dirty="0"/>
          </a:p>
          <a:p>
            <a:r>
              <a:rPr lang="en-US" b="1" dirty="0">
                <a:hlinkClick r:id="rId5"/>
              </a:rPr>
              <a:t>Data partitioning guidance</a:t>
            </a:r>
            <a:endParaRPr lang="en-US" b="1" dirty="0"/>
          </a:p>
          <a:p>
            <a:endParaRPr lang="en-US" b="1" dirty="0"/>
          </a:p>
          <a:p>
            <a:r>
              <a:rPr lang="en-US" b="1" dirty="0">
                <a:hlinkClick r:id="rId6"/>
              </a:rPr>
              <a:t>Caching guidance</a:t>
            </a:r>
            <a:endParaRPr lang="en-US" b="1" dirty="0"/>
          </a:p>
          <a:p>
            <a:r>
              <a:rPr lang="en-US" b="1" dirty="0">
                <a:hlinkClick r:id="rId7"/>
              </a:rPr>
              <a:t>Content Delivery Network (CDN) guidance</a:t>
            </a:r>
            <a:endParaRPr lang="en-US" b="1" dirty="0"/>
          </a:p>
        </p:txBody>
      </p:sp>
    </p:spTree>
    <p:extLst>
      <p:ext uri="{BB962C8B-B14F-4D97-AF65-F5344CB8AC3E}">
        <p14:creationId xmlns:p14="http://schemas.microsoft.com/office/powerpoint/2010/main" val="2862639092"/>
      </p:ext>
    </p:extLst>
  </p:cSld>
  <p:clrMapOvr>
    <a:masterClrMapping/>
  </p:clrMapOvr>
  <p:transition>
    <p:fade/>
  </p:transition>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ontact Us</a:t>
            </a:r>
            <a:br>
              <a:rPr lang="en-US" dirty="0"/>
            </a:br>
            <a:r>
              <a:rPr lang="en-US" sz="2400" dirty="0"/>
              <a:t>Technical services to help you win more deals, accelerate deployment and increase consumption</a:t>
            </a:r>
            <a:endParaRPr lang="en-US" sz="2800" dirty="0"/>
          </a:p>
        </p:txBody>
      </p:sp>
      <p:grpSp>
        <p:nvGrpSpPr>
          <p:cNvPr id="5" name="Group 4"/>
          <p:cNvGrpSpPr>
            <a:grpSpLocks noChangeAspect="1"/>
          </p:cNvGrpSpPr>
          <p:nvPr/>
        </p:nvGrpSpPr>
        <p:grpSpPr bwMode="auto">
          <a:xfrm>
            <a:off x="-238124" y="650240"/>
            <a:ext cx="6344284" cy="6344285"/>
            <a:chOff x="2493" y="976"/>
            <a:chExt cx="2849" cy="2849"/>
          </a:xfrm>
        </p:grpSpPr>
        <p:sp>
          <p:nvSpPr>
            <p:cNvPr id="6" name="AutoShape 3"/>
            <p:cNvSpPr>
              <a:spLocks noChangeAspect="1" noChangeArrowheads="1" noTextEdit="1"/>
            </p:cNvSpPr>
            <p:nvPr/>
          </p:nvSpPr>
          <p:spPr bwMode="auto">
            <a:xfrm>
              <a:off x="2493" y="976"/>
              <a:ext cx="2849" cy="28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 name="Freeform 5"/>
            <p:cNvSpPr>
              <a:spLocks/>
            </p:cNvSpPr>
            <p:nvPr/>
          </p:nvSpPr>
          <p:spPr bwMode="auto">
            <a:xfrm>
              <a:off x="4734" y="2932"/>
              <a:ext cx="247" cy="121"/>
            </a:xfrm>
            <a:custGeom>
              <a:avLst/>
              <a:gdLst>
                <a:gd name="T0" fmla="*/ 51 w 100"/>
                <a:gd name="T1" fmla="*/ 1 h 49"/>
                <a:gd name="T2" fmla="*/ 0 w 100"/>
                <a:gd name="T3" fmla="*/ 49 h 49"/>
                <a:gd name="T4" fmla="*/ 99 w 100"/>
                <a:gd name="T5" fmla="*/ 49 h 49"/>
                <a:gd name="T6" fmla="*/ 51 w 100"/>
                <a:gd name="T7" fmla="*/ 1 h 49"/>
              </a:gdLst>
              <a:ahLst/>
              <a:cxnLst>
                <a:cxn ang="0">
                  <a:pos x="T0" y="T1"/>
                </a:cxn>
                <a:cxn ang="0">
                  <a:pos x="T2" y="T3"/>
                </a:cxn>
                <a:cxn ang="0">
                  <a:pos x="T4" y="T5"/>
                </a:cxn>
                <a:cxn ang="0">
                  <a:pos x="T6" y="T7"/>
                </a:cxn>
              </a:cxnLst>
              <a:rect l="0" t="0" r="r" b="b"/>
              <a:pathLst>
                <a:path w="100" h="49">
                  <a:moveTo>
                    <a:pt x="51" y="1"/>
                  </a:moveTo>
                  <a:cubicBezTo>
                    <a:pt x="24" y="0"/>
                    <a:pt x="1" y="21"/>
                    <a:pt x="0" y="49"/>
                  </a:cubicBezTo>
                  <a:cubicBezTo>
                    <a:pt x="99" y="49"/>
                    <a:pt x="99" y="49"/>
                    <a:pt x="99" y="49"/>
                  </a:cubicBezTo>
                  <a:cubicBezTo>
                    <a:pt x="100" y="21"/>
                    <a:pt x="79" y="2"/>
                    <a:pt x="51" y="1"/>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 name="Freeform 6"/>
            <p:cNvSpPr>
              <a:spLocks/>
            </p:cNvSpPr>
            <p:nvPr/>
          </p:nvSpPr>
          <p:spPr bwMode="auto">
            <a:xfrm>
              <a:off x="4278" y="2935"/>
              <a:ext cx="527" cy="66"/>
            </a:xfrm>
            <a:custGeom>
              <a:avLst/>
              <a:gdLst>
                <a:gd name="T0" fmla="*/ 210 w 213"/>
                <a:gd name="T1" fmla="*/ 27 h 27"/>
                <a:gd name="T2" fmla="*/ 188 w 213"/>
                <a:gd name="T3" fmla="*/ 17 h 27"/>
                <a:gd name="T4" fmla="*/ 142 w 213"/>
                <a:gd name="T5" fmla="*/ 8 h 27"/>
                <a:gd name="T6" fmla="*/ 0 w 213"/>
                <a:gd name="T7" fmla="*/ 8 h 27"/>
                <a:gd name="T8" fmla="*/ 0 w 213"/>
                <a:gd name="T9" fmla="*/ 0 h 27"/>
                <a:gd name="T10" fmla="*/ 142 w 213"/>
                <a:gd name="T11" fmla="*/ 0 h 27"/>
                <a:gd name="T12" fmla="*/ 191 w 213"/>
                <a:gd name="T13" fmla="*/ 10 h 27"/>
                <a:gd name="T14" fmla="*/ 213 w 213"/>
                <a:gd name="T15" fmla="*/ 20 h 27"/>
                <a:gd name="T16" fmla="*/ 210 w 213"/>
                <a:gd name="T17" fmla="*/ 27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3" h="27">
                  <a:moveTo>
                    <a:pt x="210" y="27"/>
                  </a:moveTo>
                  <a:cubicBezTo>
                    <a:pt x="188" y="17"/>
                    <a:pt x="188" y="17"/>
                    <a:pt x="188" y="17"/>
                  </a:cubicBezTo>
                  <a:cubicBezTo>
                    <a:pt x="177" y="12"/>
                    <a:pt x="155" y="8"/>
                    <a:pt x="142" y="8"/>
                  </a:cubicBezTo>
                  <a:cubicBezTo>
                    <a:pt x="0" y="8"/>
                    <a:pt x="0" y="8"/>
                    <a:pt x="0" y="8"/>
                  </a:cubicBezTo>
                  <a:cubicBezTo>
                    <a:pt x="0" y="0"/>
                    <a:pt x="0" y="0"/>
                    <a:pt x="0" y="0"/>
                  </a:cubicBezTo>
                  <a:cubicBezTo>
                    <a:pt x="142" y="0"/>
                    <a:pt x="142" y="0"/>
                    <a:pt x="142" y="0"/>
                  </a:cubicBezTo>
                  <a:cubicBezTo>
                    <a:pt x="157" y="0"/>
                    <a:pt x="179" y="5"/>
                    <a:pt x="191" y="10"/>
                  </a:cubicBezTo>
                  <a:cubicBezTo>
                    <a:pt x="213" y="20"/>
                    <a:pt x="213" y="20"/>
                    <a:pt x="213" y="20"/>
                  </a:cubicBezTo>
                  <a:lnTo>
                    <a:pt x="210" y="27"/>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 name="Oval 7"/>
            <p:cNvSpPr>
              <a:spLocks noChangeArrowheads="1"/>
            </p:cNvSpPr>
            <p:nvPr/>
          </p:nvSpPr>
          <p:spPr bwMode="auto">
            <a:xfrm>
              <a:off x="3391" y="2742"/>
              <a:ext cx="549" cy="116"/>
            </a:xfrm>
            <a:prstGeom prst="ellipse">
              <a:avLst/>
            </a:pr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 name="Freeform 8"/>
            <p:cNvSpPr>
              <a:spLocks/>
            </p:cNvSpPr>
            <p:nvPr/>
          </p:nvSpPr>
          <p:spPr bwMode="auto">
            <a:xfrm>
              <a:off x="2990" y="1879"/>
              <a:ext cx="1328" cy="922"/>
            </a:xfrm>
            <a:custGeom>
              <a:avLst/>
              <a:gdLst>
                <a:gd name="T0" fmla="*/ 527 w 537"/>
                <a:gd name="T1" fmla="*/ 373 h 373"/>
                <a:gd name="T2" fmla="*/ 537 w 537"/>
                <a:gd name="T3" fmla="*/ 362 h 373"/>
                <a:gd name="T4" fmla="*/ 537 w 537"/>
                <a:gd name="T5" fmla="*/ 11 h 373"/>
                <a:gd name="T6" fmla="*/ 527 w 537"/>
                <a:gd name="T7" fmla="*/ 0 h 373"/>
                <a:gd name="T8" fmla="*/ 11 w 537"/>
                <a:gd name="T9" fmla="*/ 0 h 373"/>
                <a:gd name="T10" fmla="*/ 0 w 537"/>
                <a:gd name="T11" fmla="*/ 11 h 373"/>
                <a:gd name="T12" fmla="*/ 0 w 537"/>
                <a:gd name="T13" fmla="*/ 362 h 373"/>
                <a:gd name="T14" fmla="*/ 11 w 537"/>
                <a:gd name="T15" fmla="*/ 373 h 373"/>
                <a:gd name="T16" fmla="*/ 527 w 537"/>
                <a:gd name="T17" fmla="*/ 373 h 3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37" h="373">
                  <a:moveTo>
                    <a:pt x="527" y="373"/>
                  </a:moveTo>
                  <a:cubicBezTo>
                    <a:pt x="532" y="373"/>
                    <a:pt x="537" y="368"/>
                    <a:pt x="537" y="362"/>
                  </a:cubicBezTo>
                  <a:cubicBezTo>
                    <a:pt x="537" y="11"/>
                    <a:pt x="537" y="11"/>
                    <a:pt x="537" y="11"/>
                  </a:cubicBezTo>
                  <a:cubicBezTo>
                    <a:pt x="537" y="5"/>
                    <a:pt x="532" y="0"/>
                    <a:pt x="527" y="0"/>
                  </a:cubicBezTo>
                  <a:cubicBezTo>
                    <a:pt x="11" y="0"/>
                    <a:pt x="11" y="0"/>
                    <a:pt x="11" y="0"/>
                  </a:cubicBezTo>
                  <a:cubicBezTo>
                    <a:pt x="5" y="0"/>
                    <a:pt x="0" y="5"/>
                    <a:pt x="0" y="11"/>
                  </a:cubicBezTo>
                  <a:cubicBezTo>
                    <a:pt x="0" y="362"/>
                    <a:pt x="0" y="362"/>
                    <a:pt x="0" y="362"/>
                  </a:cubicBezTo>
                  <a:cubicBezTo>
                    <a:pt x="0" y="368"/>
                    <a:pt x="5" y="373"/>
                    <a:pt x="11" y="373"/>
                  </a:cubicBezTo>
                  <a:lnTo>
                    <a:pt x="527" y="373"/>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 name="Rectangle 9"/>
            <p:cNvSpPr>
              <a:spLocks noChangeArrowheads="1"/>
            </p:cNvSpPr>
            <p:nvPr/>
          </p:nvSpPr>
          <p:spPr bwMode="auto">
            <a:xfrm>
              <a:off x="3032" y="1921"/>
              <a:ext cx="1244" cy="70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 name="Rectangle 10"/>
            <p:cNvSpPr>
              <a:spLocks noChangeArrowheads="1"/>
            </p:cNvSpPr>
            <p:nvPr/>
          </p:nvSpPr>
          <p:spPr bwMode="auto">
            <a:xfrm>
              <a:off x="2842" y="2989"/>
              <a:ext cx="1644" cy="62"/>
            </a:xfrm>
            <a:prstGeom prst="rect">
              <a:avLst/>
            </a:prstGeom>
            <a:solidFill>
              <a:srgbClr val="004B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11"/>
            <p:cNvSpPr>
              <a:spLocks/>
            </p:cNvSpPr>
            <p:nvPr/>
          </p:nvSpPr>
          <p:spPr bwMode="auto">
            <a:xfrm>
              <a:off x="2842" y="2915"/>
              <a:ext cx="1644" cy="74"/>
            </a:xfrm>
            <a:custGeom>
              <a:avLst/>
              <a:gdLst>
                <a:gd name="T0" fmla="*/ 1644 w 1644"/>
                <a:gd name="T1" fmla="*/ 74 h 74"/>
                <a:gd name="T2" fmla="*/ 0 w 1644"/>
                <a:gd name="T3" fmla="*/ 74 h 74"/>
                <a:gd name="T4" fmla="*/ 103 w 1644"/>
                <a:gd name="T5" fmla="*/ 0 h 74"/>
                <a:gd name="T6" fmla="*/ 1543 w 1644"/>
                <a:gd name="T7" fmla="*/ 0 h 74"/>
                <a:gd name="T8" fmla="*/ 1644 w 1644"/>
                <a:gd name="T9" fmla="*/ 74 h 74"/>
              </a:gdLst>
              <a:ahLst/>
              <a:cxnLst>
                <a:cxn ang="0">
                  <a:pos x="T0" y="T1"/>
                </a:cxn>
                <a:cxn ang="0">
                  <a:pos x="T2" y="T3"/>
                </a:cxn>
                <a:cxn ang="0">
                  <a:pos x="T4" y="T5"/>
                </a:cxn>
                <a:cxn ang="0">
                  <a:pos x="T6" y="T7"/>
                </a:cxn>
                <a:cxn ang="0">
                  <a:pos x="T8" y="T9"/>
                </a:cxn>
              </a:cxnLst>
              <a:rect l="0" t="0" r="r" b="b"/>
              <a:pathLst>
                <a:path w="1644" h="74">
                  <a:moveTo>
                    <a:pt x="1644" y="74"/>
                  </a:moveTo>
                  <a:lnTo>
                    <a:pt x="0" y="74"/>
                  </a:lnTo>
                  <a:lnTo>
                    <a:pt x="103" y="0"/>
                  </a:lnTo>
                  <a:lnTo>
                    <a:pt x="1543" y="0"/>
                  </a:lnTo>
                  <a:lnTo>
                    <a:pt x="1644" y="74"/>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Oval 12"/>
            <p:cNvSpPr>
              <a:spLocks noChangeArrowheads="1"/>
            </p:cNvSpPr>
            <p:nvPr/>
          </p:nvSpPr>
          <p:spPr bwMode="auto">
            <a:xfrm>
              <a:off x="3349" y="1750"/>
              <a:ext cx="653" cy="653"/>
            </a:xfrm>
            <a:prstGeom prst="ellipse">
              <a:avLst/>
            </a:pr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Freeform 13"/>
            <p:cNvSpPr>
              <a:spLocks noEditPoints="1"/>
            </p:cNvSpPr>
            <p:nvPr/>
          </p:nvSpPr>
          <p:spPr bwMode="auto">
            <a:xfrm>
              <a:off x="3512" y="1938"/>
              <a:ext cx="326" cy="277"/>
            </a:xfrm>
            <a:custGeom>
              <a:avLst/>
              <a:gdLst>
                <a:gd name="T0" fmla="*/ 125 w 132"/>
                <a:gd name="T1" fmla="*/ 105 h 112"/>
                <a:gd name="T2" fmla="*/ 0 w 132"/>
                <a:gd name="T3" fmla="*/ 20 h 112"/>
                <a:gd name="T4" fmla="*/ 0 w 132"/>
                <a:gd name="T5" fmla="*/ 112 h 112"/>
                <a:gd name="T6" fmla="*/ 132 w 132"/>
                <a:gd name="T7" fmla="*/ 0 h 112"/>
                <a:gd name="T8" fmla="*/ 0 w 132"/>
                <a:gd name="T9" fmla="*/ 0 h 112"/>
                <a:gd name="T10" fmla="*/ 77 w 132"/>
                <a:gd name="T11" fmla="*/ 63 h 112"/>
                <a:gd name="T12" fmla="*/ 73 w 132"/>
                <a:gd name="T13" fmla="*/ 57 h 112"/>
                <a:gd name="T14" fmla="*/ 69 w 132"/>
                <a:gd name="T15" fmla="*/ 53 h 112"/>
                <a:gd name="T16" fmla="*/ 62 w 132"/>
                <a:gd name="T17" fmla="*/ 49 h 112"/>
                <a:gd name="T18" fmla="*/ 56 w 132"/>
                <a:gd name="T19" fmla="*/ 49 h 112"/>
                <a:gd name="T20" fmla="*/ 49 w 132"/>
                <a:gd name="T21" fmla="*/ 53 h 112"/>
                <a:gd name="T22" fmla="*/ 44 w 132"/>
                <a:gd name="T23" fmla="*/ 57 h 112"/>
                <a:gd name="T24" fmla="*/ 41 w 132"/>
                <a:gd name="T25" fmla="*/ 63 h 112"/>
                <a:gd name="T26" fmla="*/ 40 w 132"/>
                <a:gd name="T27" fmla="*/ 69 h 112"/>
                <a:gd name="T28" fmla="*/ 41 w 132"/>
                <a:gd name="T29" fmla="*/ 76 h 112"/>
                <a:gd name="T30" fmla="*/ 44 w 132"/>
                <a:gd name="T31" fmla="*/ 81 h 112"/>
                <a:gd name="T32" fmla="*/ 50 w 132"/>
                <a:gd name="T33" fmla="*/ 86 h 112"/>
                <a:gd name="T34" fmla="*/ 55 w 132"/>
                <a:gd name="T35" fmla="*/ 88 h 112"/>
                <a:gd name="T36" fmla="*/ 60 w 132"/>
                <a:gd name="T37" fmla="*/ 83 h 112"/>
                <a:gd name="T38" fmla="*/ 67 w 132"/>
                <a:gd name="T39" fmla="*/ 87 h 112"/>
                <a:gd name="T40" fmla="*/ 68 w 132"/>
                <a:gd name="T41" fmla="*/ 79 h 112"/>
                <a:gd name="T42" fmla="*/ 77 w 132"/>
                <a:gd name="T43" fmla="*/ 78 h 112"/>
                <a:gd name="T44" fmla="*/ 73 w 132"/>
                <a:gd name="T45" fmla="*/ 71 h 112"/>
                <a:gd name="T46" fmla="*/ 67 w 132"/>
                <a:gd name="T47" fmla="*/ 69 h 112"/>
                <a:gd name="T48" fmla="*/ 53 w 132"/>
                <a:gd name="T49" fmla="*/ 75 h 112"/>
                <a:gd name="T50" fmla="*/ 59 w 132"/>
                <a:gd name="T51" fmla="*/ 61 h 112"/>
                <a:gd name="T52" fmla="*/ 55 w 132"/>
                <a:gd name="T53" fmla="*/ 69 h 112"/>
                <a:gd name="T54" fmla="*/ 59 w 132"/>
                <a:gd name="T55" fmla="*/ 73 h 112"/>
                <a:gd name="T56" fmla="*/ 91 w 132"/>
                <a:gd name="T57" fmla="*/ 55 h 112"/>
                <a:gd name="T58" fmla="*/ 93 w 132"/>
                <a:gd name="T59" fmla="*/ 51 h 112"/>
                <a:gd name="T60" fmla="*/ 91 w 132"/>
                <a:gd name="T61" fmla="*/ 49 h 112"/>
                <a:gd name="T62" fmla="*/ 86 w 132"/>
                <a:gd name="T63" fmla="*/ 48 h 112"/>
                <a:gd name="T64" fmla="*/ 82 w 132"/>
                <a:gd name="T65" fmla="*/ 44 h 112"/>
                <a:gd name="T66" fmla="*/ 78 w 132"/>
                <a:gd name="T67" fmla="*/ 49 h 112"/>
                <a:gd name="T68" fmla="*/ 74 w 132"/>
                <a:gd name="T69" fmla="*/ 49 h 112"/>
                <a:gd name="T70" fmla="*/ 73 w 132"/>
                <a:gd name="T71" fmla="*/ 52 h 112"/>
                <a:gd name="T72" fmla="*/ 76 w 132"/>
                <a:gd name="T73" fmla="*/ 57 h 112"/>
                <a:gd name="T74" fmla="*/ 73 w 132"/>
                <a:gd name="T75" fmla="*/ 60 h 112"/>
                <a:gd name="T76" fmla="*/ 75 w 132"/>
                <a:gd name="T77" fmla="*/ 62 h 112"/>
                <a:gd name="T78" fmla="*/ 81 w 132"/>
                <a:gd name="T79" fmla="*/ 65 h 112"/>
                <a:gd name="T80" fmla="*/ 85 w 132"/>
                <a:gd name="T81" fmla="*/ 65 h 112"/>
                <a:gd name="T82" fmla="*/ 91 w 132"/>
                <a:gd name="T83" fmla="*/ 62 h 112"/>
                <a:gd name="T84" fmla="*/ 93 w 132"/>
                <a:gd name="T85" fmla="*/ 60 h 112"/>
                <a:gd name="T86" fmla="*/ 91 w 132"/>
                <a:gd name="T87" fmla="*/ 57 h 112"/>
                <a:gd name="T88" fmla="*/ 83 w 132"/>
                <a:gd name="T89" fmla="*/ 58 h 112"/>
                <a:gd name="T90" fmla="*/ 86 w 132"/>
                <a:gd name="T91" fmla="*/ 55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32" h="112">
                  <a:moveTo>
                    <a:pt x="7" y="26"/>
                  </a:moveTo>
                  <a:cubicBezTo>
                    <a:pt x="7" y="105"/>
                    <a:pt x="7" y="105"/>
                    <a:pt x="7" y="105"/>
                  </a:cubicBezTo>
                  <a:cubicBezTo>
                    <a:pt x="125" y="105"/>
                    <a:pt x="125" y="105"/>
                    <a:pt x="125" y="105"/>
                  </a:cubicBezTo>
                  <a:cubicBezTo>
                    <a:pt x="125" y="26"/>
                    <a:pt x="125" y="26"/>
                    <a:pt x="125" y="26"/>
                  </a:cubicBezTo>
                  <a:cubicBezTo>
                    <a:pt x="7" y="26"/>
                    <a:pt x="7" y="26"/>
                    <a:pt x="7" y="26"/>
                  </a:cubicBezTo>
                  <a:close/>
                  <a:moveTo>
                    <a:pt x="0" y="20"/>
                  </a:moveTo>
                  <a:cubicBezTo>
                    <a:pt x="132" y="20"/>
                    <a:pt x="132" y="20"/>
                    <a:pt x="132" y="20"/>
                  </a:cubicBezTo>
                  <a:cubicBezTo>
                    <a:pt x="132" y="112"/>
                    <a:pt x="132" y="112"/>
                    <a:pt x="132" y="112"/>
                  </a:cubicBezTo>
                  <a:cubicBezTo>
                    <a:pt x="0" y="112"/>
                    <a:pt x="0" y="112"/>
                    <a:pt x="0" y="112"/>
                  </a:cubicBezTo>
                  <a:cubicBezTo>
                    <a:pt x="0" y="20"/>
                    <a:pt x="0" y="20"/>
                    <a:pt x="0" y="20"/>
                  </a:cubicBezTo>
                  <a:close/>
                  <a:moveTo>
                    <a:pt x="0" y="0"/>
                  </a:moveTo>
                  <a:cubicBezTo>
                    <a:pt x="132" y="0"/>
                    <a:pt x="132" y="0"/>
                    <a:pt x="132" y="0"/>
                  </a:cubicBezTo>
                  <a:cubicBezTo>
                    <a:pt x="132" y="13"/>
                    <a:pt x="132" y="13"/>
                    <a:pt x="132" y="13"/>
                  </a:cubicBezTo>
                  <a:cubicBezTo>
                    <a:pt x="0" y="13"/>
                    <a:pt x="0" y="13"/>
                    <a:pt x="0" y="13"/>
                  </a:cubicBezTo>
                  <a:cubicBezTo>
                    <a:pt x="0" y="0"/>
                    <a:pt x="0" y="0"/>
                    <a:pt x="0" y="0"/>
                  </a:cubicBezTo>
                  <a:close/>
                  <a:moveTo>
                    <a:pt x="79" y="68"/>
                  </a:moveTo>
                  <a:cubicBezTo>
                    <a:pt x="78" y="64"/>
                    <a:pt x="78" y="64"/>
                    <a:pt x="78" y="64"/>
                  </a:cubicBezTo>
                  <a:cubicBezTo>
                    <a:pt x="78" y="64"/>
                    <a:pt x="78" y="63"/>
                    <a:pt x="77" y="63"/>
                  </a:cubicBezTo>
                  <a:cubicBezTo>
                    <a:pt x="71" y="63"/>
                    <a:pt x="71" y="63"/>
                    <a:pt x="71" y="63"/>
                  </a:cubicBezTo>
                  <a:cubicBezTo>
                    <a:pt x="71" y="63"/>
                    <a:pt x="71" y="62"/>
                    <a:pt x="71" y="62"/>
                  </a:cubicBezTo>
                  <a:cubicBezTo>
                    <a:pt x="73" y="57"/>
                    <a:pt x="73" y="57"/>
                    <a:pt x="73" y="57"/>
                  </a:cubicBezTo>
                  <a:cubicBezTo>
                    <a:pt x="73" y="56"/>
                    <a:pt x="73" y="56"/>
                    <a:pt x="73" y="55"/>
                  </a:cubicBezTo>
                  <a:cubicBezTo>
                    <a:pt x="70" y="53"/>
                    <a:pt x="70" y="53"/>
                    <a:pt x="70" y="53"/>
                  </a:cubicBezTo>
                  <a:cubicBezTo>
                    <a:pt x="70" y="53"/>
                    <a:pt x="69" y="53"/>
                    <a:pt x="69" y="53"/>
                  </a:cubicBezTo>
                  <a:cubicBezTo>
                    <a:pt x="64" y="56"/>
                    <a:pt x="64" y="56"/>
                    <a:pt x="64" y="56"/>
                  </a:cubicBezTo>
                  <a:cubicBezTo>
                    <a:pt x="64" y="56"/>
                    <a:pt x="64" y="56"/>
                    <a:pt x="63" y="56"/>
                  </a:cubicBezTo>
                  <a:cubicBezTo>
                    <a:pt x="62" y="49"/>
                    <a:pt x="62" y="49"/>
                    <a:pt x="62" y="49"/>
                  </a:cubicBezTo>
                  <a:cubicBezTo>
                    <a:pt x="62" y="49"/>
                    <a:pt x="61" y="49"/>
                    <a:pt x="61" y="49"/>
                  </a:cubicBezTo>
                  <a:cubicBezTo>
                    <a:pt x="57" y="49"/>
                    <a:pt x="57" y="49"/>
                    <a:pt x="57" y="49"/>
                  </a:cubicBezTo>
                  <a:cubicBezTo>
                    <a:pt x="57" y="49"/>
                    <a:pt x="56" y="49"/>
                    <a:pt x="56" y="49"/>
                  </a:cubicBezTo>
                  <a:cubicBezTo>
                    <a:pt x="55" y="56"/>
                    <a:pt x="55" y="56"/>
                    <a:pt x="55" y="56"/>
                  </a:cubicBezTo>
                  <a:cubicBezTo>
                    <a:pt x="54" y="56"/>
                    <a:pt x="54" y="56"/>
                    <a:pt x="53" y="56"/>
                  </a:cubicBezTo>
                  <a:cubicBezTo>
                    <a:pt x="49" y="53"/>
                    <a:pt x="49" y="53"/>
                    <a:pt x="49" y="53"/>
                  </a:cubicBezTo>
                  <a:cubicBezTo>
                    <a:pt x="48" y="53"/>
                    <a:pt x="48" y="53"/>
                    <a:pt x="48" y="53"/>
                  </a:cubicBezTo>
                  <a:cubicBezTo>
                    <a:pt x="45" y="55"/>
                    <a:pt x="45" y="55"/>
                    <a:pt x="45" y="55"/>
                  </a:cubicBezTo>
                  <a:cubicBezTo>
                    <a:pt x="44" y="56"/>
                    <a:pt x="44" y="56"/>
                    <a:pt x="44" y="57"/>
                  </a:cubicBezTo>
                  <a:cubicBezTo>
                    <a:pt x="47" y="62"/>
                    <a:pt x="47" y="62"/>
                    <a:pt x="47" y="62"/>
                  </a:cubicBezTo>
                  <a:cubicBezTo>
                    <a:pt x="47" y="62"/>
                    <a:pt x="46" y="63"/>
                    <a:pt x="46" y="63"/>
                  </a:cubicBezTo>
                  <a:cubicBezTo>
                    <a:pt x="41" y="63"/>
                    <a:pt x="41" y="63"/>
                    <a:pt x="41" y="63"/>
                  </a:cubicBezTo>
                  <a:cubicBezTo>
                    <a:pt x="40" y="63"/>
                    <a:pt x="40" y="64"/>
                    <a:pt x="40" y="64"/>
                  </a:cubicBezTo>
                  <a:cubicBezTo>
                    <a:pt x="39" y="68"/>
                    <a:pt x="39" y="68"/>
                    <a:pt x="39" y="68"/>
                  </a:cubicBezTo>
                  <a:cubicBezTo>
                    <a:pt x="39" y="68"/>
                    <a:pt x="39" y="68"/>
                    <a:pt x="40" y="69"/>
                  </a:cubicBezTo>
                  <a:cubicBezTo>
                    <a:pt x="45" y="71"/>
                    <a:pt x="45" y="71"/>
                    <a:pt x="45" y="71"/>
                  </a:cubicBezTo>
                  <a:cubicBezTo>
                    <a:pt x="45" y="71"/>
                    <a:pt x="45" y="72"/>
                    <a:pt x="45" y="73"/>
                  </a:cubicBezTo>
                  <a:cubicBezTo>
                    <a:pt x="41" y="76"/>
                    <a:pt x="41" y="76"/>
                    <a:pt x="41" y="76"/>
                  </a:cubicBezTo>
                  <a:cubicBezTo>
                    <a:pt x="41" y="76"/>
                    <a:pt x="41" y="77"/>
                    <a:pt x="41" y="78"/>
                  </a:cubicBezTo>
                  <a:cubicBezTo>
                    <a:pt x="43" y="81"/>
                    <a:pt x="43" y="81"/>
                    <a:pt x="43" y="81"/>
                  </a:cubicBezTo>
                  <a:cubicBezTo>
                    <a:pt x="43" y="81"/>
                    <a:pt x="43" y="81"/>
                    <a:pt x="44" y="81"/>
                  </a:cubicBezTo>
                  <a:cubicBezTo>
                    <a:pt x="49" y="79"/>
                    <a:pt x="49" y="79"/>
                    <a:pt x="49" y="79"/>
                  </a:cubicBezTo>
                  <a:cubicBezTo>
                    <a:pt x="50" y="80"/>
                    <a:pt x="50" y="80"/>
                    <a:pt x="50" y="81"/>
                  </a:cubicBezTo>
                  <a:cubicBezTo>
                    <a:pt x="50" y="86"/>
                    <a:pt x="50" y="86"/>
                    <a:pt x="50" y="86"/>
                  </a:cubicBezTo>
                  <a:cubicBezTo>
                    <a:pt x="50" y="87"/>
                    <a:pt x="50" y="87"/>
                    <a:pt x="50" y="87"/>
                  </a:cubicBezTo>
                  <a:cubicBezTo>
                    <a:pt x="54" y="88"/>
                    <a:pt x="54" y="88"/>
                    <a:pt x="54" y="88"/>
                  </a:cubicBezTo>
                  <a:cubicBezTo>
                    <a:pt x="54" y="88"/>
                    <a:pt x="55" y="88"/>
                    <a:pt x="55" y="88"/>
                  </a:cubicBezTo>
                  <a:cubicBezTo>
                    <a:pt x="58" y="83"/>
                    <a:pt x="58" y="83"/>
                    <a:pt x="58" y="83"/>
                  </a:cubicBezTo>
                  <a:cubicBezTo>
                    <a:pt x="58" y="83"/>
                    <a:pt x="59" y="83"/>
                    <a:pt x="59" y="83"/>
                  </a:cubicBezTo>
                  <a:cubicBezTo>
                    <a:pt x="59" y="83"/>
                    <a:pt x="59" y="83"/>
                    <a:pt x="60" y="83"/>
                  </a:cubicBezTo>
                  <a:cubicBezTo>
                    <a:pt x="63" y="88"/>
                    <a:pt x="63" y="88"/>
                    <a:pt x="63" y="88"/>
                  </a:cubicBezTo>
                  <a:cubicBezTo>
                    <a:pt x="63" y="88"/>
                    <a:pt x="63" y="88"/>
                    <a:pt x="64" y="88"/>
                  </a:cubicBezTo>
                  <a:cubicBezTo>
                    <a:pt x="67" y="87"/>
                    <a:pt x="67" y="87"/>
                    <a:pt x="67" y="87"/>
                  </a:cubicBezTo>
                  <a:cubicBezTo>
                    <a:pt x="68" y="87"/>
                    <a:pt x="68" y="87"/>
                    <a:pt x="68" y="86"/>
                  </a:cubicBezTo>
                  <a:cubicBezTo>
                    <a:pt x="67" y="81"/>
                    <a:pt x="67" y="81"/>
                    <a:pt x="67" y="81"/>
                  </a:cubicBezTo>
                  <a:cubicBezTo>
                    <a:pt x="68" y="80"/>
                    <a:pt x="68" y="80"/>
                    <a:pt x="68" y="79"/>
                  </a:cubicBezTo>
                  <a:cubicBezTo>
                    <a:pt x="74" y="81"/>
                    <a:pt x="74" y="81"/>
                    <a:pt x="74" y="81"/>
                  </a:cubicBezTo>
                  <a:cubicBezTo>
                    <a:pt x="74" y="81"/>
                    <a:pt x="75" y="81"/>
                    <a:pt x="75" y="81"/>
                  </a:cubicBezTo>
                  <a:cubicBezTo>
                    <a:pt x="77" y="78"/>
                    <a:pt x="77" y="78"/>
                    <a:pt x="77" y="78"/>
                  </a:cubicBezTo>
                  <a:cubicBezTo>
                    <a:pt x="77" y="77"/>
                    <a:pt x="77" y="76"/>
                    <a:pt x="77" y="76"/>
                  </a:cubicBezTo>
                  <a:cubicBezTo>
                    <a:pt x="73" y="73"/>
                    <a:pt x="73" y="73"/>
                    <a:pt x="73" y="73"/>
                  </a:cubicBezTo>
                  <a:cubicBezTo>
                    <a:pt x="73" y="72"/>
                    <a:pt x="73" y="71"/>
                    <a:pt x="73" y="71"/>
                  </a:cubicBezTo>
                  <a:cubicBezTo>
                    <a:pt x="78" y="69"/>
                    <a:pt x="78" y="69"/>
                    <a:pt x="78" y="69"/>
                  </a:cubicBezTo>
                  <a:cubicBezTo>
                    <a:pt x="79" y="68"/>
                    <a:pt x="79" y="68"/>
                    <a:pt x="79" y="68"/>
                  </a:cubicBezTo>
                  <a:close/>
                  <a:moveTo>
                    <a:pt x="67" y="69"/>
                  </a:moveTo>
                  <a:cubicBezTo>
                    <a:pt x="67" y="71"/>
                    <a:pt x="66" y="73"/>
                    <a:pt x="64" y="75"/>
                  </a:cubicBezTo>
                  <a:cubicBezTo>
                    <a:pt x="63" y="76"/>
                    <a:pt x="61" y="77"/>
                    <a:pt x="59" y="77"/>
                  </a:cubicBezTo>
                  <a:cubicBezTo>
                    <a:pt x="57" y="77"/>
                    <a:pt x="55" y="76"/>
                    <a:pt x="53" y="75"/>
                  </a:cubicBezTo>
                  <a:cubicBezTo>
                    <a:pt x="52" y="73"/>
                    <a:pt x="51" y="71"/>
                    <a:pt x="51" y="69"/>
                  </a:cubicBezTo>
                  <a:cubicBezTo>
                    <a:pt x="51" y="67"/>
                    <a:pt x="52" y="65"/>
                    <a:pt x="53" y="64"/>
                  </a:cubicBezTo>
                  <a:cubicBezTo>
                    <a:pt x="55" y="62"/>
                    <a:pt x="57" y="61"/>
                    <a:pt x="59" y="61"/>
                  </a:cubicBezTo>
                  <a:cubicBezTo>
                    <a:pt x="61" y="61"/>
                    <a:pt x="63" y="62"/>
                    <a:pt x="64" y="64"/>
                  </a:cubicBezTo>
                  <a:cubicBezTo>
                    <a:pt x="66" y="65"/>
                    <a:pt x="67" y="67"/>
                    <a:pt x="67" y="69"/>
                  </a:cubicBezTo>
                  <a:close/>
                  <a:moveTo>
                    <a:pt x="55" y="69"/>
                  </a:moveTo>
                  <a:cubicBezTo>
                    <a:pt x="55" y="67"/>
                    <a:pt x="57" y="66"/>
                    <a:pt x="59" y="66"/>
                  </a:cubicBezTo>
                  <a:cubicBezTo>
                    <a:pt x="61" y="66"/>
                    <a:pt x="63" y="67"/>
                    <a:pt x="63" y="69"/>
                  </a:cubicBezTo>
                  <a:cubicBezTo>
                    <a:pt x="63" y="71"/>
                    <a:pt x="61" y="73"/>
                    <a:pt x="59" y="73"/>
                  </a:cubicBezTo>
                  <a:cubicBezTo>
                    <a:pt x="57" y="73"/>
                    <a:pt x="55" y="71"/>
                    <a:pt x="55" y="69"/>
                  </a:cubicBezTo>
                  <a:close/>
                  <a:moveTo>
                    <a:pt x="91" y="57"/>
                  </a:moveTo>
                  <a:cubicBezTo>
                    <a:pt x="91" y="56"/>
                    <a:pt x="91" y="56"/>
                    <a:pt x="91" y="55"/>
                  </a:cubicBezTo>
                  <a:cubicBezTo>
                    <a:pt x="91" y="55"/>
                    <a:pt x="91" y="54"/>
                    <a:pt x="91" y="54"/>
                  </a:cubicBezTo>
                  <a:cubicBezTo>
                    <a:pt x="93" y="52"/>
                    <a:pt x="93" y="52"/>
                    <a:pt x="93" y="52"/>
                  </a:cubicBezTo>
                  <a:cubicBezTo>
                    <a:pt x="93" y="52"/>
                    <a:pt x="93" y="51"/>
                    <a:pt x="93" y="51"/>
                  </a:cubicBezTo>
                  <a:cubicBezTo>
                    <a:pt x="93" y="51"/>
                    <a:pt x="93" y="51"/>
                    <a:pt x="93" y="51"/>
                  </a:cubicBezTo>
                  <a:cubicBezTo>
                    <a:pt x="92" y="49"/>
                    <a:pt x="92" y="49"/>
                    <a:pt x="92" y="49"/>
                  </a:cubicBezTo>
                  <a:cubicBezTo>
                    <a:pt x="92" y="49"/>
                    <a:pt x="92" y="49"/>
                    <a:pt x="91" y="49"/>
                  </a:cubicBezTo>
                  <a:cubicBezTo>
                    <a:pt x="91" y="49"/>
                    <a:pt x="91" y="49"/>
                    <a:pt x="91" y="49"/>
                  </a:cubicBezTo>
                  <a:cubicBezTo>
                    <a:pt x="88" y="49"/>
                    <a:pt x="88" y="49"/>
                    <a:pt x="88" y="49"/>
                  </a:cubicBezTo>
                  <a:cubicBezTo>
                    <a:pt x="87" y="49"/>
                    <a:pt x="87" y="48"/>
                    <a:pt x="86" y="48"/>
                  </a:cubicBezTo>
                  <a:cubicBezTo>
                    <a:pt x="85" y="45"/>
                    <a:pt x="85" y="45"/>
                    <a:pt x="85" y="45"/>
                  </a:cubicBezTo>
                  <a:cubicBezTo>
                    <a:pt x="85" y="45"/>
                    <a:pt x="84" y="44"/>
                    <a:pt x="84" y="44"/>
                  </a:cubicBezTo>
                  <a:cubicBezTo>
                    <a:pt x="82" y="44"/>
                    <a:pt x="82" y="44"/>
                    <a:pt x="82" y="44"/>
                  </a:cubicBezTo>
                  <a:cubicBezTo>
                    <a:pt x="82" y="44"/>
                    <a:pt x="81" y="45"/>
                    <a:pt x="81" y="45"/>
                  </a:cubicBezTo>
                  <a:cubicBezTo>
                    <a:pt x="81" y="48"/>
                    <a:pt x="81" y="48"/>
                    <a:pt x="81" y="48"/>
                  </a:cubicBezTo>
                  <a:cubicBezTo>
                    <a:pt x="80" y="48"/>
                    <a:pt x="79" y="49"/>
                    <a:pt x="78" y="49"/>
                  </a:cubicBezTo>
                  <a:cubicBezTo>
                    <a:pt x="75" y="49"/>
                    <a:pt x="75" y="49"/>
                    <a:pt x="75" y="49"/>
                  </a:cubicBezTo>
                  <a:cubicBezTo>
                    <a:pt x="75" y="49"/>
                    <a:pt x="75" y="49"/>
                    <a:pt x="75" y="49"/>
                  </a:cubicBezTo>
                  <a:cubicBezTo>
                    <a:pt x="75" y="49"/>
                    <a:pt x="74" y="49"/>
                    <a:pt x="74" y="49"/>
                  </a:cubicBezTo>
                  <a:cubicBezTo>
                    <a:pt x="73" y="51"/>
                    <a:pt x="73" y="51"/>
                    <a:pt x="73" y="51"/>
                  </a:cubicBezTo>
                  <a:cubicBezTo>
                    <a:pt x="73" y="51"/>
                    <a:pt x="73" y="51"/>
                    <a:pt x="73" y="51"/>
                  </a:cubicBezTo>
                  <a:cubicBezTo>
                    <a:pt x="73" y="51"/>
                    <a:pt x="73" y="52"/>
                    <a:pt x="73" y="52"/>
                  </a:cubicBezTo>
                  <a:cubicBezTo>
                    <a:pt x="76" y="54"/>
                    <a:pt x="76" y="54"/>
                    <a:pt x="76" y="54"/>
                  </a:cubicBezTo>
                  <a:cubicBezTo>
                    <a:pt x="76" y="54"/>
                    <a:pt x="75" y="55"/>
                    <a:pt x="75" y="55"/>
                  </a:cubicBezTo>
                  <a:cubicBezTo>
                    <a:pt x="75" y="56"/>
                    <a:pt x="76" y="56"/>
                    <a:pt x="76" y="57"/>
                  </a:cubicBezTo>
                  <a:cubicBezTo>
                    <a:pt x="73" y="59"/>
                    <a:pt x="73" y="59"/>
                    <a:pt x="73" y="59"/>
                  </a:cubicBezTo>
                  <a:cubicBezTo>
                    <a:pt x="73" y="59"/>
                    <a:pt x="73" y="59"/>
                    <a:pt x="73" y="59"/>
                  </a:cubicBezTo>
                  <a:cubicBezTo>
                    <a:pt x="73" y="60"/>
                    <a:pt x="73" y="60"/>
                    <a:pt x="73" y="60"/>
                  </a:cubicBezTo>
                  <a:cubicBezTo>
                    <a:pt x="74" y="61"/>
                    <a:pt x="74" y="61"/>
                    <a:pt x="74" y="61"/>
                  </a:cubicBezTo>
                  <a:cubicBezTo>
                    <a:pt x="74" y="62"/>
                    <a:pt x="75" y="62"/>
                    <a:pt x="75" y="62"/>
                  </a:cubicBezTo>
                  <a:cubicBezTo>
                    <a:pt x="75" y="62"/>
                    <a:pt x="75" y="62"/>
                    <a:pt x="75" y="62"/>
                  </a:cubicBezTo>
                  <a:cubicBezTo>
                    <a:pt x="78" y="61"/>
                    <a:pt x="78" y="61"/>
                    <a:pt x="78" y="61"/>
                  </a:cubicBezTo>
                  <a:cubicBezTo>
                    <a:pt x="79" y="62"/>
                    <a:pt x="80" y="62"/>
                    <a:pt x="81" y="62"/>
                  </a:cubicBezTo>
                  <a:cubicBezTo>
                    <a:pt x="81" y="65"/>
                    <a:pt x="81" y="65"/>
                    <a:pt x="81" y="65"/>
                  </a:cubicBezTo>
                  <a:cubicBezTo>
                    <a:pt x="81" y="66"/>
                    <a:pt x="82" y="66"/>
                    <a:pt x="82" y="66"/>
                  </a:cubicBezTo>
                  <a:cubicBezTo>
                    <a:pt x="84" y="66"/>
                    <a:pt x="84" y="66"/>
                    <a:pt x="84" y="66"/>
                  </a:cubicBezTo>
                  <a:cubicBezTo>
                    <a:pt x="84" y="66"/>
                    <a:pt x="85" y="66"/>
                    <a:pt x="85" y="65"/>
                  </a:cubicBezTo>
                  <a:cubicBezTo>
                    <a:pt x="86" y="63"/>
                    <a:pt x="86" y="63"/>
                    <a:pt x="86" y="63"/>
                  </a:cubicBezTo>
                  <a:cubicBezTo>
                    <a:pt x="87" y="62"/>
                    <a:pt x="87" y="62"/>
                    <a:pt x="88" y="61"/>
                  </a:cubicBezTo>
                  <a:cubicBezTo>
                    <a:pt x="91" y="62"/>
                    <a:pt x="91" y="62"/>
                    <a:pt x="91" y="62"/>
                  </a:cubicBezTo>
                  <a:cubicBezTo>
                    <a:pt x="91" y="62"/>
                    <a:pt x="91" y="62"/>
                    <a:pt x="91" y="62"/>
                  </a:cubicBezTo>
                  <a:cubicBezTo>
                    <a:pt x="92" y="62"/>
                    <a:pt x="92" y="62"/>
                    <a:pt x="92" y="61"/>
                  </a:cubicBezTo>
                  <a:cubicBezTo>
                    <a:pt x="93" y="60"/>
                    <a:pt x="93" y="60"/>
                    <a:pt x="93" y="60"/>
                  </a:cubicBezTo>
                  <a:cubicBezTo>
                    <a:pt x="93" y="60"/>
                    <a:pt x="93" y="60"/>
                    <a:pt x="93" y="59"/>
                  </a:cubicBezTo>
                  <a:cubicBezTo>
                    <a:pt x="93" y="59"/>
                    <a:pt x="93" y="59"/>
                    <a:pt x="93" y="59"/>
                  </a:cubicBezTo>
                  <a:cubicBezTo>
                    <a:pt x="91" y="57"/>
                    <a:pt x="91" y="57"/>
                    <a:pt x="91" y="57"/>
                  </a:cubicBezTo>
                  <a:cubicBezTo>
                    <a:pt x="91" y="57"/>
                    <a:pt x="91" y="57"/>
                    <a:pt x="91" y="57"/>
                  </a:cubicBezTo>
                  <a:close/>
                  <a:moveTo>
                    <a:pt x="86" y="55"/>
                  </a:moveTo>
                  <a:cubicBezTo>
                    <a:pt x="86" y="57"/>
                    <a:pt x="85" y="58"/>
                    <a:pt x="83" y="58"/>
                  </a:cubicBezTo>
                  <a:cubicBezTo>
                    <a:pt x="82" y="58"/>
                    <a:pt x="80" y="57"/>
                    <a:pt x="80" y="55"/>
                  </a:cubicBezTo>
                  <a:cubicBezTo>
                    <a:pt x="80" y="54"/>
                    <a:pt x="82" y="52"/>
                    <a:pt x="83" y="52"/>
                  </a:cubicBezTo>
                  <a:cubicBezTo>
                    <a:pt x="85" y="52"/>
                    <a:pt x="86" y="54"/>
                    <a:pt x="86" y="55"/>
                  </a:cubicBez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6" name="Text Placeholder 1"/>
          <p:cNvSpPr txBox="1">
            <a:spLocks/>
          </p:cNvSpPr>
          <p:nvPr>
            <p:custDataLst>
              <p:tags r:id="rId1"/>
            </p:custDataLst>
          </p:nvPr>
        </p:nvSpPr>
        <p:spPr>
          <a:xfrm>
            <a:off x="6311913" y="1831982"/>
            <a:ext cx="5522647" cy="4714111"/>
          </a:xfrm>
          <a:prstGeom prst="rect">
            <a:avLst/>
          </a:prstGeom>
          <a:noFill/>
          <a:ln w="3175">
            <a:noFill/>
          </a:ln>
        </p:spPr>
        <p:style>
          <a:lnRef idx="1">
            <a:schemeClr val="accent1"/>
          </a:lnRef>
          <a:fillRef idx="3">
            <a:schemeClr val="accent1"/>
          </a:fillRef>
          <a:effectRef idx="2">
            <a:schemeClr val="accent1"/>
          </a:effectRef>
          <a:fontRef idx="minor">
            <a:schemeClr val="lt1"/>
          </a:fontRef>
        </p:style>
        <p:txBody>
          <a:bodyPr wrap="square" lIns="0" tIns="0" rIns="0" bIns="0" anchor="t">
            <a:spAutoFit/>
          </a:bodyPr>
          <a:lstStyle>
            <a:lvl1pPr marL="285750" indent="-285750" algn="l" defTabSz="914400" rtl="0" eaLnBrk="1" latinLnBrk="0" hangingPunct="1">
              <a:lnSpc>
                <a:spcPct val="100000"/>
              </a:lnSpc>
              <a:spcBef>
                <a:spcPts val="1200"/>
              </a:spcBef>
              <a:buFont typeface="Arial" panose="020B0604020202020204" pitchFamily="34" charset="0"/>
              <a:buChar char="•"/>
              <a:defRPr sz="2800" kern="1200">
                <a:ln>
                  <a:noFill/>
                </a:ln>
                <a:solidFill>
                  <a:schemeClr val="tx1"/>
                </a:solidFill>
                <a:latin typeface="+mj-lt"/>
                <a:ea typeface="+mn-ea"/>
                <a:cs typeface="+mn-cs"/>
              </a:defRPr>
            </a:lvl1pPr>
            <a:lvl2pPr marL="742950" indent="-285750" algn="l" defTabSz="914400" rtl="0" eaLnBrk="1" latinLnBrk="0" hangingPunct="1">
              <a:lnSpc>
                <a:spcPct val="100000"/>
              </a:lnSpc>
              <a:spcBef>
                <a:spcPts val="300"/>
              </a:spcBef>
              <a:spcAft>
                <a:spcPts val="600"/>
              </a:spcAft>
              <a:buFont typeface="Segoe UI" panose="020B0502040204020203" pitchFamily="34" charset="0"/>
              <a:buChar char="–"/>
              <a:defRPr sz="2400" kern="1200">
                <a:ln>
                  <a:noFill/>
                </a:ln>
                <a:solidFill>
                  <a:schemeClr val="tx1"/>
                </a:solidFill>
                <a:latin typeface="+mj-lt"/>
                <a:ea typeface="+mn-ea"/>
                <a:cs typeface="+mn-cs"/>
              </a:defRPr>
            </a:lvl2pPr>
            <a:lvl3pPr marL="1143000" indent="-228600" algn="l" defTabSz="914400" rtl="0" eaLnBrk="1" latinLnBrk="0" hangingPunct="1">
              <a:lnSpc>
                <a:spcPct val="100000"/>
              </a:lnSpc>
              <a:spcBef>
                <a:spcPts val="200"/>
              </a:spcBef>
              <a:spcAft>
                <a:spcPts val="400"/>
              </a:spcAft>
              <a:buFont typeface="Arial" panose="020B0604020202020204" pitchFamily="34" charset="0"/>
              <a:buChar char="•"/>
              <a:defRPr sz="2000" kern="1200">
                <a:ln>
                  <a:noFill/>
                </a:ln>
                <a:solidFill>
                  <a:schemeClr val="tx1"/>
                </a:solidFill>
                <a:latin typeface="+mn-lt"/>
                <a:ea typeface="+mn-ea"/>
                <a:cs typeface="+mn-cs"/>
              </a:defRPr>
            </a:lvl3pPr>
            <a:lvl4pPr marL="1657350" indent="-285750" algn="l" defTabSz="914400" rtl="0" eaLnBrk="1" latinLnBrk="0" hangingPunct="1">
              <a:lnSpc>
                <a:spcPct val="100000"/>
              </a:lnSpc>
              <a:spcBef>
                <a:spcPts val="200"/>
              </a:spcBef>
              <a:spcAft>
                <a:spcPts val="200"/>
              </a:spcAft>
              <a:buFont typeface="Segoe UI" panose="020B0502040204020203" pitchFamily="34" charset="0"/>
              <a:buChar char="–"/>
              <a:defRPr sz="1800" kern="1200">
                <a:ln>
                  <a:noFill/>
                </a:ln>
                <a:solidFill>
                  <a:schemeClr val="tx1"/>
                </a:solidFill>
                <a:latin typeface="+mn-lt"/>
                <a:ea typeface="+mn-ea"/>
                <a:cs typeface="+mn-cs"/>
              </a:defRPr>
            </a:lvl4pPr>
            <a:lvl5pPr marL="2057400" indent="-228600" algn="l" defTabSz="914400" rtl="0" eaLnBrk="1" latinLnBrk="0" hangingPunct="1">
              <a:lnSpc>
                <a:spcPct val="100000"/>
              </a:lnSpc>
              <a:spcBef>
                <a:spcPts val="200"/>
              </a:spcBef>
              <a:spcAft>
                <a:spcPts val="200"/>
              </a:spcAft>
              <a:buFont typeface="Arial" panose="020B0604020202020204" pitchFamily="34" charset="0"/>
              <a:buChar char="•"/>
              <a:defRPr sz="1800" kern="1200">
                <a:ln>
                  <a:noFill/>
                </a:ln>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IN" kern="0" dirty="0">
                <a:solidFill>
                  <a:srgbClr val="00188F"/>
                </a:solidFill>
                <a:cs typeface="Segoe UI Semibold" panose="020B0702040204020203" pitchFamily="34" charset="0"/>
              </a:rPr>
              <a:t>Microsoft Azure</a:t>
            </a:r>
          </a:p>
          <a:p>
            <a:pPr marL="0" indent="0">
              <a:spcBef>
                <a:spcPts val="400"/>
              </a:spcBef>
              <a:buNone/>
            </a:pPr>
            <a:r>
              <a:rPr lang="en-US" sz="1800" kern="0" dirty="0">
                <a:solidFill>
                  <a:srgbClr val="505050"/>
                </a:solidFill>
                <a:latin typeface="Segoe UI Semibold" panose="020B0702040204020203" pitchFamily="34" charset="0"/>
                <a:cs typeface="Segoe UI Semibold" panose="020B0702040204020203" pitchFamily="34" charset="0"/>
              </a:rPr>
              <a:t>http://aka.ms/PartnerTechnicalServices</a:t>
            </a:r>
            <a:r>
              <a:rPr lang="en-US" sz="1800" b="1" kern="0" dirty="0">
                <a:solidFill>
                  <a:srgbClr val="D83B01"/>
                </a:solidFill>
                <a:latin typeface="Segoe UI Semibold" panose="020B0702040204020203" pitchFamily="34" charset="0"/>
                <a:cs typeface="Segoe UI Semibold" panose="020B0702040204020203" pitchFamily="34" charset="0"/>
              </a:rPr>
              <a:t>Azure</a:t>
            </a:r>
          </a:p>
          <a:p>
            <a:pPr marL="0" indent="0">
              <a:spcBef>
                <a:spcPts val="400"/>
              </a:spcBef>
              <a:buNone/>
            </a:pPr>
            <a:endParaRPr lang="en-US" sz="1800" kern="0" dirty="0">
              <a:solidFill>
                <a:srgbClr val="505050"/>
              </a:solidFill>
              <a:latin typeface="Segoe UI Semibold" panose="020B0702040204020203" pitchFamily="34" charset="0"/>
              <a:cs typeface="Segoe UI Semibold" panose="020B0702040204020203" pitchFamily="34" charset="0"/>
            </a:endParaRPr>
          </a:p>
          <a:p>
            <a:pPr marL="0" indent="0">
              <a:spcBef>
                <a:spcPts val="400"/>
              </a:spcBef>
              <a:buNone/>
            </a:pPr>
            <a:r>
              <a:rPr lang="en-IN" kern="0" dirty="0">
                <a:solidFill>
                  <a:srgbClr val="00188F"/>
                </a:solidFill>
                <a:cs typeface="Segoe UI Semibold" panose="020B0702040204020203" pitchFamily="34" charset="0"/>
              </a:rPr>
              <a:t>Microsoft CRM Online</a:t>
            </a:r>
          </a:p>
          <a:p>
            <a:pPr marL="0" indent="0">
              <a:spcBef>
                <a:spcPts val="400"/>
              </a:spcBef>
              <a:buNone/>
            </a:pPr>
            <a:r>
              <a:rPr lang="en-IN" sz="1800" kern="0" dirty="0">
                <a:solidFill>
                  <a:srgbClr val="505050"/>
                </a:solidFill>
                <a:latin typeface="Segoe UI Semibold" panose="020B0702040204020203" pitchFamily="34" charset="0"/>
                <a:cs typeface="Segoe UI Semibold" panose="020B0702040204020203" pitchFamily="34" charset="0"/>
              </a:rPr>
              <a:t>http://aka.ms/PartnerTechnicalServices</a:t>
            </a:r>
            <a:r>
              <a:rPr lang="en-IN" sz="1800" b="1" kern="0" dirty="0">
                <a:solidFill>
                  <a:srgbClr val="D83B01"/>
                </a:solidFill>
                <a:latin typeface="Segoe UI Semibold" panose="020B0702040204020203" pitchFamily="34" charset="0"/>
                <a:cs typeface="Segoe UI Semibold" panose="020B0702040204020203" pitchFamily="34" charset="0"/>
              </a:rPr>
              <a:t>CRMOnline</a:t>
            </a:r>
            <a:endParaRPr lang="en-US" sz="1800" b="1" kern="0" dirty="0">
              <a:solidFill>
                <a:srgbClr val="D83B01"/>
              </a:solidFill>
              <a:latin typeface="Segoe UI Semibold" panose="020B0702040204020203" pitchFamily="34" charset="0"/>
              <a:cs typeface="Segoe UI Semibold" panose="020B0702040204020203" pitchFamily="34" charset="0"/>
            </a:endParaRPr>
          </a:p>
          <a:p>
            <a:pPr marL="0" indent="0">
              <a:spcBef>
                <a:spcPts val="400"/>
              </a:spcBef>
              <a:buNone/>
            </a:pPr>
            <a:endParaRPr lang="en-US" sz="1800" kern="0" dirty="0">
              <a:solidFill>
                <a:srgbClr val="505050"/>
              </a:solidFill>
              <a:latin typeface="Segoe UI Semibold" panose="020B0702040204020203" pitchFamily="34" charset="0"/>
              <a:cs typeface="Segoe UI Semibold" panose="020B0702040204020203" pitchFamily="34" charset="0"/>
            </a:endParaRPr>
          </a:p>
          <a:p>
            <a:pPr marL="0" indent="0">
              <a:spcBef>
                <a:spcPts val="400"/>
              </a:spcBef>
              <a:buNone/>
            </a:pPr>
            <a:r>
              <a:rPr lang="en-IN" kern="0" dirty="0">
                <a:solidFill>
                  <a:srgbClr val="00188F"/>
                </a:solidFill>
                <a:cs typeface="Segoe UI Semibold" panose="020B0702040204020203" pitchFamily="34" charset="0"/>
              </a:rPr>
              <a:t>Microsoft Office 365</a:t>
            </a:r>
          </a:p>
          <a:p>
            <a:pPr marL="0" lvl="1" indent="0">
              <a:spcBef>
                <a:spcPts val="400"/>
              </a:spcBef>
              <a:buNone/>
            </a:pPr>
            <a:r>
              <a:rPr lang="en-IN" sz="1800" kern="0" dirty="0">
                <a:solidFill>
                  <a:srgbClr val="505050"/>
                </a:solidFill>
                <a:latin typeface="Segoe UI Semibold" panose="020B0702040204020203" pitchFamily="34" charset="0"/>
                <a:cs typeface="Segoe UI Semibold" panose="020B0702040204020203" pitchFamily="34" charset="0"/>
              </a:rPr>
              <a:t>http://aka.ms/PartnerTechnicalServices</a:t>
            </a:r>
            <a:r>
              <a:rPr lang="en-IN" sz="1800" b="1" kern="0" dirty="0">
                <a:solidFill>
                  <a:srgbClr val="D83B01"/>
                </a:solidFill>
                <a:latin typeface="Segoe UI Semibold" panose="020B0702040204020203" pitchFamily="34" charset="0"/>
                <a:cs typeface="Segoe UI Semibold" panose="020B0702040204020203" pitchFamily="34" charset="0"/>
              </a:rPr>
              <a:t>O365</a:t>
            </a:r>
          </a:p>
          <a:p>
            <a:pPr marL="0" indent="0">
              <a:spcBef>
                <a:spcPts val="400"/>
              </a:spcBef>
              <a:buNone/>
            </a:pPr>
            <a:endParaRPr lang="en-US" sz="1800" kern="0" dirty="0">
              <a:solidFill>
                <a:srgbClr val="505050"/>
              </a:solidFill>
              <a:latin typeface="Segoe UI Semibold" panose="020B0702040204020203" pitchFamily="34" charset="0"/>
              <a:cs typeface="Segoe UI Semibold" panose="020B0702040204020203" pitchFamily="34" charset="0"/>
            </a:endParaRPr>
          </a:p>
          <a:p>
            <a:pPr marL="0" indent="0">
              <a:spcBef>
                <a:spcPts val="400"/>
              </a:spcBef>
              <a:buNone/>
            </a:pPr>
            <a:r>
              <a:rPr lang="en-IN" kern="0" dirty="0">
                <a:solidFill>
                  <a:srgbClr val="00188F"/>
                </a:solidFill>
                <a:cs typeface="Segoe UI Semibold" panose="020B0702040204020203" pitchFamily="34" charset="0"/>
              </a:rPr>
              <a:t>Microsoft Windows 10 and </a:t>
            </a:r>
            <a:br>
              <a:rPr lang="en-IN" kern="0" dirty="0">
                <a:solidFill>
                  <a:srgbClr val="00188F"/>
                </a:solidFill>
                <a:cs typeface="Segoe UI Semibold" panose="020B0702040204020203" pitchFamily="34" charset="0"/>
              </a:rPr>
            </a:br>
            <a:r>
              <a:rPr lang="en-IN" kern="0" dirty="0">
                <a:solidFill>
                  <a:srgbClr val="00188F"/>
                </a:solidFill>
                <a:cs typeface="Segoe UI Semibold" panose="020B0702040204020203" pitchFamily="34" charset="0"/>
              </a:rPr>
              <a:t>Enterprise Mobility Suite</a:t>
            </a:r>
          </a:p>
          <a:p>
            <a:pPr marL="0" lvl="1" indent="0">
              <a:spcBef>
                <a:spcPts val="400"/>
              </a:spcBef>
              <a:buNone/>
            </a:pPr>
            <a:r>
              <a:rPr lang="en-IN" sz="1800" kern="0" dirty="0">
                <a:solidFill>
                  <a:srgbClr val="505050"/>
                </a:solidFill>
                <a:latin typeface="Segoe UI Semibold" panose="020B0702040204020203" pitchFamily="34" charset="0"/>
                <a:cs typeface="Segoe UI Semibold" panose="020B0702040204020203" pitchFamily="34" charset="0"/>
              </a:rPr>
              <a:t>http://aka.ms/PartnerTechnicalServices</a:t>
            </a:r>
            <a:r>
              <a:rPr lang="en-IN" sz="1800" b="1" kern="0" dirty="0">
                <a:solidFill>
                  <a:srgbClr val="D83B01"/>
                </a:solidFill>
                <a:latin typeface="Segoe UI Semibold" panose="020B0702040204020203" pitchFamily="34" charset="0"/>
                <a:cs typeface="Segoe UI Semibold" panose="020B0702040204020203" pitchFamily="34" charset="0"/>
              </a:rPr>
              <a:t>Win10EMS</a:t>
            </a:r>
          </a:p>
        </p:txBody>
      </p:sp>
      <p:cxnSp>
        <p:nvCxnSpPr>
          <p:cNvPr id="28" name="Straight Connector 27"/>
          <p:cNvCxnSpPr/>
          <p:nvPr/>
        </p:nvCxnSpPr>
        <p:spPr>
          <a:xfrm flipH="1">
            <a:off x="6311913" y="2834640"/>
            <a:ext cx="5212080"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p:nvCxnSpPr>
        <p:spPr>
          <a:xfrm flipH="1">
            <a:off x="6311913" y="3931920"/>
            <a:ext cx="5212080"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nvCxnSpPr>
        <p:spPr>
          <a:xfrm flipH="1">
            <a:off x="6311913" y="5114555"/>
            <a:ext cx="5212080"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8" name="Text Placeholder 1"/>
          <p:cNvSpPr txBox="1">
            <a:spLocks/>
          </p:cNvSpPr>
          <p:nvPr>
            <p:custDataLst>
              <p:tags r:id="rId2"/>
            </p:custDataLst>
          </p:nvPr>
        </p:nvSpPr>
        <p:spPr>
          <a:xfrm>
            <a:off x="528319" y="5473048"/>
            <a:ext cx="4754881" cy="605294"/>
          </a:xfrm>
          <a:prstGeom prst="rect">
            <a:avLst/>
          </a:prstGeom>
          <a:noFill/>
          <a:ln w="3175">
            <a:noFill/>
          </a:ln>
        </p:spPr>
        <p:style>
          <a:lnRef idx="1">
            <a:schemeClr val="accent1"/>
          </a:lnRef>
          <a:fillRef idx="3">
            <a:schemeClr val="accent1"/>
          </a:fillRef>
          <a:effectRef idx="2">
            <a:schemeClr val="accent1"/>
          </a:effectRef>
          <a:fontRef idx="minor">
            <a:schemeClr val="lt1"/>
          </a:fontRef>
        </p:style>
        <p:txBody>
          <a:bodyPr wrap="square" lIns="0" tIns="0" rIns="0" bIns="0" anchor="t">
            <a:spAutoFit/>
          </a:bodyPr>
          <a:lstStyle>
            <a:lvl1pPr marL="285750" indent="-285750" algn="l" defTabSz="914400" rtl="0" eaLnBrk="1" latinLnBrk="0" hangingPunct="1">
              <a:lnSpc>
                <a:spcPct val="100000"/>
              </a:lnSpc>
              <a:spcBef>
                <a:spcPts val="1200"/>
              </a:spcBef>
              <a:buFont typeface="Arial" panose="020B0604020202020204" pitchFamily="34" charset="0"/>
              <a:buChar char="•"/>
              <a:defRPr sz="2800" kern="1200">
                <a:ln>
                  <a:noFill/>
                </a:ln>
                <a:solidFill>
                  <a:schemeClr val="tx1"/>
                </a:solidFill>
                <a:latin typeface="+mj-lt"/>
                <a:ea typeface="+mn-ea"/>
                <a:cs typeface="+mn-cs"/>
              </a:defRPr>
            </a:lvl1pPr>
            <a:lvl2pPr marL="742950" indent="-285750" algn="l" defTabSz="914400" rtl="0" eaLnBrk="1" latinLnBrk="0" hangingPunct="1">
              <a:lnSpc>
                <a:spcPct val="100000"/>
              </a:lnSpc>
              <a:spcBef>
                <a:spcPts val="300"/>
              </a:spcBef>
              <a:spcAft>
                <a:spcPts val="600"/>
              </a:spcAft>
              <a:buFont typeface="Segoe UI" panose="020B0502040204020203" pitchFamily="34" charset="0"/>
              <a:buChar char="–"/>
              <a:defRPr sz="2400" kern="1200">
                <a:ln>
                  <a:noFill/>
                </a:ln>
                <a:solidFill>
                  <a:schemeClr val="tx1"/>
                </a:solidFill>
                <a:latin typeface="+mj-lt"/>
                <a:ea typeface="+mn-ea"/>
                <a:cs typeface="+mn-cs"/>
              </a:defRPr>
            </a:lvl2pPr>
            <a:lvl3pPr marL="1143000" indent="-228600" algn="l" defTabSz="914400" rtl="0" eaLnBrk="1" latinLnBrk="0" hangingPunct="1">
              <a:lnSpc>
                <a:spcPct val="100000"/>
              </a:lnSpc>
              <a:spcBef>
                <a:spcPts val="200"/>
              </a:spcBef>
              <a:spcAft>
                <a:spcPts val="400"/>
              </a:spcAft>
              <a:buFont typeface="Arial" panose="020B0604020202020204" pitchFamily="34" charset="0"/>
              <a:buChar char="•"/>
              <a:defRPr sz="2000" kern="1200">
                <a:ln>
                  <a:noFill/>
                </a:ln>
                <a:solidFill>
                  <a:schemeClr val="tx1"/>
                </a:solidFill>
                <a:latin typeface="+mn-lt"/>
                <a:ea typeface="+mn-ea"/>
                <a:cs typeface="+mn-cs"/>
              </a:defRPr>
            </a:lvl3pPr>
            <a:lvl4pPr marL="1657350" indent="-285750" algn="l" defTabSz="914400" rtl="0" eaLnBrk="1" latinLnBrk="0" hangingPunct="1">
              <a:lnSpc>
                <a:spcPct val="100000"/>
              </a:lnSpc>
              <a:spcBef>
                <a:spcPts val="200"/>
              </a:spcBef>
              <a:spcAft>
                <a:spcPts val="200"/>
              </a:spcAft>
              <a:buFont typeface="Segoe UI" panose="020B0502040204020203" pitchFamily="34" charset="0"/>
              <a:buChar char="–"/>
              <a:defRPr sz="1800" kern="1200">
                <a:ln>
                  <a:noFill/>
                </a:ln>
                <a:solidFill>
                  <a:schemeClr val="tx1"/>
                </a:solidFill>
                <a:latin typeface="+mn-lt"/>
                <a:ea typeface="+mn-ea"/>
                <a:cs typeface="+mn-cs"/>
              </a:defRPr>
            </a:lvl4pPr>
            <a:lvl5pPr marL="2057400" indent="-228600" algn="l" defTabSz="914400" rtl="0" eaLnBrk="1" latinLnBrk="0" hangingPunct="1">
              <a:lnSpc>
                <a:spcPct val="100000"/>
              </a:lnSpc>
              <a:spcBef>
                <a:spcPts val="200"/>
              </a:spcBef>
              <a:spcAft>
                <a:spcPts val="200"/>
              </a:spcAft>
              <a:buFont typeface="Arial" panose="020B0604020202020204" pitchFamily="34" charset="0"/>
              <a:buChar char="•"/>
              <a:defRPr sz="1800" kern="1200">
                <a:ln>
                  <a:noFill/>
                </a:ln>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ts val="400"/>
              </a:spcBef>
              <a:buNone/>
            </a:pPr>
            <a:r>
              <a:rPr lang="en-IN" sz="1800" kern="0" dirty="0">
                <a:solidFill>
                  <a:srgbClr val="00188F"/>
                </a:solidFill>
                <a:cs typeface="Segoe UI Semibold" panose="020B0702040204020203" pitchFamily="34" charset="0"/>
              </a:rPr>
              <a:t>Learn more about your technical support benefits</a:t>
            </a:r>
          </a:p>
          <a:p>
            <a:pPr marL="0" indent="0">
              <a:spcBef>
                <a:spcPts val="400"/>
              </a:spcBef>
              <a:buNone/>
            </a:pPr>
            <a:r>
              <a:rPr lang="en-US" sz="1800" kern="0" dirty="0">
                <a:solidFill>
                  <a:srgbClr val="505050"/>
                </a:solidFill>
                <a:latin typeface="Segoe UI Semibold" panose="020B0702040204020203" pitchFamily="34" charset="0"/>
                <a:cs typeface="Segoe UI Semibold" panose="020B0702040204020203" pitchFamily="34" charset="0"/>
              </a:rPr>
              <a:t>http://aka.ms/MySupport</a:t>
            </a:r>
            <a:endParaRPr lang="en-US" sz="1800" b="1" kern="0" dirty="0">
              <a:solidFill>
                <a:srgbClr val="008272"/>
              </a:solidFill>
              <a:latin typeface="Segoe UI Semibold" panose="020B0702040204020203" pitchFamily="34" charset="0"/>
              <a:cs typeface="Segoe UI Semibold" panose="020B0702040204020203" pitchFamily="34" charset="0"/>
            </a:endParaRPr>
          </a:p>
        </p:txBody>
      </p:sp>
    </p:spTree>
    <p:extLst>
      <p:ext uri="{BB962C8B-B14F-4D97-AF65-F5344CB8AC3E}">
        <p14:creationId xmlns:p14="http://schemas.microsoft.com/office/powerpoint/2010/main" val="3666128819"/>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calability Recommendations</a:t>
            </a:r>
            <a:br>
              <a:rPr lang="en-US" dirty="0"/>
            </a:br>
            <a:endParaRPr lang="en-US" dirty="0"/>
          </a:p>
        </p:txBody>
      </p:sp>
      <p:sp>
        <p:nvSpPr>
          <p:cNvPr id="3" name="Text Placeholder 2"/>
          <p:cNvSpPr>
            <a:spLocks noGrp="1"/>
          </p:cNvSpPr>
          <p:nvPr>
            <p:ph type="body" sz="quarter" idx="10"/>
          </p:nvPr>
        </p:nvSpPr>
        <p:spPr>
          <a:xfrm>
            <a:off x="274638" y="1212850"/>
            <a:ext cx="11887200" cy="4407360"/>
          </a:xfrm>
        </p:spPr>
        <p:txBody>
          <a:bodyPr/>
          <a:lstStyle/>
          <a:p>
            <a:pPr marL="571500" indent="-571500">
              <a:buFont typeface="Wingdings" panose="05000000000000000000" pitchFamily="2" charset="2"/>
              <a:buChar char="Ø"/>
            </a:pPr>
            <a:r>
              <a:rPr lang="en-US" sz="3600" dirty="0">
                <a:gradFill>
                  <a:gsLst>
                    <a:gs pos="1250">
                      <a:schemeClr val="tx1"/>
                    </a:gs>
                    <a:gs pos="99000">
                      <a:schemeClr val="tx1"/>
                    </a:gs>
                  </a:gsLst>
                  <a:lin ang="5400000" scaled="0"/>
                </a:gradFill>
                <a:cs typeface="Segoe UI Light" panose="020B0502040204020203" pitchFamily="34" charset="0"/>
              </a:rPr>
              <a:t>Avoid instance stickiness</a:t>
            </a:r>
          </a:p>
          <a:p>
            <a:pPr marL="571500" indent="-571500">
              <a:buFont typeface="Wingdings" panose="05000000000000000000" pitchFamily="2" charset="2"/>
              <a:buChar char="Ø"/>
            </a:pPr>
            <a:r>
              <a:rPr lang="en-US" sz="3600" dirty="0">
                <a:gradFill>
                  <a:gsLst>
                    <a:gs pos="1250">
                      <a:schemeClr val="tx1"/>
                    </a:gs>
                    <a:gs pos="99000">
                      <a:schemeClr val="tx1"/>
                    </a:gs>
                  </a:gsLst>
                  <a:lin ang="5400000" scaled="0"/>
                </a:gradFill>
                <a:cs typeface="Segoe UI Light" panose="020B0502040204020203" pitchFamily="34" charset="0"/>
              </a:rPr>
              <a:t>Identify bottlenecks</a:t>
            </a:r>
          </a:p>
          <a:p>
            <a:pPr marL="571500" indent="-571500">
              <a:buFont typeface="Wingdings" panose="05000000000000000000" pitchFamily="2" charset="2"/>
              <a:buChar char="Ø"/>
            </a:pPr>
            <a:r>
              <a:rPr lang="en-US" sz="3600" dirty="0">
                <a:gradFill>
                  <a:gsLst>
                    <a:gs pos="1250">
                      <a:schemeClr val="tx1"/>
                    </a:gs>
                    <a:gs pos="99000">
                      <a:schemeClr val="tx1"/>
                    </a:gs>
                  </a:gsLst>
                  <a:lin ang="5400000" scaled="0"/>
                </a:gradFill>
                <a:cs typeface="Segoe UI Light" panose="020B0502040204020203" pitchFamily="34" charset="0"/>
              </a:rPr>
              <a:t>Decompose workloads by scalability requirements</a:t>
            </a:r>
          </a:p>
          <a:p>
            <a:pPr marL="571500" indent="-571500">
              <a:buFont typeface="Wingdings" panose="05000000000000000000" pitchFamily="2" charset="2"/>
              <a:buChar char="Ø"/>
            </a:pPr>
            <a:r>
              <a:rPr lang="en-US" sz="3600" dirty="0">
                <a:gradFill>
                  <a:gsLst>
                    <a:gs pos="1250">
                      <a:schemeClr val="tx1"/>
                    </a:gs>
                    <a:gs pos="99000">
                      <a:schemeClr val="tx1"/>
                    </a:gs>
                  </a:gsLst>
                  <a:lin ang="5400000" scaled="0"/>
                </a:gradFill>
                <a:cs typeface="Segoe UI Light" panose="020B0502040204020203" pitchFamily="34" charset="0"/>
              </a:rPr>
              <a:t>Offload resource-intensive tasks</a:t>
            </a:r>
          </a:p>
          <a:p>
            <a:pPr marL="571500" indent="-571500">
              <a:buFont typeface="Wingdings" panose="05000000000000000000" pitchFamily="2" charset="2"/>
              <a:buChar char="Ø"/>
            </a:pPr>
            <a:r>
              <a:rPr lang="en-US" sz="3600" dirty="0">
                <a:gradFill>
                  <a:gsLst>
                    <a:gs pos="1250">
                      <a:schemeClr val="tx1"/>
                    </a:gs>
                    <a:gs pos="99000">
                      <a:schemeClr val="tx1"/>
                    </a:gs>
                  </a:gsLst>
                  <a:lin ang="5400000" scaled="0"/>
                </a:gradFill>
                <a:cs typeface="Segoe UI Light" panose="020B0502040204020203" pitchFamily="34" charset="0"/>
              </a:rPr>
              <a:t>Use built-in </a:t>
            </a:r>
            <a:r>
              <a:rPr lang="en-US" sz="3600" dirty="0" err="1">
                <a:gradFill>
                  <a:gsLst>
                    <a:gs pos="1250">
                      <a:schemeClr val="tx1"/>
                    </a:gs>
                    <a:gs pos="99000">
                      <a:schemeClr val="tx1"/>
                    </a:gs>
                  </a:gsLst>
                  <a:lin ang="5400000" scaled="0"/>
                </a:gradFill>
                <a:cs typeface="Segoe UI Light" panose="020B0502040204020203" pitchFamily="34" charset="0"/>
              </a:rPr>
              <a:t>autoscaling</a:t>
            </a:r>
            <a:r>
              <a:rPr lang="en-US" sz="3600" dirty="0">
                <a:gradFill>
                  <a:gsLst>
                    <a:gs pos="1250">
                      <a:schemeClr val="tx1"/>
                    </a:gs>
                    <a:gs pos="99000">
                      <a:schemeClr val="tx1"/>
                    </a:gs>
                  </a:gsLst>
                  <a:lin ang="5400000" scaled="0"/>
                </a:gradFill>
                <a:cs typeface="Segoe UI Light" panose="020B0502040204020203" pitchFamily="34" charset="0"/>
              </a:rPr>
              <a:t> features</a:t>
            </a:r>
          </a:p>
          <a:p>
            <a:pPr marL="571500" indent="-571500">
              <a:buFont typeface="Wingdings" panose="05000000000000000000" pitchFamily="2" charset="2"/>
              <a:buChar char="Ø"/>
            </a:pPr>
            <a:r>
              <a:rPr lang="en-US" sz="3600" dirty="0">
                <a:gradFill>
                  <a:gsLst>
                    <a:gs pos="1250">
                      <a:schemeClr val="tx1"/>
                    </a:gs>
                    <a:gs pos="99000">
                      <a:schemeClr val="tx1"/>
                    </a:gs>
                  </a:gsLst>
                  <a:lin ang="5400000" scaled="0"/>
                </a:gradFill>
                <a:cs typeface="Segoe UI Light" panose="020B0502040204020203" pitchFamily="34" charset="0"/>
              </a:rPr>
              <a:t>Consider aggressive </a:t>
            </a:r>
            <a:r>
              <a:rPr lang="en-US" sz="3600" dirty="0" err="1">
                <a:gradFill>
                  <a:gsLst>
                    <a:gs pos="1250">
                      <a:schemeClr val="tx1"/>
                    </a:gs>
                    <a:gs pos="99000">
                      <a:schemeClr val="tx1"/>
                    </a:gs>
                  </a:gsLst>
                  <a:lin ang="5400000" scaled="0"/>
                </a:gradFill>
                <a:cs typeface="Segoe UI Light" panose="020B0502040204020203" pitchFamily="34" charset="0"/>
              </a:rPr>
              <a:t>autoscaling</a:t>
            </a:r>
            <a:r>
              <a:rPr lang="en-US" sz="3600" dirty="0">
                <a:gradFill>
                  <a:gsLst>
                    <a:gs pos="1250">
                      <a:schemeClr val="tx1"/>
                    </a:gs>
                    <a:gs pos="99000">
                      <a:schemeClr val="tx1"/>
                    </a:gs>
                  </a:gsLst>
                  <a:lin ang="5400000" scaled="0"/>
                </a:gradFill>
                <a:cs typeface="Segoe UI Light" panose="020B0502040204020203" pitchFamily="34" charset="0"/>
              </a:rPr>
              <a:t> for critical workloads</a:t>
            </a:r>
          </a:p>
          <a:p>
            <a:pPr marL="571500" indent="-571500">
              <a:buFont typeface="Wingdings" panose="05000000000000000000" pitchFamily="2" charset="2"/>
              <a:buChar char="Ø"/>
            </a:pPr>
            <a:r>
              <a:rPr lang="en-US" sz="3600" dirty="0">
                <a:gradFill>
                  <a:gsLst>
                    <a:gs pos="1250">
                      <a:schemeClr val="tx1"/>
                    </a:gs>
                    <a:gs pos="99000">
                      <a:schemeClr val="tx1"/>
                    </a:gs>
                  </a:gsLst>
                  <a:lin ang="5400000" scaled="0"/>
                </a:gradFill>
                <a:cs typeface="Segoe UI Light" panose="020B0502040204020203" pitchFamily="34" charset="0"/>
              </a:rPr>
              <a:t>Design for scale in</a:t>
            </a:r>
          </a:p>
        </p:txBody>
      </p:sp>
    </p:spTree>
    <p:extLst>
      <p:ext uri="{BB962C8B-B14F-4D97-AF65-F5344CB8AC3E}">
        <p14:creationId xmlns:p14="http://schemas.microsoft.com/office/powerpoint/2010/main" val="969640388"/>
      </p:ext>
    </p:extLst>
  </p:cSld>
  <p:clrMapOvr>
    <a:masterClrMapping/>
  </p:clrMapOvr>
  <p:transition>
    <p:fade/>
  </p:transition>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9733522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atabase Bottleneck</a:t>
            </a:r>
          </a:p>
        </p:txBody>
      </p:sp>
      <p:grpSp>
        <p:nvGrpSpPr>
          <p:cNvPr id="4" name="Group 3"/>
          <p:cNvGrpSpPr/>
          <p:nvPr/>
        </p:nvGrpSpPr>
        <p:grpSpPr>
          <a:xfrm>
            <a:off x="4815053" y="3136477"/>
            <a:ext cx="1541791" cy="1039753"/>
            <a:chOff x="5936247" y="1565661"/>
            <a:chExt cx="1541791" cy="1039753"/>
          </a:xfrm>
        </p:grpSpPr>
        <p:sp>
          <p:nvSpPr>
            <p:cNvPr id="5" name="Rectangle 4"/>
            <p:cNvSpPr/>
            <p:nvPr/>
          </p:nvSpPr>
          <p:spPr bwMode="auto">
            <a:xfrm>
              <a:off x="5936247" y="1565661"/>
              <a:ext cx="1541791" cy="1039753"/>
            </a:xfrm>
            <a:prstGeom prst="rect">
              <a:avLst/>
            </a:prstGeom>
            <a:solidFill>
              <a:schemeClr val="bg1"/>
            </a:solidFill>
            <a:ln w="25400">
              <a:solidFill>
                <a:srgbClr val="00B0F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pic>
          <p:nvPicPr>
            <p:cNvPr id="6" name="Picture 5"/>
            <p:cNvPicPr>
              <a:picLocks noChangeAspect="1"/>
            </p:cNvPicPr>
            <p:nvPr/>
          </p:nvPicPr>
          <p:blipFill>
            <a:blip r:embed="rId3"/>
            <a:stretch>
              <a:fillRect/>
            </a:stretch>
          </p:blipFill>
          <p:spPr>
            <a:xfrm>
              <a:off x="5984011" y="1618316"/>
              <a:ext cx="618547" cy="223455"/>
            </a:xfrm>
            <a:prstGeom prst="rect">
              <a:avLst/>
            </a:prstGeom>
          </p:spPr>
        </p:pic>
        <p:sp>
          <p:nvSpPr>
            <p:cNvPr id="7" name="TextBox 6"/>
            <p:cNvSpPr txBox="1"/>
            <p:nvPr/>
          </p:nvSpPr>
          <p:spPr>
            <a:xfrm>
              <a:off x="5995590" y="1896307"/>
              <a:ext cx="954836" cy="166199"/>
            </a:xfrm>
            <a:prstGeom prst="rect">
              <a:avLst/>
            </a:prstGeom>
            <a:noFill/>
          </p:spPr>
          <p:txBody>
            <a:bodyPr wrap="square" lIns="0" tIns="0" rIns="0" bIns="0" rtlCol="0">
              <a:spAutoFit/>
            </a:bodyPr>
            <a:lstStyle/>
            <a:p>
              <a:pPr>
                <a:lnSpc>
                  <a:spcPct val="90000"/>
                </a:lnSpc>
                <a:spcBef>
                  <a:spcPct val="20000"/>
                </a:spcBef>
                <a:buSzPct val="80000"/>
              </a:pPr>
              <a:r>
                <a:rPr lang="en-US" sz="1200" dirty="0">
                  <a:gradFill>
                    <a:gsLst>
                      <a:gs pos="0">
                        <a:srgbClr val="292929">
                          <a:lumMod val="90000"/>
                          <a:lumOff val="10000"/>
                        </a:srgbClr>
                      </a:gs>
                      <a:gs pos="86000">
                        <a:srgbClr val="292929">
                          <a:lumMod val="90000"/>
                          <a:lumOff val="10000"/>
                        </a:srgbClr>
                      </a:gs>
                    </a:gsLst>
                    <a:lin ang="5400000" scaled="0"/>
                  </a:gradFill>
                </a:rPr>
                <a:t>Web Server</a:t>
              </a:r>
            </a:p>
          </p:txBody>
        </p:sp>
        <p:pic>
          <p:nvPicPr>
            <p:cNvPr id="8" name="Picture 7"/>
            <p:cNvPicPr>
              <a:picLocks noChangeAspect="1"/>
            </p:cNvPicPr>
            <p:nvPr/>
          </p:nvPicPr>
          <p:blipFill>
            <a:blip r:embed="rId4"/>
            <a:stretch>
              <a:fillRect/>
            </a:stretch>
          </p:blipFill>
          <p:spPr>
            <a:xfrm>
              <a:off x="6814725" y="1596166"/>
              <a:ext cx="271402" cy="269628"/>
            </a:xfrm>
            <a:prstGeom prst="rect">
              <a:avLst/>
            </a:prstGeom>
          </p:spPr>
        </p:pic>
        <p:sp>
          <p:nvSpPr>
            <p:cNvPr id="9" name="Flowchart: Process 8"/>
            <p:cNvSpPr/>
            <p:nvPr/>
          </p:nvSpPr>
          <p:spPr bwMode="auto">
            <a:xfrm>
              <a:off x="5995590" y="2150559"/>
              <a:ext cx="1326187" cy="317340"/>
            </a:xfrm>
            <a:prstGeom prst="flowChartProcess">
              <a:avLst/>
            </a:prstGeom>
            <a:solidFill>
              <a:srgbClr val="7030A0"/>
            </a:solidFill>
            <a:ln>
              <a:solidFill>
                <a:srgbClr val="5E5E5E"/>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200" dirty="0">
                  <a:gradFill>
                    <a:gsLst>
                      <a:gs pos="0">
                        <a:srgbClr val="FFFFFF"/>
                      </a:gs>
                      <a:gs pos="100000">
                        <a:srgbClr val="FFFFFF"/>
                      </a:gs>
                    </a:gsLst>
                    <a:lin ang="5400000" scaled="0"/>
                  </a:gradFill>
                </a:rPr>
                <a:t>Site (W3WP.EXE)</a:t>
              </a:r>
            </a:p>
          </p:txBody>
        </p:sp>
      </p:grpSp>
      <p:grpSp>
        <p:nvGrpSpPr>
          <p:cNvPr id="10" name="Group 9"/>
          <p:cNvGrpSpPr/>
          <p:nvPr/>
        </p:nvGrpSpPr>
        <p:grpSpPr>
          <a:xfrm>
            <a:off x="4815052" y="1856930"/>
            <a:ext cx="1541791" cy="1039753"/>
            <a:chOff x="5936247" y="1565661"/>
            <a:chExt cx="1541791" cy="1039753"/>
          </a:xfrm>
        </p:grpSpPr>
        <p:sp>
          <p:nvSpPr>
            <p:cNvPr id="11" name="Rectangle 10"/>
            <p:cNvSpPr/>
            <p:nvPr/>
          </p:nvSpPr>
          <p:spPr bwMode="auto">
            <a:xfrm>
              <a:off x="5936247" y="1565661"/>
              <a:ext cx="1541791" cy="1039753"/>
            </a:xfrm>
            <a:prstGeom prst="rect">
              <a:avLst/>
            </a:prstGeom>
            <a:solidFill>
              <a:schemeClr val="bg1"/>
            </a:solidFill>
            <a:ln w="25400">
              <a:solidFill>
                <a:srgbClr val="00B0F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pic>
          <p:nvPicPr>
            <p:cNvPr id="12" name="Picture 11"/>
            <p:cNvPicPr>
              <a:picLocks noChangeAspect="1"/>
            </p:cNvPicPr>
            <p:nvPr/>
          </p:nvPicPr>
          <p:blipFill>
            <a:blip r:embed="rId3"/>
            <a:stretch>
              <a:fillRect/>
            </a:stretch>
          </p:blipFill>
          <p:spPr>
            <a:xfrm>
              <a:off x="5984011" y="1618316"/>
              <a:ext cx="618547" cy="223455"/>
            </a:xfrm>
            <a:prstGeom prst="rect">
              <a:avLst/>
            </a:prstGeom>
          </p:spPr>
        </p:pic>
        <p:sp>
          <p:nvSpPr>
            <p:cNvPr id="13" name="TextBox 12"/>
            <p:cNvSpPr txBox="1"/>
            <p:nvPr/>
          </p:nvSpPr>
          <p:spPr>
            <a:xfrm>
              <a:off x="5995590" y="1896307"/>
              <a:ext cx="954836" cy="166199"/>
            </a:xfrm>
            <a:prstGeom prst="rect">
              <a:avLst/>
            </a:prstGeom>
            <a:noFill/>
          </p:spPr>
          <p:txBody>
            <a:bodyPr wrap="square" lIns="0" tIns="0" rIns="0" bIns="0" rtlCol="0">
              <a:spAutoFit/>
            </a:bodyPr>
            <a:lstStyle/>
            <a:p>
              <a:pPr>
                <a:lnSpc>
                  <a:spcPct val="90000"/>
                </a:lnSpc>
                <a:spcBef>
                  <a:spcPct val="20000"/>
                </a:spcBef>
                <a:buSzPct val="80000"/>
              </a:pPr>
              <a:r>
                <a:rPr lang="en-US" sz="1200" dirty="0">
                  <a:gradFill>
                    <a:gsLst>
                      <a:gs pos="0">
                        <a:srgbClr val="292929">
                          <a:lumMod val="90000"/>
                          <a:lumOff val="10000"/>
                        </a:srgbClr>
                      </a:gs>
                      <a:gs pos="86000">
                        <a:srgbClr val="292929">
                          <a:lumMod val="90000"/>
                          <a:lumOff val="10000"/>
                        </a:srgbClr>
                      </a:gs>
                    </a:gsLst>
                    <a:lin ang="5400000" scaled="0"/>
                  </a:gradFill>
                </a:rPr>
                <a:t>Web Server</a:t>
              </a:r>
            </a:p>
          </p:txBody>
        </p:sp>
        <p:pic>
          <p:nvPicPr>
            <p:cNvPr id="14" name="Picture 13"/>
            <p:cNvPicPr>
              <a:picLocks noChangeAspect="1"/>
            </p:cNvPicPr>
            <p:nvPr/>
          </p:nvPicPr>
          <p:blipFill>
            <a:blip r:embed="rId4"/>
            <a:stretch>
              <a:fillRect/>
            </a:stretch>
          </p:blipFill>
          <p:spPr>
            <a:xfrm>
              <a:off x="6814725" y="1596166"/>
              <a:ext cx="271402" cy="269628"/>
            </a:xfrm>
            <a:prstGeom prst="rect">
              <a:avLst/>
            </a:prstGeom>
          </p:spPr>
        </p:pic>
        <p:sp>
          <p:nvSpPr>
            <p:cNvPr id="15" name="Flowchart: Process 14"/>
            <p:cNvSpPr/>
            <p:nvPr/>
          </p:nvSpPr>
          <p:spPr bwMode="auto">
            <a:xfrm>
              <a:off x="5995590" y="2150559"/>
              <a:ext cx="1326187" cy="317340"/>
            </a:xfrm>
            <a:prstGeom prst="flowChartProcess">
              <a:avLst/>
            </a:prstGeom>
            <a:solidFill>
              <a:srgbClr val="7030A0"/>
            </a:solidFill>
            <a:ln>
              <a:solidFill>
                <a:srgbClr val="5E5E5E"/>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200" dirty="0">
                  <a:gradFill>
                    <a:gsLst>
                      <a:gs pos="0">
                        <a:srgbClr val="FFFFFF"/>
                      </a:gs>
                      <a:gs pos="100000">
                        <a:srgbClr val="FFFFFF"/>
                      </a:gs>
                    </a:gsLst>
                    <a:lin ang="5400000" scaled="0"/>
                  </a:gradFill>
                </a:rPr>
                <a:t>Site (W3WP.EXE)</a:t>
              </a:r>
            </a:p>
          </p:txBody>
        </p:sp>
      </p:grpSp>
      <p:grpSp>
        <p:nvGrpSpPr>
          <p:cNvPr id="16" name="Group 15"/>
          <p:cNvGrpSpPr/>
          <p:nvPr/>
        </p:nvGrpSpPr>
        <p:grpSpPr>
          <a:xfrm>
            <a:off x="8393639" y="3159426"/>
            <a:ext cx="1575916" cy="998617"/>
            <a:chOff x="8945948" y="1949969"/>
            <a:chExt cx="1575916" cy="998617"/>
          </a:xfrm>
        </p:grpSpPr>
        <p:sp>
          <p:nvSpPr>
            <p:cNvPr id="17" name="Rectangle 16"/>
            <p:cNvSpPr/>
            <p:nvPr/>
          </p:nvSpPr>
          <p:spPr bwMode="auto">
            <a:xfrm>
              <a:off x="8945948" y="1949969"/>
              <a:ext cx="1575916" cy="998617"/>
            </a:xfrm>
            <a:prstGeom prst="rect">
              <a:avLst/>
            </a:prstGeom>
            <a:solidFill>
              <a:schemeClr val="bg1"/>
            </a:solidFill>
            <a:ln w="25400">
              <a:solidFill>
                <a:srgbClr val="00B0F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pic>
          <p:nvPicPr>
            <p:cNvPr id="18" name="Picture 17"/>
            <p:cNvPicPr>
              <a:picLocks noChangeAspect="1"/>
            </p:cNvPicPr>
            <p:nvPr/>
          </p:nvPicPr>
          <p:blipFill>
            <a:blip r:embed="rId3"/>
            <a:stretch>
              <a:fillRect/>
            </a:stretch>
          </p:blipFill>
          <p:spPr>
            <a:xfrm>
              <a:off x="8982842" y="2002625"/>
              <a:ext cx="618547" cy="223455"/>
            </a:xfrm>
            <a:prstGeom prst="rect">
              <a:avLst/>
            </a:prstGeom>
          </p:spPr>
        </p:pic>
        <p:sp>
          <p:nvSpPr>
            <p:cNvPr id="19" name="TextBox 18"/>
            <p:cNvSpPr txBox="1"/>
            <p:nvPr/>
          </p:nvSpPr>
          <p:spPr>
            <a:xfrm>
              <a:off x="8982842" y="2677316"/>
              <a:ext cx="1442402" cy="166199"/>
            </a:xfrm>
            <a:prstGeom prst="rect">
              <a:avLst/>
            </a:prstGeom>
            <a:noFill/>
          </p:spPr>
          <p:txBody>
            <a:bodyPr wrap="square" lIns="0" tIns="0" rIns="0" bIns="0" rtlCol="0">
              <a:spAutoFit/>
            </a:bodyPr>
            <a:lstStyle/>
            <a:p>
              <a:pPr>
                <a:lnSpc>
                  <a:spcPct val="90000"/>
                </a:lnSpc>
                <a:spcBef>
                  <a:spcPct val="20000"/>
                </a:spcBef>
                <a:buSzPct val="80000"/>
              </a:pPr>
              <a:r>
                <a:rPr lang="en-US" sz="1200" dirty="0">
                  <a:gradFill>
                    <a:gsLst>
                      <a:gs pos="0">
                        <a:srgbClr val="292929">
                          <a:lumMod val="90000"/>
                          <a:lumOff val="10000"/>
                        </a:srgbClr>
                      </a:gs>
                      <a:gs pos="86000">
                        <a:srgbClr val="292929">
                          <a:lumMod val="90000"/>
                          <a:lumOff val="10000"/>
                        </a:srgbClr>
                      </a:gs>
                    </a:gsLst>
                    <a:lin ang="5400000" scaled="0"/>
                  </a:gradFill>
                </a:rPr>
                <a:t>Web Site Database</a:t>
              </a:r>
            </a:p>
          </p:txBody>
        </p:sp>
        <p:sp>
          <p:nvSpPr>
            <p:cNvPr id="20" name="Flowchart: Magnetic Disk 19"/>
            <p:cNvSpPr/>
            <p:nvPr/>
          </p:nvSpPr>
          <p:spPr bwMode="auto">
            <a:xfrm>
              <a:off x="9931799" y="1979974"/>
              <a:ext cx="439435" cy="587862"/>
            </a:xfrm>
            <a:prstGeom prst="flowChartMagneticDisk">
              <a:avLst/>
            </a:prstGeom>
            <a:solidFill>
              <a:schemeClr val="bg1"/>
            </a:solidFill>
            <a:ln>
              <a:solidFill>
                <a:srgbClr val="5E5E5E"/>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grpSp>
      <p:grpSp>
        <p:nvGrpSpPr>
          <p:cNvPr id="21" name="Group 20"/>
          <p:cNvGrpSpPr/>
          <p:nvPr/>
        </p:nvGrpSpPr>
        <p:grpSpPr>
          <a:xfrm>
            <a:off x="1830066" y="3398813"/>
            <a:ext cx="954836" cy="717372"/>
            <a:chOff x="1207714" y="2472755"/>
            <a:chExt cx="954836" cy="717372"/>
          </a:xfrm>
        </p:grpSpPr>
        <p:pic>
          <p:nvPicPr>
            <p:cNvPr id="22" name="Picture 21"/>
            <p:cNvPicPr>
              <a:picLocks noChangeAspect="1"/>
            </p:cNvPicPr>
            <p:nvPr/>
          </p:nvPicPr>
          <p:blipFill>
            <a:blip r:embed="rId5"/>
            <a:stretch>
              <a:fillRect/>
            </a:stretch>
          </p:blipFill>
          <p:spPr>
            <a:xfrm>
              <a:off x="1298541" y="2472755"/>
              <a:ext cx="773183" cy="516741"/>
            </a:xfrm>
            <a:prstGeom prst="rect">
              <a:avLst/>
            </a:prstGeom>
          </p:spPr>
        </p:pic>
        <p:sp>
          <p:nvSpPr>
            <p:cNvPr id="23" name="TextBox 22"/>
            <p:cNvSpPr txBox="1"/>
            <p:nvPr/>
          </p:nvSpPr>
          <p:spPr>
            <a:xfrm>
              <a:off x="1207714" y="3023928"/>
              <a:ext cx="954836" cy="166199"/>
            </a:xfrm>
            <a:prstGeom prst="rect">
              <a:avLst/>
            </a:prstGeom>
            <a:noFill/>
          </p:spPr>
          <p:txBody>
            <a:bodyPr wrap="square" lIns="0" tIns="0" rIns="0" bIns="0" rtlCol="0">
              <a:spAutoFit/>
            </a:bodyPr>
            <a:lstStyle/>
            <a:p>
              <a:pPr>
                <a:lnSpc>
                  <a:spcPct val="90000"/>
                </a:lnSpc>
                <a:spcBef>
                  <a:spcPct val="20000"/>
                </a:spcBef>
                <a:buSzPct val="80000"/>
              </a:pPr>
              <a:r>
                <a:rPr lang="en-US" sz="1200" dirty="0">
                  <a:gradFill>
                    <a:gsLst>
                      <a:gs pos="0">
                        <a:srgbClr val="292929">
                          <a:lumMod val="90000"/>
                          <a:lumOff val="10000"/>
                        </a:srgbClr>
                      </a:gs>
                      <a:gs pos="86000">
                        <a:srgbClr val="292929">
                          <a:lumMod val="90000"/>
                          <a:lumOff val="10000"/>
                        </a:srgbClr>
                      </a:gs>
                    </a:gsLst>
                    <a:lin ang="5400000" scaled="0"/>
                  </a:gradFill>
                </a:rPr>
                <a:t>Load Balancer </a:t>
              </a:r>
            </a:p>
          </p:txBody>
        </p:sp>
      </p:grpSp>
      <p:cxnSp>
        <p:nvCxnSpPr>
          <p:cNvPr id="24" name="Elbow Connector 23"/>
          <p:cNvCxnSpPr>
            <a:stCxn id="22" idx="3"/>
            <a:endCxn id="5" idx="1"/>
          </p:cNvCxnSpPr>
          <p:nvPr/>
        </p:nvCxnSpPr>
        <p:spPr>
          <a:xfrm flipV="1">
            <a:off x="2694076" y="3656354"/>
            <a:ext cx="2120977" cy="830"/>
          </a:xfrm>
          <a:prstGeom prst="bentConnector3">
            <a:avLst>
              <a:gd name="adj1" fmla="val 50000"/>
            </a:avLst>
          </a:prstGeom>
          <a:ln w="25400">
            <a:solidFill>
              <a:srgbClr val="BAD80A"/>
            </a:solidFill>
            <a:tailEnd type="triangle"/>
          </a:ln>
        </p:spPr>
        <p:style>
          <a:lnRef idx="1">
            <a:schemeClr val="accent1"/>
          </a:lnRef>
          <a:fillRef idx="0">
            <a:schemeClr val="accent1"/>
          </a:fillRef>
          <a:effectRef idx="0">
            <a:schemeClr val="accent1"/>
          </a:effectRef>
          <a:fontRef idx="minor">
            <a:schemeClr val="tx1"/>
          </a:fontRef>
        </p:style>
      </p:cxnSp>
      <p:cxnSp>
        <p:nvCxnSpPr>
          <p:cNvPr id="25" name="Elbow Connector 24"/>
          <p:cNvCxnSpPr>
            <a:stCxn id="5" idx="3"/>
            <a:endCxn id="17" idx="1"/>
          </p:cNvCxnSpPr>
          <p:nvPr/>
        </p:nvCxnSpPr>
        <p:spPr>
          <a:xfrm>
            <a:off x="6356844" y="3656354"/>
            <a:ext cx="2036795" cy="2381"/>
          </a:xfrm>
          <a:prstGeom prst="bentConnector3">
            <a:avLst>
              <a:gd name="adj1" fmla="val 50000"/>
            </a:avLst>
          </a:prstGeom>
          <a:ln w="25400">
            <a:solidFill>
              <a:srgbClr val="BAD80A"/>
            </a:solidFill>
            <a:tailEnd type="triangle"/>
          </a:ln>
        </p:spPr>
        <p:style>
          <a:lnRef idx="1">
            <a:schemeClr val="accent1"/>
          </a:lnRef>
          <a:fillRef idx="0">
            <a:schemeClr val="accent1"/>
          </a:fillRef>
          <a:effectRef idx="0">
            <a:schemeClr val="accent1"/>
          </a:effectRef>
          <a:fontRef idx="minor">
            <a:schemeClr val="tx1"/>
          </a:fontRef>
        </p:style>
      </p:cxnSp>
      <p:grpSp>
        <p:nvGrpSpPr>
          <p:cNvPr id="26" name="Group 25"/>
          <p:cNvGrpSpPr/>
          <p:nvPr/>
        </p:nvGrpSpPr>
        <p:grpSpPr>
          <a:xfrm>
            <a:off x="4815051" y="4417533"/>
            <a:ext cx="1541791" cy="1039753"/>
            <a:chOff x="5936247" y="1565661"/>
            <a:chExt cx="1541791" cy="1039753"/>
          </a:xfrm>
        </p:grpSpPr>
        <p:sp>
          <p:nvSpPr>
            <p:cNvPr id="27" name="Rectangle 26"/>
            <p:cNvSpPr/>
            <p:nvPr/>
          </p:nvSpPr>
          <p:spPr bwMode="auto">
            <a:xfrm>
              <a:off x="5936247" y="1565661"/>
              <a:ext cx="1541791" cy="1039753"/>
            </a:xfrm>
            <a:prstGeom prst="rect">
              <a:avLst/>
            </a:prstGeom>
            <a:solidFill>
              <a:schemeClr val="bg1"/>
            </a:solidFill>
            <a:ln w="25400">
              <a:solidFill>
                <a:srgbClr val="00B0F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pic>
          <p:nvPicPr>
            <p:cNvPr id="28" name="Picture 27"/>
            <p:cNvPicPr>
              <a:picLocks noChangeAspect="1"/>
            </p:cNvPicPr>
            <p:nvPr/>
          </p:nvPicPr>
          <p:blipFill>
            <a:blip r:embed="rId3"/>
            <a:stretch>
              <a:fillRect/>
            </a:stretch>
          </p:blipFill>
          <p:spPr>
            <a:xfrm>
              <a:off x="5984011" y="1618316"/>
              <a:ext cx="618547" cy="223455"/>
            </a:xfrm>
            <a:prstGeom prst="rect">
              <a:avLst/>
            </a:prstGeom>
          </p:spPr>
        </p:pic>
        <p:sp>
          <p:nvSpPr>
            <p:cNvPr id="29" name="TextBox 28"/>
            <p:cNvSpPr txBox="1"/>
            <p:nvPr/>
          </p:nvSpPr>
          <p:spPr>
            <a:xfrm>
              <a:off x="5995590" y="1896307"/>
              <a:ext cx="954836" cy="166199"/>
            </a:xfrm>
            <a:prstGeom prst="rect">
              <a:avLst/>
            </a:prstGeom>
            <a:noFill/>
          </p:spPr>
          <p:txBody>
            <a:bodyPr wrap="square" lIns="0" tIns="0" rIns="0" bIns="0" rtlCol="0">
              <a:spAutoFit/>
            </a:bodyPr>
            <a:lstStyle/>
            <a:p>
              <a:pPr>
                <a:lnSpc>
                  <a:spcPct val="90000"/>
                </a:lnSpc>
                <a:spcBef>
                  <a:spcPct val="20000"/>
                </a:spcBef>
                <a:buSzPct val="80000"/>
              </a:pPr>
              <a:r>
                <a:rPr lang="en-US" sz="1200" dirty="0">
                  <a:gradFill>
                    <a:gsLst>
                      <a:gs pos="0">
                        <a:srgbClr val="292929">
                          <a:lumMod val="90000"/>
                          <a:lumOff val="10000"/>
                        </a:srgbClr>
                      </a:gs>
                      <a:gs pos="86000">
                        <a:srgbClr val="292929">
                          <a:lumMod val="90000"/>
                          <a:lumOff val="10000"/>
                        </a:srgbClr>
                      </a:gs>
                    </a:gsLst>
                    <a:lin ang="5400000" scaled="0"/>
                  </a:gradFill>
                </a:rPr>
                <a:t>Web Server</a:t>
              </a:r>
            </a:p>
          </p:txBody>
        </p:sp>
        <p:pic>
          <p:nvPicPr>
            <p:cNvPr id="30" name="Picture 29"/>
            <p:cNvPicPr>
              <a:picLocks noChangeAspect="1"/>
            </p:cNvPicPr>
            <p:nvPr/>
          </p:nvPicPr>
          <p:blipFill>
            <a:blip r:embed="rId4"/>
            <a:stretch>
              <a:fillRect/>
            </a:stretch>
          </p:blipFill>
          <p:spPr>
            <a:xfrm>
              <a:off x="6814725" y="1596166"/>
              <a:ext cx="271402" cy="269628"/>
            </a:xfrm>
            <a:prstGeom prst="rect">
              <a:avLst/>
            </a:prstGeom>
          </p:spPr>
        </p:pic>
        <p:sp>
          <p:nvSpPr>
            <p:cNvPr id="31" name="Flowchart: Process 30"/>
            <p:cNvSpPr/>
            <p:nvPr/>
          </p:nvSpPr>
          <p:spPr bwMode="auto">
            <a:xfrm>
              <a:off x="5995590" y="2150559"/>
              <a:ext cx="1326187" cy="317340"/>
            </a:xfrm>
            <a:prstGeom prst="flowChartProcess">
              <a:avLst/>
            </a:prstGeom>
            <a:solidFill>
              <a:srgbClr val="7030A0"/>
            </a:solidFill>
            <a:ln>
              <a:solidFill>
                <a:srgbClr val="5E5E5E"/>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200" dirty="0">
                  <a:gradFill>
                    <a:gsLst>
                      <a:gs pos="0">
                        <a:srgbClr val="FFFFFF"/>
                      </a:gs>
                      <a:gs pos="100000">
                        <a:srgbClr val="FFFFFF"/>
                      </a:gs>
                    </a:gsLst>
                    <a:lin ang="5400000" scaled="0"/>
                  </a:gradFill>
                </a:rPr>
                <a:t>Site (W3WP.EXE)</a:t>
              </a:r>
            </a:p>
          </p:txBody>
        </p:sp>
      </p:grpSp>
      <p:cxnSp>
        <p:nvCxnSpPr>
          <p:cNvPr id="32" name="Elbow Connector 31"/>
          <p:cNvCxnSpPr>
            <a:stCxn id="27" idx="3"/>
            <a:endCxn id="17" idx="2"/>
          </p:cNvCxnSpPr>
          <p:nvPr/>
        </p:nvCxnSpPr>
        <p:spPr>
          <a:xfrm flipV="1">
            <a:off x="6356842" y="4158043"/>
            <a:ext cx="2824755" cy="779367"/>
          </a:xfrm>
          <a:prstGeom prst="bentConnector2">
            <a:avLst/>
          </a:prstGeom>
          <a:ln w="25400">
            <a:solidFill>
              <a:srgbClr val="BAD80A"/>
            </a:solidFill>
            <a:tailEnd type="triangle"/>
          </a:ln>
        </p:spPr>
        <p:style>
          <a:lnRef idx="1">
            <a:schemeClr val="accent1"/>
          </a:lnRef>
          <a:fillRef idx="0">
            <a:schemeClr val="accent1"/>
          </a:fillRef>
          <a:effectRef idx="0">
            <a:schemeClr val="accent1"/>
          </a:effectRef>
          <a:fontRef idx="minor">
            <a:schemeClr val="tx1"/>
          </a:fontRef>
        </p:style>
      </p:cxnSp>
      <p:cxnSp>
        <p:nvCxnSpPr>
          <p:cNvPr id="33" name="Elbow Connector 32"/>
          <p:cNvCxnSpPr>
            <a:stCxn id="11" idx="3"/>
            <a:endCxn id="17" idx="0"/>
          </p:cNvCxnSpPr>
          <p:nvPr/>
        </p:nvCxnSpPr>
        <p:spPr>
          <a:xfrm>
            <a:off x="6356843" y="2376807"/>
            <a:ext cx="2824754" cy="782619"/>
          </a:xfrm>
          <a:prstGeom prst="bentConnector2">
            <a:avLst/>
          </a:prstGeom>
          <a:ln w="25400">
            <a:solidFill>
              <a:srgbClr val="BAD80A"/>
            </a:solidFill>
            <a:tailEnd type="triangle"/>
          </a:ln>
        </p:spPr>
        <p:style>
          <a:lnRef idx="1">
            <a:schemeClr val="accent1"/>
          </a:lnRef>
          <a:fillRef idx="0">
            <a:schemeClr val="accent1"/>
          </a:fillRef>
          <a:effectRef idx="0">
            <a:schemeClr val="accent1"/>
          </a:effectRef>
          <a:fontRef idx="minor">
            <a:schemeClr val="tx1"/>
          </a:fontRef>
        </p:style>
      </p:cxnSp>
      <p:cxnSp>
        <p:nvCxnSpPr>
          <p:cNvPr id="34" name="Elbow Connector 33"/>
          <p:cNvCxnSpPr>
            <a:stCxn id="22" idx="0"/>
            <a:endCxn id="11" idx="1"/>
          </p:cNvCxnSpPr>
          <p:nvPr/>
        </p:nvCxnSpPr>
        <p:spPr>
          <a:xfrm rot="5400000" flipH="1" flipV="1">
            <a:off x="3050265" y="1634027"/>
            <a:ext cx="1022006" cy="2507567"/>
          </a:xfrm>
          <a:prstGeom prst="bentConnector2">
            <a:avLst/>
          </a:prstGeom>
          <a:ln w="25400">
            <a:solidFill>
              <a:srgbClr val="BAD80A"/>
            </a:solidFill>
            <a:tailEnd type="triangle"/>
          </a:ln>
        </p:spPr>
        <p:style>
          <a:lnRef idx="1">
            <a:schemeClr val="accent1"/>
          </a:lnRef>
          <a:fillRef idx="0">
            <a:schemeClr val="accent1"/>
          </a:fillRef>
          <a:effectRef idx="0">
            <a:schemeClr val="accent1"/>
          </a:effectRef>
          <a:fontRef idx="minor">
            <a:schemeClr val="tx1"/>
          </a:fontRef>
        </p:style>
      </p:cxnSp>
      <p:cxnSp>
        <p:nvCxnSpPr>
          <p:cNvPr id="35" name="Elbow Connector 34"/>
          <p:cNvCxnSpPr>
            <a:stCxn id="23" idx="2"/>
            <a:endCxn id="27" idx="1"/>
          </p:cNvCxnSpPr>
          <p:nvPr/>
        </p:nvCxnSpPr>
        <p:spPr>
          <a:xfrm rot="16200000" flipH="1">
            <a:off x="3150655" y="3273013"/>
            <a:ext cx="821225" cy="2507567"/>
          </a:xfrm>
          <a:prstGeom prst="bentConnector2">
            <a:avLst/>
          </a:prstGeom>
          <a:ln w="25400">
            <a:solidFill>
              <a:srgbClr val="BAD80A"/>
            </a:solidFill>
            <a:tailEnd type="triangle"/>
          </a:ln>
        </p:spPr>
        <p:style>
          <a:lnRef idx="1">
            <a:schemeClr val="accent1"/>
          </a:lnRef>
          <a:fillRef idx="0">
            <a:schemeClr val="accent1"/>
          </a:fillRef>
          <a:effectRef idx="0">
            <a:schemeClr val="accent1"/>
          </a:effectRef>
          <a:fontRef idx="minor">
            <a:schemeClr val="tx1"/>
          </a:fontRef>
        </p:style>
      </p:cxnSp>
      <p:sp>
        <p:nvSpPr>
          <p:cNvPr id="36" name="Rectangle 35"/>
          <p:cNvSpPr/>
          <p:nvPr/>
        </p:nvSpPr>
        <p:spPr bwMode="auto">
          <a:xfrm>
            <a:off x="8393638" y="3151729"/>
            <a:ext cx="1575917" cy="1009248"/>
          </a:xfrm>
          <a:prstGeom prst="rect">
            <a:avLst/>
          </a:prstGeom>
          <a:solidFill>
            <a:srgbClr val="FF0000">
              <a:alpha val="21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37" name="Rectangle 36"/>
          <p:cNvSpPr/>
          <p:nvPr/>
        </p:nvSpPr>
        <p:spPr bwMode="auto">
          <a:xfrm>
            <a:off x="4809735" y="3138431"/>
            <a:ext cx="1528661" cy="1009248"/>
          </a:xfrm>
          <a:prstGeom prst="rect">
            <a:avLst/>
          </a:prstGeom>
          <a:solidFill>
            <a:srgbClr val="FF0000">
              <a:alpha val="21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125329688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4"/>
                                        </p:tgtEl>
                                        <p:attrNameLst>
                                          <p:attrName>style.visibility</p:attrName>
                                        </p:attrNameLst>
                                      </p:cBhvr>
                                      <p:to>
                                        <p:strVal val="visible"/>
                                      </p:to>
                                    </p:set>
                                  </p:childTnLst>
                                </p:cTn>
                              </p:par>
                            </p:childTnLst>
                          </p:cTn>
                        </p:par>
                        <p:par>
                          <p:cTn id="11" fill="hold">
                            <p:stCondLst>
                              <p:cond delay="0"/>
                            </p:stCondLst>
                            <p:childTnLst>
                              <p:par>
                                <p:cTn id="12" presetID="1" presetClass="entr" presetSubtype="0" fill="hold" nodeType="afterEffect">
                                  <p:stCondLst>
                                    <p:cond delay="0"/>
                                  </p:stCondLst>
                                  <p:childTnLst>
                                    <p:set>
                                      <p:cBhvr>
                                        <p:cTn id="13" dur="1" fill="hold">
                                          <p:stCondLst>
                                            <p:cond delay="0"/>
                                          </p:stCondLst>
                                        </p:cTn>
                                        <p:tgtEl>
                                          <p:spTgt spid="35"/>
                                        </p:tgtEl>
                                        <p:attrNameLst>
                                          <p:attrName>style.visibility</p:attrName>
                                        </p:attrNameLst>
                                      </p:cBhvr>
                                      <p:to>
                                        <p:strVal val="visible"/>
                                      </p:to>
                                    </p:set>
                                  </p:childTnLst>
                                </p:cTn>
                              </p:par>
                            </p:childTnLst>
                          </p:cTn>
                        </p:par>
                        <p:par>
                          <p:cTn id="14" fill="hold">
                            <p:stCondLst>
                              <p:cond delay="0"/>
                            </p:stCondLst>
                            <p:childTnLst>
                              <p:par>
                                <p:cTn id="15" presetID="1" presetClass="entr" presetSubtype="0" fill="hold" nodeType="afterEffect">
                                  <p:stCondLst>
                                    <p:cond delay="0"/>
                                  </p:stCondLst>
                                  <p:childTnLst>
                                    <p:set>
                                      <p:cBhvr>
                                        <p:cTn id="16" dur="1" fill="hold">
                                          <p:stCondLst>
                                            <p:cond delay="0"/>
                                          </p:stCondLst>
                                        </p:cTn>
                                        <p:tgtEl>
                                          <p:spTgt spid="32"/>
                                        </p:tgtEl>
                                        <p:attrNameLst>
                                          <p:attrName>style.visibility</p:attrName>
                                        </p:attrNameLst>
                                      </p:cBhvr>
                                      <p:to>
                                        <p:strVal val="visible"/>
                                      </p:to>
                                    </p:set>
                                  </p:childTnLst>
                                </p:cTn>
                              </p:par>
                            </p:childTnLst>
                          </p:cTn>
                        </p:par>
                        <p:par>
                          <p:cTn id="17" fill="hold">
                            <p:stCondLst>
                              <p:cond delay="0"/>
                            </p:stCondLst>
                            <p:childTnLst>
                              <p:par>
                                <p:cTn id="18" presetID="1" presetClass="entr" presetSubtype="0" fill="hold" nodeType="afterEffect">
                                  <p:stCondLst>
                                    <p:cond delay="0"/>
                                  </p:stCondLst>
                                  <p:childTnLst>
                                    <p:set>
                                      <p:cBhvr>
                                        <p:cTn id="19" dur="1" fill="hold">
                                          <p:stCondLst>
                                            <p:cond delay="0"/>
                                          </p:stCondLst>
                                        </p:cTn>
                                        <p:tgtEl>
                                          <p:spTgt spid="10"/>
                                        </p:tgtEl>
                                        <p:attrNameLst>
                                          <p:attrName>style.visibility</p:attrName>
                                        </p:attrNameLst>
                                      </p:cBhvr>
                                      <p:to>
                                        <p:strVal val="visible"/>
                                      </p:to>
                                    </p:set>
                                  </p:childTnLst>
                                </p:cTn>
                              </p:par>
                            </p:childTnLst>
                          </p:cTn>
                        </p:par>
                        <p:par>
                          <p:cTn id="20" fill="hold">
                            <p:stCondLst>
                              <p:cond delay="0"/>
                            </p:stCondLst>
                            <p:childTnLst>
                              <p:par>
                                <p:cTn id="21" presetID="1" presetClass="entr" presetSubtype="0" fill="hold" nodeType="afterEffect">
                                  <p:stCondLst>
                                    <p:cond delay="0"/>
                                  </p:stCondLst>
                                  <p:childTnLst>
                                    <p:set>
                                      <p:cBhvr>
                                        <p:cTn id="22" dur="1" fill="hold">
                                          <p:stCondLst>
                                            <p:cond delay="0"/>
                                          </p:stCondLst>
                                        </p:cTn>
                                        <p:tgtEl>
                                          <p:spTgt spid="26"/>
                                        </p:tgtEl>
                                        <p:attrNameLst>
                                          <p:attrName>style.visibility</p:attrName>
                                        </p:attrNameLst>
                                      </p:cBhvr>
                                      <p:to>
                                        <p:strVal val="visible"/>
                                      </p:to>
                                    </p:set>
                                  </p:childTnLst>
                                </p:cTn>
                              </p:par>
                            </p:childTnLst>
                          </p:cTn>
                        </p:par>
                        <p:par>
                          <p:cTn id="23" fill="hold">
                            <p:stCondLst>
                              <p:cond delay="0"/>
                            </p:stCondLst>
                            <p:childTnLst>
                              <p:par>
                                <p:cTn id="24" presetID="1" presetClass="entr" presetSubtype="0" fill="hold" nodeType="afterEffect">
                                  <p:stCondLst>
                                    <p:cond delay="0"/>
                                  </p:stCondLst>
                                  <p:childTnLst>
                                    <p:set>
                                      <p:cBhvr>
                                        <p:cTn id="25" dur="1" fill="hold">
                                          <p:stCondLst>
                                            <p:cond delay="0"/>
                                          </p:stCondLst>
                                        </p:cTn>
                                        <p:tgtEl>
                                          <p:spTgt spid="33"/>
                                        </p:tgtEl>
                                        <p:attrNameLst>
                                          <p:attrName>style.visibility</p:attrName>
                                        </p:attrNameLst>
                                      </p:cBhvr>
                                      <p:to>
                                        <p:strVal val="visible"/>
                                      </p:to>
                                    </p:set>
                                  </p:childTnLst>
                                </p:cTn>
                              </p:par>
                            </p:childTnLst>
                          </p:cTn>
                        </p:par>
                      </p:childTnLst>
                    </p:cTn>
                  </p:par>
                  <p:par>
                    <p:cTn id="26" fill="hold">
                      <p:stCondLst>
                        <p:cond delay="indefinite"/>
                      </p:stCondLst>
                      <p:childTnLst>
                        <p:par>
                          <p:cTn id="27" fill="hold">
                            <p:stCondLst>
                              <p:cond delay="0"/>
                            </p:stCondLst>
                            <p:childTnLst>
                              <p:par>
                                <p:cTn id="28" presetID="1" presetClass="exit" presetSubtype="0" fill="hold" grpId="1" nodeType="clickEffect">
                                  <p:stCondLst>
                                    <p:cond delay="0"/>
                                  </p:stCondLst>
                                  <p:childTnLst>
                                    <p:set>
                                      <p:cBhvr>
                                        <p:cTn id="29" dur="1" fill="hold">
                                          <p:stCondLst>
                                            <p:cond delay="0"/>
                                          </p:stCondLst>
                                        </p:cTn>
                                        <p:tgtEl>
                                          <p:spTgt spid="37"/>
                                        </p:tgtEl>
                                        <p:attrNameLst>
                                          <p:attrName>style.visibility</p:attrName>
                                        </p:attrNameLst>
                                      </p:cBhvr>
                                      <p:to>
                                        <p:strVal val="hidden"/>
                                      </p:to>
                                    </p:set>
                                  </p:childTnLst>
                                </p:cTn>
                              </p:par>
                            </p:childTnLst>
                          </p:cTn>
                        </p:par>
                      </p:childTnLst>
                    </p:cTn>
                  </p:par>
                  <p:par>
                    <p:cTn id="30" fill="hold">
                      <p:stCondLst>
                        <p:cond delay="indefinite"/>
                      </p:stCondLst>
                      <p:childTnLst>
                        <p:par>
                          <p:cTn id="31" fill="hold">
                            <p:stCondLst>
                              <p:cond delay="0"/>
                            </p:stCondLst>
                            <p:childTnLst>
                              <p:par>
                                <p:cTn id="32" presetID="1" presetClass="entr" presetSubtype="0" fill="hold" grpId="0" nodeType="clickEffect">
                                  <p:stCondLst>
                                    <p:cond delay="0"/>
                                  </p:stCondLst>
                                  <p:childTnLst>
                                    <p:set>
                                      <p:cBhvr>
                                        <p:cTn id="33" dur="1" fill="hold">
                                          <p:stCondLst>
                                            <p:cond delay="0"/>
                                          </p:stCondLst>
                                        </p:cTn>
                                        <p:tgtEl>
                                          <p:spTgt spid="3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6" grpId="0" animBg="1"/>
      <p:bldP spid="37" grpId="0" animBg="1"/>
      <p:bldP spid="37" grpId="1"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Mitigate Database Bottleneck</a:t>
            </a:r>
          </a:p>
        </p:txBody>
      </p:sp>
      <p:grpSp>
        <p:nvGrpSpPr>
          <p:cNvPr id="4" name="Group 3"/>
          <p:cNvGrpSpPr/>
          <p:nvPr/>
        </p:nvGrpSpPr>
        <p:grpSpPr>
          <a:xfrm>
            <a:off x="4815053" y="3136477"/>
            <a:ext cx="1541791" cy="1039753"/>
            <a:chOff x="5936247" y="1565661"/>
            <a:chExt cx="1541791" cy="1039753"/>
          </a:xfrm>
        </p:grpSpPr>
        <p:sp>
          <p:nvSpPr>
            <p:cNvPr id="5" name="Rectangle 4"/>
            <p:cNvSpPr/>
            <p:nvPr/>
          </p:nvSpPr>
          <p:spPr bwMode="auto">
            <a:xfrm>
              <a:off x="5936247" y="1565661"/>
              <a:ext cx="1541791" cy="1039753"/>
            </a:xfrm>
            <a:prstGeom prst="rect">
              <a:avLst/>
            </a:prstGeom>
            <a:solidFill>
              <a:schemeClr val="bg1"/>
            </a:solidFill>
            <a:ln w="25400">
              <a:solidFill>
                <a:srgbClr val="00B0F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pic>
          <p:nvPicPr>
            <p:cNvPr id="6" name="Picture 5"/>
            <p:cNvPicPr>
              <a:picLocks noChangeAspect="1"/>
            </p:cNvPicPr>
            <p:nvPr/>
          </p:nvPicPr>
          <p:blipFill>
            <a:blip r:embed="rId3"/>
            <a:stretch>
              <a:fillRect/>
            </a:stretch>
          </p:blipFill>
          <p:spPr>
            <a:xfrm>
              <a:off x="5984011" y="1618316"/>
              <a:ext cx="618547" cy="223455"/>
            </a:xfrm>
            <a:prstGeom prst="rect">
              <a:avLst/>
            </a:prstGeom>
          </p:spPr>
        </p:pic>
        <p:sp>
          <p:nvSpPr>
            <p:cNvPr id="7" name="TextBox 6"/>
            <p:cNvSpPr txBox="1"/>
            <p:nvPr/>
          </p:nvSpPr>
          <p:spPr>
            <a:xfrm>
              <a:off x="5995590" y="1896307"/>
              <a:ext cx="954836" cy="166199"/>
            </a:xfrm>
            <a:prstGeom prst="rect">
              <a:avLst/>
            </a:prstGeom>
            <a:noFill/>
          </p:spPr>
          <p:txBody>
            <a:bodyPr wrap="square" lIns="0" tIns="0" rIns="0" bIns="0" rtlCol="0">
              <a:spAutoFit/>
            </a:bodyPr>
            <a:lstStyle/>
            <a:p>
              <a:pPr>
                <a:lnSpc>
                  <a:spcPct val="90000"/>
                </a:lnSpc>
                <a:spcBef>
                  <a:spcPct val="20000"/>
                </a:spcBef>
                <a:buSzPct val="80000"/>
              </a:pPr>
              <a:r>
                <a:rPr lang="en-US" sz="1200" dirty="0">
                  <a:gradFill>
                    <a:gsLst>
                      <a:gs pos="0">
                        <a:srgbClr val="292929">
                          <a:lumMod val="90000"/>
                          <a:lumOff val="10000"/>
                        </a:srgbClr>
                      </a:gs>
                      <a:gs pos="86000">
                        <a:srgbClr val="292929">
                          <a:lumMod val="90000"/>
                          <a:lumOff val="10000"/>
                        </a:srgbClr>
                      </a:gs>
                    </a:gsLst>
                    <a:lin ang="5400000" scaled="0"/>
                  </a:gradFill>
                </a:rPr>
                <a:t>Web Server</a:t>
              </a:r>
            </a:p>
          </p:txBody>
        </p:sp>
        <p:pic>
          <p:nvPicPr>
            <p:cNvPr id="8" name="Picture 7"/>
            <p:cNvPicPr>
              <a:picLocks noChangeAspect="1"/>
            </p:cNvPicPr>
            <p:nvPr/>
          </p:nvPicPr>
          <p:blipFill>
            <a:blip r:embed="rId4"/>
            <a:stretch>
              <a:fillRect/>
            </a:stretch>
          </p:blipFill>
          <p:spPr>
            <a:xfrm>
              <a:off x="6814725" y="1596166"/>
              <a:ext cx="271402" cy="269628"/>
            </a:xfrm>
            <a:prstGeom prst="rect">
              <a:avLst/>
            </a:prstGeom>
          </p:spPr>
        </p:pic>
        <p:sp>
          <p:nvSpPr>
            <p:cNvPr id="9" name="Flowchart: Process 8"/>
            <p:cNvSpPr/>
            <p:nvPr/>
          </p:nvSpPr>
          <p:spPr bwMode="auto">
            <a:xfrm>
              <a:off x="5995590" y="2150559"/>
              <a:ext cx="1326187" cy="317340"/>
            </a:xfrm>
            <a:prstGeom prst="flowChartProcess">
              <a:avLst/>
            </a:prstGeom>
            <a:solidFill>
              <a:srgbClr val="7030A0"/>
            </a:solidFill>
            <a:ln>
              <a:solidFill>
                <a:srgbClr val="5E5E5E"/>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200" dirty="0">
                  <a:gradFill>
                    <a:gsLst>
                      <a:gs pos="0">
                        <a:srgbClr val="FFFFFF"/>
                      </a:gs>
                      <a:gs pos="100000">
                        <a:srgbClr val="FFFFFF"/>
                      </a:gs>
                    </a:gsLst>
                    <a:lin ang="5400000" scaled="0"/>
                  </a:gradFill>
                </a:rPr>
                <a:t>Site (W3WP.EXE)</a:t>
              </a:r>
            </a:p>
          </p:txBody>
        </p:sp>
      </p:grpSp>
      <p:grpSp>
        <p:nvGrpSpPr>
          <p:cNvPr id="10" name="Group 9"/>
          <p:cNvGrpSpPr/>
          <p:nvPr/>
        </p:nvGrpSpPr>
        <p:grpSpPr>
          <a:xfrm>
            <a:off x="4815052" y="1856930"/>
            <a:ext cx="1541791" cy="1039753"/>
            <a:chOff x="5936247" y="1565661"/>
            <a:chExt cx="1541791" cy="1039753"/>
          </a:xfrm>
        </p:grpSpPr>
        <p:sp>
          <p:nvSpPr>
            <p:cNvPr id="11" name="Rectangle 10"/>
            <p:cNvSpPr/>
            <p:nvPr/>
          </p:nvSpPr>
          <p:spPr bwMode="auto">
            <a:xfrm>
              <a:off x="5936247" y="1565661"/>
              <a:ext cx="1541791" cy="1039753"/>
            </a:xfrm>
            <a:prstGeom prst="rect">
              <a:avLst/>
            </a:prstGeom>
            <a:solidFill>
              <a:schemeClr val="bg1"/>
            </a:solidFill>
            <a:ln w="25400">
              <a:solidFill>
                <a:srgbClr val="00B0F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pic>
          <p:nvPicPr>
            <p:cNvPr id="12" name="Picture 11"/>
            <p:cNvPicPr>
              <a:picLocks noChangeAspect="1"/>
            </p:cNvPicPr>
            <p:nvPr/>
          </p:nvPicPr>
          <p:blipFill>
            <a:blip r:embed="rId3"/>
            <a:stretch>
              <a:fillRect/>
            </a:stretch>
          </p:blipFill>
          <p:spPr>
            <a:xfrm>
              <a:off x="5984011" y="1618316"/>
              <a:ext cx="618547" cy="223455"/>
            </a:xfrm>
            <a:prstGeom prst="rect">
              <a:avLst/>
            </a:prstGeom>
          </p:spPr>
        </p:pic>
        <p:sp>
          <p:nvSpPr>
            <p:cNvPr id="13" name="TextBox 12"/>
            <p:cNvSpPr txBox="1"/>
            <p:nvPr/>
          </p:nvSpPr>
          <p:spPr>
            <a:xfrm>
              <a:off x="5995590" y="1896307"/>
              <a:ext cx="954836" cy="166199"/>
            </a:xfrm>
            <a:prstGeom prst="rect">
              <a:avLst/>
            </a:prstGeom>
            <a:noFill/>
          </p:spPr>
          <p:txBody>
            <a:bodyPr wrap="square" lIns="0" tIns="0" rIns="0" bIns="0" rtlCol="0">
              <a:spAutoFit/>
            </a:bodyPr>
            <a:lstStyle/>
            <a:p>
              <a:pPr>
                <a:lnSpc>
                  <a:spcPct val="90000"/>
                </a:lnSpc>
                <a:spcBef>
                  <a:spcPct val="20000"/>
                </a:spcBef>
                <a:buSzPct val="80000"/>
              </a:pPr>
              <a:r>
                <a:rPr lang="en-US" sz="1200" dirty="0">
                  <a:gradFill>
                    <a:gsLst>
                      <a:gs pos="0">
                        <a:srgbClr val="292929">
                          <a:lumMod val="90000"/>
                          <a:lumOff val="10000"/>
                        </a:srgbClr>
                      </a:gs>
                      <a:gs pos="86000">
                        <a:srgbClr val="292929">
                          <a:lumMod val="90000"/>
                          <a:lumOff val="10000"/>
                        </a:srgbClr>
                      </a:gs>
                    </a:gsLst>
                    <a:lin ang="5400000" scaled="0"/>
                  </a:gradFill>
                </a:rPr>
                <a:t>Web Server</a:t>
              </a:r>
            </a:p>
          </p:txBody>
        </p:sp>
        <p:pic>
          <p:nvPicPr>
            <p:cNvPr id="14" name="Picture 13"/>
            <p:cNvPicPr>
              <a:picLocks noChangeAspect="1"/>
            </p:cNvPicPr>
            <p:nvPr/>
          </p:nvPicPr>
          <p:blipFill>
            <a:blip r:embed="rId4"/>
            <a:stretch>
              <a:fillRect/>
            </a:stretch>
          </p:blipFill>
          <p:spPr>
            <a:xfrm>
              <a:off x="6814725" y="1596166"/>
              <a:ext cx="271402" cy="269628"/>
            </a:xfrm>
            <a:prstGeom prst="rect">
              <a:avLst/>
            </a:prstGeom>
          </p:spPr>
        </p:pic>
        <p:sp>
          <p:nvSpPr>
            <p:cNvPr id="15" name="Flowchart: Process 14"/>
            <p:cNvSpPr/>
            <p:nvPr/>
          </p:nvSpPr>
          <p:spPr bwMode="auto">
            <a:xfrm>
              <a:off x="5995590" y="2150559"/>
              <a:ext cx="1326187" cy="317340"/>
            </a:xfrm>
            <a:prstGeom prst="flowChartProcess">
              <a:avLst/>
            </a:prstGeom>
            <a:solidFill>
              <a:srgbClr val="7030A0"/>
            </a:solidFill>
            <a:ln>
              <a:solidFill>
                <a:srgbClr val="5E5E5E"/>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200" dirty="0">
                  <a:gradFill>
                    <a:gsLst>
                      <a:gs pos="0">
                        <a:srgbClr val="FFFFFF"/>
                      </a:gs>
                      <a:gs pos="100000">
                        <a:srgbClr val="FFFFFF"/>
                      </a:gs>
                    </a:gsLst>
                    <a:lin ang="5400000" scaled="0"/>
                  </a:gradFill>
                </a:rPr>
                <a:t>Site (W3WP.EXE)</a:t>
              </a:r>
            </a:p>
          </p:txBody>
        </p:sp>
      </p:grpSp>
      <p:grpSp>
        <p:nvGrpSpPr>
          <p:cNvPr id="16" name="Group 15"/>
          <p:cNvGrpSpPr/>
          <p:nvPr/>
        </p:nvGrpSpPr>
        <p:grpSpPr>
          <a:xfrm>
            <a:off x="1830066" y="3398813"/>
            <a:ext cx="954836" cy="717372"/>
            <a:chOff x="1207714" y="2472755"/>
            <a:chExt cx="954836" cy="717372"/>
          </a:xfrm>
        </p:grpSpPr>
        <p:pic>
          <p:nvPicPr>
            <p:cNvPr id="17" name="Picture 16"/>
            <p:cNvPicPr>
              <a:picLocks noChangeAspect="1"/>
            </p:cNvPicPr>
            <p:nvPr/>
          </p:nvPicPr>
          <p:blipFill>
            <a:blip r:embed="rId5"/>
            <a:stretch>
              <a:fillRect/>
            </a:stretch>
          </p:blipFill>
          <p:spPr>
            <a:xfrm>
              <a:off x="1298541" y="2472755"/>
              <a:ext cx="773183" cy="516741"/>
            </a:xfrm>
            <a:prstGeom prst="rect">
              <a:avLst/>
            </a:prstGeom>
          </p:spPr>
        </p:pic>
        <p:sp>
          <p:nvSpPr>
            <p:cNvPr id="18" name="TextBox 17"/>
            <p:cNvSpPr txBox="1"/>
            <p:nvPr/>
          </p:nvSpPr>
          <p:spPr>
            <a:xfrm>
              <a:off x="1207714" y="3023928"/>
              <a:ext cx="954836" cy="166199"/>
            </a:xfrm>
            <a:prstGeom prst="rect">
              <a:avLst/>
            </a:prstGeom>
            <a:noFill/>
          </p:spPr>
          <p:txBody>
            <a:bodyPr wrap="square" lIns="0" tIns="0" rIns="0" bIns="0" rtlCol="0">
              <a:spAutoFit/>
            </a:bodyPr>
            <a:lstStyle/>
            <a:p>
              <a:pPr>
                <a:lnSpc>
                  <a:spcPct val="90000"/>
                </a:lnSpc>
                <a:spcBef>
                  <a:spcPct val="20000"/>
                </a:spcBef>
                <a:buSzPct val="80000"/>
              </a:pPr>
              <a:r>
                <a:rPr lang="en-US" sz="1200" dirty="0">
                  <a:gradFill>
                    <a:gsLst>
                      <a:gs pos="0">
                        <a:srgbClr val="292929">
                          <a:lumMod val="90000"/>
                          <a:lumOff val="10000"/>
                        </a:srgbClr>
                      </a:gs>
                      <a:gs pos="86000">
                        <a:srgbClr val="292929">
                          <a:lumMod val="90000"/>
                          <a:lumOff val="10000"/>
                        </a:srgbClr>
                      </a:gs>
                    </a:gsLst>
                    <a:lin ang="5400000" scaled="0"/>
                  </a:gradFill>
                </a:rPr>
                <a:t>Load Balancer </a:t>
              </a:r>
            </a:p>
          </p:txBody>
        </p:sp>
      </p:grpSp>
      <p:cxnSp>
        <p:nvCxnSpPr>
          <p:cNvPr id="19" name="Elbow Connector 18"/>
          <p:cNvCxnSpPr>
            <a:stCxn id="17" idx="3"/>
            <a:endCxn id="5" idx="1"/>
          </p:cNvCxnSpPr>
          <p:nvPr/>
        </p:nvCxnSpPr>
        <p:spPr>
          <a:xfrm flipV="1">
            <a:off x="2694076" y="3656354"/>
            <a:ext cx="2120977" cy="830"/>
          </a:xfrm>
          <a:prstGeom prst="bentConnector3">
            <a:avLst>
              <a:gd name="adj1" fmla="val 50000"/>
            </a:avLst>
          </a:prstGeom>
          <a:ln w="25400">
            <a:solidFill>
              <a:srgbClr val="BAD80A"/>
            </a:solidFill>
            <a:tailEnd type="triangle"/>
          </a:ln>
        </p:spPr>
        <p:style>
          <a:lnRef idx="1">
            <a:schemeClr val="accent1"/>
          </a:lnRef>
          <a:fillRef idx="0">
            <a:schemeClr val="accent1"/>
          </a:fillRef>
          <a:effectRef idx="0">
            <a:schemeClr val="accent1"/>
          </a:effectRef>
          <a:fontRef idx="minor">
            <a:schemeClr val="tx1"/>
          </a:fontRef>
        </p:style>
      </p:cxnSp>
      <p:grpSp>
        <p:nvGrpSpPr>
          <p:cNvPr id="20" name="Group 19"/>
          <p:cNvGrpSpPr/>
          <p:nvPr/>
        </p:nvGrpSpPr>
        <p:grpSpPr>
          <a:xfrm>
            <a:off x="4815051" y="4417533"/>
            <a:ext cx="1541791" cy="1039753"/>
            <a:chOff x="5936247" y="1565661"/>
            <a:chExt cx="1541791" cy="1039753"/>
          </a:xfrm>
        </p:grpSpPr>
        <p:sp>
          <p:nvSpPr>
            <p:cNvPr id="21" name="Rectangle 20"/>
            <p:cNvSpPr/>
            <p:nvPr/>
          </p:nvSpPr>
          <p:spPr bwMode="auto">
            <a:xfrm>
              <a:off x="5936247" y="1565661"/>
              <a:ext cx="1541791" cy="1039753"/>
            </a:xfrm>
            <a:prstGeom prst="rect">
              <a:avLst/>
            </a:prstGeom>
            <a:solidFill>
              <a:schemeClr val="bg1"/>
            </a:solidFill>
            <a:ln w="25400">
              <a:solidFill>
                <a:srgbClr val="00B0F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pic>
          <p:nvPicPr>
            <p:cNvPr id="22" name="Picture 21"/>
            <p:cNvPicPr>
              <a:picLocks noChangeAspect="1"/>
            </p:cNvPicPr>
            <p:nvPr/>
          </p:nvPicPr>
          <p:blipFill>
            <a:blip r:embed="rId3"/>
            <a:stretch>
              <a:fillRect/>
            </a:stretch>
          </p:blipFill>
          <p:spPr>
            <a:xfrm>
              <a:off x="5984011" y="1618316"/>
              <a:ext cx="618547" cy="223455"/>
            </a:xfrm>
            <a:prstGeom prst="rect">
              <a:avLst/>
            </a:prstGeom>
          </p:spPr>
        </p:pic>
        <p:sp>
          <p:nvSpPr>
            <p:cNvPr id="23" name="TextBox 22"/>
            <p:cNvSpPr txBox="1"/>
            <p:nvPr/>
          </p:nvSpPr>
          <p:spPr>
            <a:xfrm>
              <a:off x="5995590" y="1896307"/>
              <a:ext cx="954836" cy="166199"/>
            </a:xfrm>
            <a:prstGeom prst="rect">
              <a:avLst/>
            </a:prstGeom>
            <a:noFill/>
          </p:spPr>
          <p:txBody>
            <a:bodyPr wrap="square" lIns="0" tIns="0" rIns="0" bIns="0" rtlCol="0">
              <a:spAutoFit/>
            </a:bodyPr>
            <a:lstStyle/>
            <a:p>
              <a:pPr>
                <a:lnSpc>
                  <a:spcPct val="90000"/>
                </a:lnSpc>
                <a:spcBef>
                  <a:spcPct val="20000"/>
                </a:spcBef>
                <a:buSzPct val="80000"/>
              </a:pPr>
              <a:r>
                <a:rPr lang="en-US" sz="1200" dirty="0">
                  <a:gradFill>
                    <a:gsLst>
                      <a:gs pos="0">
                        <a:srgbClr val="292929">
                          <a:lumMod val="90000"/>
                          <a:lumOff val="10000"/>
                        </a:srgbClr>
                      </a:gs>
                      <a:gs pos="86000">
                        <a:srgbClr val="292929">
                          <a:lumMod val="90000"/>
                          <a:lumOff val="10000"/>
                        </a:srgbClr>
                      </a:gs>
                    </a:gsLst>
                    <a:lin ang="5400000" scaled="0"/>
                  </a:gradFill>
                </a:rPr>
                <a:t>Web Server</a:t>
              </a:r>
            </a:p>
          </p:txBody>
        </p:sp>
        <p:pic>
          <p:nvPicPr>
            <p:cNvPr id="24" name="Picture 23"/>
            <p:cNvPicPr>
              <a:picLocks noChangeAspect="1"/>
            </p:cNvPicPr>
            <p:nvPr/>
          </p:nvPicPr>
          <p:blipFill>
            <a:blip r:embed="rId4"/>
            <a:stretch>
              <a:fillRect/>
            </a:stretch>
          </p:blipFill>
          <p:spPr>
            <a:xfrm>
              <a:off x="6814725" y="1596166"/>
              <a:ext cx="271402" cy="269628"/>
            </a:xfrm>
            <a:prstGeom prst="rect">
              <a:avLst/>
            </a:prstGeom>
          </p:spPr>
        </p:pic>
        <p:sp>
          <p:nvSpPr>
            <p:cNvPr id="25" name="Flowchart: Process 24"/>
            <p:cNvSpPr/>
            <p:nvPr/>
          </p:nvSpPr>
          <p:spPr bwMode="auto">
            <a:xfrm>
              <a:off x="5995590" y="2150559"/>
              <a:ext cx="1326187" cy="317340"/>
            </a:xfrm>
            <a:prstGeom prst="flowChartProcess">
              <a:avLst/>
            </a:prstGeom>
            <a:solidFill>
              <a:srgbClr val="7030A0"/>
            </a:solidFill>
            <a:ln>
              <a:solidFill>
                <a:srgbClr val="5E5E5E"/>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200" dirty="0">
                  <a:gradFill>
                    <a:gsLst>
                      <a:gs pos="0">
                        <a:srgbClr val="FFFFFF"/>
                      </a:gs>
                      <a:gs pos="100000">
                        <a:srgbClr val="FFFFFF"/>
                      </a:gs>
                    </a:gsLst>
                    <a:lin ang="5400000" scaled="0"/>
                  </a:gradFill>
                </a:rPr>
                <a:t>Site (W3WP.EXE)</a:t>
              </a:r>
            </a:p>
          </p:txBody>
        </p:sp>
      </p:grpSp>
      <p:cxnSp>
        <p:nvCxnSpPr>
          <p:cNvPr id="26" name="Elbow Connector 25"/>
          <p:cNvCxnSpPr>
            <a:stCxn id="17" idx="0"/>
            <a:endCxn id="11" idx="1"/>
          </p:cNvCxnSpPr>
          <p:nvPr/>
        </p:nvCxnSpPr>
        <p:spPr>
          <a:xfrm rot="5400000" flipH="1" flipV="1">
            <a:off x="3050265" y="1634027"/>
            <a:ext cx="1022006" cy="2507567"/>
          </a:xfrm>
          <a:prstGeom prst="bentConnector2">
            <a:avLst/>
          </a:prstGeom>
          <a:ln w="25400">
            <a:solidFill>
              <a:srgbClr val="BAD80A"/>
            </a:solidFill>
            <a:tailEnd type="triangle"/>
          </a:ln>
        </p:spPr>
        <p:style>
          <a:lnRef idx="1">
            <a:schemeClr val="accent1"/>
          </a:lnRef>
          <a:fillRef idx="0">
            <a:schemeClr val="accent1"/>
          </a:fillRef>
          <a:effectRef idx="0">
            <a:schemeClr val="accent1"/>
          </a:effectRef>
          <a:fontRef idx="minor">
            <a:schemeClr val="tx1"/>
          </a:fontRef>
        </p:style>
      </p:cxnSp>
      <p:cxnSp>
        <p:nvCxnSpPr>
          <p:cNvPr id="27" name="Elbow Connector 26"/>
          <p:cNvCxnSpPr>
            <a:stCxn id="18" idx="2"/>
            <a:endCxn id="21" idx="1"/>
          </p:cNvCxnSpPr>
          <p:nvPr/>
        </p:nvCxnSpPr>
        <p:spPr>
          <a:xfrm rot="16200000" flipH="1">
            <a:off x="3150655" y="3273013"/>
            <a:ext cx="821225" cy="2507567"/>
          </a:xfrm>
          <a:prstGeom prst="bentConnector2">
            <a:avLst/>
          </a:prstGeom>
          <a:ln w="25400">
            <a:solidFill>
              <a:srgbClr val="BAD80A"/>
            </a:solidFill>
            <a:tailEnd type="triangle"/>
          </a:ln>
        </p:spPr>
        <p:style>
          <a:lnRef idx="1">
            <a:schemeClr val="accent1"/>
          </a:lnRef>
          <a:fillRef idx="0">
            <a:schemeClr val="accent1"/>
          </a:fillRef>
          <a:effectRef idx="0">
            <a:schemeClr val="accent1"/>
          </a:effectRef>
          <a:fontRef idx="minor">
            <a:schemeClr val="tx1"/>
          </a:fontRef>
        </p:style>
      </p:cxnSp>
      <p:sp>
        <p:nvSpPr>
          <p:cNvPr id="28" name="Rectangle 27"/>
          <p:cNvSpPr/>
          <p:nvPr/>
        </p:nvSpPr>
        <p:spPr bwMode="auto">
          <a:xfrm>
            <a:off x="8279703" y="1402150"/>
            <a:ext cx="2279737" cy="4508405"/>
          </a:xfrm>
          <a:prstGeom prst="rect">
            <a:avLst/>
          </a:prstGeom>
          <a:solidFill>
            <a:schemeClr val="bg1"/>
          </a:solidFill>
          <a:ln w="25400">
            <a:solidFill>
              <a:srgbClr val="00B0F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grpSp>
        <p:nvGrpSpPr>
          <p:cNvPr id="29" name="Group 28"/>
          <p:cNvGrpSpPr/>
          <p:nvPr/>
        </p:nvGrpSpPr>
        <p:grpSpPr>
          <a:xfrm>
            <a:off x="8581529" y="3132644"/>
            <a:ext cx="1575916" cy="1002008"/>
            <a:chOff x="8945948" y="1949969"/>
            <a:chExt cx="1575916" cy="1002008"/>
          </a:xfrm>
        </p:grpSpPr>
        <p:sp>
          <p:nvSpPr>
            <p:cNvPr id="30" name="Rectangle 29"/>
            <p:cNvSpPr/>
            <p:nvPr/>
          </p:nvSpPr>
          <p:spPr bwMode="auto">
            <a:xfrm>
              <a:off x="8945948" y="1949969"/>
              <a:ext cx="1575916" cy="998617"/>
            </a:xfrm>
            <a:prstGeom prst="rect">
              <a:avLst/>
            </a:prstGeom>
            <a:solidFill>
              <a:schemeClr val="bg1"/>
            </a:solidFill>
            <a:ln w="25400">
              <a:solidFill>
                <a:srgbClr val="00B0F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pic>
          <p:nvPicPr>
            <p:cNvPr id="31" name="Picture 30"/>
            <p:cNvPicPr>
              <a:picLocks noChangeAspect="1"/>
            </p:cNvPicPr>
            <p:nvPr/>
          </p:nvPicPr>
          <p:blipFill>
            <a:blip r:embed="rId3"/>
            <a:stretch>
              <a:fillRect/>
            </a:stretch>
          </p:blipFill>
          <p:spPr>
            <a:xfrm>
              <a:off x="8982842" y="2002625"/>
              <a:ext cx="618547" cy="223455"/>
            </a:xfrm>
            <a:prstGeom prst="rect">
              <a:avLst/>
            </a:prstGeom>
          </p:spPr>
        </p:pic>
        <p:sp>
          <p:nvSpPr>
            <p:cNvPr id="32" name="TextBox 31"/>
            <p:cNvSpPr txBox="1"/>
            <p:nvPr/>
          </p:nvSpPr>
          <p:spPr>
            <a:xfrm>
              <a:off x="8992022" y="2582645"/>
              <a:ext cx="1442402" cy="369332"/>
            </a:xfrm>
            <a:prstGeom prst="rect">
              <a:avLst/>
            </a:prstGeom>
            <a:noFill/>
          </p:spPr>
          <p:txBody>
            <a:bodyPr wrap="square" lIns="0" tIns="0" rIns="0" bIns="0" rtlCol="0">
              <a:spAutoFit/>
            </a:bodyPr>
            <a:lstStyle/>
            <a:p>
              <a:pPr>
                <a:lnSpc>
                  <a:spcPct val="90000"/>
                </a:lnSpc>
                <a:spcBef>
                  <a:spcPct val="20000"/>
                </a:spcBef>
                <a:buSzPct val="80000"/>
              </a:pPr>
              <a:r>
                <a:rPr lang="en-US" sz="1200" dirty="0">
                  <a:gradFill>
                    <a:gsLst>
                      <a:gs pos="0">
                        <a:srgbClr val="292929">
                          <a:lumMod val="90000"/>
                          <a:lumOff val="10000"/>
                        </a:srgbClr>
                      </a:gs>
                      <a:gs pos="86000">
                        <a:srgbClr val="292929">
                          <a:lumMod val="90000"/>
                          <a:lumOff val="10000"/>
                        </a:srgbClr>
                      </a:gs>
                    </a:gsLst>
                    <a:lin ang="5400000" scaled="0"/>
                  </a:gradFill>
                </a:rPr>
                <a:t>Web Site Database</a:t>
              </a:r>
            </a:p>
            <a:p>
              <a:pPr>
                <a:lnSpc>
                  <a:spcPct val="90000"/>
                </a:lnSpc>
                <a:spcBef>
                  <a:spcPct val="20000"/>
                </a:spcBef>
                <a:buSzPct val="80000"/>
              </a:pPr>
              <a:r>
                <a:rPr lang="en-US" sz="1200" dirty="0">
                  <a:gradFill>
                    <a:gsLst>
                      <a:gs pos="0">
                        <a:srgbClr val="292929">
                          <a:lumMod val="90000"/>
                          <a:lumOff val="10000"/>
                        </a:srgbClr>
                      </a:gs>
                      <a:gs pos="86000">
                        <a:srgbClr val="292929">
                          <a:lumMod val="90000"/>
                          <a:lumOff val="10000"/>
                        </a:srgbClr>
                      </a:gs>
                    </a:gsLst>
                    <a:lin ang="5400000" scaled="0"/>
                  </a:gradFill>
                </a:rPr>
                <a:t>Shard #2</a:t>
              </a:r>
            </a:p>
          </p:txBody>
        </p:sp>
        <p:sp>
          <p:nvSpPr>
            <p:cNvPr id="33" name="Flowchart: Magnetic Disk 32"/>
            <p:cNvSpPr/>
            <p:nvPr/>
          </p:nvSpPr>
          <p:spPr bwMode="auto">
            <a:xfrm>
              <a:off x="9931799" y="1979974"/>
              <a:ext cx="439435" cy="587862"/>
            </a:xfrm>
            <a:prstGeom prst="flowChartMagneticDisk">
              <a:avLst/>
            </a:prstGeom>
            <a:solidFill>
              <a:schemeClr val="bg1"/>
            </a:solidFill>
            <a:ln>
              <a:solidFill>
                <a:srgbClr val="5E5E5E"/>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grpSp>
      <p:grpSp>
        <p:nvGrpSpPr>
          <p:cNvPr id="34" name="Group 33"/>
          <p:cNvGrpSpPr/>
          <p:nvPr/>
        </p:nvGrpSpPr>
        <p:grpSpPr>
          <a:xfrm>
            <a:off x="8581529" y="4682601"/>
            <a:ext cx="1575916" cy="1012882"/>
            <a:chOff x="8945948" y="1949969"/>
            <a:chExt cx="1575916" cy="1012882"/>
          </a:xfrm>
        </p:grpSpPr>
        <p:sp>
          <p:nvSpPr>
            <p:cNvPr id="35" name="Rectangle 34"/>
            <p:cNvSpPr/>
            <p:nvPr/>
          </p:nvSpPr>
          <p:spPr bwMode="auto">
            <a:xfrm>
              <a:off x="8945948" y="1949969"/>
              <a:ext cx="1575916" cy="998617"/>
            </a:xfrm>
            <a:prstGeom prst="rect">
              <a:avLst/>
            </a:prstGeom>
            <a:solidFill>
              <a:schemeClr val="bg1"/>
            </a:solidFill>
            <a:ln w="25400">
              <a:solidFill>
                <a:srgbClr val="00B0F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pic>
          <p:nvPicPr>
            <p:cNvPr id="36" name="Picture 35"/>
            <p:cNvPicPr>
              <a:picLocks noChangeAspect="1"/>
            </p:cNvPicPr>
            <p:nvPr/>
          </p:nvPicPr>
          <p:blipFill>
            <a:blip r:embed="rId3"/>
            <a:stretch>
              <a:fillRect/>
            </a:stretch>
          </p:blipFill>
          <p:spPr>
            <a:xfrm>
              <a:off x="8982842" y="2002625"/>
              <a:ext cx="618547" cy="223455"/>
            </a:xfrm>
            <a:prstGeom prst="rect">
              <a:avLst/>
            </a:prstGeom>
          </p:spPr>
        </p:pic>
        <p:sp>
          <p:nvSpPr>
            <p:cNvPr id="37" name="TextBox 36"/>
            <p:cNvSpPr txBox="1"/>
            <p:nvPr/>
          </p:nvSpPr>
          <p:spPr>
            <a:xfrm>
              <a:off x="8992022" y="2593519"/>
              <a:ext cx="1442402" cy="369332"/>
            </a:xfrm>
            <a:prstGeom prst="rect">
              <a:avLst/>
            </a:prstGeom>
            <a:noFill/>
          </p:spPr>
          <p:txBody>
            <a:bodyPr wrap="square" lIns="0" tIns="0" rIns="0" bIns="0" rtlCol="0">
              <a:spAutoFit/>
            </a:bodyPr>
            <a:lstStyle/>
            <a:p>
              <a:pPr>
                <a:lnSpc>
                  <a:spcPct val="90000"/>
                </a:lnSpc>
                <a:spcBef>
                  <a:spcPct val="20000"/>
                </a:spcBef>
                <a:buSzPct val="80000"/>
              </a:pPr>
              <a:r>
                <a:rPr lang="en-US" sz="1200" dirty="0">
                  <a:gradFill>
                    <a:gsLst>
                      <a:gs pos="0">
                        <a:srgbClr val="292929">
                          <a:lumMod val="90000"/>
                          <a:lumOff val="10000"/>
                        </a:srgbClr>
                      </a:gs>
                      <a:gs pos="86000">
                        <a:srgbClr val="292929">
                          <a:lumMod val="90000"/>
                          <a:lumOff val="10000"/>
                        </a:srgbClr>
                      </a:gs>
                    </a:gsLst>
                    <a:lin ang="5400000" scaled="0"/>
                  </a:gradFill>
                </a:rPr>
                <a:t>Web Site Database</a:t>
              </a:r>
            </a:p>
            <a:p>
              <a:pPr>
                <a:lnSpc>
                  <a:spcPct val="90000"/>
                </a:lnSpc>
                <a:spcBef>
                  <a:spcPct val="20000"/>
                </a:spcBef>
                <a:buSzPct val="80000"/>
              </a:pPr>
              <a:r>
                <a:rPr lang="en-US" sz="1200" dirty="0">
                  <a:gradFill>
                    <a:gsLst>
                      <a:gs pos="0">
                        <a:srgbClr val="292929">
                          <a:lumMod val="90000"/>
                          <a:lumOff val="10000"/>
                        </a:srgbClr>
                      </a:gs>
                      <a:gs pos="86000">
                        <a:srgbClr val="292929">
                          <a:lumMod val="90000"/>
                          <a:lumOff val="10000"/>
                        </a:srgbClr>
                      </a:gs>
                    </a:gsLst>
                    <a:lin ang="5400000" scaled="0"/>
                  </a:gradFill>
                </a:rPr>
                <a:t>Shared #3</a:t>
              </a:r>
            </a:p>
          </p:txBody>
        </p:sp>
        <p:sp>
          <p:nvSpPr>
            <p:cNvPr id="38" name="Flowchart: Magnetic Disk 37"/>
            <p:cNvSpPr/>
            <p:nvPr/>
          </p:nvSpPr>
          <p:spPr bwMode="auto">
            <a:xfrm>
              <a:off x="9931799" y="1979974"/>
              <a:ext cx="439435" cy="587862"/>
            </a:xfrm>
            <a:prstGeom prst="flowChartMagneticDisk">
              <a:avLst/>
            </a:prstGeom>
            <a:solidFill>
              <a:schemeClr val="bg1"/>
            </a:solidFill>
            <a:ln>
              <a:solidFill>
                <a:srgbClr val="5E5E5E"/>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grpSp>
      <p:grpSp>
        <p:nvGrpSpPr>
          <p:cNvPr id="39" name="Group 38"/>
          <p:cNvGrpSpPr/>
          <p:nvPr/>
        </p:nvGrpSpPr>
        <p:grpSpPr>
          <a:xfrm>
            <a:off x="8581529" y="1582687"/>
            <a:ext cx="1575916" cy="998617"/>
            <a:chOff x="8945948" y="1949969"/>
            <a:chExt cx="1575916" cy="998617"/>
          </a:xfrm>
        </p:grpSpPr>
        <p:sp>
          <p:nvSpPr>
            <p:cNvPr id="40" name="Rectangle 39"/>
            <p:cNvSpPr/>
            <p:nvPr/>
          </p:nvSpPr>
          <p:spPr bwMode="auto">
            <a:xfrm>
              <a:off x="8945948" y="1949969"/>
              <a:ext cx="1575916" cy="998617"/>
            </a:xfrm>
            <a:prstGeom prst="rect">
              <a:avLst/>
            </a:prstGeom>
            <a:solidFill>
              <a:schemeClr val="bg1"/>
            </a:solidFill>
            <a:ln w="25400">
              <a:solidFill>
                <a:srgbClr val="00B0F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pic>
          <p:nvPicPr>
            <p:cNvPr id="41" name="Picture 40"/>
            <p:cNvPicPr>
              <a:picLocks noChangeAspect="1"/>
            </p:cNvPicPr>
            <p:nvPr/>
          </p:nvPicPr>
          <p:blipFill>
            <a:blip r:embed="rId3"/>
            <a:stretch>
              <a:fillRect/>
            </a:stretch>
          </p:blipFill>
          <p:spPr>
            <a:xfrm>
              <a:off x="8982842" y="2002625"/>
              <a:ext cx="618547" cy="223455"/>
            </a:xfrm>
            <a:prstGeom prst="rect">
              <a:avLst/>
            </a:prstGeom>
          </p:spPr>
        </p:pic>
        <p:sp>
          <p:nvSpPr>
            <p:cNvPr id="42" name="TextBox 41"/>
            <p:cNvSpPr txBox="1"/>
            <p:nvPr/>
          </p:nvSpPr>
          <p:spPr>
            <a:xfrm>
              <a:off x="8992022" y="2574059"/>
              <a:ext cx="1442402" cy="369332"/>
            </a:xfrm>
            <a:prstGeom prst="rect">
              <a:avLst/>
            </a:prstGeom>
            <a:noFill/>
          </p:spPr>
          <p:txBody>
            <a:bodyPr wrap="square" lIns="0" tIns="0" rIns="0" bIns="0" rtlCol="0">
              <a:spAutoFit/>
            </a:bodyPr>
            <a:lstStyle/>
            <a:p>
              <a:pPr>
                <a:lnSpc>
                  <a:spcPct val="90000"/>
                </a:lnSpc>
                <a:spcBef>
                  <a:spcPct val="20000"/>
                </a:spcBef>
                <a:buSzPct val="80000"/>
              </a:pPr>
              <a:r>
                <a:rPr lang="en-US" sz="1200" dirty="0">
                  <a:gradFill>
                    <a:gsLst>
                      <a:gs pos="0">
                        <a:srgbClr val="292929">
                          <a:lumMod val="90000"/>
                          <a:lumOff val="10000"/>
                        </a:srgbClr>
                      </a:gs>
                      <a:gs pos="86000">
                        <a:srgbClr val="292929">
                          <a:lumMod val="90000"/>
                          <a:lumOff val="10000"/>
                        </a:srgbClr>
                      </a:gs>
                    </a:gsLst>
                    <a:lin ang="5400000" scaled="0"/>
                  </a:gradFill>
                </a:rPr>
                <a:t>Web Site Database </a:t>
              </a:r>
            </a:p>
            <a:p>
              <a:pPr>
                <a:lnSpc>
                  <a:spcPct val="90000"/>
                </a:lnSpc>
                <a:spcBef>
                  <a:spcPct val="20000"/>
                </a:spcBef>
                <a:buSzPct val="80000"/>
              </a:pPr>
              <a:r>
                <a:rPr lang="en-US" sz="1200" dirty="0">
                  <a:gradFill>
                    <a:gsLst>
                      <a:gs pos="0">
                        <a:srgbClr val="292929">
                          <a:lumMod val="90000"/>
                          <a:lumOff val="10000"/>
                        </a:srgbClr>
                      </a:gs>
                      <a:gs pos="86000">
                        <a:srgbClr val="292929">
                          <a:lumMod val="90000"/>
                          <a:lumOff val="10000"/>
                        </a:srgbClr>
                      </a:gs>
                    </a:gsLst>
                    <a:lin ang="5400000" scaled="0"/>
                  </a:gradFill>
                </a:rPr>
                <a:t>Shard #1</a:t>
              </a:r>
            </a:p>
          </p:txBody>
        </p:sp>
        <p:sp>
          <p:nvSpPr>
            <p:cNvPr id="43" name="Flowchart: Magnetic Disk 42"/>
            <p:cNvSpPr/>
            <p:nvPr/>
          </p:nvSpPr>
          <p:spPr bwMode="auto">
            <a:xfrm>
              <a:off x="9931799" y="1979974"/>
              <a:ext cx="439435" cy="587862"/>
            </a:xfrm>
            <a:prstGeom prst="flowChartMagneticDisk">
              <a:avLst/>
            </a:prstGeom>
            <a:solidFill>
              <a:schemeClr val="bg1"/>
            </a:solidFill>
            <a:ln>
              <a:solidFill>
                <a:srgbClr val="5E5E5E"/>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grpSp>
      <p:cxnSp>
        <p:nvCxnSpPr>
          <p:cNvPr id="44" name="Straight Arrow Connector 43"/>
          <p:cNvCxnSpPr>
            <a:stCxn id="5" idx="3"/>
            <a:endCxn id="28" idx="1"/>
          </p:cNvCxnSpPr>
          <p:nvPr/>
        </p:nvCxnSpPr>
        <p:spPr>
          <a:xfrm flipV="1">
            <a:off x="6356844" y="3656353"/>
            <a:ext cx="1922859" cy="1"/>
          </a:xfrm>
          <a:prstGeom prst="straightConnector1">
            <a:avLst/>
          </a:prstGeom>
          <a:ln w="25400">
            <a:solidFill>
              <a:srgbClr val="BAD80A"/>
            </a:solidFill>
            <a:tailEnd type="triangle"/>
          </a:ln>
        </p:spPr>
        <p:style>
          <a:lnRef idx="1">
            <a:schemeClr val="accent1"/>
          </a:lnRef>
          <a:fillRef idx="0">
            <a:schemeClr val="accent1"/>
          </a:fillRef>
          <a:effectRef idx="0">
            <a:schemeClr val="accent1"/>
          </a:effectRef>
          <a:fontRef idx="minor">
            <a:schemeClr val="tx1"/>
          </a:fontRef>
        </p:style>
      </p:cxnSp>
      <p:cxnSp>
        <p:nvCxnSpPr>
          <p:cNvPr id="45" name="Straight Arrow Connector 44"/>
          <p:cNvCxnSpPr>
            <a:stCxn id="21" idx="3"/>
          </p:cNvCxnSpPr>
          <p:nvPr/>
        </p:nvCxnSpPr>
        <p:spPr>
          <a:xfrm flipV="1">
            <a:off x="6356842" y="4935900"/>
            <a:ext cx="1922859" cy="1510"/>
          </a:xfrm>
          <a:prstGeom prst="straightConnector1">
            <a:avLst/>
          </a:prstGeom>
          <a:ln w="25400">
            <a:solidFill>
              <a:srgbClr val="BAD80A"/>
            </a:solidFill>
            <a:tailEnd type="triangle"/>
          </a:ln>
        </p:spPr>
        <p:style>
          <a:lnRef idx="1">
            <a:schemeClr val="accent1"/>
          </a:lnRef>
          <a:fillRef idx="0">
            <a:schemeClr val="accent1"/>
          </a:fillRef>
          <a:effectRef idx="0">
            <a:schemeClr val="accent1"/>
          </a:effectRef>
          <a:fontRef idx="minor">
            <a:schemeClr val="tx1"/>
          </a:fontRef>
        </p:style>
      </p:cxnSp>
      <p:cxnSp>
        <p:nvCxnSpPr>
          <p:cNvPr id="46" name="Straight Arrow Connector 45"/>
          <p:cNvCxnSpPr/>
          <p:nvPr/>
        </p:nvCxnSpPr>
        <p:spPr>
          <a:xfrm flipV="1">
            <a:off x="6356842" y="2375296"/>
            <a:ext cx="1922859" cy="1510"/>
          </a:xfrm>
          <a:prstGeom prst="straightConnector1">
            <a:avLst/>
          </a:prstGeom>
          <a:ln w="25400">
            <a:solidFill>
              <a:srgbClr val="BAD80A"/>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64408848"/>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educing Further Database Load - Caching</a:t>
            </a:r>
          </a:p>
        </p:txBody>
      </p:sp>
      <p:grpSp>
        <p:nvGrpSpPr>
          <p:cNvPr id="4" name="Group 3"/>
          <p:cNvGrpSpPr/>
          <p:nvPr/>
        </p:nvGrpSpPr>
        <p:grpSpPr>
          <a:xfrm>
            <a:off x="4815053" y="3136477"/>
            <a:ext cx="1541791" cy="1039753"/>
            <a:chOff x="5936247" y="1565661"/>
            <a:chExt cx="1541791" cy="1039753"/>
          </a:xfrm>
        </p:grpSpPr>
        <p:sp>
          <p:nvSpPr>
            <p:cNvPr id="5" name="Rectangle 4"/>
            <p:cNvSpPr/>
            <p:nvPr/>
          </p:nvSpPr>
          <p:spPr bwMode="auto">
            <a:xfrm>
              <a:off x="5936247" y="1565661"/>
              <a:ext cx="1541791" cy="1039753"/>
            </a:xfrm>
            <a:prstGeom prst="rect">
              <a:avLst/>
            </a:prstGeom>
            <a:solidFill>
              <a:schemeClr val="bg1"/>
            </a:solidFill>
            <a:ln w="25400">
              <a:solidFill>
                <a:srgbClr val="00B0F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pic>
          <p:nvPicPr>
            <p:cNvPr id="6" name="Picture 5"/>
            <p:cNvPicPr>
              <a:picLocks noChangeAspect="1"/>
            </p:cNvPicPr>
            <p:nvPr/>
          </p:nvPicPr>
          <p:blipFill>
            <a:blip r:embed="rId3"/>
            <a:stretch>
              <a:fillRect/>
            </a:stretch>
          </p:blipFill>
          <p:spPr>
            <a:xfrm>
              <a:off x="5984011" y="1618316"/>
              <a:ext cx="618547" cy="223455"/>
            </a:xfrm>
            <a:prstGeom prst="rect">
              <a:avLst/>
            </a:prstGeom>
          </p:spPr>
        </p:pic>
        <p:sp>
          <p:nvSpPr>
            <p:cNvPr id="7" name="TextBox 6"/>
            <p:cNvSpPr txBox="1"/>
            <p:nvPr/>
          </p:nvSpPr>
          <p:spPr>
            <a:xfrm>
              <a:off x="5995590" y="1896307"/>
              <a:ext cx="954836" cy="166199"/>
            </a:xfrm>
            <a:prstGeom prst="rect">
              <a:avLst/>
            </a:prstGeom>
            <a:noFill/>
          </p:spPr>
          <p:txBody>
            <a:bodyPr wrap="square" lIns="0" tIns="0" rIns="0" bIns="0" rtlCol="0">
              <a:spAutoFit/>
            </a:bodyPr>
            <a:lstStyle/>
            <a:p>
              <a:pPr>
                <a:lnSpc>
                  <a:spcPct val="90000"/>
                </a:lnSpc>
                <a:spcBef>
                  <a:spcPct val="20000"/>
                </a:spcBef>
                <a:buSzPct val="80000"/>
              </a:pPr>
              <a:r>
                <a:rPr lang="en-US" sz="1200" dirty="0">
                  <a:gradFill>
                    <a:gsLst>
                      <a:gs pos="0">
                        <a:srgbClr val="292929">
                          <a:lumMod val="90000"/>
                          <a:lumOff val="10000"/>
                        </a:srgbClr>
                      </a:gs>
                      <a:gs pos="86000">
                        <a:srgbClr val="292929">
                          <a:lumMod val="90000"/>
                          <a:lumOff val="10000"/>
                        </a:srgbClr>
                      </a:gs>
                    </a:gsLst>
                    <a:lin ang="5400000" scaled="0"/>
                  </a:gradFill>
                </a:rPr>
                <a:t>Web Server</a:t>
              </a:r>
            </a:p>
          </p:txBody>
        </p:sp>
        <p:pic>
          <p:nvPicPr>
            <p:cNvPr id="8" name="Picture 7"/>
            <p:cNvPicPr>
              <a:picLocks noChangeAspect="1"/>
            </p:cNvPicPr>
            <p:nvPr/>
          </p:nvPicPr>
          <p:blipFill>
            <a:blip r:embed="rId4"/>
            <a:stretch>
              <a:fillRect/>
            </a:stretch>
          </p:blipFill>
          <p:spPr>
            <a:xfrm>
              <a:off x="6814725" y="1596166"/>
              <a:ext cx="271402" cy="269628"/>
            </a:xfrm>
            <a:prstGeom prst="rect">
              <a:avLst/>
            </a:prstGeom>
          </p:spPr>
        </p:pic>
        <p:sp>
          <p:nvSpPr>
            <p:cNvPr id="9" name="Flowchart: Process 8"/>
            <p:cNvSpPr/>
            <p:nvPr/>
          </p:nvSpPr>
          <p:spPr bwMode="auto">
            <a:xfrm>
              <a:off x="5995590" y="2150559"/>
              <a:ext cx="1326187" cy="317340"/>
            </a:xfrm>
            <a:prstGeom prst="flowChartProcess">
              <a:avLst/>
            </a:prstGeom>
            <a:solidFill>
              <a:srgbClr val="7030A0"/>
            </a:solidFill>
            <a:ln>
              <a:solidFill>
                <a:srgbClr val="5E5E5E"/>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200" dirty="0">
                  <a:gradFill>
                    <a:gsLst>
                      <a:gs pos="0">
                        <a:srgbClr val="FFFFFF"/>
                      </a:gs>
                      <a:gs pos="100000">
                        <a:srgbClr val="FFFFFF"/>
                      </a:gs>
                    </a:gsLst>
                    <a:lin ang="5400000" scaled="0"/>
                  </a:gradFill>
                </a:rPr>
                <a:t>Site (W3WP.EXE)</a:t>
              </a:r>
            </a:p>
          </p:txBody>
        </p:sp>
      </p:grpSp>
      <p:grpSp>
        <p:nvGrpSpPr>
          <p:cNvPr id="10" name="Group 9"/>
          <p:cNvGrpSpPr/>
          <p:nvPr/>
        </p:nvGrpSpPr>
        <p:grpSpPr>
          <a:xfrm>
            <a:off x="4815052" y="1856930"/>
            <a:ext cx="1541791" cy="1039753"/>
            <a:chOff x="5936247" y="1565661"/>
            <a:chExt cx="1541791" cy="1039753"/>
          </a:xfrm>
        </p:grpSpPr>
        <p:sp>
          <p:nvSpPr>
            <p:cNvPr id="11" name="Rectangle 10"/>
            <p:cNvSpPr/>
            <p:nvPr/>
          </p:nvSpPr>
          <p:spPr bwMode="auto">
            <a:xfrm>
              <a:off x="5936247" y="1565661"/>
              <a:ext cx="1541791" cy="1039753"/>
            </a:xfrm>
            <a:prstGeom prst="rect">
              <a:avLst/>
            </a:prstGeom>
            <a:solidFill>
              <a:schemeClr val="bg1"/>
            </a:solidFill>
            <a:ln w="25400">
              <a:solidFill>
                <a:srgbClr val="00B0F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pic>
          <p:nvPicPr>
            <p:cNvPr id="12" name="Picture 11"/>
            <p:cNvPicPr>
              <a:picLocks noChangeAspect="1"/>
            </p:cNvPicPr>
            <p:nvPr/>
          </p:nvPicPr>
          <p:blipFill>
            <a:blip r:embed="rId3"/>
            <a:stretch>
              <a:fillRect/>
            </a:stretch>
          </p:blipFill>
          <p:spPr>
            <a:xfrm>
              <a:off x="5984011" y="1618316"/>
              <a:ext cx="618547" cy="223455"/>
            </a:xfrm>
            <a:prstGeom prst="rect">
              <a:avLst/>
            </a:prstGeom>
          </p:spPr>
        </p:pic>
        <p:sp>
          <p:nvSpPr>
            <p:cNvPr id="13" name="TextBox 12"/>
            <p:cNvSpPr txBox="1"/>
            <p:nvPr/>
          </p:nvSpPr>
          <p:spPr>
            <a:xfrm>
              <a:off x="5995590" y="1896307"/>
              <a:ext cx="954836" cy="166199"/>
            </a:xfrm>
            <a:prstGeom prst="rect">
              <a:avLst/>
            </a:prstGeom>
            <a:noFill/>
          </p:spPr>
          <p:txBody>
            <a:bodyPr wrap="square" lIns="0" tIns="0" rIns="0" bIns="0" rtlCol="0">
              <a:spAutoFit/>
            </a:bodyPr>
            <a:lstStyle/>
            <a:p>
              <a:pPr>
                <a:lnSpc>
                  <a:spcPct val="90000"/>
                </a:lnSpc>
                <a:spcBef>
                  <a:spcPct val="20000"/>
                </a:spcBef>
                <a:buSzPct val="80000"/>
              </a:pPr>
              <a:r>
                <a:rPr lang="en-US" sz="1200" dirty="0">
                  <a:gradFill>
                    <a:gsLst>
                      <a:gs pos="0">
                        <a:srgbClr val="292929">
                          <a:lumMod val="90000"/>
                          <a:lumOff val="10000"/>
                        </a:srgbClr>
                      </a:gs>
                      <a:gs pos="86000">
                        <a:srgbClr val="292929">
                          <a:lumMod val="90000"/>
                          <a:lumOff val="10000"/>
                        </a:srgbClr>
                      </a:gs>
                    </a:gsLst>
                    <a:lin ang="5400000" scaled="0"/>
                  </a:gradFill>
                </a:rPr>
                <a:t>Web Server</a:t>
              </a:r>
            </a:p>
          </p:txBody>
        </p:sp>
        <p:pic>
          <p:nvPicPr>
            <p:cNvPr id="14" name="Picture 13"/>
            <p:cNvPicPr>
              <a:picLocks noChangeAspect="1"/>
            </p:cNvPicPr>
            <p:nvPr/>
          </p:nvPicPr>
          <p:blipFill>
            <a:blip r:embed="rId4"/>
            <a:stretch>
              <a:fillRect/>
            </a:stretch>
          </p:blipFill>
          <p:spPr>
            <a:xfrm>
              <a:off x="6814725" y="1596166"/>
              <a:ext cx="271402" cy="269628"/>
            </a:xfrm>
            <a:prstGeom prst="rect">
              <a:avLst/>
            </a:prstGeom>
          </p:spPr>
        </p:pic>
        <p:sp>
          <p:nvSpPr>
            <p:cNvPr id="15" name="Flowchart: Process 14"/>
            <p:cNvSpPr/>
            <p:nvPr/>
          </p:nvSpPr>
          <p:spPr bwMode="auto">
            <a:xfrm>
              <a:off x="5995590" y="2150559"/>
              <a:ext cx="1326187" cy="317340"/>
            </a:xfrm>
            <a:prstGeom prst="flowChartProcess">
              <a:avLst/>
            </a:prstGeom>
            <a:solidFill>
              <a:srgbClr val="7030A0"/>
            </a:solidFill>
            <a:ln>
              <a:solidFill>
                <a:srgbClr val="5E5E5E"/>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200" dirty="0">
                  <a:gradFill>
                    <a:gsLst>
                      <a:gs pos="0">
                        <a:srgbClr val="FFFFFF"/>
                      </a:gs>
                      <a:gs pos="100000">
                        <a:srgbClr val="FFFFFF"/>
                      </a:gs>
                    </a:gsLst>
                    <a:lin ang="5400000" scaled="0"/>
                  </a:gradFill>
                </a:rPr>
                <a:t>Site (W3WP.EXE)</a:t>
              </a:r>
            </a:p>
          </p:txBody>
        </p:sp>
      </p:grpSp>
      <p:grpSp>
        <p:nvGrpSpPr>
          <p:cNvPr id="16" name="Group 15"/>
          <p:cNvGrpSpPr/>
          <p:nvPr/>
        </p:nvGrpSpPr>
        <p:grpSpPr>
          <a:xfrm>
            <a:off x="4815051" y="4417533"/>
            <a:ext cx="1541791" cy="1039753"/>
            <a:chOff x="5936247" y="1565661"/>
            <a:chExt cx="1541791" cy="1039753"/>
          </a:xfrm>
        </p:grpSpPr>
        <p:sp>
          <p:nvSpPr>
            <p:cNvPr id="17" name="Rectangle 16"/>
            <p:cNvSpPr/>
            <p:nvPr/>
          </p:nvSpPr>
          <p:spPr bwMode="auto">
            <a:xfrm>
              <a:off x="5936247" y="1565661"/>
              <a:ext cx="1541791" cy="1039753"/>
            </a:xfrm>
            <a:prstGeom prst="rect">
              <a:avLst/>
            </a:prstGeom>
            <a:solidFill>
              <a:schemeClr val="bg1"/>
            </a:solidFill>
            <a:ln w="25400">
              <a:solidFill>
                <a:srgbClr val="00B0F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pic>
          <p:nvPicPr>
            <p:cNvPr id="18" name="Picture 17"/>
            <p:cNvPicPr>
              <a:picLocks noChangeAspect="1"/>
            </p:cNvPicPr>
            <p:nvPr/>
          </p:nvPicPr>
          <p:blipFill>
            <a:blip r:embed="rId3"/>
            <a:stretch>
              <a:fillRect/>
            </a:stretch>
          </p:blipFill>
          <p:spPr>
            <a:xfrm>
              <a:off x="5984011" y="1618316"/>
              <a:ext cx="618547" cy="223455"/>
            </a:xfrm>
            <a:prstGeom prst="rect">
              <a:avLst/>
            </a:prstGeom>
          </p:spPr>
        </p:pic>
        <p:sp>
          <p:nvSpPr>
            <p:cNvPr id="19" name="TextBox 18"/>
            <p:cNvSpPr txBox="1"/>
            <p:nvPr/>
          </p:nvSpPr>
          <p:spPr>
            <a:xfrm>
              <a:off x="5995590" y="1896307"/>
              <a:ext cx="954836" cy="166199"/>
            </a:xfrm>
            <a:prstGeom prst="rect">
              <a:avLst/>
            </a:prstGeom>
            <a:noFill/>
          </p:spPr>
          <p:txBody>
            <a:bodyPr wrap="square" lIns="0" tIns="0" rIns="0" bIns="0" rtlCol="0">
              <a:spAutoFit/>
            </a:bodyPr>
            <a:lstStyle/>
            <a:p>
              <a:pPr>
                <a:lnSpc>
                  <a:spcPct val="90000"/>
                </a:lnSpc>
                <a:spcBef>
                  <a:spcPct val="20000"/>
                </a:spcBef>
                <a:buSzPct val="80000"/>
              </a:pPr>
              <a:r>
                <a:rPr lang="en-US" sz="1200" dirty="0">
                  <a:gradFill>
                    <a:gsLst>
                      <a:gs pos="0">
                        <a:srgbClr val="292929">
                          <a:lumMod val="90000"/>
                          <a:lumOff val="10000"/>
                        </a:srgbClr>
                      </a:gs>
                      <a:gs pos="86000">
                        <a:srgbClr val="292929">
                          <a:lumMod val="90000"/>
                          <a:lumOff val="10000"/>
                        </a:srgbClr>
                      </a:gs>
                    </a:gsLst>
                    <a:lin ang="5400000" scaled="0"/>
                  </a:gradFill>
                </a:rPr>
                <a:t>Web Server</a:t>
              </a:r>
            </a:p>
          </p:txBody>
        </p:sp>
        <p:pic>
          <p:nvPicPr>
            <p:cNvPr id="20" name="Picture 19"/>
            <p:cNvPicPr>
              <a:picLocks noChangeAspect="1"/>
            </p:cNvPicPr>
            <p:nvPr/>
          </p:nvPicPr>
          <p:blipFill>
            <a:blip r:embed="rId4"/>
            <a:stretch>
              <a:fillRect/>
            </a:stretch>
          </p:blipFill>
          <p:spPr>
            <a:xfrm>
              <a:off x="6814725" y="1596166"/>
              <a:ext cx="271402" cy="269628"/>
            </a:xfrm>
            <a:prstGeom prst="rect">
              <a:avLst/>
            </a:prstGeom>
          </p:spPr>
        </p:pic>
        <p:sp>
          <p:nvSpPr>
            <p:cNvPr id="21" name="Flowchart: Process 20"/>
            <p:cNvSpPr/>
            <p:nvPr/>
          </p:nvSpPr>
          <p:spPr bwMode="auto">
            <a:xfrm>
              <a:off x="5995590" y="2150559"/>
              <a:ext cx="1326187" cy="317340"/>
            </a:xfrm>
            <a:prstGeom prst="flowChartProcess">
              <a:avLst/>
            </a:prstGeom>
            <a:solidFill>
              <a:srgbClr val="7030A0"/>
            </a:solidFill>
            <a:ln>
              <a:solidFill>
                <a:srgbClr val="5E5E5E"/>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200" dirty="0">
                  <a:gradFill>
                    <a:gsLst>
                      <a:gs pos="0">
                        <a:srgbClr val="FFFFFF"/>
                      </a:gs>
                      <a:gs pos="100000">
                        <a:srgbClr val="FFFFFF"/>
                      </a:gs>
                    </a:gsLst>
                    <a:lin ang="5400000" scaled="0"/>
                  </a:gradFill>
                </a:rPr>
                <a:t>Site (W3WP.EXE)</a:t>
              </a:r>
            </a:p>
          </p:txBody>
        </p:sp>
      </p:grpSp>
      <p:cxnSp>
        <p:nvCxnSpPr>
          <p:cNvPr id="22" name="Elbow Connector 21"/>
          <p:cNvCxnSpPr>
            <a:stCxn id="47" idx="0"/>
            <a:endCxn id="11" idx="1"/>
          </p:cNvCxnSpPr>
          <p:nvPr/>
        </p:nvCxnSpPr>
        <p:spPr>
          <a:xfrm rot="5400000" flipH="1" flipV="1">
            <a:off x="3375586" y="1922119"/>
            <a:ext cx="984777" cy="1894155"/>
          </a:xfrm>
          <a:prstGeom prst="bentConnector2">
            <a:avLst/>
          </a:prstGeom>
          <a:ln w="25400">
            <a:solidFill>
              <a:srgbClr val="BAD80A"/>
            </a:solidFill>
            <a:tailEnd type="triangle"/>
          </a:ln>
        </p:spPr>
        <p:style>
          <a:lnRef idx="1">
            <a:schemeClr val="accent1"/>
          </a:lnRef>
          <a:fillRef idx="0">
            <a:schemeClr val="accent1"/>
          </a:fillRef>
          <a:effectRef idx="0">
            <a:schemeClr val="accent1"/>
          </a:effectRef>
          <a:fontRef idx="minor">
            <a:schemeClr val="tx1"/>
          </a:fontRef>
        </p:style>
      </p:cxnSp>
      <p:cxnSp>
        <p:nvCxnSpPr>
          <p:cNvPr id="23" name="Elbow Connector 22"/>
          <p:cNvCxnSpPr>
            <a:stCxn id="47" idx="2"/>
            <a:endCxn id="17" idx="1"/>
          </p:cNvCxnSpPr>
          <p:nvPr/>
        </p:nvCxnSpPr>
        <p:spPr>
          <a:xfrm rot="16200000" flipH="1">
            <a:off x="3374829" y="3497188"/>
            <a:ext cx="986290" cy="1894154"/>
          </a:xfrm>
          <a:prstGeom prst="bentConnector2">
            <a:avLst/>
          </a:prstGeom>
          <a:ln w="25400">
            <a:solidFill>
              <a:srgbClr val="BAD80A"/>
            </a:solidFill>
            <a:tailEnd type="triangle"/>
          </a:ln>
        </p:spPr>
        <p:style>
          <a:lnRef idx="1">
            <a:schemeClr val="accent1"/>
          </a:lnRef>
          <a:fillRef idx="0">
            <a:schemeClr val="accent1"/>
          </a:fillRef>
          <a:effectRef idx="0">
            <a:schemeClr val="accent1"/>
          </a:effectRef>
          <a:fontRef idx="minor">
            <a:schemeClr val="tx1"/>
          </a:fontRef>
        </p:style>
      </p:cxnSp>
      <p:cxnSp>
        <p:nvCxnSpPr>
          <p:cNvPr id="24" name="Straight Arrow Connector 23"/>
          <p:cNvCxnSpPr>
            <a:stCxn id="5" idx="3"/>
            <a:endCxn id="28" idx="1"/>
          </p:cNvCxnSpPr>
          <p:nvPr/>
        </p:nvCxnSpPr>
        <p:spPr>
          <a:xfrm flipV="1">
            <a:off x="6356844" y="3656353"/>
            <a:ext cx="2622767" cy="1"/>
          </a:xfrm>
          <a:prstGeom prst="straightConnector1">
            <a:avLst/>
          </a:prstGeom>
          <a:ln w="25400">
            <a:solidFill>
              <a:srgbClr val="BAD80A"/>
            </a:solidFill>
            <a:tailEnd type="triangle"/>
          </a:ln>
        </p:spPr>
        <p:style>
          <a:lnRef idx="1">
            <a:schemeClr val="accent1"/>
          </a:lnRef>
          <a:fillRef idx="0">
            <a:schemeClr val="accent1"/>
          </a:fillRef>
          <a:effectRef idx="0">
            <a:schemeClr val="accent1"/>
          </a:effectRef>
          <a:fontRef idx="minor">
            <a:schemeClr val="tx1"/>
          </a:fontRef>
        </p:style>
      </p:cxnSp>
      <p:cxnSp>
        <p:nvCxnSpPr>
          <p:cNvPr id="25" name="Straight Arrow Connector 24"/>
          <p:cNvCxnSpPr>
            <a:stCxn id="17" idx="3"/>
          </p:cNvCxnSpPr>
          <p:nvPr/>
        </p:nvCxnSpPr>
        <p:spPr>
          <a:xfrm flipV="1">
            <a:off x="6356842" y="4935900"/>
            <a:ext cx="2622767" cy="1510"/>
          </a:xfrm>
          <a:prstGeom prst="straightConnector1">
            <a:avLst/>
          </a:prstGeom>
          <a:ln w="25400">
            <a:solidFill>
              <a:srgbClr val="BAD80A"/>
            </a:solidFill>
            <a:tailEnd type="triangle"/>
          </a:ln>
        </p:spPr>
        <p:style>
          <a:lnRef idx="1">
            <a:schemeClr val="accent1"/>
          </a:lnRef>
          <a:fillRef idx="0">
            <a:schemeClr val="accent1"/>
          </a:fillRef>
          <a:effectRef idx="0">
            <a:schemeClr val="accent1"/>
          </a:effectRef>
          <a:fontRef idx="minor">
            <a:schemeClr val="tx1"/>
          </a:fontRef>
        </p:style>
      </p:cxnSp>
      <p:cxnSp>
        <p:nvCxnSpPr>
          <p:cNvPr id="26" name="Straight Arrow Connector 25"/>
          <p:cNvCxnSpPr/>
          <p:nvPr/>
        </p:nvCxnSpPr>
        <p:spPr>
          <a:xfrm flipV="1">
            <a:off x="6356842" y="2375298"/>
            <a:ext cx="2622768" cy="1508"/>
          </a:xfrm>
          <a:prstGeom prst="straightConnector1">
            <a:avLst/>
          </a:prstGeom>
          <a:ln w="25400">
            <a:solidFill>
              <a:srgbClr val="BAD80A"/>
            </a:solidFill>
            <a:tailEnd type="triangle"/>
          </a:ln>
        </p:spPr>
        <p:style>
          <a:lnRef idx="1">
            <a:schemeClr val="accent1"/>
          </a:lnRef>
          <a:fillRef idx="0">
            <a:schemeClr val="accent1"/>
          </a:fillRef>
          <a:effectRef idx="0">
            <a:schemeClr val="accent1"/>
          </a:effectRef>
          <a:fontRef idx="minor">
            <a:schemeClr val="tx1"/>
          </a:fontRef>
        </p:style>
      </p:cxnSp>
      <p:grpSp>
        <p:nvGrpSpPr>
          <p:cNvPr id="27" name="Group 26"/>
          <p:cNvGrpSpPr/>
          <p:nvPr/>
        </p:nvGrpSpPr>
        <p:grpSpPr>
          <a:xfrm>
            <a:off x="8979611" y="1402150"/>
            <a:ext cx="1277656" cy="4508405"/>
            <a:chOff x="8279704" y="1402150"/>
            <a:chExt cx="1277656" cy="4508405"/>
          </a:xfrm>
        </p:grpSpPr>
        <p:sp>
          <p:nvSpPr>
            <p:cNvPr id="28" name="Rectangle 27"/>
            <p:cNvSpPr/>
            <p:nvPr/>
          </p:nvSpPr>
          <p:spPr bwMode="auto">
            <a:xfrm>
              <a:off x="8279704" y="1402150"/>
              <a:ext cx="1277656" cy="4508405"/>
            </a:xfrm>
            <a:prstGeom prst="rect">
              <a:avLst/>
            </a:prstGeom>
            <a:solidFill>
              <a:schemeClr val="bg1"/>
            </a:solidFill>
            <a:ln w="25400">
              <a:solidFill>
                <a:srgbClr val="00B0F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9" name="TextBox 28"/>
            <p:cNvSpPr txBox="1"/>
            <p:nvPr/>
          </p:nvSpPr>
          <p:spPr>
            <a:xfrm>
              <a:off x="8466429" y="1560327"/>
              <a:ext cx="916586" cy="221599"/>
            </a:xfrm>
            <a:prstGeom prst="rect">
              <a:avLst/>
            </a:prstGeom>
            <a:noFill/>
          </p:spPr>
          <p:txBody>
            <a:bodyPr wrap="square" lIns="0" tIns="0" rIns="0" bIns="0" rtlCol="0">
              <a:spAutoFit/>
            </a:bodyPr>
            <a:lstStyle/>
            <a:p>
              <a:pPr>
                <a:lnSpc>
                  <a:spcPct val="90000"/>
                </a:lnSpc>
                <a:spcBef>
                  <a:spcPct val="20000"/>
                </a:spcBef>
                <a:buSzPct val="80000"/>
              </a:pPr>
              <a:r>
                <a:rPr lang="en-US" sz="1600" b="1" dirty="0">
                  <a:gradFill>
                    <a:gsLst>
                      <a:gs pos="0">
                        <a:srgbClr val="292929">
                          <a:lumMod val="90000"/>
                          <a:lumOff val="10000"/>
                        </a:srgbClr>
                      </a:gs>
                      <a:gs pos="86000">
                        <a:srgbClr val="292929">
                          <a:lumMod val="90000"/>
                          <a:lumOff val="10000"/>
                        </a:srgbClr>
                      </a:gs>
                    </a:gsLst>
                    <a:lin ang="5400000" scaled="0"/>
                  </a:gradFill>
                </a:rPr>
                <a:t>Data Tier</a:t>
              </a:r>
            </a:p>
          </p:txBody>
        </p:sp>
        <p:sp>
          <p:nvSpPr>
            <p:cNvPr id="30" name="Flowchart: Magnetic Disk 29"/>
            <p:cNvSpPr/>
            <p:nvPr/>
          </p:nvSpPr>
          <p:spPr bwMode="auto">
            <a:xfrm>
              <a:off x="8417576" y="1976744"/>
              <a:ext cx="439435" cy="587862"/>
            </a:xfrm>
            <a:prstGeom prst="flowChartMagneticDisk">
              <a:avLst/>
            </a:prstGeom>
            <a:solidFill>
              <a:schemeClr val="bg1"/>
            </a:solidFill>
            <a:ln>
              <a:solidFill>
                <a:srgbClr val="5E5E5E"/>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31" name="Flowchart: Magnetic Disk 30"/>
            <p:cNvSpPr/>
            <p:nvPr/>
          </p:nvSpPr>
          <p:spPr bwMode="auto">
            <a:xfrm>
              <a:off x="8946016" y="2787298"/>
              <a:ext cx="439435" cy="587862"/>
            </a:xfrm>
            <a:prstGeom prst="flowChartMagneticDisk">
              <a:avLst/>
            </a:prstGeom>
            <a:solidFill>
              <a:schemeClr val="bg1"/>
            </a:solidFill>
            <a:ln>
              <a:solidFill>
                <a:srgbClr val="5E5E5E"/>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32" name="Flowchart: Magnetic Disk 31"/>
            <p:cNvSpPr/>
            <p:nvPr/>
          </p:nvSpPr>
          <p:spPr bwMode="auto">
            <a:xfrm>
              <a:off x="8417575" y="3721375"/>
              <a:ext cx="439435" cy="587862"/>
            </a:xfrm>
            <a:prstGeom prst="flowChartMagneticDisk">
              <a:avLst/>
            </a:prstGeom>
            <a:solidFill>
              <a:schemeClr val="bg1"/>
            </a:solidFill>
            <a:ln>
              <a:solidFill>
                <a:srgbClr val="5E5E5E"/>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33" name="Flowchart: Magnetic Disk 32"/>
            <p:cNvSpPr/>
            <p:nvPr/>
          </p:nvSpPr>
          <p:spPr bwMode="auto">
            <a:xfrm>
              <a:off x="8943580" y="4620447"/>
              <a:ext cx="439435" cy="587862"/>
            </a:xfrm>
            <a:prstGeom prst="flowChartMagneticDisk">
              <a:avLst/>
            </a:prstGeom>
            <a:solidFill>
              <a:schemeClr val="bg1"/>
            </a:solidFill>
            <a:ln>
              <a:solidFill>
                <a:srgbClr val="5E5E5E"/>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grpSp>
      <p:sp>
        <p:nvSpPr>
          <p:cNvPr id="34" name="Rectangle 33"/>
          <p:cNvSpPr/>
          <p:nvPr/>
        </p:nvSpPr>
        <p:spPr bwMode="auto">
          <a:xfrm>
            <a:off x="7174715" y="1820316"/>
            <a:ext cx="1104545" cy="3636970"/>
          </a:xfrm>
          <a:prstGeom prst="rect">
            <a:avLst/>
          </a:prstGeom>
          <a:solidFill>
            <a:srgbClr val="00B050">
              <a:alpha val="28000"/>
            </a:srgbClr>
          </a:solidFill>
          <a:ln w="25400">
            <a:solidFill>
              <a:srgbClr val="00B0F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grpSp>
        <p:nvGrpSpPr>
          <p:cNvPr id="35" name="Group 34"/>
          <p:cNvGrpSpPr/>
          <p:nvPr/>
        </p:nvGrpSpPr>
        <p:grpSpPr>
          <a:xfrm>
            <a:off x="782107" y="2391117"/>
            <a:ext cx="320909" cy="2604037"/>
            <a:chOff x="577833" y="2352934"/>
            <a:chExt cx="320909" cy="2604037"/>
          </a:xfrm>
        </p:grpSpPr>
        <p:pic>
          <p:nvPicPr>
            <p:cNvPr id="36" name="Picture 35"/>
            <p:cNvPicPr>
              <a:picLocks noChangeAspect="1"/>
            </p:cNvPicPr>
            <p:nvPr/>
          </p:nvPicPr>
          <p:blipFill>
            <a:blip r:embed="rId5"/>
            <a:stretch>
              <a:fillRect/>
            </a:stretch>
          </p:blipFill>
          <p:spPr>
            <a:xfrm>
              <a:off x="577833" y="2352934"/>
              <a:ext cx="320909" cy="336524"/>
            </a:xfrm>
            <a:prstGeom prst="rect">
              <a:avLst/>
            </a:prstGeom>
            <a:solidFill>
              <a:schemeClr val="bg1"/>
            </a:solidFill>
            <a:ln>
              <a:noFill/>
            </a:ln>
          </p:spPr>
        </p:pic>
        <p:pic>
          <p:nvPicPr>
            <p:cNvPr id="37" name="Picture 36"/>
            <p:cNvPicPr>
              <a:picLocks noChangeAspect="1"/>
            </p:cNvPicPr>
            <p:nvPr/>
          </p:nvPicPr>
          <p:blipFill>
            <a:blip r:embed="rId5"/>
            <a:stretch>
              <a:fillRect/>
            </a:stretch>
          </p:blipFill>
          <p:spPr>
            <a:xfrm>
              <a:off x="577833" y="4620447"/>
              <a:ext cx="320909" cy="336524"/>
            </a:xfrm>
            <a:prstGeom prst="rect">
              <a:avLst/>
            </a:prstGeom>
          </p:spPr>
        </p:pic>
        <p:pic>
          <p:nvPicPr>
            <p:cNvPr id="38" name="Picture 37"/>
            <p:cNvPicPr>
              <a:picLocks noChangeAspect="1"/>
            </p:cNvPicPr>
            <p:nvPr/>
          </p:nvPicPr>
          <p:blipFill>
            <a:blip r:embed="rId5"/>
            <a:stretch>
              <a:fillRect/>
            </a:stretch>
          </p:blipFill>
          <p:spPr>
            <a:xfrm>
              <a:off x="577833" y="3488090"/>
              <a:ext cx="320909" cy="336524"/>
            </a:xfrm>
            <a:prstGeom prst="rect">
              <a:avLst/>
            </a:prstGeom>
          </p:spPr>
        </p:pic>
      </p:grpSp>
      <p:sp>
        <p:nvSpPr>
          <p:cNvPr id="39" name="Hexagon 38"/>
          <p:cNvSpPr/>
          <p:nvPr/>
        </p:nvSpPr>
        <p:spPr bwMode="auto">
          <a:xfrm>
            <a:off x="952241" y="2634521"/>
            <a:ext cx="236729" cy="220735"/>
          </a:xfrm>
          <a:prstGeom prst="hexagon">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40" name="Hexagon 39"/>
          <p:cNvSpPr/>
          <p:nvPr/>
        </p:nvSpPr>
        <p:spPr bwMode="auto">
          <a:xfrm>
            <a:off x="942561" y="3769677"/>
            <a:ext cx="236729" cy="220735"/>
          </a:xfrm>
          <a:prstGeom prst="hexagon">
            <a:avLst/>
          </a:prstGeom>
          <a:solidFill>
            <a:srgbClr val="00206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41" name="Hexagon 40"/>
          <p:cNvSpPr/>
          <p:nvPr/>
        </p:nvSpPr>
        <p:spPr bwMode="auto">
          <a:xfrm>
            <a:off x="935336" y="4904833"/>
            <a:ext cx="236729" cy="220735"/>
          </a:xfrm>
          <a:prstGeom prst="hexagon">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42" name="Hexagon 41"/>
          <p:cNvSpPr/>
          <p:nvPr/>
        </p:nvSpPr>
        <p:spPr bwMode="auto">
          <a:xfrm>
            <a:off x="6117065" y="2634521"/>
            <a:ext cx="236729" cy="220735"/>
          </a:xfrm>
          <a:prstGeom prst="hexagon">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43" name="Hexagon 42"/>
          <p:cNvSpPr/>
          <p:nvPr/>
        </p:nvSpPr>
        <p:spPr bwMode="auto">
          <a:xfrm>
            <a:off x="6117065" y="3922717"/>
            <a:ext cx="236729" cy="220735"/>
          </a:xfrm>
          <a:prstGeom prst="hexagon">
            <a:avLst/>
          </a:prstGeom>
          <a:solidFill>
            <a:srgbClr val="00206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44" name="Hexagon 43"/>
          <p:cNvSpPr/>
          <p:nvPr/>
        </p:nvSpPr>
        <p:spPr bwMode="auto">
          <a:xfrm>
            <a:off x="6117064" y="5220731"/>
            <a:ext cx="236729" cy="220735"/>
          </a:xfrm>
          <a:prstGeom prst="hexagon">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45" name="TextBox 44"/>
          <p:cNvSpPr txBox="1"/>
          <p:nvPr/>
        </p:nvSpPr>
        <p:spPr>
          <a:xfrm>
            <a:off x="1103016" y="5770436"/>
            <a:ext cx="3323383" cy="221599"/>
          </a:xfrm>
          <a:prstGeom prst="rect">
            <a:avLst/>
          </a:prstGeom>
          <a:noFill/>
        </p:spPr>
        <p:txBody>
          <a:bodyPr wrap="square" lIns="0" tIns="0" rIns="0" bIns="0" rtlCol="0">
            <a:spAutoFit/>
          </a:bodyPr>
          <a:lstStyle/>
          <a:p>
            <a:pPr>
              <a:lnSpc>
                <a:spcPct val="90000"/>
              </a:lnSpc>
              <a:spcBef>
                <a:spcPct val="20000"/>
              </a:spcBef>
              <a:buSzPct val="80000"/>
            </a:pPr>
            <a:r>
              <a:rPr lang="en-US" sz="1600" dirty="0">
                <a:gradFill>
                  <a:gsLst>
                    <a:gs pos="0">
                      <a:srgbClr val="292929">
                        <a:lumMod val="90000"/>
                        <a:lumOff val="10000"/>
                      </a:srgbClr>
                    </a:gs>
                    <a:gs pos="86000">
                      <a:srgbClr val="292929">
                        <a:lumMod val="90000"/>
                        <a:lumOff val="10000"/>
                      </a:srgbClr>
                    </a:gs>
                  </a:gsLst>
                  <a:lin ang="5400000" scaled="0"/>
                </a:gradFill>
              </a:rPr>
              <a:t>Disable session affinity. </a:t>
            </a:r>
          </a:p>
        </p:txBody>
      </p:sp>
      <p:grpSp>
        <p:nvGrpSpPr>
          <p:cNvPr id="46" name="Group 45"/>
          <p:cNvGrpSpPr/>
          <p:nvPr/>
        </p:nvGrpSpPr>
        <p:grpSpPr>
          <a:xfrm>
            <a:off x="2419597" y="3361584"/>
            <a:ext cx="1002600" cy="589536"/>
            <a:chOff x="3423096" y="1714752"/>
            <a:chExt cx="1002600" cy="589536"/>
          </a:xfrm>
        </p:grpSpPr>
        <p:sp>
          <p:nvSpPr>
            <p:cNvPr id="47" name="Rectangle 46"/>
            <p:cNvSpPr/>
            <p:nvPr/>
          </p:nvSpPr>
          <p:spPr bwMode="auto">
            <a:xfrm>
              <a:off x="3423096" y="1714752"/>
              <a:ext cx="1002600" cy="589536"/>
            </a:xfrm>
            <a:prstGeom prst="rect">
              <a:avLst/>
            </a:prstGeom>
            <a:solidFill>
              <a:schemeClr val="bg1"/>
            </a:solidFill>
            <a:ln w="25400">
              <a:solidFill>
                <a:srgbClr val="00B0F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pic>
          <p:nvPicPr>
            <p:cNvPr id="48" name="Picture 47"/>
            <p:cNvPicPr>
              <a:picLocks noChangeAspect="1"/>
            </p:cNvPicPr>
            <p:nvPr/>
          </p:nvPicPr>
          <p:blipFill>
            <a:blip r:embed="rId3"/>
            <a:stretch>
              <a:fillRect/>
            </a:stretch>
          </p:blipFill>
          <p:spPr>
            <a:xfrm>
              <a:off x="3470860" y="1767407"/>
              <a:ext cx="618547" cy="223455"/>
            </a:xfrm>
            <a:prstGeom prst="rect">
              <a:avLst/>
            </a:prstGeom>
          </p:spPr>
        </p:pic>
        <p:sp>
          <p:nvSpPr>
            <p:cNvPr id="49" name="TextBox 48"/>
            <p:cNvSpPr txBox="1"/>
            <p:nvPr/>
          </p:nvSpPr>
          <p:spPr>
            <a:xfrm>
              <a:off x="3470860" y="2043518"/>
              <a:ext cx="954836" cy="166199"/>
            </a:xfrm>
            <a:prstGeom prst="rect">
              <a:avLst/>
            </a:prstGeom>
            <a:noFill/>
          </p:spPr>
          <p:txBody>
            <a:bodyPr wrap="square" lIns="0" tIns="0" rIns="0" bIns="0" rtlCol="0">
              <a:spAutoFit/>
            </a:bodyPr>
            <a:lstStyle/>
            <a:p>
              <a:pPr>
                <a:lnSpc>
                  <a:spcPct val="90000"/>
                </a:lnSpc>
                <a:spcBef>
                  <a:spcPct val="20000"/>
                </a:spcBef>
                <a:buSzPct val="80000"/>
              </a:pPr>
              <a:r>
                <a:rPr lang="en-US" sz="1200" dirty="0">
                  <a:gradFill>
                    <a:gsLst>
                      <a:gs pos="0">
                        <a:srgbClr val="292929">
                          <a:lumMod val="90000"/>
                          <a:lumOff val="10000"/>
                        </a:srgbClr>
                      </a:gs>
                      <a:gs pos="86000">
                        <a:srgbClr val="292929">
                          <a:lumMod val="90000"/>
                          <a:lumOff val="10000"/>
                        </a:srgbClr>
                      </a:gs>
                    </a:gsLst>
                    <a:lin ang="5400000" scaled="0"/>
                  </a:gradFill>
                </a:rPr>
                <a:t>IIS ARR (LB)</a:t>
              </a:r>
            </a:p>
          </p:txBody>
        </p:sp>
      </p:grpSp>
      <p:cxnSp>
        <p:nvCxnSpPr>
          <p:cNvPr id="50" name="Straight Arrow Connector 49"/>
          <p:cNvCxnSpPr>
            <a:stCxn id="47" idx="3"/>
            <a:endCxn id="5" idx="1"/>
          </p:cNvCxnSpPr>
          <p:nvPr/>
        </p:nvCxnSpPr>
        <p:spPr>
          <a:xfrm>
            <a:off x="3422197" y="3656352"/>
            <a:ext cx="1392856" cy="2"/>
          </a:xfrm>
          <a:prstGeom prst="straightConnector1">
            <a:avLst/>
          </a:prstGeom>
          <a:ln w="25400">
            <a:solidFill>
              <a:srgbClr val="BAD80A"/>
            </a:solidFill>
            <a:tailEnd type="triangle"/>
          </a:ln>
        </p:spPr>
        <p:style>
          <a:lnRef idx="1">
            <a:schemeClr val="accent1"/>
          </a:lnRef>
          <a:fillRef idx="0">
            <a:schemeClr val="accent1"/>
          </a:fillRef>
          <a:effectRef idx="0">
            <a:schemeClr val="accent1"/>
          </a:effectRef>
          <a:fontRef idx="minor">
            <a:schemeClr val="tx1"/>
          </a:fontRef>
        </p:style>
      </p:cxnSp>
      <p:sp>
        <p:nvSpPr>
          <p:cNvPr id="51" name="TextBox 50"/>
          <p:cNvSpPr txBox="1"/>
          <p:nvPr/>
        </p:nvSpPr>
        <p:spPr>
          <a:xfrm>
            <a:off x="5041313" y="5770436"/>
            <a:ext cx="3463860" cy="664797"/>
          </a:xfrm>
          <a:prstGeom prst="rect">
            <a:avLst/>
          </a:prstGeom>
          <a:noFill/>
        </p:spPr>
        <p:txBody>
          <a:bodyPr wrap="square" lIns="0" tIns="0" rIns="0" bIns="0" rtlCol="0">
            <a:spAutoFit/>
          </a:bodyPr>
          <a:lstStyle/>
          <a:p>
            <a:pPr>
              <a:lnSpc>
                <a:spcPct val="90000"/>
              </a:lnSpc>
              <a:spcBef>
                <a:spcPct val="20000"/>
              </a:spcBef>
              <a:buSzPct val="80000"/>
            </a:pPr>
            <a:r>
              <a:rPr lang="en-US" sz="1600" dirty="0">
                <a:gradFill>
                  <a:gsLst>
                    <a:gs pos="0">
                      <a:srgbClr val="292929">
                        <a:lumMod val="90000"/>
                        <a:lumOff val="10000"/>
                      </a:srgbClr>
                    </a:gs>
                    <a:gs pos="86000">
                      <a:srgbClr val="292929">
                        <a:lumMod val="90000"/>
                        <a:lumOff val="10000"/>
                      </a:srgbClr>
                    </a:gs>
                  </a:gsLst>
                  <a:lin ang="5400000" scaled="0"/>
                </a:gradFill>
              </a:rPr>
              <a:t>Use cache such as </a:t>
            </a:r>
            <a:r>
              <a:rPr lang="en-US" sz="1600" dirty="0" err="1">
                <a:gradFill>
                  <a:gsLst>
                    <a:gs pos="0">
                      <a:srgbClr val="292929">
                        <a:lumMod val="90000"/>
                        <a:lumOff val="10000"/>
                      </a:srgbClr>
                    </a:gs>
                    <a:gs pos="86000">
                      <a:srgbClr val="292929">
                        <a:lumMod val="90000"/>
                        <a:lumOff val="10000"/>
                      </a:srgbClr>
                    </a:gs>
                  </a:gsLst>
                  <a:lin ang="5400000" scaled="0"/>
                </a:gradFill>
              </a:rPr>
              <a:t>Redis</a:t>
            </a:r>
            <a:r>
              <a:rPr lang="en-US" sz="1600" dirty="0">
                <a:gradFill>
                  <a:gsLst>
                    <a:gs pos="0">
                      <a:srgbClr val="292929">
                        <a:lumMod val="90000"/>
                        <a:lumOff val="10000"/>
                      </a:srgbClr>
                    </a:gs>
                    <a:gs pos="86000">
                      <a:srgbClr val="292929">
                        <a:lumMod val="90000"/>
                        <a:lumOff val="10000"/>
                      </a:srgbClr>
                    </a:gs>
                  </a:gsLst>
                  <a:lin ang="5400000" scaled="0"/>
                </a:gradFill>
              </a:rPr>
              <a:t> for reference data and user session data to reduce load on the database even further</a:t>
            </a:r>
          </a:p>
        </p:txBody>
      </p:sp>
      <p:pic>
        <p:nvPicPr>
          <p:cNvPr id="52" name="Picture 51"/>
          <p:cNvPicPr>
            <a:picLocks noChangeAspect="1"/>
          </p:cNvPicPr>
          <p:nvPr/>
        </p:nvPicPr>
        <p:blipFill>
          <a:blip r:embed="rId6"/>
          <a:stretch>
            <a:fillRect/>
          </a:stretch>
        </p:blipFill>
        <p:spPr>
          <a:xfrm>
            <a:off x="7926270" y="1909585"/>
            <a:ext cx="324728" cy="355694"/>
          </a:xfrm>
          <a:prstGeom prst="rect">
            <a:avLst/>
          </a:prstGeom>
        </p:spPr>
      </p:pic>
      <p:sp>
        <p:nvSpPr>
          <p:cNvPr id="53" name="TextBox 52"/>
          <p:cNvSpPr txBox="1"/>
          <p:nvPr/>
        </p:nvSpPr>
        <p:spPr>
          <a:xfrm>
            <a:off x="7235321" y="2040358"/>
            <a:ext cx="709116" cy="221599"/>
          </a:xfrm>
          <a:prstGeom prst="rect">
            <a:avLst/>
          </a:prstGeom>
          <a:noFill/>
        </p:spPr>
        <p:txBody>
          <a:bodyPr wrap="square" lIns="0" tIns="0" rIns="0" bIns="0" rtlCol="0">
            <a:spAutoFit/>
          </a:bodyPr>
          <a:lstStyle/>
          <a:p>
            <a:pPr>
              <a:lnSpc>
                <a:spcPct val="90000"/>
              </a:lnSpc>
              <a:spcBef>
                <a:spcPct val="20000"/>
              </a:spcBef>
              <a:buSzPct val="80000"/>
            </a:pPr>
            <a:r>
              <a:rPr lang="en-US" sz="1600" b="1" dirty="0">
                <a:gradFill>
                  <a:gsLst>
                    <a:gs pos="0">
                      <a:srgbClr val="292929">
                        <a:lumMod val="90000"/>
                        <a:lumOff val="10000"/>
                      </a:srgbClr>
                    </a:gs>
                    <a:gs pos="86000">
                      <a:srgbClr val="292929">
                        <a:lumMod val="90000"/>
                        <a:lumOff val="10000"/>
                      </a:srgbClr>
                    </a:gs>
                  </a:gsLst>
                  <a:lin ang="5400000" scaled="0"/>
                </a:gradFill>
              </a:rPr>
              <a:t>Cache</a:t>
            </a:r>
          </a:p>
        </p:txBody>
      </p:sp>
      <p:sp>
        <p:nvSpPr>
          <p:cNvPr id="54" name="Hexagon 53"/>
          <p:cNvSpPr/>
          <p:nvPr/>
        </p:nvSpPr>
        <p:spPr bwMode="auto">
          <a:xfrm>
            <a:off x="7191425" y="2635152"/>
            <a:ext cx="236729" cy="220735"/>
          </a:xfrm>
          <a:prstGeom prst="hexagon">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55" name="Hexagon 54"/>
          <p:cNvSpPr/>
          <p:nvPr/>
        </p:nvSpPr>
        <p:spPr bwMode="auto">
          <a:xfrm>
            <a:off x="7191425" y="3923348"/>
            <a:ext cx="236729" cy="220735"/>
          </a:xfrm>
          <a:prstGeom prst="hexagon">
            <a:avLst/>
          </a:prstGeom>
          <a:solidFill>
            <a:srgbClr val="00206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56" name="Hexagon 55"/>
          <p:cNvSpPr/>
          <p:nvPr/>
        </p:nvSpPr>
        <p:spPr bwMode="auto">
          <a:xfrm>
            <a:off x="7191424" y="5221362"/>
            <a:ext cx="236729" cy="220735"/>
          </a:xfrm>
          <a:prstGeom prst="hexagon">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grpSp>
        <p:nvGrpSpPr>
          <p:cNvPr id="57" name="Group 56"/>
          <p:cNvGrpSpPr/>
          <p:nvPr/>
        </p:nvGrpSpPr>
        <p:grpSpPr>
          <a:xfrm>
            <a:off x="6466702" y="5046818"/>
            <a:ext cx="598152" cy="322981"/>
            <a:chOff x="6441475" y="5309668"/>
            <a:chExt cx="598152" cy="322981"/>
          </a:xfrm>
        </p:grpSpPr>
        <p:cxnSp>
          <p:nvCxnSpPr>
            <p:cNvPr id="58" name="Straight Arrow Connector 57"/>
            <p:cNvCxnSpPr/>
            <p:nvPr/>
          </p:nvCxnSpPr>
          <p:spPr>
            <a:xfrm>
              <a:off x="6441475" y="5632649"/>
              <a:ext cx="598152" cy="0"/>
            </a:xfrm>
            <a:prstGeom prst="straightConnector1">
              <a:avLst/>
            </a:prstGeom>
            <a:ln>
              <a:solidFill>
                <a:srgbClr val="00B050"/>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59" name="Straight Arrow Connector 58"/>
            <p:cNvCxnSpPr/>
            <p:nvPr/>
          </p:nvCxnSpPr>
          <p:spPr>
            <a:xfrm>
              <a:off x="6441475" y="5309668"/>
              <a:ext cx="598152" cy="0"/>
            </a:xfrm>
            <a:prstGeom prst="straightConnector1">
              <a:avLst/>
            </a:prstGeom>
            <a:ln>
              <a:solidFill>
                <a:srgbClr val="FF0000"/>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60" name="Straight Arrow Connector 59"/>
            <p:cNvCxnSpPr/>
            <p:nvPr/>
          </p:nvCxnSpPr>
          <p:spPr>
            <a:xfrm>
              <a:off x="6441475" y="5475654"/>
              <a:ext cx="598152" cy="0"/>
            </a:xfrm>
            <a:prstGeom prst="straightConnector1">
              <a:avLst/>
            </a:prstGeom>
            <a:ln>
              <a:solidFill>
                <a:srgbClr val="002060"/>
              </a:solidFill>
              <a:headEnd type="triangle"/>
              <a:tailEnd type="triangle"/>
            </a:ln>
          </p:spPr>
          <p:style>
            <a:lnRef idx="1">
              <a:schemeClr val="accent1"/>
            </a:lnRef>
            <a:fillRef idx="0">
              <a:schemeClr val="accent1"/>
            </a:fillRef>
            <a:effectRef idx="0">
              <a:schemeClr val="accent1"/>
            </a:effectRef>
            <a:fontRef idx="minor">
              <a:schemeClr val="tx1"/>
            </a:fontRef>
          </p:style>
        </p:cxnSp>
      </p:grpSp>
      <p:grpSp>
        <p:nvGrpSpPr>
          <p:cNvPr id="61" name="Group 60"/>
          <p:cNvGrpSpPr/>
          <p:nvPr/>
        </p:nvGrpSpPr>
        <p:grpSpPr>
          <a:xfrm>
            <a:off x="6466702" y="3761226"/>
            <a:ext cx="598152" cy="322981"/>
            <a:chOff x="6441475" y="5309668"/>
            <a:chExt cx="598152" cy="322981"/>
          </a:xfrm>
        </p:grpSpPr>
        <p:cxnSp>
          <p:nvCxnSpPr>
            <p:cNvPr id="62" name="Straight Arrow Connector 61"/>
            <p:cNvCxnSpPr/>
            <p:nvPr/>
          </p:nvCxnSpPr>
          <p:spPr>
            <a:xfrm>
              <a:off x="6441475" y="5632649"/>
              <a:ext cx="598152" cy="0"/>
            </a:xfrm>
            <a:prstGeom prst="straightConnector1">
              <a:avLst/>
            </a:prstGeom>
            <a:ln>
              <a:solidFill>
                <a:srgbClr val="00B050"/>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63" name="Straight Arrow Connector 62"/>
            <p:cNvCxnSpPr/>
            <p:nvPr/>
          </p:nvCxnSpPr>
          <p:spPr>
            <a:xfrm>
              <a:off x="6441475" y="5309668"/>
              <a:ext cx="598152" cy="0"/>
            </a:xfrm>
            <a:prstGeom prst="straightConnector1">
              <a:avLst/>
            </a:prstGeom>
            <a:ln>
              <a:solidFill>
                <a:srgbClr val="FF0000"/>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64" name="Straight Arrow Connector 63"/>
            <p:cNvCxnSpPr/>
            <p:nvPr/>
          </p:nvCxnSpPr>
          <p:spPr>
            <a:xfrm>
              <a:off x="6441475" y="5475654"/>
              <a:ext cx="598152" cy="0"/>
            </a:xfrm>
            <a:prstGeom prst="straightConnector1">
              <a:avLst/>
            </a:prstGeom>
            <a:ln>
              <a:solidFill>
                <a:srgbClr val="002060"/>
              </a:solidFill>
              <a:headEnd type="triangle"/>
              <a:tailEnd type="triangle"/>
            </a:ln>
          </p:spPr>
          <p:style>
            <a:lnRef idx="1">
              <a:schemeClr val="accent1"/>
            </a:lnRef>
            <a:fillRef idx="0">
              <a:schemeClr val="accent1"/>
            </a:fillRef>
            <a:effectRef idx="0">
              <a:schemeClr val="accent1"/>
            </a:effectRef>
            <a:fontRef idx="minor">
              <a:schemeClr val="tx1"/>
            </a:fontRef>
          </p:style>
        </p:cxnSp>
      </p:grpSp>
      <p:grpSp>
        <p:nvGrpSpPr>
          <p:cNvPr id="65" name="Group 64"/>
          <p:cNvGrpSpPr/>
          <p:nvPr/>
        </p:nvGrpSpPr>
        <p:grpSpPr>
          <a:xfrm>
            <a:off x="6443955" y="2544285"/>
            <a:ext cx="598152" cy="322981"/>
            <a:chOff x="6441475" y="5309668"/>
            <a:chExt cx="598152" cy="322981"/>
          </a:xfrm>
        </p:grpSpPr>
        <p:cxnSp>
          <p:nvCxnSpPr>
            <p:cNvPr id="66" name="Straight Arrow Connector 65"/>
            <p:cNvCxnSpPr/>
            <p:nvPr/>
          </p:nvCxnSpPr>
          <p:spPr>
            <a:xfrm>
              <a:off x="6441475" y="5632649"/>
              <a:ext cx="598152" cy="0"/>
            </a:xfrm>
            <a:prstGeom prst="straightConnector1">
              <a:avLst/>
            </a:prstGeom>
            <a:ln>
              <a:solidFill>
                <a:srgbClr val="00B050"/>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67" name="Straight Arrow Connector 66"/>
            <p:cNvCxnSpPr/>
            <p:nvPr/>
          </p:nvCxnSpPr>
          <p:spPr>
            <a:xfrm>
              <a:off x="6441475" y="5309668"/>
              <a:ext cx="598152" cy="0"/>
            </a:xfrm>
            <a:prstGeom prst="straightConnector1">
              <a:avLst/>
            </a:prstGeom>
            <a:ln>
              <a:solidFill>
                <a:srgbClr val="FF0000"/>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68" name="Straight Arrow Connector 67"/>
            <p:cNvCxnSpPr/>
            <p:nvPr/>
          </p:nvCxnSpPr>
          <p:spPr>
            <a:xfrm>
              <a:off x="6441475" y="5475654"/>
              <a:ext cx="598152" cy="0"/>
            </a:xfrm>
            <a:prstGeom prst="straightConnector1">
              <a:avLst/>
            </a:prstGeom>
            <a:ln>
              <a:solidFill>
                <a:srgbClr val="002060"/>
              </a:solidFill>
              <a:headEnd type="triangle"/>
              <a:tailEnd type="triangl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71882887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4"/>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53"/>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52"/>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0" presetClass="exit" presetSubtype="0" fill="hold" grpId="0" nodeType="clickEffect">
                                  <p:stCondLst>
                                    <p:cond delay="0"/>
                                  </p:stCondLst>
                                  <p:childTnLst>
                                    <p:animEffect transition="out" filter="fade">
                                      <p:cBhvr>
                                        <p:cTn id="14" dur="500"/>
                                        <p:tgtEl>
                                          <p:spTgt spid="42"/>
                                        </p:tgtEl>
                                      </p:cBhvr>
                                    </p:animEffect>
                                    <p:set>
                                      <p:cBhvr>
                                        <p:cTn id="15" dur="1" fill="hold">
                                          <p:stCondLst>
                                            <p:cond delay="499"/>
                                          </p:stCondLst>
                                        </p:cTn>
                                        <p:tgtEl>
                                          <p:spTgt spid="42"/>
                                        </p:tgtEl>
                                        <p:attrNameLst>
                                          <p:attrName>style.visibility</p:attrName>
                                        </p:attrNameLst>
                                      </p:cBhvr>
                                      <p:to>
                                        <p:strVal val="hidden"/>
                                      </p:to>
                                    </p:set>
                                  </p:childTnLst>
                                </p:cTn>
                              </p:par>
                              <p:par>
                                <p:cTn id="16" presetID="10" presetClass="exit" presetSubtype="0" fill="hold" grpId="0" nodeType="withEffect">
                                  <p:stCondLst>
                                    <p:cond delay="0"/>
                                  </p:stCondLst>
                                  <p:childTnLst>
                                    <p:animEffect transition="out" filter="fade">
                                      <p:cBhvr>
                                        <p:cTn id="17" dur="500"/>
                                        <p:tgtEl>
                                          <p:spTgt spid="43"/>
                                        </p:tgtEl>
                                      </p:cBhvr>
                                    </p:animEffect>
                                    <p:set>
                                      <p:cBhvr>
                                        <p:cTn id="18" dur="1" fill="hold">
                                          <p:stCondLst>
                                            <p:cond delay="499"/>
                                          </p:stCondLst>
                                        </p:cTn>
                                        <p:tgtEl>
                                          <p:spTgt spid="43"/>
                                        </p:tgtEl>
                                        <p:attrNameLst>
                                          <p:attrName>style.visibility</p:attrName>
                                        </p:attrNameLst>
                                      </p:cBhvr>
                                      <p:to>
                                        <p:strVal val="hidden"/>
                                      </p:to>
                                    </p:set>
                                  </p:childTnLst>
                                </p:cTn>
                              </p:par>
                              <p:par>
                                <p:cTn id="19" presetID="10" presetClass="exit" presetSubtype="0" fill="hold" grpId="0" nodeType="withEffect">
                                  <p:stCondLst>
                                    <p:cond delay="0"/>
                                  </p:stCondLst>
                                  <p:childTnLst>
                                    <p:animEffect transition="out" filter="fade">
                                      <p:cBhvr>
                                        <p:cTn id="20" dur="500"/>
                                        <p:tgtEl>
                                          <p:spTgt spid="44"/>
                                        </p:tgtEl>
                                      </p:cBhvr>
                                    </p:animEffect>
                                    <p:set>
                                      <p:cBhvr>
                                        <p:cTn id="21" dur="1" fill="hold">
                                          <p:stCondLst>
                                            <p:cond delay="499"/>
                                          </p:stCondLst>
                                        </p:cTn>
                                        <p:tgtEl>
                                          <p:spTgt spid="44"/>
                                        </p:tgtEl>
                                        <p:attrNameLst>
                                          <p:attrName>style.visibility</p:attrName>
                                        </p:attrNameLst>
                                      </p:cBhvr>
                                      <p:to>
                                        <p:strVal val="hidden"/>
                                      </p:to>
                                    </p:set>
                                  </p:childTnLst>
                                </p:cTn>
                              </p:par>
                            </p:childTnLst>
                          </p:cTn>
                        </p:par>
                        <p:par>
                          <p:cTn id="22" fill="hold">
                            <p:stCondLst>
                              <p:cond delay="500"/>
                            </p:stCondLst>
                            <p:childTnLst>
                              <p:par>
                                <p:cTn id="23" presetID="10" presetClass="entr" presetSubtype="0" fill="hold" grpId="0" nodeType="afterEffect">
                                  <p:stCondLst>
                                    <p:cond delay="0"/>
                                  </p:stCondLst>
                                  <p:childTnLst>
                                    <p:set>
                                      <p:cBhvr>
                                        <p:cTn id="24" dur="1" fill="hold">
                                          <p:stCondLst>
                                            <p:cond delay="0"/>
                                          </p:stCondLst>
                                        </p:cTn>
                                        <p:tgtEl>
                                          <p:spTgt spid="54"/>
                                        </p:tgtEl>
                                        <p:attrNameLst>
                                          <p:attrName>style.visibility</p:attrName>
                                        </p:attrNameLst>
                                      </p:cBhvr>
                                      <p:to>
                                        <p:strVal val="visible"/>
                                      </p:to>
                                    </p:set>
                                    <p:animEffect transition="in" filter="fade">
                                      <p:cBhvr>
                                        <p:cTn id="25" dur="500"/>
                                        <p:tgtEl>
                                          <p:spTgt spid="54"/>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55"/>
                                        </p:tgtEl>
                                        <p:attrNameLst>
                                          <p:attrName>style.visibility</p:attrName>
                                        </p:attrNameLst>
                                      </p:cBhvr>
                                      <p:to>
                                        <p:strVal val="visible"/>
                                      </p:to>
                                    </p:set>
                                    <p:animEffect transition="in" filter="fade">
                                      <p:cBhvr>
                                        <p:cTn id="28" dur="500"/>
                                        <p:tgtEl>
                                          <p:spTgt spid="55"/>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56"/>
                                        </p:tgtEl>
                                        <p:attrNameLst>
                                          <p:attrName>style.visibility</p:attrName>
                                        </p:attrNameLst>
                                      </p:cBhvr>
                                      <p:to>
                                        <p:strVal val="visible"/>
                                      </p:to>
                                    </p:set>
                                    <p:animEffect transition="in" filter="fade">
                                      <p:cBhvr>
                                        <p:cTn id="31" dur="500"/>
                                        <p:tgtEl>
                                          <p:spTgt spid="56"/>
                                        </p:tgtEl>
                                      </p:cBhvr>
                                    </p:animEffect>
                                  </p:childTnLst>
                                </p:cTn>
                              </p:par>
                            </p:childTnLst>
                          </p:cTn>
                        </p:par>
                      </p:childTnLst>
                    </p:cTn>
                  </p:par>
                  <p:par>
                    <p:cTn id="32" fill="hold">
                      <p:stCondLst>
                        <p:cond delay="indefinite"/>
                      </p:stCondLst>
                      <p:childTnLst>
                        <p:par>
                          <p:cTn id="33" fill="hold">
                            <p:stCondLst>
                              <p:cond delay="0"/>
                            </p:stCondLst>
                            <p:childTnLst>
                              <p:par>
                                <p:cTn id="34" presetID="1" presetClass="exit" presetSubtype="0" fill="hold" grpId="0" nodeType="clickEffect">
                                  <p:stCondLst>
                                    <p:cond delay="0"/>
                                  </p:stCondLst>
                                  <p:childTnLst>
                                    <p:set>
                                      <p:cBhvr>
                                        <p:cTn id="35" dur="1" fill="hold">
                                          <p:stCondLst>
                                            <p:cond delay="0"/>
                                          </p:stCondLst>
                                        </p:cTn>
                                        <p:tgtEl>
                                          <p:spTgt spid="45"/>
                                        </p:tgtEl>
                                        <p:attrNameLst>
                                          <p:attrName>style.visibility</p:attrName>
                                        </p:attrNameLst>
                                      </p:cBhvr>
                                      <p:to>
                                        <p:strVal val="hidden"/>
                                      </p:to>
                                    </p:set>
                                  </p:childTnLst>
                                </p:cTn>
                              </p:par>
                            </p:childTnLst>
                          </p:cTn>
                        </p:par>
                        <p:par>
                          <p:cTn id="36" fill="hold">
                            <p:stCondLst>
                              <p:cond delay="0"/>
                            </p:stCondLst>
                            <p:childTnLst>
                              <p:par>
                                <p:cTn id="37" presetID="1" presetClass="entr" presetSubtype="0" fill="hold" grpId="0" nodeType="afterEffect">
                                  <p:stCondLst>
                                    <p:cond delay="0"/>
                                  </p:stCondLst>
                                  <p:childTnLst>
                                    <p:set>
                                      <p:cBhvr>
                                        <p:cTn id="38" dur="1" fill="hold">
                                          <p:stCondLst>
                                            <p:cond delay="0"/>
                                          </p:stCondLst>
                                        </p:cTn>
                                        <p:tgtEl>
                                          <p:spTgt spid="51"/>
                                        </p:tgtEl>
                                        <p:attrNameLst>
                                          <p:attrName>style.visibility</p:attrName>
                                        </p:attrNameLst>
                                      </p:cBhvr>
                                      <p:to>
                                        <p:strVal val="visible"/>
                                      </p:to>
                                    </p:set>
                                  </p:childTnLst>
                                </p:cTn>
                              </p:par>
                            </p:childTnLst>
                          </p:cTn>
                        </p:par>
                        <p:par>
                          <p:cTn id="39" fill="hold">
                            <p:stCondLst>
                              <p:cond delay="0"/>
                            </p:stCondLst>
                            <p:childTnLst>
                              <p:par>
                                <p:cTn id="40" presetID="1" presetClass="entr" presetSubtype="0" fill="hold" nodeType="afterEffect">
                                  <p:stCondLst>
                                    <p:cond delay="0"/>
                                  </p:stCondLst>
                                  <p:childTnLst>
                                    <p:set>
                                      <p:cBhvr>
                                        <p:cTn id="41" dur="1" fill="hold">
                                          <p:stCondLst>
                                            <p:cond delay="0"/>
                                          </p:stCondLst>
                                        </p:cTn>
                                        <p:tgtEl>
                                          <p:spTgt spid="57"/>
                                        </p:tgtEl>
                                        <p:attrNameLst>
                                          <p:attrName>style.visibility</p:attrName>
                                        </p:attrNameLst>
                                      </p:cBhvr>
                                      <p:to>
                                        <p:strVal val="visible"/>
                                      </p:to>
                                    </p:set>
                                  </p:childTnLst>
                                </p:cTn>
                              </p:par>
                              <p:par>
                                <p:cTn id="42" presetID="1" presetClass="entr" presetSubtype="0" fill="hold" nodeType="withEffect">
                                  <p:stCondLst>
                                    <p:cond delay="0"/>
                                  </p:stCondLst>
                                  <p:childTnLst>
                                    <p:set>
                                      <p:cBhvr>
                                        <p:cTn id="43" dur="1" fill="hold">
                                          <p:stCondLst>
                                            <p:cond delay="0"/>
                                          </p:stCondLst>
                                        </p:cTn>
                                        <p:tgtEl>
                                          <p:spTgt spid="61"/>
                                        </p:tgtEl>
                                        <p:attrNameLst>
                                          <p:attrName>style.visibility</p:attrName>
                                        </p:attrNameLst>
                                      </p:cBhvr>
                                      <p:to>
                                        <p:strVal val="visible"/>
                                      </p:to>
                                    </p:set>
                                  </p:childTnLst>
                                </p:cTn>
                              </p:par>
                              <p:par>
                                <p:cTn id="44" presetID="1" presetClass="entr" presetSubtype="0" fill="hold" nodeType="withEffect">
                                  <p:stCondLst>
                                    <p:cond delay="0"/>
                                  </p:stCondLst>
                                  <p:childTnLst>
                                    <p:set>
                                      <p:cBhvr>
                                        <p:cTn id="45" dur="1" fill="hold">
                                          <p:stCondLst>
                                            <p:cond delay="0"/>
                                          </p:stCondLst>
                                        </p:cTn>
                                        <p:tgtEl>
                                          <p:spTgt spid="6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4" grpId="0" animBg="1"/>
      <p:bldP spid="42" grpId="0" animBg="1"/>
      <p:bldP spid="43" grpId="0" animBg="1"/>
      <p:bldP spid="44" grpId="0" animBg="1"/>
      <p:bldP spid="45" grpId="0"/>
      <p:bldP spid="51" grpId="0"/>
      <p:bldP spid="53" grpId="0"/>
      <p:bldP spid="54" grpId="0" animBg="1"/>
      <p:bldP spid="55" grpId="0" animBg="1"/>
      <p:bldP spid="56"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jVXo6Y7r8Eudz_6E3oBkH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jVXo6Y7r8Eudz_6E3oBkHA"/>
</p:tagLst>
</file>

<file path=ppt/theme/theme1.xml><?xml version="1.0" encoding="utf-8"?>
<a:theme xmlns:a="http://schemas.openxmlformats.org/drawingml/2006/main" name="WHITE TEMPLATE">
  <a:themeElements>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DARK_BLUE_1.potx" id="{2242D1E8-4057-4103-B407-CE5A2D933827}" vid="{1DDE3A96-5DF4-4479-8A66-D4322BA3674C}"/>
    </a:ext>
  </a:extLst>
</a:theme>
</file>

<file path=ppt/theme/theme2.xml><?xml version="1.0" encoding="utf-8"?>
<a:theme xmlns:a="http://schemas.openxmlformats.org/drawingml/2006/main" name="COLOR TEMPLATE">
  <a:themeElements>
    <a:clrScheme name="MSVID Dark Blue">
      <a:dk1>
        <a:srgbClr val="505050"/>
      </a:dk1>
      <a:lt1>
        <a:srgbClr val="FFFFFF"/>
      </a:lt1>
      <a:dk2>
        <a:srgbClr val="002050"/>
      </a:dk2>
      <a:lt2>
        <a:srgbClr val="CDF4FF"/>
      </a:lt2>
      <a:accent1>
        <a:srgbClr val="107C10"/>
      </a:accent1>
      <a:accent2>
        <a:srgbClr val="B4009E"/>
      </a:accent2>
      <a:accent3>
        <a:srgbClr val="0078D7"/>
      </a:accent3>
      <a:accent4>
        <a:srgbClr val="5C2D91"/>
      </a:accent4>
      <a:accent5>
        <a:srgbClr val="008272"/>
      </a:accent5>
      <a:accent6>
        <a:srgbClr val="D83B01"/>
      </a:accent6>
      <a:hlink>
        <a:srgbClr val="CDF4FF"/>
      </a:hlink>
      <a:folHlink>
        <a:srgbClr val="CDF4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DARK_BLUE_1.potx" id="{2242D1E8-4057-4103-B407-CE5A2D933827}" vid="{86695DEF-AF74-4ACD-AA9E-822B4306DE8A}"/>
    </a:ext>
  </a:extLst>
</a:theme>
</file>

<file path=ppt/theme/theme3.xml><?xml version="1.0" encoding="utf-8"?>
<a:theme xmlns:a="http://schemas.openxmlformats.org/drawingml/2006/main" name="1_COLOR TEMPLATE">
  <a:themeElements>
    <a:clrScheme name="MSVID Purple">
      <a:dk1>
        <a:srgbClr val="505050"/>
      </a:dk1>
      <a:lt1>
        <a:srgbClr val="FFFFFF"/>
      </a:lt1>
      <a:dk2>
        <a:srgbClr val="5C2D91"/>
      </a:dk2>
      <a:lt2>
        <a:srgbClr val="E7DCF4"/>
      </a:lt2>
      <a:accent1>
        <a:srgbClr val="32145A"/>
      </a:accent1>
      <a:accent2>
        <a:srgbClr val="B4009E"/>
      </a:accent2>
      <a:accent3>
        <a:srgbClr val="107C10"/>
      </a:accent3>
      <a:accent4>
        <a:srgbClr val="0078D7"/>
      </a:accent4>
      <a:accent5>
        <a:srgbClr val="008272"/>
      </a:accent5>
      <a:accent6>
        <a:srgbClr val="D83B01"/>
      </a:accent6>
      <a:hlink>
        <a:srgbClr val="E7DCF4"/>
      </a:hlink>
      <a:folHlink>
        <a:srgbClr val="E7DCF4"/>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Org_ID_template_16-9_Business_PURPLE_1.potx" id="{EA1C931B-0CA8-4C29-AF2A-5CCE0B71BADB}" vid="{779B47EC-C2D9-42C6-B399-0FB5A6F745BF}"/>
    </a:ext>
  </a:extLst>
</a:theme>
</file>

<file path=ppt/theme/theme4.xml><?xml version="1.0" encoding="utf-8"?>
<a:theme xmlns:a="http://schemas.openxmlformats.org/drawingml/2006/main" name="3_COLOR TEMPLATE">
  <a:themeElements>
    <a:clrScheme name="MSVID Purple">
      <a:dk1>
        <a:srgbClr val="505050"/>
      </a:dk1>
      <a:lt1>
        <a:srgbClr val="FFFFFF"/>
      </a:lt1>
      <a:dk2>
        <a:srgbClr val="5C2D91"/>
      </a:dk2>
      <a:lt2>
        <a:srgbClr val="E7DCF4"/>
      </a:lt2>
      <a:accent1>
        <a:srgbClr val="32145A"/>
      </a:accent1>
      <a:accent2>
        <a:srgbClr val="B4009E"/>
      </a:accent2>
      <a:accent3>
        <a:srgbClr val="107C10"/>
      </a:accent3>
      <a:accent4>
        <a:srgbClr val="0078D7"/>
      </a:accent4>
      <a:accent5>
        <a:srgbClr val="008272"/>
      </a:accent5>
      <a:accent6>
        <a:srgbClr val="D83B01"/>
      </a:accent6>
      <a:hlink>
        <a:srgbClr val="E7DCF4"/>
      </a:hlink>
      <a:folHlink>
        <a:srgbClr val="E7DCF4"/>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Org_ID_template_16-9_Business_PURPLE_1.potx" id="{EA1C931B-0CA8-4C29-AF2A-5CCE0B71BADB}" vid="{779B47EC-C2D9-42C6-B399-0FB5A6F745BF}"/>
    </a:ext>
  </a:extLst>
</a:theme>
</file>

<file path=ppt/theme/theme5.xml><?xml version="1.0" encoding="utf-8"?>
<a:theme xmlns:a="http://schemas.openxmlformats.org/drawingml/2006/main" name="3_5-30660_TR21_BO_CT_Template">
  <a:themeElements>
    <a:clrScheme name="TR20 - BO">
      <a:dk1>
        <a:srgbClr val="505050"/>
      </a:dk1>
      <a:lt1>
        <a:srgbClr val="FFFFFF"/>
      </a:lt1>
      <a:dk2>
        <a:srgbClr val="0078D7"/>
      </a:dk2>
      <a:lt2>
        <a:srgbClr val="D2D2D2"/>
      </a:lt2>
      <a:accent1>
        <a:srgbClr val="D83B01"/>
      </a:accent1>
      <a:accent2>
        <a:srgbClr val="0078D7"/>
      </a:accent2>
      <a:accent3>
        <a:srgbClr val="BAD80A"/>
      </a:accent3>
      <a:accent4>
        <a:srgbClr val="FFB900"/>
      </a:accent4>
      <a:accent5>
        <a:srgbClr val="5C2D91"/>
      </a:accent5>
      <a:accent6>
        <a:srgbClr val="002050"/>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w="3175">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1_BO_CT_Template.potx [Read-Only]" id="{75943521-E3C3-4031-9F22-7C26411915FC}" vid="{7540FE32-89F5-4624-B769-BFB809EDCFE3}"/>
    </a:ext>
  </a:extLst>
</a:theme>
</file>

<file path=ppt/theme/theme6.xml><?xml version="1.0" encoding="utf-8"?>
<a:theme xmlns:a="http://schemas.openxmlformats.org/drawingml/2006/main" name="5-30660_TR21_BO_CT_Template">
  <a:themeElements>
    <a:clrScheme name="TR20 - BO">
      <a:dk1>
        <a:srgbClr val="505050"/>
      </a:dk1>
      <a:lt1>
        <a:srgbClr val="FFFFFF"/>
      </a:lt1>
      <a:dk2>
        <a:srgbClr val="0078D7"/>
      </a:dk2>
      <a:lt2>
        <a:srgbClr val="D2D2D2"/>
      </a:lt2>
      <a:accent1>
        <a:srgbClr val="D83B01"/>
      </a:accent1>
      <a:accent2>
        <a:srgbClr val="0078D7"/>
      </a:accent2>
      <a:accent3>
        <a:srgbClr val="BAD80A"/>
      </a:accent3>
      <a:accent4>
        <a:srgbClr val="FFB900"/>
      </a:accent4>
      <a:accent5>
        <a:srgbClr val="5C2D91"/>
      </a:accent5>
      <a:accent6>
        <a:srgbClr val="002050"/>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w="3175">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1_BO_CT_Template.potx [Read-Only]" id="{75943521-E3C3-4031-9F22-7C26411915FC}" vid="{7540FE32-89F5-4624-B769-BFB809EDCFE3}"/>
    </a:ext>
  </a:ext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p:properties xmlns:p="http://schemas.microsoft.com/office/2006/metadata/properties" xmlns:xsi="http://www.w3.org/2001/XMLSchema-instance" xmlns:pc="http://schemas.microsoft.com/office/infopath/2007/PartnerControls">
  <documentManagement>
    <_dlc_DocId xmlns="230e9df3-be65-4c73-a93b-d1236ebd677e">PSCCIP-761155351-186</_dlc_DocId>
    <_dlc_DocIdUrl xmlns="230e9df3-be65-4c73-a93b-d1236ebd677e">
      <Url>https://microsoft.sharepoint.com/teams/tpdconcen/_layouts/15/DocIdRedir.aspx?ID=PSCCIP-761155351-186</Url>
      <Description>PSCCIP-761155351-186</Description>
    </_dlc_DocIdUrl>
    <Accreditation_x0020_Learning_x0020_Path xmlns="01015846-d5be-48df-aea1-b1ddc1f9131b" xsi:nil="true"/>
    <IP_x0020_Type xmlns="f9960ab7-6ad3-4623-ae4d-fe58557cb8b2" xsi:nil="true"/>
    <Package_x0020_Service_x0020_Hidden xmlns="774be55f-118a-40c2-b09e-c94d765f6095" xsi:nil="true"/>
    <IP_x0020_Status xmlns="f9960ab7-6ad3-4623-ae4d-fe58557cb8b2" xsi:nil="true"/>
    <Packaged_x0020_Service xmlns="01015846-d5be-48df-aea1-b1ddc1f9131b"/>
  </documentManagement>
</p:properties>
</file>

<file path=customXml/item2.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6.0.0.0, Culture=neutral, PublicKeyToken=71e9bce111e9429c</Assembly>
    <Class>Microsoft.Office.DocumentManagement.Internal.DocIdHandler</Class>
    <Data/>
    <Filter/>
  </Receiver>
</spe:Receivers>
</file>

<file path=customXml/item3.xml><?xml version="1.0" encoding="utf-8"?>
<?mso-contentType ?>
<FormTemplates xmlns="http://schemas.microsoft.com/sharepoint/v3/contenttype/forms">
  <Display>DocumentLibraryForm</Display>
  <Edit>DocumentLibraryForm</Edit>
  <New>DocumentLibraryForm</New>
</FormTemplates>
</file>

<file path=customXml/item4.xml><?xml version="1.0" encoding="utf-8"?>
<ct:contentTypeSchema xmlns:ct="http://schemas.microsoft.com/office/2006/metadata/contentType" xmlns:ma="http://schemas.microsoft.com/office/2006/metadata/properties/metaAttributes" ct:_="" ma:_="" ma:contentTypeName="Document" ma:contentTypeID="0x0101003907C3880A00DF42ACE5961CBBA1A305" ma:contentTypeVersion="9" ma:contentTypeDescription="Create a new document." ma:contentTypeScope="" ma:versionID="e1a6342648c000344ba7afefa04f606e">
  <xsd:schema xmlns:xsd="http://www.w3.org/2001/XMLSchema" xmlns:xs="http://www.w3.org/2001/XMLSchema" xmlns:p="http://schemas.microsoft.com/office/2006/metadata/properties" xmlns:ns2="230e9df3-be65-4c73-a93b-d1236ebd677e" xmlns:ns3="f9960ab7-6ad3-4623-ae4d-fe58557cb8b2" xmlns:ns4="01015846-d5be-48df-aea1-b1ddc1f9131b" xmlns:ns5="774be55f-118a-40c2-b09e-c94d765f6095" targetNamespace="http://schemas.microsoft.com/office/2006/metadata/properties" ma:root="true" ma:fieldsID="8a38167045cc34d6b8fb6d1f7fa1b9ba" ns2:_="" ns3:_="" ns4:_="" ns5:_="">
    <xsd:import namespace="230e9df3-be65-4c73-a93b-d1236ebd677e"/>
    <xsd:import namespace="f9960ab7-6ad3-4623-ae4d-fe58557cb8b2"/>
    <xsd:import namespace="01015846-d5be-48df-aea1-b1ddc1f9131b"/>
    <xsd:import namespace="774be55f-118a-40c2-b09e-c94d765f6095"/>
    <xsd:element name="properties">
      <xsd:complexType>
        <xsd:sequence>
          <xsd:element name="documentManagement">
            <xsd:complexType>
              <xsd:all>
                <xsd:element ref="ns2:_dlc_DocId" minOccurs="0"/>
                <xsd:element ref="ns2:_dlc_DocIdUrl" minOccurs="0"/>
                <xsd:element ref="ns2:_dlc_DocIdPersistId" minOccurs="0"/>
                <xsd:element ref="ns3:IP_x0020_Status" minOccurs="0"/>
                <xsd:element ref="ns3:IP_x0020_Type" minOccurs="0"/>
                <xsd:element ref="ns4:Packaged_x0020_Service" minOccurs="0"/>
                <xsd:element ref="ns5:Package_x0020_Service_x0020_Hidden" minOccurs="0"/>
                <xsd:element ref="ns4:Accreditation_x0020_Learning_x0020_Path" minOccurs="0"/>
                <xsd:element ref="ns4:MediaServiceMetadata" minOccurs="0"/>
                <xsd:element ref="ns4: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_dlc_DocId" ma:index="8" nillable="true" ma:displayName="Document ID Value" ma:description="The value of the document ID assigned to this item." ma:internalName="_dlc_DocId" ma:readOnly="true">
      <xsd:simpleType>
        <xsd:restriction base="dms:Text"/>
      </xsd:simpleType>
    </xsd:element>
    <xsd:element name="_dlc_DocIdUrl" ma:index="9"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10" nillable="true" ma:displayName="Persist ID" ma:description="Keep ID on add." ma:hidden="true" ma:internalName="_dlc_DocIdPersistId" ma:readOnly="true">
      <xsd:simpleType>
        <xsd:restriction base="dms:Boolean"/>
      </xsd:simpleType>
    </xsd:element>
  </xsd:schema>
  <xsd:schema xmlns:xsd="http://www.w3.org/2001/XMLSchema" xmlns:xs="http://www.w3.org/2001/XMLSchema" xmlns:dms="http://schemas.microsoft.com/office/2006/documentManagement/types" xmlns:pc="http://schemas.microsoft.com/office/infopath/2007/PartnerControls" targetNamespace="f9960ab7-6ad3-4623-ae4d-fe58557cb8b2" elementFormDefault="qualified">
    <xsd:import namespace="http://schemas.microsoft.com/office/2006/documentManagement/types"/>
    <xsd:import namespace="http://schemas.microsoft.com/office/infopath/2007/PartnerControls"/>
    <xsd:element name="IP_x0020_Status" ma:index="11" nillable="true" ma:displayName="IP Status" ma:format="Dropdown" ma:internalName="IP_x0020_Status">
      <xsd:simpleType>
        <xsd:restriction base="dms:Choice">
          <xsd:enumeration value="NA"/>
          <xsd:enumeration value="Planning"/>
          <xsd:enumeration value="In Development"/>
          <xsd:enumeration value="Ready"/>
          <xsd:enumeration value="Retired"/>
        </xsd:restriction>
      </xsd:simpleType>
    </xsd:element>
    <xsd:element name="IP_x0020_Type" ma:index="12" nillable="true" ma:displayName="IP Type" ma:format="Dropdown" ma:internalName="IP_x0020_Type">
      <xsd:simpleType>
        <xsd:restriction base="dms:Choice">
          <xsd:enumeration value="NA"/>
          <xsd:enumeration value="Delivery Deck"/>
          <xsd:enumeration value="Delivery Guide"/>
          <xsd:enumeration value="Demo"/>
          <xsd:enumeration value="Email"/>
          <xsd:enumeration value="LAB Guide"/>
          <xsd:enumeration value="Link"/>
          <xsd:enumeration value="Presentation Video"/>
          <xsd:enumeration value="Template"/>
          <xsd:enumeration value="TTT"/>
          <xsd:enumeration value="Other Reference Materials"/>
        </xsd:restriction>
      </xsd:simpleType>
    </xsd:element>
  </xsd:schema>
  <xsd:schema xmlns:xsd="http://www.w3.org/2001/XMLSchema" xmlns:xs="http://www.w3.org/2001/XMLSchema" xmlns:dms="http://schemas.microsoft.com/office/2006/documentManagement/types" xmlns:pc="http://schemas.microsoft.com/office/infopath/2007/PartnerControls" targetNamespace="01015846-d5be-48df-aea1-b1ddc1f9131b" elementFormDefault="qualified">
    <xsd:import namespace="http://schemas.microsoft.com/office/2006/documentManagement/types"/>
    <xsd:import namespace="http://schemas.microsoft.com/office/infopath/2007/PartnerControls"/>
    <xsd:element name="Packaged_x0020_Service" ma:index="13" nillable="true" ma:displayName="Packaged Service" ma:list="{1298bdc5-5aed-41c2-adf0-18ffea94f34a}" ma:internalName="Packaged_x0020_Service" ma:showField="Service_x0020_Catalog_x0020_Name">
      <xsd:complexType>
        <xsd:complexContent>
          <xsd:extension base="dms:MultiChoiceLookup">
            <xsd:sequence>
              <xsd:element name="Value" type="dms:Lookup" maxOccurs="unbounded" minOccurs="0" nillable="true"/>
            </xsd:sequence>
          </xsd:extension>
        </xsd:complexContent>
      </xsd:complexType>
    </xsd:element>
    <xsd:element name="Accreditation_x0020_Learning_x0020_Path" ma:index="15" nillable="true" ma:displayName="Accreditation Learning Path" ma:description="Accreditation Learning Path" ma:list="{1b59d456-0435-4d93-9527-d9406d4574e3}" ma:internalName="Accreditation_x0020_Learning_x0020_Path" ma:showField="Title1">
      <xsd:simpleType>
        <xsd:restriction base="dms:Lookup"/>
      </xsd:simpleType>
    </xsd:element>
    <xsd:element name="MediaServiceMetadata" ma:index="16" nillable="true" ma:displayName="MediaServiceMetadata" ma:hidden="true" ma:internalName="MediaServiceMetadata" ma:readOnly="true">
      <xsd:simpleType>
        <xsd:restriction base="dms:Note"/>
      </xsd:simpleType>
    </xsd:element>
    <xsd:element name="MediaServiceFastMetadata" ma:index="17" nillable="true" ma:displayName="MediaServiceFastMetadata" ma:hidden="true" ma:internalName="MediaServiceFast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774be55f-118a-40c2-b09e-c94d765f6095" elementFormDefault="qualified">
    <xsd:import namespace="http://schemas.microsoft.com/office/2006/documentManagement/types"/>
    <xsd:import namespace="http://schemas.microsoft.com/office/infopath/2007/PartnerControls"/>
    <xsd:element name="Package_x0020_Service_x0020_Hidden" ma:index="14" nillable="true" ma:displayName="Packaged Service Hidden" ma:internalName="Package_x0020_Service_x0020_Hidden">
      <xsd:simpleType>
        <xsd:restriction base="dms:Text">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F990F116-B58F-4255-B05B-DA3808E0E5C6}">
  <ds:schemaRefs>
    <ds:schemaRef ds:uri="http://schemas.microsoft.com/office/2006/documentManagement/types"/>
    <ds:schemaRef ds:uri="http://purl.org/dc/terms/"/>
    <ds:schemaRef ds:uri="http://schemas.openxmlformats.org/package/2006/metadata/core-properties"/>
    <ds:schemaRef ds:uri="http://purl.org/dc/dcmitype/"/>
    <ds:schemaRef ds:uri="http://schemas.microsoft.com/office/infopath/2007/PartnerControls"/>
    <ds:schemaRef ds:uri="887142eb-be63-4c1c-9d4e-7c9f6f0ccef6"/>
    <ds:schemaRef ds:uri="http://purl.org/dc/elements/1.1/"/>
    <ds:schemaRef ds:uri="http://schemas.microsoft.com/office/2006/metadata/properties"/>
    <ds:schemaRef ds:uri="http://www.w3.org/XML/1998/namespace"/>
    <ds:schemaRef ds:uri="230e9df3-be65-4c73-a93b-d1236ebd677e"/>
  </ds:schemaRefs>
</ds:datastoreItem>
</file>

<file path=customXml/itemProps2.xml><?xml version="1.0" encoding="utf-8"?>
<ds:datastoreItem xmlns:ds="http://schemas.openxmlformats.org/officeDocument/2006/customXml" ds:itemID="{0FEC18AA-2A49-4540-98B8-3A23A1144A60}">
  <ds:schemaRefs>
    <ds:schemaRef ds:uri="http://schemas.microsoft.com/sharepoint/events"/>
  </ds:schemaRefs>
</ds:datastoreItem>
</file>

<file path=customXml/itemProps3.xml><?xml version="1.0" encoding="utf-8"?>
<ds:datastoreItem xmlns:ds="http://schemas.openxmlformats.org/officeDocument/2006/customXml" ds:itemID="{758FDAC0-319D-4A54-8D8E-1D42CB1F8004}">
  <ds:schemaRefs>
    <ds:schemaRef ds:uri="http://schemas.microsoft.com/sharepoint/v3/contenttype/forms"/>
  </ds:schemaRefs>
</ds:datastoreItem>
</file>

<file path=customXml/itemProps4.xml><?xml version="1.0" encoding="utf-8"?>
<ds:datastoreItem xmlns:ds="http://schemas.openxmlformats.org/officeDocument/2006/customXml" ds:itemID="{2AE5A325-03E6-4BEC-8C03-AC09A3D24394}"/>
</file>

<file path=docProps/app.xml><?xml version="1.0" encoding="utf-8"?>
<Properties xmlns="http://schemas.openxmlformats.org/officeDocument/2006/extended-properties" xmlns:vt="http://schemas.openxmlformats.org/officeDocument/2006/docPropsVTypes">
  <Template/>
  <TotalTime>56710</TotalTime>
  <Words>8600</Words>
  <Application>Microsoft Office PowerPoint</Application>
  <PresentationFormat>Custom</PresentationFormat>
  <Paragraphs>1186</Paragraphs>
  <Slides>60</Slides>
  <Notes>60</Notes>
  <HiddenSlides>0</HiddenSlides>
  <MMClips>0</MMClips>
  <ScaleCrop>false</ScaleCrop>
  <HeadingPairs>
    <vt:vector size="6" baseType="variant">
      <vt:variant>
        <vt:lpstr>Fonts Used</vt:lpstr>
      </vt:variant>
      <vt:variant>
        <vt:i4>15</vt:i4>
      </vt:variant>
      <vt:variant>
        <vt:lpstr>Theme</vt:lpstr>
      </vt:variant>
      <vt:variant>
        <vt:i4>6</vt:i4>
      </vt:variant>
      <vt:variant>
        <vt:lpstr>Slide Titles</vt:lpstr>
      </vt:variant>
      <vt:variant>
        <vt:i4>60</vt:i4>
      </vt:variant>
    </vt:vector>
  </HeadingPairs>
  <TitlesOfParts>
    <vt:vector size="81" baseType="lpstr">
      <vt:lpstr>MS PGothic</vt:lpstr>
      <vt:lpstr>MS PGothic</vt:lpstr>
      <vt:lpstr>Arial</vt:lpstr>
      <vt:lpstr>Calibri</vt:lpstr>
      <vt:lpstr>Consolas</vt:lpstr>
      <vt:lpstr>Core Sans NR 35 Light</vt:lpstr>
      <vt:lpstr>Courier New</vt:lpstr>
      <vt:lpstr>Lucida Console</vt:lpstr>
      <vt:lpstr>Segoe Light</vt:lpstr>
      <vt:lpstr>Segoe UI</vt:lpstr>
      <vt:lpstr>Segoe UI Black</vt:lpstr>
      <vt:lpstr>Segoe UI Light</vt:lpstr>
      <vt:lpstr>Segoe UI Semibold</vt:lpstr>
      <vt:lpstr>Segoe UI Semilight</vt:lpstr>
      <vt:lpstr>Wingdings</vt:lpstr>
      <vt:lpstr>WHITE TEMPLATE</vt:lpstr>
      <vt:lpstr>COLOR TEMPLATE</vt:lpstr>
      <vt:lpstr>1_COLOR TEMPLATE</vt:lpstr>
      <vt:lpstr>3_COLOR TEMPLATE</vt:lpstr>
      <vt:lpstr>3_5-30660_TR21_BO_CT_Template</vt:lpstr>
      <vt:lpstr>5-30660_TR21_BO_CT_Template</vt:lpstr>
      <vt:lpstr>Technical Deep Dive: Creating Apps for the Intelligent Cloud  – Architecting for Scale</vt:lpstr>
      <vt:lpstr>Agenda</vt:lpstr>
      <vt:lpstr>Scalability</vt:lpstr>
      <vt:lpstr>What is Scalability</vt:lpstr>
      <vt:lpstr>Architecting for Scale</vt:lpstr>
      <vt:lpstr>Scalability Recommendations </vt:lpstr>
      <vt:lpstr>Database Bottleneck</vt:lpstr>
      <vt:lpstr>Mitigate Database Bottleneck</vt:lpstr>
      <vt:lpstr>Reducing Further Database Load - Caching</vt:lpstr>
      <vt:lpstr>Background processing decoupling</vt:lpstr>
      <vt:lpstr>Background processing decoupling &amp; scaling </vt:lpstr>
      <vt:lpstr>Scalability Enablers</vt:lpstr>
      <vt:lpstr>Scaling Compute</vt:lpstr>
      <vt:lpstr>Compute Scaling Options (Azure App Service)</vt:lpstr>
      <vt:lpstr>Auto-scaling Compute</vt:lpstr>
      <vt:lpstr>PowerPoint Presentation</vt:lpstr>
      <vt:lpstr>Why VM Scale Sets?</vt:lpstr>
      <vt:lpstr>Autoscale with VM Scale Sets</vt:lpstr>
      <vt:lpstr>PowerPoint Presentation</vt:lpstr>
      <vt:lpstr>PowerPoint Presentation</vt:lpstr>
      <vt:lpstr>Services Powered by Service Fabric</vt:lpstr>
      <vt:lpstr>Running Microservices at Scale</vt:lpstr>
      <vt:lpstr>Service partitioning</vt:lpstr>
      <vt:lpstr>Scaling Azure SQL Database</vt:lpstr>
      <vt:lpstr>Scaling Azure SQL Database</vt:lpstr>
      <vt:lpstr>Azure SQL Database Active Geo-Replication</vt:lpstr>
      <vt:lpstr>Sharding Pattern</vt:lpstr>
      <vt:lpstr>SQL Azure Scaling Out</vt:lpstr>
      <vt:lpstr>Tenancy models for SaaS Apps</vt:lpstr>
      <vt:lpstr>Demo</vt:lpstr>
      <vt:lpstr>Azure SQL Database Auto-scaling</vt:lpstr>
      <vt:lpstr>Azure Elastic Database Pool</vt:lpstr>
      <vt:lpstr>Azure Cosmos DB A globally distributed, massively scalable, multi-model database service</vt:lpstr>
      <vt:lpstr>PowerPoint Presentation</vt:lpstr>
      <vt:lpstr>PowerPoint Presentation</vt:lpstr>
      <vt:lpstr>PowerPoint Presentation</vt:lpstr>
      <vt:lpstr>Session Break</vt:lpstr>
      <vt:lpstr>Caching Data </vt:lpstr>
      <vt:lpstr>Cache-Aside Pattern</vt:lpstr>
      <vt:lpstr>Azure Redis Cache</vt:lpstr>
      <vt:lpstr>Redis Cache Providers for ASP.Net Applications</vt:lpstr>
      <vt:lpstr>Redis Cache</vt:lpstr>
      <vt:lpstr>Scaling Globally with Traffic Manager</vt:lpstr>
      <vt:lpstr>How Traffic Manager Works</vt:lpstr>
      <vt:lpstr>Priority Profile</vt:lpstr>
      <vt:lpstr>Weighted Profile</vt:lpstr>
      <vt:lpstr>Performance Profile</vt:lpstr>
      <vt:lpstr>Geographic Profile</vt:lpstr>
      <vt:lpstr>Azure Content Delivery Network (CDN)</vt:lpstr>
      <vt:lpstr>How CDN Works?</vt:lpstr>
      <vt:lpstr>Azure CDN POP Locations</vt:lpstr>
      <vt:lpstr>Azure CDN Static content caching on Edge servers</vt:lpstr>
      <vt:lpstr>Case Study</vt:lpstr>
      <vt:lpstr>Next Games born in the cloud to kill zombies</vt:lpstr>
      <vt:lpstr>Online retailer uses cloud database to deliver world-class shopping experiences</vt:lpstr>
      <vt:lpstr>Connecting with 500 million passionate fans worldwide</vt:lpstr>
      <vt:lpstr>Video References</vt:lpstr>
      <vt:lpstr>Scaling Guidance References </vt:lpstr>
      <vt:lpstr>Contact Us Technical services to help you win more deals, accelerate deployment and increase consumption</vt:lpstr>
      <vt:lpstr>PowerPoint Presentation</vt:lpstr>
    </vt:vector>
  </TitlesOfParts>
  <Manager/>
  <Company>Microsoft Corporation</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icrosoft brand template</dc:title>
  <dc:subject>&lt;Speech title here&gt;</dc:subject>
  <dc:creator>&lt;Speaker name here&gt;</dc:creator>
  <cp:keywords>MSVID, Brand Guidelines, Branding, Visual Identity, grid</cp:keywords>
  <dc:description>Template: Maryfj_x000d_
Formatting: _x000d_
Audience Type:</dc:description>
  <cp:lastModifiedBy>Nilesh Gadhiya</cp:lastModifiedBy>
  <cp:revision>673</cp:revision>
  <dcterms:created xsi:type="dcterms:W3CDTF">2014-06-10T19:28:25Z</dcterms:created>
  <dcterms:modified xsi:type="dcterms:W3CDTF">2017-11-08T20:51:1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907C3880A00DF42ACE5961CBBA1A305</vt:lpwstr>
  </property>
  <property fmtid="{D5CDD505-2E9C-101B-9397-08002B2CF9AE}" pid="3" name="Product">
    <vt:lpwstr/>
  </property>
  <property fmtid="{D5CDD505-2E9C-101B-9397-08002B2CF9AE}" pid="4" name="Event1">
    <vt:lpwstr>622;#Unassigned|2c8af875-f38a-40b8-a0a9-056aed3fc8c0</vt:lpwstr>
  </property>
  <property fmtid="{D5CDD505-2E9C-101B-9397-08002B2CF9AE}" pid="5" name="Audience">
    <vt:lpwstr/>
  </property>
  <property fmtid="{D5CDD505-2E9C-101B-9397-08002B2CF9AE}" pid="6" name="Event Venue">
    <vt:lpwstr/>
  </property>
  <property fmtid="{D5CDD505-2E9C-101B-9397-08002B2CF9AE}" pid="7" name="Track">
    <vt:lpwstr/>
  </property>
  <property fmtid="{D5CDD505-2E9C-101B-9397-08002B2CF9AE}" pid="8" name="Event Location">
    <vt:lpwstr/>
  </property>
  <property fmtid="{D5CDD505-2E9C-101B-9397-08002B2CF9AE}" pid="9" name="Campaign">
    <vt:lpwstr/>
  </property>
  <property fmtid="{D5CDD505-2E9C-101B-9397-08002B2CF9AE}" pid="10" name="IsMyDocuments">
    <vt:bool>true</vt:bool>
  </property>
  <property fmtid="{D5CDD505-2E9C-101B-9397-08002B2CF9AE}" pid="11" name="MSIP_Label_f42aa342-8706-4288-bd11-ebb85995028c_Enabled">
    <vt:lpwstr>True</vt:lpwstr>
  </property>
  <property fmtid="{D5CDD505-2E9C-101B-9397-08002B2CF9AE}" pid="12" name="MSIP_Label_f42aa342-8706-4288-bd11-ebb85995028c_SiteId">
    <vt:lpwstr>72f988bf-86f1-41af-91ab-2d7cd011db47</vt:lpwstr>
  </property>
  <property fmtid="{D5CDD505-2E9C-101B-9397-08002B2CF9AE}" pid="13" name="MSIP_Label_f42aa342-8706-4288-bd11-ebb85995028c_Ref">
    <vt:lpwstr>https://api.informationprotection.azure.com/api/72f988bf-86f1-41af-91ab-2d7cd011db47</vt:lpwstr>
  </property>
  <property fmtid="{D5CDD505-2E9C-101B-9397-08002B2CF9AE}" pid="14" name="MSIP_Label_f42aa342-8706-4288-bd11-ebb85995028c_Owner">
    <vt:lpwstr>nigadh@microsoft.com</vt:lpwstr>
  </property>
  <property fmtid="{D5CDD505-2E9C-101B-9397-08002B2CF9AE}" pid="15" name="MSIP_Label_f42aa342-8706-4288-bd11-ebb85995028c_SetDate">
    <vt:lpwstr>2017-09-30T00:46:07.6213942+05:30</vt:lpwstr>
  </property>
  <property fmtid="{D5CDD505-2E9C-101B-9397-08002B2CF9AE}" pid="16" name="MSIP_Label_f42aa342-8706-4288-bd11-ebb85995028c_Name">
    <vt:lpwstr>General</vt:lpwstr>
  </property>
  <property fmtid="{D5CDD505-2E9C-101B-9397-08002B2CF9AE}" pid="17" name="MSIP_Label_f42aa342-8706-4288-bd11-ebb85995028c_Application">
    <vt:lpwstr>Microsoft Azure Information Protection</vt:lpwstr>
  </property>
  <property fmtid="{D5CDD505-2E9C-101B-9397-08002B2CF9AE}" pid="18" name="MSIP_Label_f42aa342-8706-4288-bd11-ebb85995028c_Extended_MSFT_Method">
    <vt:lpwstr>Automatic</vt:lpwstr>
  </property>
  <property fmtid="{D5CDD505-2E9C-101B-9397-08002B2CF9AE}" pid="19" name="Sensitivity">
    <vt:lpwstr>General</vt:lpwstr>
  </property>
  <property fmtid="{D5CDD505-2E9C-101B-9397-08002B2CF9AE}" pid="20" name="_dlc_DocIdItemGuid">
    <vt:lpwstr>f06e8a64-4526-4447-9ae0-550e61768ccb</vt:lpwstr>
  </property>
</Properties>
</file>